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2.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theme/themeOverride1.xml" ContentType="application/vnd.openxmlformats-officedocument.themeOverride+xml"/>
  <Override PartName="/ppt/notesSlides/notesSlide7.xml" ContentType="application/vnd.openxmlformats-officedocument.presentationml.notesSlid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8.xml" ContentType="application/vnd.openxmlformats-officedocument.presentationml.notesSlid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charts/chart9.xml" ContentType="application/vnd.openxmlformats-officedocument.drawingml.chart+xml"/>
  <Override PartName="/ppt/charts/style7.xml" ContentType="application/vnd.ms-office.chartstyle+xml"/>
  <Override PartName="/ppt/charts/colors7.xml" ContentType="application/vnd.ms-office.chartcolorstyle+xml"/>
  <Override PartName="/ppt/tags/tag8.xml" ContentType="application/vnd.openxmlformats-officedocument.presentationml.tags+xml"/>
  <Override PartName="/ppt/notesSlides/notesSlide9.xml" ContentType="application/vnd.openxmlformats-officedocument.presentationml.notesSlide+xml"/>
  <Override PartName="/ppt/charts/chart10.xml" ContentType="application/vnd.openxmlformats-officedocument.drawingml.chart+xml"/>
  <Override PartName="/ppt/charts/style8.xml" ContentType="application/vnd.ms-office.chartstyle+xml"/>
  <Override PartName="/ppt/charts/colors8.xml" ContentType="application/vnd.ms-office.chartcolorstyle+xml"/>
  <Override PartName="/ppt/charts/chart11.xml" ContentType="application/vnd.openxmlformats-officedocument.drawingml.chart+xml"/>
  <Override PartName="/ppt/charts/style9.xml" ContentType="application/vnd.ms-office.chartstyle+xml"/>
  <Override PartName="/ppt/charts/colors9.xml" ContentType="application/vnd.ms-office.chartcolorstyle+xml"/>
  <Override PartName="/ppt/tags/tag9.xml" ContentType="application/vnd.openxmlformats-officedocument.presentationml.tags+xml"/>
  <Override PartName="/ppt/notesSlides/notesSlide10.xml" ContentType="application/vnd.openxmlformats-officedocument.presentationml.notesSlide+xml"/>
  <Override PartName="/ppt/charts/chart12.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charts/chart13.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4.xml" ContentType="application/vnd.openxmlformats-officedocument.drawingml.chart+xml"/>
  <Override PartName="/ppt/drawings/drawing1.xml" ContentType="application/vnd.openxmlformats-officedocument.drawingml.chartshape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1.xml" ContentType="application/vnd.openxmlformats-officedocument.presentationml.tags+xml"/>
  <Override PartName="/ppt/notesSlides/notesSlide18.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31" r:id="rId4"/>
    <p:sldMasterId id="2147483802" r:id="rId5"/>
    <p:sldMasterId id="2147483838" r:id="rId6"/>
  </p:sldMasterIdLst>
  <p:notesMasterIdLst>
    <p:notesMasterId r:id="rId30"/>
  </p:notesMasterIdLst>
  <p:handoutMasterIdLst>
    <p:handoutMasterId r:id="rId31"/>
  </p:handoutMasterIdLst>
  <p:sldIdLst>
    <p:sldId id="2080107947" r:id="rId7"/>
    <p:sldId id="15998" r:id="rId8"/>
    <p:sldId id="2147482675" r:id="rId9"/>
    <p:sldId id="2147482432" r:id="rId10"/>
    <p:sldId id="2147482380" r:id="rId11"/>
    <p:sldId id="2147482671" r:id="rId12"/>
    <p:sldId id="2147309149" r:id="rId13"/>
    <p:sldId id="2147482361" r:id="rId14"/>
    <p:sldId id="2147482422" r:id="rId15"/>
    <p:sldId id="2147471349" r:id="rId16"/>
    <p:sldId id="2147482217" r:id="rId17"/>
    <p:sldId id="2147482672" r:id="rId18"/>
    <p:sldId id="2147482561" r:id="rId19"/>
    <p:sldId id="2147482673" r:id="rId20"/>
    <p:sldId id="2147482674" r:id="rId21"/>
    <p:sldId id="2147471363" r:id="rId22"/>
    <p:sldId id="2080107892" r:id="rId23"/>
    <p:sldId id="2147471155" r:id="rId24"/>
    <p:sldId id="2147471326" r:id="rId25"/>
    <p:sldId id="2147482658" r:id="rId26"/>
    <p:sldId id="2147482237" r:id="rId27"/>
    <p:sldId id="783" r:id="rId28"/>
    <p:sldId id="2147482235" r:id="rId29"/>
  </p:sldIdLst>
  <p:sldSz cx="12195175" cy="6858000"/>
  <p:notesSz cx="7104063" cy="10234613"/>
  <p:custDataLst>
    <p:tags r:id="rId3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C963A8A2-9933-4D09-B1DE-AC86B4B622DE}">
          <p14:sldIdLst>
            <p14:sldId id="2080107947"/>
            <p14:sldId id="15998"/>
            <p14:sldId id="2147482675"/>
            <p14:sldId id="2147482432"/>
            <p14:sldId id="2147482380"/>
          </p14:sldIdLst>
        </p14:section>
        <p14:section name="Abschnitt ohne Titel" id="{FC69A672-5EFB-43CC-BE64-4F65058911C7}">
          <p14:sldIdLst>
            <p14:sldId id="2147482671"/>
            <p14:sldId id="2147309149"/>
            <p14:sldId id="2147482361"/>
            <p14:sldId id="2147482422"/>
            <p14:sldId id="2147471349"/>
            <p14:sldId id="2147482217"/>
            <p14:sldId id="2147482672"/>
            <p14:sldId id="2147482561"/>
            <p14:sldId id="2147482673"/>
            <p14:sldId id="2147482674"/>
            <p14:sldId id="2147471363"/>
            <p14:sldId id="2080107892"/>
            <p14:sldId id="2147471155"/>
            <p14:sldId id="2147471326"/>
            <p14:sldId id="2147482658"/>
            <p14:sldId id="2147482237"/>
            <p14:sldId id="783"/>
            <p14:sldId id="2147482235"/>
          </p14:sldIdLst>
        </p14:section>
      </p14:sectionLst>
    </p:ext>
    <p:ext uri="{EFAFB233-063F-42B5-8137-9DF3F51BA10A}">
      <p15:sldGuideLst xmlns:p15="http://schemas.microsoft.com/office/powerpoint/2012/main">
        <p15:guide id="1" orient="horz" pos="890" userDrawn="1">
          <p15:clr>
            <a:srgbClr val="A4A3A4"/>
          </p15:clr>
        </p15:guide>
        <p15:guide id="3" orient="horz" pos="255" userDrawn="1">
          <p15:clr>
            <a:srgbClr val="A4A3A4"/>
          </p15:clr>
        </p15:guide>
        <p15:guide id="5" orient="horz" pos="3952" userDrawn="1">
          <p15:clr>
            <a:srgbClr val="A4A3A4"/>
          </p15:clr>
        </p15:guide>
        <p15:guide id="6" pos="3705" userDrawn="1">
          <p15:clr>
            <a:srgbClr val="A4A3A4"/>
          </p15:clr>
        </p15:guide>
        <p15:guide id="7" pos="3977" userDrawn="1">
          <p15:clr>
            <a:srgbClr val="A4A3A4"/>
          </p15:clr>
        </p15:guide>
        <p15:guide id="8" pos="7424" userDrawn="1">
          <p15:clr>
            <a:srgbClr val="A4A3A4"/>
          </p15:clr>
        </p15:guide>
        <p15:guide id="9" pos="258" userDrawn="1">
          <p15:clr>
            <a:srgbClr val="A4A3A4"/>
          </p15:clr>
        </p15:guide>
        <p15:guide id="10" orient="horz" pos="754" userDrawn="1">
          <p15:clr>
            <a:srgbClr val="A4A3A4"/>
          </p15:clr>
        </p15:guide>
      </p15:sldGuideLst>
    </p:ext>
    <p:ext uri="{2D200454-40CA-4A62-9FC3-DE9A4176ACB9}">
      <p15:notesGuideLst xmlns:p15="http://schemas.microsoft.com/office/powerpoint/2012/main">
        <p15:guide id="1" orient="horz" pos="3224" userDrawn="1">
          <p15:clr>
            <a:srgbClr val="A4A3A4"/>
          </p15:clr>
        </p15:guide>
        <p15:guide id="2" pos="2238" userDrawn="1">
          <p15:clr>
            <a:srgbClr val="A4A3A4"/>
          </p15:clr>
        </p15:guide>
        <p15:guide id="3" orient="horz" pos="3325" userDrawn="1">
          <p15:clr>
            <a:srgbClr val="A4A3A4"/>
          </p15:clr>
        </p15:guide>
        <p15:guide id="4" pos="123" userDrawn="1">
          <p15:clr>
            <a:srgbClr val="A4A3A4"/>
          </p15:clr>
        </p15:guide>
        <p15:guide id="5" pos="435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seph, Robert (UIA)" initials="JR(" lastIdx="2" clrIdx="0">
    <p:extLst>
      <p:ext uri="{19B8F6BF-5375-455C-9EA6-DF929625EA0E}">
        <p15:presenceInfo xmlns:p15="http://schemas.microsoft.com/office/powerpoint/2012/main" userId="S::XZ4A20D@UNION-INVESTMENT.DE::39a33e62-733b-46b7-aa37-9e8a7cb50ce8" providerId="AD"/>
      </p:ext>
    </p:extLst>
  </p:cmAuthor>
  <p:cmAuthor id="2" name="Pfeifer, Roland (UIA)" initials="PR(" lastIdx="6" clrIdx="1">
    <p:extLst>
      <p:ext uri="{19B8F6BF-5375-455C-9EA6-DF929625EA0E}">
        <p15:presenceInfo xmlns:p15="http://schemas.microsoft.com/office/powerpoint/2012/main" userId="S::XZ49B41@UNION-INVESTMENT.DE::cca49d36-798b-4af4-b94e-238e5d6fb6e5" providerId="AD"/>
      </p:ext>
    </p:extLst>
  </p:cmAuthor>
  <p:cmAuthor id="3" name="Laure, Valentin (UIA)" initials="LV(" lastIdx="9" clrIdx="2">
    <p:extLst>
      <p:ext uri="{19B8F6BF-5375-455C-9EA6-DF929625EA0E}">
        <p15:presenceInfo xmlns:p15="http://schemas.microsoft.com/office/powerpoint/2012/main" userId="S::XZ4AC3D@UNION-INVESTMENT.DE::42884d6a-a9d3-4950-981d-13f8f552f26b" providerId="AD"/>
      </p:ext>
    </p:extLst>
  </p:cmAuthor>
  <p:cmAuthor id="4" name="Böhm, Andrea (UIA)" initials="BA(" lastIdx="9" clrIdx="3">
    <p:extLst>
      <p:ext uri="{19B8F6BF-5375-455C-9EA6-DF929625EA0E}">
        <p15:presenceInfo xmlns:p15="http://schemas.microsoft.com/office/powerpoint/2012/main" userId="S::XZ49CDD@union-investment.de::7ea19523-28cd-4459-9471-b24b559d736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F39B2CAA-1A15-407F-99DE-F99985EEE35F}" styleName="UI AS1_1">
    <a:wholeTbl>
      <a:tcStyle>
        <a:tcBdr>
          <a:left>
            <a:ln w="9525" cmpd="sng">
              <a:solidFill>
                <a:srgbClr val="888888">
                  <a:alpha val="0"/>
                </a:srgbClr>
              </a:solidFill>
            </a:ln>
          </a:left>
          <a:right>
            <a:ln w="9525" cmpd="sng">
              <a:solidFill>
                <a:srgbClr val="888888">
                  <a:alpha val="0"/>
                </a:srgbClr>
              </a:solidFill>
            </a:ln>
          </a:right>
          <a:top>
            <a:ln w="9525" cmpd="sng">
              <a:solidFill>
                <a:srgbClr val="888888"/>
              </a:solidFill>
            </a:ln>
          </a:top>
          <a:bottom>
            <a:ln w="9525" cmpd="sng">
              <a:solidFill>
                <a:srgbClr val="888888"/>
              </a:solidFill>
            </a:ln>
          </a:bottom>
          <a:insideH>
            <a:ln w="9525" cmpd="sng">
              <a:solidFill>
                <a:srgbClr val="888888"/>
              </a:solidFill>
            </a:ln>
          </a:insideH>
          <a:insideV>
            <a:ln w="9525" cmpd="sng">
              <a:solidFill>
                <a:srgbClr val="888888"/>
              </a:solidFill>
            </a:ln>
          </a:insideV>
        </a:tcBdr>
      </a:tcStyle>
    </a:wholeTbl>
    <a:band1V>
      <a:tcStyle>
        <a:tcBdr/>
        <a:fill>
          <a:solidFill>
            <a:srgbClr val="99ABD0"/>
          </a:solidFill>
        </a:fill>
      </a:tcStyle>
    </a:band1V>
    <a:band2V>
      <a:tcStyle>
        <a:tcBdr/>
        <a:fill>
          <a:solidFill>
            <a:srgbClr val="C8D5E7"/>
          </a:solidFill>
        </a:fill>
      </a:tcStyle>
    </a:band2V>
    <a:firstRow>
      <a:tcTxStyle b="on"/>
      <a:tcStyle>
        <a:tcBdr/>
      </a:tcStyle>
    </a:firstRow>
  </a:tblStyle>
  <a:tblStyle styleId="{30D8C818-C6F1-4154-B738-128AF0B8612A}" styleName="UI AS1_2">
    <a:wholeTbl>
      <a:tcStyle>
        <a:tcBdr>
          <a:left>
            <a:ln w="9525" cmpd="sng">
              <a:solidFill>
                <a:srgbClr val="888888">
                  <a:alpha val="0"/>
                </a:srgbClr>
              </a:solidFill>
            </a:ln>
          </a:left>
          <a:right>
            <a:ln w="9525" cmpd="sng">
              <a:solidFill>
                <a:srgbClr val="888888">
                  <a:alpha val="0"/>
                </a:srgbClr>
              </a:solidFill>
            </a:ln>
          </a:right>
          <a:top>
            <a:ln w="9525" cmpd="sng">
              <a:solidFill>
                <a:srgbClr val="888888"/>
              </a:solidFill>
            </a:ln>
          </a:top>
          <a:bottom>
            <a:ln w="9525" cmpd="sng">
              <a:solidFill>
                <a:srgbClr val="888888"/>
              </a:solidFill>
            </a:ln>
          </a:bottom>
          <a:insideH>
            <a:ln w="9525" cmpd="sng">
              <a:solidFill>
                <a:srgbClr val="888888"/>
              </a:solidFill>
            </a:ln>
          </a:insideH>
          <a:insideV>
            <a:ln w="9525" cmpd="sng">
              <a:solidFill>
                <a:srgbClr val="888888"/>
              </a:solidFill>
            </a:ln>
          </a:insideV>
        </a:tcBdr>
      </a:tcStyle>
    </a:wholeTbl>
    <a:band1V>
      <a:tcStyle>
        <a:tcBdr/>
        <a:fill>
          <a:solidFill>
            <a:srgbClr val="C8D5E7"/>
          </a:solidFill>
        </a:fill>
      </a:tcStyle>
    </a:band1V>
    <a:band2V>
      <a:tcStyle>
        <a:tcBdr/>
        <a:fill>
          <a:solidFill>
            <a:srgbClr val="FFFFFF"/>
          </a:solidFill>
        </a:fill>
      </a:tcStyle>
    </a:band2V>
    <a:firstRow>
      <a:tcTxStyle b="on"/>
      <a:tcStyle>
        <a:tcBdr/>
      </a:tcStyle>
    </a:firstRow>
  </a:tblStyle>
  <a:tblStyle styleId="{1E3A0169-6674-4C20-A82E-6037CBC8BB7D}" styleName="UI AS2_1">
    <a:wholeTbl>
      <a:tcStyle>
        <a:tcBdr>
          <a:left>
            <a:ln w="9525" cmpd="sng">
              <a:solidFill>
                <a:srgbClr val="888888">
                  <a:alpha val="0"/>
                </a:srgbClr>
              </a:solidFill>
            </a:ln>
          </a:left>
          <a:right>
            <a:ln w="9525" cmpd="sng">
              <a:solidFill>
                <a:srgbClr val="888888">
                  <a:alpha val="0"/>
                </a:srgbClr>
              </a:solidFill>
            </a:ln>
          </a:right>
          <a:top>
            <a:ln w="9525" cmpd="sng">
              <a:solidFill>
                <a:srgbClr val="888888"/>
              </a:solidFill>
            </a:ln>
          </a:top>
          <a:bottom>
            <a:ln w="9525" cmpd="sng">
              <a:solidFill>
                <a:srgbClr val="888888"/>
              </a:solidFill>
            </a:ln>
          </a:bottom>
          <a:insideH>
            <a:ln w="9525" cmpd="sng">
              <a:solidFill>
                <a:srgbClr val="888888"/>
              </a:solidFill>
            </a:ln>
          </a:insideH>
          <a:insideV>
            <a:ln w="9525" cmpd="sng">
              <a:solidFill>
                <a:srgbClr val="888888"/>
              </a:solidFill>
            </a:ln>
          </a:insideV>
        </a:tcBdr>
      </a:tcStyle>
    </a:wholeTbl>
    <a:band1V>
      <a:tcStyle>
        <a:tcBdr/>
        <a:fill>
          <a:solidFill>
            <a:srgbClr val="C3C3C3"/>
          </a:solidFill>
        </a:fill>
      </a:tcStyle>
    </a:band1V>
    <a:band2V>
      <a:tcStyle>
        <a:tcBdr/>
        <a:fill>
          <a:solidFill>
            <a:srgbClr val="E9E9E9"/>
          </a:solidFill>
        </a:fill>
      </a:tcStyle>
    </a:band2V>
    <a:firstRow>
      <a:tcTxStyle b="on"/>
      <a:tcStyle>
        <a:tcBdr/>
      </a:tcStyle>
    </a:firstRow>
  </a:tblStyle>
  <a:tblStyle styleId="{5DD8936B-8AD9-4A24-9442-D502FB0A1F22}" styleName="UI AS2_2">
    <a:wholeTbl>
      <a:tcStyle>
        <a:tcBdr>
          <a:left>
            <a:ln w="9525" cmpd="sng">
              <a:solidFill>
                <a:srgbClr val="888888">
                  <a:alpha val="0"/>
                </a:srgbClr>
              </a:solidFill>
            </a:ln>
          </a:left>
          <a:right>
            <a:ln w="9525" cmpd="sng">
              <a:solidFill>
                <a:srgbClr val="888888">
                  <a:alpha val="0"/>
                </a:srgbClr>
              </a:solidFill>
            </a:ln>
          </a:right>
          <a:top>
            <a:ln w="9525" cmpd="sng">
              <a:solidFill>
                <a:srgbClr val="888888"/>
              </a:solidFill>
            </a:ln>
          </a:top>
          <a:bottom>
            <a:ln w="9525" cmpd="sng">
              <a:solidFill>
                <a:srgbClr val="888888"/>
              </a:solidFill>
            </a:ln>
          </a:bottom>
          <a:insideH>
            <a:ln w="9525" cmpd="sng">
              <a:solidFill>
                <a:srgbClr val="888888"/>
              </a:solidFill>
            </a:ln>
          </a:insideH>
          <a:insideV>
            <a:ln w="9525" cmpd="sng">
              <a:solidFill>
                <a:srgbClr val="888888"/>
              </a:solidFill>
            </a:ln>
          </a:insideV>
        </a:tcBdr>
      </a:tcStyle>
    </a:wholeTbl>
    <a:band1V>
      <a:tcStyle>
        <a:tcBdr/>
        <a:fill>
          <a:solidFill>
            <a:srgbClr val="E9E9E9"/>
          </a:solidFill>
        </a:fill>
      </a:tcStyle>
    </a:band1V>
    <a:band2V>
      <a:tcStyle>
        <a:tcBdr/>
        <a:fill>
          <a:solidFill>
            <a:srgbClr val="FFFFFF"/>
          </a:solidFill>
        </a:fill>
      </a:tcStyle>
    </a:band2V>
    <a:firstRow>
      <a:tcTxStyle b="on"/>
      <a:tcStyle>
        <a:tcBdr/>
      </a:tcStyle>
    </a:firstRow>
  </a:tblStyle>
  <a:tblStyle styleId="{03D87EAF-2353-4199-8FB8-0BD005B3FF13}" styleName="UI AZ1_1">
    <a:wholeTbl>
      <a:tcStyle>
        <a:tcBdr>
          <a:left>
            <a:ln w="9525" cmpd="sng">
              <a:solidFill>
                <a:srgbClr val="888888">
                  <a:alpha val="0"/>
                </a:srgbClr>
              </a:solidFill>
            </a:ln>
          </a:left>
          <a:right>
            <a:ln w="9525" cmpd="sng">
              <a:solidFill>
                <a:srgbClr val="888888">
                  <a:alpha val="0"/>
                </a:srgbClr>
              </a:solidFill>
            </a:ln>
          </a:right>
          <a:top>
            <a:ln w="9525" cmpd="sng">
              <a:solidFill>
                <a:srgbClr val="888888"/>
              </a:solidFill>
            </a:ln>
          </a:top>
          <a:bottom>
            <a:ln w="9525" cmpd="sng">
              <a:solidFill>
                <a:srgbClr val="888888"/>
              </a:solidFill>
            </a:ln>
          </a:bottom>
          <a:insideH>
            <a:ln w="9525" cmpd="sng">
              <a:solidFill>
                <a:srgbClr val="888888"/>
              </a:solidFill>
            </a:ln>
          </a:insideH>
          <a:insideV>
            <a:ln w="9525" cmpd="sng">
              <a:solidFill>
                <a:srgbClr val="888888"/>
              </a:solidFill>
            </a:ln>
          </a:insideV>
        </a:tcBdr>
      </a:tcStyle>
    </a:wholeTbl>
    <a:band1H>
      <a:tcStyle>
        <a:tcBdr/>
        <a:fill>
          <a:solidFill>
            <a:srgbClr val="C8D5E7"/>
          </a:solidFill>
        </a:fill>
      </a:tcStyle>
    </a:band1H>
    <a:band2H>
      <a:tcStyle>
        <a:tcBdr/>
        <a:fill>
          <a:solidFill>
            <a:srgbClr val="99ABD0"/>
          </a:solidFill>
        </a:fill>
      </a:tcStyle>
    </a:band2H>
    <a:firstRow>
      <a:tcTxStyle b="on"/>
      <a:tcStyle>
        <a:tcBdr/>
        <a:fill>
          <a:solidFill>
            <a:srgbClr val="99ABD0"/>
          </a:solidFill>
        </a:fill>
      </a:tcStyle>
    </a:firstRow>
  </a:tblStyle>
  <a:tblStyle styleId="{32300EB3-721E-4E5C-B44C-291C0DC6C459}" styleName="UI AZ1_2">
    <a:wholeTbl>
      <a:tcStyle>
        <a:tcBdr>
          <a:left>
            <a:ln w="9525" cmpd="sng">
              <a:solidFill>
                <a:srgbClr val="888888">
                  <a:alpha val="0"/>
                </a:srgbClr>
              </a:solidFill>
            </a:ln>
          </a:left>
          <a:right>
            <a:ln w="9525" cmpd="sng">
              <a:solidFill>
                <a:srgbClr val="888888">
                  <a:alpha val="0"/>
                </a:srgbClr>
              </a:solidFill>
            </a:ln>
          </a:right>
          <a:top>
            <a:ln w="9525" cmpd="sng">
              <a:solidFill>
                <a:srgbClr val="888888"/>
              </a:solidFill>
            </a:ln>
          </a:top>
          <a:bottom>
            <a:ln w="9525" cmpd="sng">
              <a:solidFill>
                <a:srgbClr val="888888"/>
              </a:solidFill>
            </a:ln>
          </a:bottom>
          <a:insideH>
            <a:ln w="9525" cmpd="sng">
              <a:solidFill>
                <a:srgbClr val="888888"/>
              </a:solidFill>
            </a:ln>
          </a:insideH>
          <a:insideV>
            <a:ln w="9525" cmpd="sng">
              <a:solidFill>
                <a:srgbClr val="888888"/>
              </a:solidFill>
            </a:ln>
          </a:insideV>
        </a:tcBdr>
      </a:tcStyle>
    </a:wholeTbl>
    <a:band1H>
      <a:tcStyle>
        <a:tcBdr/>
        <a:fill>
          <a:solidFill>
            <a:srgbClr val="FFFFFF"/>
          </a:solidFill>
        </a:fill>
      </a:tcStyle>
    </a:band1H>
    <a:band2H>
      <a:tcStyle>
        <a:tcBdr/>
        <a:fill>
          <a:solidFill>
            <a:srgbClr val="C8D5E7"/>
          </a:solidFill>
        </a:fill>
      </a:tcStyle>
    </a:band2H>
    <a:firstRow>
      <a:tcTxStyle b="on"/>
      <a:tcStyle>
        <a:tcBdr/>
        <a:fill>
          <a:solidFill>
            <a:srgbClr val="C8D5E7"/>
          </a:solidFill>
        </a:fill>
      </a:tcStyle>
    </a:firstRow>
  </a:tblStyle>
  <a:tblStyle styleId="{7BD0280F-D6A3-4600-AC20-75A76A8F6356}" styleName="UI AZ2_1">
    <a:wholeTbl>
      <a:tcStyle>
        <a:tcBdr>
          <a:left>
            <a:ln w="9525" cmpd="sng">
              <a:solidFill>
                <a:srgbClr val="888888">
                  <a:alpha val="0"/>
                </a:srgbClr>
              </a:solidFill>
            </a:ln>
          </a:left>
          <a:right>
            <a:ln w="9525" cmpd="sng">
              <a:solidFill>
                <a:srgbClr val="888888">
                  <a:alpha val="0"/>
                </a:srgbClr>
              </a:solidFill>
            </a:ln>
          </a:right>
          <a:top>
            <a:ln w="9525" cmpd="sng">
              <a:solidFill>
                <a:srgbClr val="888888"/>
              </a:solidFill>
            </a:ln>
          </a:top>
          <a:bottom>
            <a:ln w="9525" cmpd="sng">
              <a:solidFill>
                <a:srgbClr val="888888"/>
              </a:solidFill>
            </a:ln>
          </a:bottom>
          <a:insideH>
            <a:ln w="9525" cmpd="sng">
              <a:solidFill>
                <a:srgbClr val="888888"/>
              </a:solidFill>
            </a:ln>
          </a:insideH>
          <a:insideV>
            <a:ln w="9525" cmpd="sng">
              <a:solidFill>
                <a:srgbClr val="888888"/>
              </a:solidFill>
            </a:ln>
          </a:insideV>
        </a:tcBdr>
      </a:tcStyle>
    </a:wholeTbl>
    <a:band1H>
      <a:tcStyle>
        <a:tcBdr/>
        <a:fill>
          <a:solidFill>
            <a:srgbClr val="E9E9E9"/>
          </a:solidFill>
        </a:fill>
      </a:tcStyle>
    </a:band1H>
    <a:band2H>
      <a:tcStyle>
        <a:tcBdr/>
        <a:fill>
          <a:solidFill>
            <a:srgbClr val="C3C3C3"/>
          </a:solidFill>
        </a:fill>
      </a:tcStyle>
    </a:band2H>
    <a:firstRow>
      <a:tcTxStyle b="on"/>
      <a:tcStyle>
        <a:tcBdr/>
        <a:fill>
          <a:solidFill>
            <a:srgbClr val="C3C3C3"/>
          </a:solidFill>
        </a:fill>
      </a:tcStyle>
    </a:firstRow>
  </a:tblStyle>
  <a:tblStyle styleId="{E33E3997-E29A-42EE-9B7F-5C0F9CD0EB87}" styleName="UI AZ2_2">
    <a:wholeTbl>
      <a:tcStyle>
        <a:tcBdr>
          <a:left>
            <a:ln w="9525" cmpd="sng">
              <a:solidFill>
                <a:srgbClr val="888888">
                  <a:alpha val="0"/>
                </a:srgbClr>
              </a:solidFill>
            </a:ln>
          </a:left>
          <a:right>
            <a:ln w="9525" cmpd="sng">
              <a:solidFill>
                <a:srgbClr val="888888">
                  <a:alpha val="0"/>
                </a:srgbClr>
              </a:solidFill>
            </a:ln>
          </a:right>
          <a:top>
            <a:ln w="9525" cmpd="sng">
              <a:solidFill>
                <a:srgbClr val="888888"/>
              </a:solidFill>
            </a:ln>
          </a:top>
          <a:bottom>
            <a:ln w="9525" cmpd="sng">
              <a:solidFill>
                <a:srgbClr val="888888"/>
              </a:solidFill>
            </a:ln>
          </a:bottom>
          <a:insideH>
            <a:ln w="9525" cmpd="sng">
              <a:solidFill>
                <a:srgbClr val="888888"/>
              </a:solidFill>
            </a:ln>
          </a:insideH>
          <a:insideV>
            <a:ln w="9525" cmpd="sng">
              <a:solidFill>
                <a:srgbClr val="888888"/>
              </a:solidFill>
            </a:ln>
          </a:insideV>
        </a:tcBdr>
      </a:tcStyle>
    </a:wholeTbl>
    <a:band1H>
      <a:tcStyle>
        <a:tcBdr/>
        <a:fill>
          <a:solidFill>
            <a:srgbClr val="FFFFFF"/>
          </a:solidFill>
        </a:fill>
      </a:tcStyle>
    </a:band1H>
    <a:band2H>
      <a:tcStyle>
        <a:tcBdr/>
        <a:fill>
          <a:solidFill>
            <a:srgbClr val="E9E9E9"/>
          </a:solidFill>
        </a:fill>
      </a:tcStyle>
    </a:band2H>
    <a:firstRow>
      <a:tcTxStyle b="on"/>
      <a:tcStyle>
        <a:tcBdr/>
        <a:fill>
          <a:solidFill>
            <a:srgbClr val="E9E9E9"/>
          </a:solidFill>
        </a:fill>
      </a:tcStyle>
    </a:firstRow>
  </a:tblStyle>
  <a:tblStyle styleId="{DECBC435-4BFA-4176-8E2B-C89B1E963627}" styleName="UI B1_1">
    <a:wholeTbl>
      <a:tcStyle>
        <a:tcBdr>
          <a:left>
            <a:ln w="9525" cmpd="sng">
              <a:solidFill>
                <a:srgbClr val="888888">
                  <a:alpha val="0"/>
                </a:srgbClr>
              </a:solidFill>
            </a:ln>
          </a:left>
          <a:right>
            <a:ln w="9525" cmpd="sng">
              <a:solidFill>
                <a:srgbClr val="888888">
                  <a:alpha val="0"/>
                </a:srgbClr>
              </a:solidFill>
            </a:ln>
          </a:right>
          <a:top>
            <a:ln w="9525" cmpd="sng">
              <a:solidFill>
                <a:srgbClr val="888888"/>
              </a:solidFill>
            </a:ln>
          </a:top>
          <a:bottom>
            <a:ln w="9525" cmpd="sng">
              <a:solidFill>
                <a:srgbClr val="888888"/>
              </a:solidFill>
            </a:ln>
          </a:bottom>
          <a:insideH>
            <a:ln w="9525" cmpd="sng">
              <a:solidFill>
                <a:srgbClr val="888888"/>
              </a:solidFill>
            </a:ln>
          </a:insideH>
          <a:insideV>
            <a:ln w="0" cmpd="sng">
              <a:solidFill>
                <a:srgbClr val="888888"/>
              </a:solidFill>
            </a:ln>
          </a:insideV>
        </a:tcBdr>
      </a:tcStyle>
    </a:wholeTbl>
    <a:band1V>
      <a:tcStyle>
        <a:tcBdr/>
        <a:fill>
          <a:solidFill>
            <a:srgbClr val="99ABD0"/>
          </a:solidFill>
        </a:fill>
      </a:tcStyle>
    </a:band1V>
    <a:band2V>
      <a:tcStyle>
        <a:tcBdr/>
        <a:fill>
          <a:solidFill>
            <a:srgbClr val="C8D5E7"/>
          </a:solidFill>
        </a:fill>
      </a:tcStyle>
    </a:band2V>
    <a:firstRow>
      <a:tcTxStyle b="on"/>
      <a:tcStyle>
        <a:tcBdr/>
      </a:tcStyle>
    </a:firstRow>
  </a:tblStyle>
  <a:tblStyle styleId="{78C723AF-3EF7-4CB0-A07A-FA22C3DA67E6}" styleName="UI B1_2">
    <a:wholeTbl>
      <a:tcStyle>
        <a:tcBdr>
          <a:left>
            <a:ln w="9525" cmpd="sng">
              <a:solidFill>
                <a:srgbClr val="888888">
                  <a:alpha val="0"/>
                </a:srgbClr>
              </a:solidFill>
            </a:ln>
          </a:left>
          <a:right>
            <a:ln w="9525" cmpd="sng">
              <a:solidFill>
                <a:srgbClr val="888888">
                  <a:alpha val="0"/>
                </a:srgbClr>
              </a:solidFill>
            </a:ln>
          </a:right>
          <a:top>
            <a:ln w="9525" cmpd="sng">
              <a:solidFill>
                <a:srgbClr val="888888"/>
              </a:solidFill>
            </a:ln>
          </a:top>
          <a:bottom>
            <a:ln w="9525" cmpd="sng">
              <a:solidFill>
                <a:srgbClr val="888888"/>
              </a:solidFill>
            </a:ln>
          </a:bottom>
          <a:insideH>
            <a:ln w="9525" cmpd="sng">
              <a:solidFill>
                <a:srgbClr val="888888"/>
              </a:solidFill>
            </a:ln>
          </a:insideH>
          <a:insideV>
            <a:ln w="0" cmpd="sng">
              <a:solidFill>
                <a:srgbClr val="888888"/>
              </a:solidFill>
            </a:ln>
          </a:insideV>
        </a:tcBdr>
      </a:tcStyle>
    </a:wholeTbl>
    <a:band1V>
      <a:tcStyle>
        <a:tcBdr/>
        <a:fill>
          <a:solidFill>
            <a:srgbClr val="C8D5E7"/>
          </a:solidFill>
        </a:fill>
      </a:tcStyle>
    </a:band1V>
    <a:band2V>
      <a:tcStyle>
        <a:tcBdr/>
        <a:fill>
          <a:solidFill>
            <a:srgbClr val="FFFFFF"/>
          </a:solidFill>
        </a:fill>
      </a:tcStyle>
    </a:band2V>
    <a:firstRow>
      <a:tcTxStyle b="on"/>
      <a:tcStyle>
        <a:tcBdr/>
      </a:tcStyle>
    </a:firstRow>
  </a:tblStyle>
  <a:tblStyle styleId="{11F655A5-072F-4134-96FA-BC43747E6B31}" styleName="UI B2_1">
    <a:wholeTbl>
      <a:tcStyle>
        <a:tcBdr>
          <a:left>
            <a:ln w="9525" cmpd="sng">
              <a:solidFill>
                <a:srgbClr val="888888">
                  <a:alpha val="0"/>
                </a:srgbClr>
              </a:solidFill>
            </a:ln>
          </a:left>
          <a:right>
            <a:ln w="9525" cmpd="sng">
              <a:solidFill>
                <a:srgbClr val="888888">
                  <a:alpha val="0"/>
                </a:srgbClr>
              </a:solidFill>
            </a:ln>
          </a:right>
          <a:top>
            <a:ln w="9525" cmpd="sng">
              <a:solidFill>
                <a:srgbClr val="888888"/>
              </a:solidFill>
            </a:ln>
          </a:top>
          <a:bottom>
            <a:ln w="9525" cmpd="sng">
              <a:solidFill>
                <a:srgbClr val="888888"/>
              </a:solidFill>
            </a:ln>
          </a:bottom>
          <a:insideH>
            <a:ln w="9525" cmpd="sng">
              <a:solidFill>
                <a:srgbClr val="888888"/>
              </a:solidFill>
            </a:ln>
          </a:insideH>
          <a:insideV>
            <a:ln w="0" cmpd="sng">
              <a:solidFill>
                <a:srgbClr val="888888"/>
              </a:solidFill>
            </a:ln>
          </a:insideV>
        </a:tcBdr>
      </a:tcStyle>
    </a:wholeTbl>
    <a:band1V>
      <a:tcStyle>
        <a:tcBdr/>
        <a:fill>
          <a:solidFill>
            <a:srgbClr val="C3C3C3"/>
          </a:solidFill>
        </a:fill>
      </a:tcStyle>
    </a:band1V>
    <a:band2V>
      <a:tcStyle>
        <a:tcBdr/>
        <a:fill>
          <a:solidFill>
            <a:srgbClr val="E9E9E9"/>
          </a:solidFill>
        </a:fill>
      </a:tcStyle>
    </a:band2V>
    <a:firstRow>
      <a:tcTxStyle b="on"/>
      <a:tcStyle>
        <a:tcBdr/>
      </a:tcStyle>
    </a:firstRow>
  </a:tblStyle>
  <a:tblStyle styleId="{50BB10BF-A844-40C1-9722-E969FFAFA2FA}" styleName="UI B2_2">
    <a:wholeTbl>
      <a:tcStyle>
        <a:tcBdr>
          <a:left>
            <a:ln w="9525" cmpd="sng">
              <a:solidFill>
                <a:srgbClr val="888888">
                  <a:alpha val="0"/>
                </a:srgbClr>
              </a:solidFill>
            </a:ln>
          </a:left>
          <a:right>
            <a:ln w="9525" cmpd="sng">
              <a:solidFill>
                <a:srgbClr val="888888">
                  <a:alpha val="0"/>
                </a:srgbClr>
              </a:solidFill>
            </a:ln>
          </a:right>
          <a:top>
            <a:ln w="9525" cmpd="sng">
              <a:solidFill>
                <a:srgbClr val="888888"/>
              </a:solidFill>
            </a:ln>
          </a:top>
          <a:bottom>
            <a:ln w="9525" cmpd="sng">
              <a:solidFill>
                <a:srgbClr val="888888"/>
              </a:solidFill>
            </a:ln>
          </a:bottom>
          <a:insideH>
            <a:ln w="9525" cmpd="sng">
              <a:solidFill>
                <a:srgbClr val="888888"/>
              </a:solidFill>
            </a:ln>
          </a:insideH>
          <a:insideV>
            <a:ln w="0" cmpd="sng">
              <a:solidFill>
                <a:srgbClr val="888888"/>
              </a:solidFill>
            </a:ln>
          </a:insideV>
        </a:tcBdr>
      </a:tcStyle>
    </a:wholeTbl>
    <a:band1V>
      <a:tcStyle>
        <a:tcBdr/>
        <a:fill>
          <a:solidFill>
            <a:srgbClr val="E9E9E9"/>
          </a:solidFill>
        </a:fill>
      </a:tcStyle>
    </a:band1V>
    <a:band2V>
      <a:tcStyle>
        <a:tcBdr/>
        <a:fill>
          <a:solidFill>
            <a:srgbClr val="FFFFFF"/>
          </a:solidFill>
        </a:fill>
      </a:tcStyle>
    </a:band2V>
    <a:firstRow>
      <a:tcTxStyle b="on"/>
      <a:tcStyle>
        <a:tcBdr/>
      </a:tcStyle>
    </a:firstRow>
  </a:tblStyle>
  <a:tblStyle styleId="{BBD97146-8F87-4247-B9E0-91C8AB984768}" styleName="UI B3_1">
    <a:wholeTbl>
      <a:tcStyle>
        <a:tcBdr>
          <a:left>
            <a:ln w="9525" cmpd="sng">
              <a:solidFill>
                <a:srgbClr val="888888">
                  <a:alpha val="0"/>
                </a:srgbClr>
              </a:solidFill>
            </a:ln>
          </a:left>
          <a:right>
            <a:ln w="9525" cmpd="sng">
              <a:solidFill>
                <a:srgbClr val="888888">
                  <a:alpha val="0"/>
                </a:srgbClr>
              </a:solidFill>
            </a:ln>
          </a:right>
          <a:top>
            <a:ln w="9525" cmpd="sng">
              <a:solidFill>
                <a:srgbClr val="888888"/>
              </a:solidFill>
            </a:ln>
          </a:top>
          <a:bottom>
            <a:ln w="9525" cmpd="sng">
              <a:solidFill>
                <a:srgbClr val="888888"/>
              </a:solidFill>
            </a:ln>
          </a:bottom>
          <a:insideH>
            <a:ln w="9525" cmpd="sng">
              <a:solidFill>
                <a:srgbClr val="888888"/>
              </a:solidFill>
            </a:ln>
          </a:insideH>
          <a:insideV>
            <a:ln w="0" cmpd="sng">
              <a:solidFill>
                <a:srgbClr val="888888"/>
              </a:solidFill>
            </a:ln>
          </a:insideV>
        </a:tcBdr>
      </a:tcStyle>
    </a:wholeTbl>
    <a:band1H>
      <a:tcStyle>
        <a:tcBdr/>
        <a:fill>
          <a:solidFill>
            <a:srgbClr val="C8D5E7"/>
          </a:solidFill>
        </a:fill>
      </a:tcStyle>
    </a:band1H>
    <a:band2H>
      <a:tcStyle>
        <a:tcBdr/>
        <a:fill>
          <a:solidFill>
            <a:srgbClr val="99ABD0"/>
          </a:solidFill>
        </a:fill>
      </a:tcStyle>
    </a:band2H>
    <a:firstRow>
      <a:tcTxStyle b="on"/>
      <a:tcStyle>
        <a:tcBdr/>
        <a:fill>
          <a:solidFill>
            <a:srgbClr val="99ABD0"/>
          </a:solidFill>
        </a:fill>
      </a:tcStyle>
    </a:firstRow>
  </a:tblStyle>
  <a:tblStyle styleId="{A56AA7E0-29E0-4BE1-AD48-241CBFE3988C}" styleName="UI B3_2">
    <a:wholeTbl>
      <a:tcStyle>
        <a:tcBdr>
          <a:left>
            <a:ln w="9525" cmpd="sng">
              <a:solidFill>
                <a:srgbClr val="888888">
                  <a:alpha val="0"/>
                </a:srgbClr>
              </a:solidFill>
            </a:ln>
          </a:left>
          <a:right>
            <a:ln w="9525" cmpd="sng">
              <a:solidFill>
                <a:srgbClr val="888888">
                  <a:alpha val="0"/>
                </a:srgbClr>
              </a:solidFill>
            </a:ln>
          </a:right>
          <a:top>
            <a:ln w="9525" cmpd="sng">
              <a:solidFill>
                <a:srgbClr val="888888"/>
              </a:solidFill>
            </a:ln>
          </a:top>
          <a:bottom>
            <a:ln w="9525" cmpd="sng">
              <a:solidFill>
                <a:srgbClr val="888888"/>
              </a:solidFill>
            </a:ln>
          </a:bottom>
          <a:insideH>
            <a:ln w="9525" cmpd="sng">
              <a:solidFill>
                <a:srgbClr val="888888"/>
              </a:solidFill>
            </a:ln>
          </a:insideH>
          <a:insideV>
            <a:ln w="0" cmpd="sng">
              <a:solidFill>
                <a:srgbClr val="888888"/>
              </a:solidFill>
            </a:ln>
          </a:insideV>
        </a:tcBdr>
      </a:tcStyle>
    </a:wholeTbl>
    <a:band1H>
      <a:tcStyle>
        <a:tcBdr/>
        <a:fill>
          <a:solidFill>
            <a:srgbClr val="FFFFFF"/>
          </a:solidFill>
        </a:fill>
      </a:tcStyle>
    </a:band1H>
    <a:band2H>
      <a:tcStyle>
        <a:tcBdr/>
        <a:fill>
          <a:solidFill>
            <a:srgbClr val="C8D5E7"/>
          </a:solidFill>
        </a:fill>
      </a:tcStyle>
    </a:band2H>
    <a:firstRow>
      <a:tcTxStyle b="on"/>
      <a:tcStyle>
        <a:tcBdr/>
        <a:fill>
          <a:solidFill>
            <a:srgbClr val="C8D5E7"/>
          </a:solidFill>
        </a:fill>
      </a:tcStyle>
    </a:firstRow>
  </a:tblStyle>
  <a:tblStyle styleId="{7FD5DF03-8828-4938-BAE5-2F185645D6C1}" styleName="UI B4_1">
    <a:wholeTbl>
      <a:tcStyle>
        <a:tcBdr>
          <a:left>
            <a:ln w="9525" cmpd="sng">
              <a:solidFill>
                <a:srgbClr val="888888">
                  <a:alpha val="0"/>
                </a:srgbClr>
              </a:solidFill>
            </a:ln>
          </a:left>
          <a:right>
            <a:ln w="9525" cmpd="sng">
              <a:solidFill>
                <a:srgbClr val="888888">
                  <a:alpha val="0"/>
                </a:srgbClr>
              </a:solidFill>
            </a:ln>
          </a:right>
          <a:top>
            <a:ln w="9525" cmpd="sng">
              <a:solidFill>
                <a:srgbClr val="888888"/>
              </a:solidFill>
            </a:ln>
          </a:top>
          <a:bottom>
            <a:ln w="9525" cmpd="sng">
              <a:solidFill>
                <a:srgbClr val="888888"/>
              </a:solidFill>
            </a:ln>
          </a:bottom>
          <a:insideH>
            <a:ln w="9525" cmpd="sng">
              <a:solidFill>
                <a:srgbClr val="888888"/>
              </a:solidFill>
            </a:ln>
          </a:insideH>
          <a:insideV>
            <a:ln w="0" cmpd="sng">
              <a:solidFill>
                <a:srgbClr val="888888"/>
              </a:solidFill>
            </a:ln>
          </a:insideV>
        </a:tcBdr>
      </a:tcStyle>
    </a:wholeTbl>
    <a:band1H>
      <a:tcStyle>
        <a:tcBdr/>
        <a:fill>
          <a:solidFill>
            <a:srgbClr val="E9E9E9"/>
          </a:solidFill>
        </a:fill>
      </a:tcStyle>
    </a:band1H>
    <a:band2H>
      <a:tcStyle>
        <a:tcBdr/>
        <a:fill>
          <a:solidFill>
            <a:srgbClr val="C3C3C3"/>
          </a:solidFill>
        </a:fill>
      </a:tcStyle>
    </a:band2H>
    <a:firstRow>
      <a:tcTxStyle b="on"/>
      <a:tcStyle>
        <a:tcBdr/>
        <a:fill>
          <a:solidFill>
            <a:srgbClr val="C3C3C3"/>
          </a:solidFill>
        </a:fill>
      </a:tcStyle>
    </a:firstRow>
  </a:tblStyle>
  <a:tblStyle styleId="{40F471EE-0B99-41AF-979A-2B282E7158E4}" styleName="UI B4_2">
    <a:wholeTbl>
      <a:tcStyle>
        <a:tcBdr>
          <a:left>
            <a:ln w="9525" cmpd="sng">
              <a:solidFill>
                <a:srgbClr val="888888">
                  <a:alpha val="0"/>
                </a:srgbClr>
              </a:solidFill>
            </a:ln>
          </a:left>
          <a:right>
            <a:ln w="9525" cmpd="sng">
              <a:solidFill>
                <a:srgbClr val="888888">
                  <a:alpha val="0"/>
                </a:srgbClr>
              </a:solidFill>
            </a:ln>
          </a:right>
          <a:top>
            <a:ln w="9525" cmpd="sng">
              <a:solidFill>
                <a:srgbClr val="888888"/>
              </a:solidFill>
            </a:ln>
          </a:top>
          <a:bottom>
            <a:ln w="9525" cmpd="sng">
              <a:solidFill>
                <a:srgbClr val="888888"/>
              </a:solidFill>
            </a:ln>
          </a:bottom>
          <a:insideH>
            <a:ln w="9525" cmpd="sng">
              <a:solidFill>
                <a:srgbClr val="888888"/>
              </a:solidFill>
            </a:ln>
          </a:insideH>
          <a:insideV>
            <a:ln w="0" cmpd="sng">
              <a:solidFill>
                <a:srgbClr val="888888"/>
              </a:solidFill>
            </a:ln>
          </a:insideV>
        </a:tcBdr>
      </a:tcStyle>
    </a:wholeTbl>
    <a:band1H>
      <a:tcStyle>
        <a:tcBdr/>
        <a:fill>
          <a:solidFill>
            <a:srgbClr val="FFFFFF"/>
          </a:solidFill>
        </a:fill>
      </a:tcStyle>
    </a:band1H>
    <a:band2H>
      <a:tcStyle>
        <a:tcBdr/>
        <a:fill>
          <a:solidFill>
            <a:srgbClr val="E9E9E9"/>
          </a:solidFill>
        </a:fill>
      </a:tcStyle>
    </a:band2H>
    <a:firstRow>
      <a:tcTxStyle b="on"/>
      <a:tcStyle>
        <a:tcBdr/>
        <a:fill>
          <a:solidFill>
            <a:srgbClr val="E9E9E9"/>
          </a:solid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865" autoAdjust="0"/>
  </p:normalViewPr>
  <p:slideViewPr>
    <p:cSldViewPr snapToGrid="0">
      <p:cViewPr varScale="1">
        <p:scale>
          <a:sx n="81" d="100"/>
          <a:sy n="81" d="100"/>
        </p:scale>
        <p:origin x="720" y="67"/>
      </p:cViewPr>
      <p:guideLst>
        <p:guide orient="horz" pos="890"/>
        <p:guide orient="horz" pos="255"/>
        <p:guide orient="horz" pos="3952"/>
        <p:guide pos="3705"/>
        <p:guide pos="3977"/>
        <p:guide pos="7424"/>
        <p:guide pos="258"/>
        <p:guide orient="horz" pos="754"/>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66" d="100"/>
          <a:sy n="66" d="100"/>
        </p:scale>
        <p:origin x="0" y="0"/>
      </p:cViewPr>
      <p:guideLst>
        <p:guide orient="horz" pos="3224"/>
        <p:guide pos="2238"/>
        <p:guide orient="horz" pos="3325"/>
        <p:guide pos="123"/>
        <p:guide pos="435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commentAuthors" Target="commentAuthors.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notesMaster" Target="notesMasters/notesMaster1.xml"/><Relationship Id="rId35"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ure, Valentin (UIA)" userId="42884d6a-a9d3-4950-981d-13f8f552f26b" providerId="ADAL" clId="{570B5CC0-06AA-4CE4-A873-21B6D9CFB21D}"/>
    <pc:docChg chg="modSld">
      <pc:chgData name="Laure, Valentin (UIA)" userId="42884d6a-a9d3-4950-981d-13f8f552f26b" providerId="ADAL" clId="{570B5CC0-06AA-4CE4-A873-21B6D9CFB21D}" dt="2024-08-23T07:25:53.563" v="32" actId="20577"/>
      <pc:docMkLst>
        <pc:docMk/>
      </pc:docMkLst>
      <pc:sldChg chg="modSp mod">
        <pc:chgData name="Laure, Valentin (UIA)" userId="42884d6a-a9d3-4950-981d-13f8f552f26b" providerId="ADAL" clId="{570B5CC0-06AA-4CE4-A873-21B6D9CFB21D}" dt="2024-08-23T07:25:53.563" v="32" actId="20577"/>
        <pc:sldMkLst>
          <pc:docMk/>
          <pc:sldMk cId="576668374" sldId="2147482561"/>
        </pc:sldMkLst>
        <pc:spChg chg="mod">
          <ac:chgData name="Laure, Valentin (UIA)" userId="42884d6a-a9d3-4950-981d-13f8f552f26b" providerId="ADAL" clId="{570B5CC0-06AA-4CE4-A873-21B6D9CFB21D}" dt="2024-08-23T07:25:53.563" v="32" actId="20577"/>
          <ac:spMkLst>
            <pc:docMk/>
            <pc:sldMk cId="576668374" sldId="2147482561"/>
            <ac:spMk id="3" creationId="{468F06B1-0DEA-B809-CAF6-73B582E5B7BA}"/>
          </ac:spMkLst>
        </pc:spChg>
      </pc:sldChg>
      <pc:sldChg chg="modSp mod">
        <pc:chgData name="Laure, Valentin (UIA)" userId="42884d6a-a9d3-4950-981d-13f8f552f26b" providerId="ADAL" clId="{570B5CC0-06AA-4CE4-A873-21B6D9CFB21D}" dt="2024-08-23T07:23:32.947" v="10" actId="1036"/>
        <pc:sldMkLst>
          <pc:docMk/>
          <pc:sldMk cId="2636587460" sldId="2147482672"/>
        </pc:sldMkLst>
        <pc:spChg chg="mod">
          <ac:chgData name="Laure, Valentin (UIA)" userId="42884d6a-a9d3-4950-981d-13f8f552f26b" providerId="ADAL" clId="{570B5CC0-06AA-4CE4-A873-21B6D9CFB21D}" dt="2024-08-23T07:23:32.947" v="10" actId="1036"/>
          <ac:spMkLst>
            <pc:docMk/>
            <pc:sldMk cId="2636587460" sldId="2147482672"/>
            <ac:spMk id="18" creationId="{83E7B6D1-6D3A-41E3-9647-4672BE2B8578}"/>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8.xml"/><Relationship Id="rId1" Type="http://schemas.microsoft.com/office/2011/relationships/chartStyle" Target="style8.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9.xml"/><Relationship Id="rId1" Type="http://schemas.microsoft.com/office/2011/relationships/chartStyle" Target="style9.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0.xml"/><Relationship Id="rId1" Type="http://schemas.microsoft.com/office/2011/relationships/chartStyle" Target="style10.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1.xml"/><Relationship Id="rId1" Type="http://schemas.microsoft.com/office/2011/relationships/chartStyle" Target="style11.xml"/></Relationships>
</file>

<file path=ppt/charts/_rels/chart14.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https://unioninvestment-my.sharepoint.com/personal/xz49fe1_union-investment_de/Documents/Tools/Tool%20US%20Politics.xlsm" TargetMode="Externa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3.xml"/><Relationship Id="rId1" Type="http://schemas.microsoft.com/office/2011/relationships/chartStyle" Target="style3.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6.xml"/><Relationship Id="rId1" Type="http://schemas.microsoft.com/office/2011/relationships/chartStyle" Target="style6.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216461135901514E-2"/>
          <c:y val="7.0545787204078128E-2"/>
          <c:w val="0.96888288410573442"/>
          <c:h val="0.86247859672774441"/>
        </c:manualLayout>
      </c:layout>
      <c:barChart>
        <c:barDir val="col"/>
        <c:grouping val="clustered"/>
        <c:varyColors val="0"/>
        <c:ser>
          <c:idx val="0"/>
          <c:order val="0"/>
          <c:tx>
            <c:strRef>
              <c:f>Grafik!$B$1</c:f>
              <c:strCache>
                <c:ptCount val="1"/>
                <c:pt idx="0">
                  <c:v>2023</c:v>
                </c:pt>
              </c:strCache>
            </c:strRef>
          </c:tx>
          <c:spPr>
            <a:solidFill>
              <a:schemeClr val="tx2"/>
            </a:solidFill>
          </c:spPr>
          <c:invertIfNegative val="0"/>
          <c:dLbls>
            <c:dLbl>
              <c:idx val="2"/>
              <c:layout>
                <c:manualLayout>
                  <c:x val="1.1093009997422403E-3"/>
                  <c:y val="8.4565269071857796E-2"/>
                </c:manualLayout>
              </c:layout>
              <c:numFmt formatCode="0.0\ %" sourceLinked="0"/>
              <c:spPr>
                <a:noFill/>
                <a:ln>
                  <a:noFill/>
                </a:ln>
                <a:effectLst/>
              </c:spPr>
              <c:txPr>
                <a:bodyPr rot="-5400000" vert="horz" wrap="square" lIns="38100" tIns="19050" rIns="38100" bIns="19050" anchor="ctr">
                  <a:spAutoFit/>
                </a:bodyPr>
                <a:lstStyle/>
                <a:p>
                  <a:pPr>
                    <a:defRPr>
                      <a:solidFill>
                        <a:schemeClr val="bg1"/>
                      </a:solidFill>
                    </a:defRPr>
                  </a:pPr>
                  <a:endParaRPr lang="de-DE"/>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27B-48EC-A6FE-51ECDA49D296}"/>
                </c:ext>
              </c:extLst>
            </c:dLbl>
            <c:numFmt formatCode="0.0\ %" sourceLinked="0"/>
            <c:spPr>
              <a:noFill/>
              <a:ln>
                <a:noFill/>
              </a:ln>
              <a:effectLst/>
            </c:spPr>
            <c:txPr>
              <a:bodyPr rot="-5400000" vert="horz" wrap="square" lIns="38100" tIns="19050" rIns="38100" bIns="19050" anchor="ctr">
                <a:spAutoFit/>
              </a:bodyPr>
              <a:lstStyle/>
              <a:p>
                <a:pPr>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Grafik!$A$2:$A$18</c:f>
              <c:strCache>
                <c:ptCount val="17"/>
                <c:pt idx="0">
                  <c:v>EURO STOXX 50</c:v>
                </c:pt>
                <c:pt idx="1">
                  <c:v>S&amp;P 500</c:v>
                </c:pt>
                <c:pt idx="2">
                  <c:v>Nasdaq 100</c:v>
                </c:pt>
                <c:pt idx="3">
                  <c:v>Nikkei 225</c:v>
                </c:pt>
                <c:pt idx="4">
                  <c:v>MSCI Em. Markets</c:v>
                </c:pt>
                <c:pt idx="6">
                  <c:v>Euro-Staatsanleihen</c:v>
                </c:pt>
                <c:pt idx="7">
                  <c:v>Euro-Corporates</c:v>
                </c:pt>
                <c:pt idx="8">
                  <c:v>Euro-High Yield</c:v>
                </c:pt>
                <c:pt idx="9">
                  <c:v>EM-Staatsanleihen*</c:v>
                </c:pt>
                <c:pt idx="11">
                  <c:v>Brent-Öl</c:v>
                </c:pt>
                <c:pt idx="12">
                  <c:v>Gold</c:v>
                </c:pt>
                <c:pt idx="13">
                  <c:v>Kupfer</c:v>
                </c:pt>
                <c:pt idx="15">
                  <c:v>USD vs. EUR</c:v>
                </c:pt>
                <c:pt idx="16">
                  <c:v>JPY vs. EUR</c:v>
                </c:pt>
              </c:strCache>
            </c:strRef>
          </c:cat>
          <c:val>
            <c:numRef>
              <c:f>Grafik!$B$2:$B$18</c:f>
              <c:numCache>
                <c:formatCode>0.0%</c:formatCode>
                <c:ptCount val="17"/>
                <c:pt idx="0">
                  <c:v>0.22233405203974566</c:v>
                </c:pt>
                <c:pt idx="1">
                  <c:v>0.2566688659250822</c:v>
                </c:pt>
                <c:pt idx="2">
                  <c:v>0.54700882040127619</c:v>
                </c:pt>
                <c:pt idx="3">
                  <c:v>0.30402405170206004</c:v>
                </c:pt>
                <c:pt idx="4">
                  <c:v>9.8527740905346217E-2</c:v>
                </c:pt>
                <c:pt idx="6">
                  <c:v>7.1524636558182308E-2</c:v>
                </c:pt>
                <c:pt idx="7">
                  <c:v>8.0114337787158707E-2</c:v>
                </c:pt>
                <c:pt idx="8">
                  <c:v>0.11998957717655867</c:v>
                </c:pt>
                <c:pt idx="9">
                  <c:v>0.11091112406836867</c:v>
                </c:pt>
                <c:pt idx="11">
                  <c:v>-8.4838009129991621E-2</c:v>
                </c:pt>
                <c:pt idx="12">
                  <c:v>7.5351007764412614E-2</c:v>
                </c:pt>
                <c:pt idx="13">
                  <c:v>1.4657913208637741E-3</c:v>
                </c:pt>
                <c:pt idx="15">
                  <c:v>-3.3856877744081748E-2</c:v>
                </c:pt>
                <c:pt idx="16">
                  <c:v>-9.5774160416942977E-2</c:v>
                </c:pt>
              </c:numCache>
            </c:numRef>
          </c:val>
          <c:extLst>
            <c:ext xmlns:c16="http://schemas.microsoft.com/office/drawing/2014/chart" uri="{C3380CC4-5D6E-409C-BE32-E72D297353CC}">
              <c16:uniqueId val="{00000011-8EEA-44F9-9F38-FEB494BCCAA2}"/>
            </c:ext>
          </c:extLst>
        </c:ser>
        <c:ser>
          <c:idx val="1"/>
          <c:order val="1"/>
          <c:tx>
            <c:strRef>
              <c:f>Grafik!$C$1</c:f>
              <c:strCache>
                <c:ptCount val="1"/>
                <c:pt idx="0">
                  <c:v>1.1.-15.8.2024</c:v>
                </c:pt>
              </c:strCache>
            </c:strRef>
          </c:tx>
          <c:invertIfNegative val="1"/>
          <c:dPt>
            <c:idx val="15"/>
            <c:invertIfNegative val="1"/>
            <c:bubble3D val="0"/>
            <c:spPr>
              <a:solidFill>
                <a:srgbClr val="E42444"/>
              </a:solidFill>
            </c:spPr>
            <c:extLst>
              <c:ext xmlns:c16="http://schemas.microsoft.com/office/drawing/2014/chart" uri="{C3380CC4-5D6E-409C-BE32-E72D297353CC}">
                <c16:uniqueId val="{00000002-9D38-43BE-B479-86BD0C10E686}"/>
              </c:ext>
            </c:extLst>
          </c:dPt>
          <c:dPt>
            <c:idx val="16"/>
            <c:invertIfNegative val="0"/>
            <c:bubble3D val="0"/>
            <c:spPr>
              <a:solidFill>
                <a:schemeClr val="accent2"/>
              </a:solidFill>
            </c:spPr>
            <c:extLst>
              <c:ext xmlns:c16="http://schemas.microsoft.com/office/drawing/2014/chart" uri="{C3380CC4-5D6E-409C-BE32-E72D297353CC}">
                <c16:uniqueId val="{00000001-BD24-473C-B38D-3C7083274B5D}"/>
              </c:ext>
            </c:extLst>
          </c:dPt>
          <c:dLbls>
            <c:numFmt formatCode="0.0\ %" sourceLinked="0"/>
            <c:spPr>
              <a:noFill/>
              <a:ln>
                <a:noFill/>
              </a:ln>
              <a:effectLst/>
            </c:spPr>
            <c:txPr>
              <a:bodyPr rot="-5400000" vert="horz" wrap="square" lIns="38100" tIns="19050" rIns="38100" bIns="19050" anchor="ctr">
                <a:spAutoFit/>
              </a:bodyPr>
              <a:lstStyle/>
              <a:p>
                <a:pPr>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Grafik!$A$2:$A$18</c:f>
              <c:strCache>
                <c:ptCount val="17"/>
                <c:pt idx="0">
                  <c:v>EURO STOXX 50</c:v>
                </c:pt>
                <c:pt idx="1">
                  <c:v>S&amp;P 500</c:v>
                </c:pt>
                <c:pt idx="2">
                  <c:v>Nasdaq 100</c:v>
                </c:pt>
                <c:pt idx="3">
                  <c:v>Nikkei 225</c:v>
                </c:pt>
                <c:pt idx="4">
                  <c:v>MSCI Em. Markets</c:v>
                </c:pt>
                <c:pt idx="6">
                  <c:v>Euro-Staatsanleihen</c:v>
                </c:pt>
                <c:pt idx="7">
                  <c:v>Euro-Corporates</c:v>
                </c:pt>
                <c:pt idx="8">
                  <c:v>Euro-High Yield</c:v>
                </c:pt>
                <c:pt idx="9">
                  <c:v>EM-Staatsanleihen*</c:v>
                </c:pt>
                <c:pt idx="11">
                  <c:v>Brent-Öl</c:v>
                </c:pt>
                <c:pt idx="12">
                  <c:v>Gold</c:v>
                </c:pt>
                <c:pt idx="13">
                  <c:v>Kupfer</c:v>
                </c:pt>
                <c:pt idx="15">
                  <c:v>USD vs. EUR</c:v>
                </c:pt>
                <c:pt idx="16">
                  <c:v>JPY vs. EUR</c:v>
                </c:pt>
              </c:strCache>
            </c:strRef>
          </c:cat>
          <c:val>
            <c:numRef>
              <c:f>Grafik!$C$2:$C$18</c:f>
              <c:numCache>
                <c:formatCode>0.0%</c:formatCode>
                <c:ptCount val="17"/>
                <c:pt idx="0">
                  <c:v>8.654543930791081E-2</c:v>
                </c:pt>
                <c:pt idx="1">
                  <c:v>0.16920055244246224</c:v>
                </c:pt>
                <c:pt idx="2">
                  <c:v>0.16249205241529041</c:v>
                </c:pt>
                <c:pt idx="3">
                  <c:v>0.10532550305734167</c:v>
                </c:pt>
                <c:pt idx="4">
                  <c:v>9.9991441448628926E-2</c:v>
                </c:pt>
                <c:pt idx="6">
                  <c:v>6.0746724205464897E-3</c:v>
                </c:pt>
                <c:pt idx="7">
                  <c:v>2.2880424005336186E-2</c:v>
                </c:pt>
                <c:pt idx="8">
                  <c:v>4.7470024457092252E-2</c:v>
                </c:pt>
                <c:pt idx="9">
                  <c:v>5.514919564263665E-2</c:v>
                </c:pt>
                <c:pt idx="11">
                  <c:v>6.2114989733059511E-2</c:v>
                </c:pt>
                <c:pt idx="12">
                  <c:v>0.15233819678264116</c:v>
                </c:pt>
                <c:pt idx="13">
                  <c:v>7.5161310272320536E-2</c:v>
                </c:pt>
                <c:pt idx="15">
                  <c:v>-5.6579006925269182E-3</c:v>
                </c:pt>
                <c:pt idx="16">
                  <c:v>5.1224992944680192E-2</c:v>
                </c:pt>
              </c:numCache>
            </c:numRef>
          </c:val>
          <c:extLst>
            <c:ext xmlns:c16="http://schemas.microsoft.com/office/drawing/2014/chart" uri="{C3380CC4-5D6E-409C-BE32-E72D297353CC}">
              <c16:uniqueId val="{00000000-F64B-405E-B5F2-9FF911EF7ED5}"/>
            </c:ext>
          </c:extLst>
        </c:ser>
        <c:dLbls>
          <c:showLegendKey val="0"/>
          <c:showVal val="0"/>
          <c:showCatName val="0"/>
          <c:showSerName val="0"/>
          <c:showPercent val="0"/>
          <c:showBubbleSize val="0"/>
        </c:dLbls>
        <c:gapWidth val="30"/>
        <c:axId val="606944256"/>
        <c:axId val="660042496"/>
      </c:barChart>
      <c:catAx>
        <c:axId val="606944256"/>
        <c:scaling>
          <c:orientation val="minMax"/>
        </c:scaling>
        <c:delete val="0"/>
        <c:axPos val="b"/>
        <c:numFmt formatCode="General" sourceLinked="0"/>
        <c:majorTickMark val="none"/>
        <c:minorTickMark val="none"/>
        <c:tickLblPos val="none"/>
        <c:crossAx val="660042496"/>
        <c:crosses val="autoZero"/>
        <c:auto val="1"/>
        <c:lblAlgn val="ctr"/>
        <c:lblOffset val="100"/>
        <c:noMultiLvlLbl val="0"/>
      </c:catAx>
      <c:valAx>
        <c:axId val="660042496"/>
        <c:scaling>
          <c:orientation val="minMax"/>
          <c:max val="0.55000000000000004"/>
          <c:min val="-0.2"/>
        </c:scaling>
        <c:delete val="1"/>
        <c:axPos val="r"/>
        <c:numFmt formatCode="0.0%" sourceLinked="1"/>
        <c:majorTickMark val="out"/>
        <c:minorTickMark val="none"/>
        <c:tickLblPos val="nextTo"/>
        <c:crossAx val="606944256"/>
        <c:crosses val="max"/>
        <c:crossBetween val="between"/>
      </c:valAx>
    </c:plotArea>
    <c:legend>
      <c:legendPos val="r"/>
      <c:layout>
        <c:manualLayout>
          <c:xMode val="edge"/>
          <c:yMode val="edge"/>
          <c:x val="0.32834086740874541"/>
          <c:y val="0.15004943369140608"/>
          <c:w val="0.31335490967451102"/>
          <c:h val="0.13589629860725225"/>
        </c:manualLayout>
      </c:layout>
      <c:overlay val="0"/>
    </c:legend>
    <c:plotVisOnly val="1"/>
    <c:dispBlanksAs val="gap"/>
    <c:showDLblsOverMax val="0"/>
  </c:chart>
  <c:txPr>
    <a:bodyPr/>
    <a:lstStyle/>
    <a:p>
      <a:pPr>
        <a:defRPr sz="1200"/>
      </a:pPr>
      <a:endParaRPr lang="de-DE"/>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235040833403843"/>
          <c:y val="4.0316102570401018E-2"/>
          <c:w val="0.85805245615359171"/>
          <c:h val="0.7896519496389659"/>
        </c:manualLayout>
      </c:layout>
      <c:lineChart>
        <c:grouping val="standard"/>
        <c:varyColors val="0"/>
        <c:ser>
          <c:idx val="0"/>
          <c:order val="0"/>
          <c:tx>
            <c:strRef>
              <c:f>Tabelle1!$E$8</c:f>
              <c:strCache>
                <c:ptCount val="1"/>
                <c:pt idx="0">
                  <c:v>USA</c:v>
                </c:pt>
              </c:strCache>
            </c:strRef>
          </c:tx>
          <c:spPr>
            <a:ln w="28575" cap="rnd">
              <a:solidFill>
                <a:schemeClr val="accent1"/>
              </a:solidFill>
              <a:round/>
            </a:ln>
            <a:effectLst/>
          </c:spPr>
          <c:marker>
            <c:symbol val="none"/>
          </c:marker>
          <c:cat>
            <c:numRef>
              <c:f>Tabelle1!$D$9:$D$1477</c:f>
              <c:numCache>
                <c:formatCode>dd\.mm\.yyyy</c:formatCode>
                <c:ptCount val="1469"/>
                <c:pt idx="0">
                  <c:v>43466</c:v>
                </c:pt>
                <c:pt idx="1">
                  <c:v>43467</c:v>
                </c:pt>
                <c:pt idx="2">
                  <c:v>43468</c:v>
                </c:pt>
                <c:pt idx="3">
                  <c:v>43469</c:v>
                </c:pt>
                <c:pt idx="4">
                  <c:v>43472</c:v>
                </c:pt>
                <c:pt idx="5">
                  <c:v>43473</c:v>
                </c:pt>
                <c:pt idx="6">
                  <c:v>43474</c:v>
                </c:pt>
                <c:pt idx="7">
                  <c:v>43475</c:v>
                </c:pt>
                <c:pt idx="8">
                  <c:v>43476</c:v>
                </c:pt>
                <c:pt idx="9">
                  <c:v>43479</c:v>
                </c:pt>
                <c:pt idx="10">
                  <c:v>43480</c:v>
                </c:pt>
                <c:pt idx="11">
                  <c:v>43481</c:v>
                </c:pt>
                <c:pt idx="12">
                  <c:v>43482</c:v>
                </c:pt>
                <c:pt idx="13">
                  <c:v>43483</c:v>
                </c:pt>
                <c:pt idx="14">
                  <c:v>43486</c:v>
                </c:pt>
                <c:pt idx="15">
                  <c:v>43487</c:v>
                </c:pt>
                <c:pt idx="16">
                  <c:v>43488</c:v>
                </c:pt>
                <c:pt idx="17">
                  <c:v>43489</c:v>
                </c:pt>
                <c:pt idx="18">
                  <c:v>43490</c:v>
                </c:pt>
                <c:pt idx="19">
                  <c:v>43493</c:v>
                </c:pt>
                <c:pt idx="20">
                  <c:v>43494</c:v>
                </c:pt>
                <c:pt idx="21">
                  <c:v>43495</c:v>
                </c:pt>
                <c:pt idx="22">
                  <c:v>43496</c:v>
                </c:pt>
                <c:pt idx="23">
                  <c:v>43497</c:v>
                </c:pt>
                <c:pt idx="24">
                  <c:v>43500</c:v>
                </c:pt>
                <c:pt idx="25">
                  <c:v>43501</c:v>
                </c:pt>
                <c:pt idx="26">
                  <c:v>43502</c:v>
                </c:pt>
                <c:pt idx="27">
                  <c:v>43503</c:v>
                </c:pt>
                <c:pt idx="28">
                  <c:v>43504</c:v>
                </c:pt>
                <c:pt idx="29">
                  <c:v>43507</c:v>
                </c:pt>
                <c:pt idx="30">
                  <c:v>43508</c:v>
                </c:pt>
                <c:pt idx="31">
                  <c:v>43509</c:v>
                </c:pt>
                <c:pt idx="32">
                  <c:v>43510</c:v>
                </c:pt>
                <c:pt idx="33">
                  <c:v>43511</c:v>
                </c:pt>
                <c:pt idx="34">
                  <c:v>43514</c:v>
                </c:pt>
                <c:pt idx="35">
                  <c:v>43515</c:v>
                </c:pt>
                <c:pt idx="36">
                  <c:v>43516</c:v>
                </c:pt>
                <c:pt idx="37">
                  <c:v>43517</c:v>
                </c:pt>
                <c:pt idx="38">
                  <c:v>43518</c:v>
                </c:pt>
                <c:pt idx="39">
                  <c:v>43521</c:v>
                </c:pt>
                <c:pt idx="40">
                  <c:v>43522</c:v>
                </c:pt>
                <c:pt idx="41">
                  <c:v>43523</c:v>
                </c:pt>
                <c:pt idx="42">
                  <c:v>43524</c:v>
                </c:pt>
                <c:pt idx="43">
                  <c:v>43525</c:v>
                </c:pt>
                <c:pt idx="44">
                  <c:v>43528</c:v>
                </c:pt>
                <c:pt idx="45">
                  <c:v>43529</c:v>
                </c:pt>
                <c:pt idx="46">
                  <c:v>43530</c:v>
                </c:pt>
                <c:pt idx="47">
                  <c:v>43531</c:v>
                </c:pt>
                <c:pt idx="48">
                  <c:v>43532</c:v>
                </c:pt>
                <c:pt idx="49">
                  <c:v>43535</c:v>
                </c:pt>
                <c:pt idx="50">
                  <c:v>43536</c:v>
                </c:pt>
                <c:pt idx="51">
                  <c:v>43537</c:v>
                </c:pt>
                <c:pt idx="52">
                  <c:v>43538</c:v>
                </c:pt>
                <c:pt idx="53">
                  <c:v>43539</c:v>
                </c:pt>
                <c:pt idx="54">
                  <c:v>43542</c:v>
                </c:pt>
                <c:pt idx="55">
                  <c:v>43543</c:v>
                </c:pt>
                <c:pt idx="56">
                  <c:v>43544</c:v>
                </c:pt>
                <c:pt idx="57">
                  <c:v>43545</c:v>
                </c:pt>
                <c:pt idx="58">
                  <c:v>43546</c:v>
                </c:pt>
                <c:pt idx="59">
                  <c:v>43549</c:v>
                </c:pt>
                <c:pt idx="60">
                  <c:v>43550</c:v>
                </c:pt>
                <c:pt idx="61">
                  <c:v>43551</c:v>
                </c:pt>
                <c:pt idx="62">
                  <c:v>43552</c:v>
                </c:pt>
                <c:pt idx="63">
                  <c:v>43553</c:v>
                </c:pt>
                <c:pt idx="64">
                  <c:v>43556</c:v>
                </c:pt>
                <c:pt idx="65">
                  <c:v>43557</c:v>
                </c:pt>
                <c:pt idx="66">
                  <c:v>43558</c:v>
                </c:pt>
                <c:pt idx="67">
                  <c:v>43559</c:v>
                </c:pt>
                <c:pt idx="68">
                  <c:v>43560</c:v>
                </c:pt>
                <c:pt idx="69">
                  <c:v>43563</c:v>
                </c:pt>
                <c:pt idx="70">
                  <c:v>43564</c:v>
                </c:pt>
                <c:pt idx="71">
                  <c:v>43565</c:v>
                </c:pt>
                <c:pt idx="72">
                  <c:v>43566</c:v>
                </c:pt>
                <c:pt idx="73">
                  <c:v>43567</c:v>
                </c:pt>
                <c:pt idx="74">
                  <c:v>43570</c:v>
                </c:pt>
                <c:pt idx="75">
                  <c:v>43571</c:v>
                </c:pt>
                <c:pt idx="76">
                  <c:v>43572</c:v>
                </c:pt>
                <c:pt idx="77">
                  <c:v>43573</c:v>
                </c:pt>
                <c:pt idx="78">
                  <c:v>43574</c:v>
                </c:pt>
                <c:pt idx="79">
                  <c:v>43577</c:v>
                </c:pt>
                <c:pt idx="80">
                  <c:v>43578</c:v>
                </c:pt>
                <c:pt idx="81">
                  <c:v>43579</c:v>
                </c:pt>
                <c:pt idx="82">
                  <c:v>43580</c:v>
                </c:pt>
                <c:pt idx="83">
                  <c:v>43581</c:v>
                </c:pt>
                <c:pt idx="84">
                  <c:v>43584</c:v>
                </c:pt>
                <c:pt idx="85">
                  <c:v>43585</c:v>
                </c:pt>
                <c:pt idx="86">
                  <c:v>43586</c:v>
                </c:pt>
                <c:pt idx="87">
                  <c:v>43587</c:v>
                </c:pt>
                <c:pt idx="88">
                  <c:v>43588</c:v>
                </c:pt>
                <c:pt idx="89">
                  <c:v>43591</c:v>
                </c:pt>
                <c:pt idx="90">
                  <c:v>43592</c:v>
                </c:pt>
                <c:pt idx="91">
                  <c:v>43593</c:v>
                </c:pt>
                <c:pt idx="92">
                  <c:v>43594</c:v>
                </c:pt>
                <c:pt idx="93">
                  <c:v>43595</c:v>
                </c:pt>
                <c:pt idx="94">
                  <c:v>43598</c:v>
                </c:pt>
                <c:pt idx="95">
                  <c:v>43599</c:v>
                </c:pt>
                <c:pt idx="96">
                  <c:v>43600</c:v>
                </c:pt>
                <c:pt idx="97">
                  <c:v>43601</c:v>
                </c:pt>
                <c:pt idx="98">
                  <c:v>43602</c:v>
                </c:pt>
                <c:pt idx="99">
                  <c:v>43605</c:v>
                </c:pt>
                <c:pt idx="100">
                  <c:v>43606</c:v>
                </c:pt>
                <c:pt idx="101">
                  <c:v>43607</c:v>
                </c:pt>
                <c:pt idx="102">
                  <c:v>43608</c:v>
                </c:pt>
                <c:pt idx="103">
                  <c:v>43609</c:v>
                </c:pt>
                <c:pt idx="104">
                  <c:v>43612</c:v>
                </c:pt>
                <c:pt idx="105">
                  <c:v>43613</c:v>
                </c:pt>
                <c:pt idx="106">
                  <c:v>43614</c:v>
                </c:pt>
                <c:pt idx="107">
                  <c:v>43615</c:v>
                </c:pt>
                <c:pt idx="108">
                  <c:v>43616</c:v>
                </c:pt>
                <c:pt idx="109">
                  <c:v>43619</c:v>
                </c:pt>
                <c:pt idx="110">
                  <c:v>43620</c:v>
                </c:pt>
                <c:pt idx="111">
                  <c:v>43621</c:v>
                </c:pt>
                <c:pt idx="112">
                  <c:v>43622</c:v>
                </c:pt>
                <c:pt idx="113">
                  <c:v>43623</c:v>
                </c:pt>
                <c:pt idx="114">
                  <c:v>43626</c:v>
                </c:pt>
                <c:pt idx="115">
                  <c:v>43627</c:v>
                </c:pt>
                <c:pt idx="116">
                  <c:v>43628</c:v>
                </c:pt>
                <c:pt idx="117">
                  <c:v>43629</c:v>
                </c:pt>
                <c:pt idx="118">
                  <c:v>43630</c:v>
                </c:pt>
                <c:pt idx="119">
                  <c:v>43633</c:v>
                </c:pt>
                <c:pt idx="120">
                  <c:v>43634</c:v>
                </c:pt>
                <c:pt idx="121">
                  <c:v>43635</c:v>
                </c:pt>
                <c:pt idx="122">
                  <c:v>43636</c:v>
                </c:pt>
                <c:pt idx="123">
                  <c:v>43637</c:v>
                </c:pt>
                <c:pt idx="124">
                  <c:v>43640</c:v>
                </c:pt>
                <c:pt idx="125">
                  <c:v>43641</c:v>
                </c:pt>
                <c:pt idx="126">
                  <c:v>43642</c:v>
                </c:pt>
                <c:pt idx="127">
                  <c:v>43643</c:v>
                </c:pt>
                <c:pt idx="128">
                  <c:v>43644</c:v>
                </c:pt>
                <c:pt idx="129">
                  <c:v>43647</c:v>
                </c:pt>
                <c:pt idx="130">
                  <c:v>43648</c:v>
                </c:pt>
                <c:pt idx="131">
                  <c:v>43649</c:v>
                </c:pt>
                <c:pt idx="132">
                  <c:v>43650</c:v>
                </c:pt>
                <c:pt idx="133">
                  <c:v>43651</c:v>
                </c:pt>
                <c:pt idx="134">
                  <c:v>43654</c:v>
                </c:pt>
                <c:pt idx="135">
                  <c:v>43655</c:v>
                </c:pt>
                <c:pt idx="136">
                  <c:v>43656</c:v>
                </c:pt>
                <c:pt idx="137">
                  <c:v>43657</c:v>
                </c:pt>
                <c:pt idx="138">
                  <c:v>43658</c:v>
                </c:pt>
                <c:pt idx="139">
                  <c:v>43661</c:v>
                </c:pt>
                <c:pt idx="140">
                  <c:v>43662</c:v>
                </c:pt>
                <c:pt idx="141">
                  <c:v>43663</c:v>
                </c:pt>
                <c:pt idx="142">
                  <c:v>43664</c:v>
                </c:pt>
                <c:pt idx="143">
                  <c:v>43665</c:v>
                </c:pt>
                <c:pt idx="144">
                  <c:v>43668</c:v>
                </c:pt>
                <c:pt idx="145">
                  <c:v>43669</c:v>
                </c:pt>
                <c:pt idx="146">
                  <c:v>43670</c:v>
                </c:pt>
                <c:pt idx="147">
                  <c:v>43671</c:v>
                </c:pt>
                <c:pt idx="148">
                  <c:v>43672</c:v>
                </c:pt>
                <c:pt idx="149">
                  <c:v>43675</c:v>
                </c:pt>
                <c:pt idx="150">
                  <c:v>43676</c:v>
                </c:pt>
                <c:pt idx="151">
                  <c:v>43677</c:v>
                </c:pt>
                <c:pt idx="152">
                  <c:v>43678</c:v>
                </c:pt>
                <c:pt idx="153">
                  <c:v>43679</c:v>
                </c:pt>
                <c:pt idx="154">
                  <c:v>43682</c:v>
                </c:pt>
                <c:pt idx="155">
                  <c:v>43683</c:v>
                </c:pt>
                <c:pt idx="156">
                  <c:v>43684</c:v>
                </c:pt>
                <c:pt idx="157">
                  <c:v>43685</c:v>
                </c:pt>
                <c:pt idx="158">
                  <c:v>43686</c:v>
                </c:pt>
                <c:pt idx="159">
                  <c:v>43689</c:v>
                </c:pt>
                <c:pt idx="160">
                  <c:v>43690</c:v>
                </c:pt>
                <c:pt idx="161">
                  <c:v>43691</c:v>
                </c:pt>
                <c:pt idx="162">
                  <c:v>43692</c:v>
                </c:pt>
                <c:pt idx="163">
                  <c:v>43693</c:v>
                </c:pt>
                <c:pt idx="164">
                  <c:v>43696</c:v>
                </c:pt>
                <c:pt idx="165">
                  <c:v>43697</c:v>
                </c:pt>
                <c:pt idx="166">
                  <c:v>43698</c:v>
                </c:pt>
                <c:pt idx="167">
                  <c:v>43699</c:v>
                </c:pt>
                <c:pt idx="168">
                  <c:v>43700</c:v>
                </c:pt>
                <c:pt idx="169">
                  <c:v>43703</c:v>
                </c:pt>
                <c:pt idx="170">
                  <c:v>43704</c:v>
                </c:pt>
                <c:pt idx="171">
                  <c:v>43705</c:v>
                </c:pt>
                <c:pt idx="172">
                  <c:v>43706</c:v>
                </c:pt>
                <c:pt idx="173">
                  <c:v>43707</c:v>
                </c:pt>
                <c:pt idx="174">
                  <c:v>43710</c:v>
                </c:pt>
                <c:pt idx="175">
                  <c:v>43711</c:v>
                </c:pt>
                <c:pt idx="176">
                  <c:v>43712</c:v>
                </c:pt>
                <c:pt idx="177">
                  <c:v>43713</c:v>
                </c:pt>
                <c:pt idx="178">
                  <c:v>43714</c:v>
                </c:pt>
                <c:pt idx="179">
                  <c:v>43717</c:v>
                </c:pt>
                <c:pt idx="180">
                  <c:v>43718</c:v>
                </c:pt>
                <c:pt idx="181">
                  <c:v>43719</c:v>
                </c:pt>
                <c:pt idx="182">
                  <c:v>43720</c:v>
                </c:pt>
                <c:pt idx="183">
                  <c:v>43721</c:v>
                </c:pt>
                <c:pt idx="184">
                  <c:v>43724</c:v>
                </c:pt>
                <c:pt idx="185">
                  <c:v>43725</c:v>
                </c:pt>
                <c:pt idx="186">
                  <c:v>43726</c:v>
                </c:pt>
                <c:pt idx="187">
                  <c:v>43727</c:v>
                </c:pt>
                <c:pt idx="188">
                  <c:v>43728</c:v>
                </c:pt>
                <c:pt idx="189">
                  <c:v>43731</c:v>
                </c:pt>
                <c:pt idx="190">
                  <c:v>43732</c:v>
                </c:pt>
                <c:pt idx="191">
                  <c:v>43733</c:v>
                </c:pt>
                <c:pt idx="192">
                  <c:v>43734</c:v>
                </c:pt>
                <c:pt idx="193">
                  <c:v>43735</c:v>
                </c:pt>
                <c:pt idx="194">
                  <c:v>43738</c:v>
                </c:pt>
                <c:pt idx="195">
                  <c:v>43739</c:v>
                </c:pt>
                <c:pt idx="196">
                  <c:v>43740</c:v>
                </c:pt>
                <c:pt idx="197">
                  <c:v>43741</c:v>
                </c:pt>
                <c:pt idx="198">
                  <c:v>43742</c:v>
                </c:pt>
                <c:pt idx="199">
                  <c:v>43745</c:v>
                </c:pt>
                <c:pt idx="200">
                  <c:v>43746</c:v>
                </c:pt>
                <c:pt idx="201">
                  <c:v>43747</c:v>
                </c:pt>
                <c:pt idx="202">
                  <c:v>43748</c:v>
                </c:pt>
                <c:pt idx="203">
                  <c:v>43749</c:v>
                </c:pt>
                <c:pt idx="204">
                  <c:v>43752</c:v>
                </c:pt>
                <c:pt idx="205">
                  <c:v>43753</c:v>
                </c:pt>
                <c:pt idx="206">
                  <c:v>43754</c:v>
                </c:pt>
                <c:pt idx="207">
                  <c:v>43755</c:v>
                </c:pt>
                <c:pt idx="208">
                  <c:v>43756</c:v>
                </c:pt>
                <c:pt idx="209">
                  <c:v>43759</c:v>
                </c:pt>
                <c:pt idx="210">
                  <c:v>43760</c:v>
                </c:pt>
                <c:pt idx="211">
                  <c:v>43761</c:v>
                </c:pt>
                <c:pt idx="212">
                  <c:v>43762</c:v>
                </c:pt>
                <c:pt idx="213">
                  <c:v>43763</c:v>
                </c:pt>
                <c:pt idx="214">
                  <c:v>43766</c:v>
                </c:pt>
                <c:pt idx="215">
                  <c:v>43767</c:v>
                </c:pt>
                <c:pt idx="216">
                  <c:v>43768</c:v>
                </c:pt>
                <c:pt idx="217">
                  <c:v>43769</c:v>
                </c:pt>
                <c:pt idx="218">
                  <c:v>43770</c:v>
                </c:pt>
                <c:pt idx="219">
                  <c:v>43773</c:v>
                </c:pt>
                <c:pt idx="220">
                  <c:v>43774</c:v>
                </c:pt>
                <c:pt idx="221">
                  <c:v>43775</c:v>
                </c:pt>
                <c:pt idx="222">
                  <c:v>43776</c:v>
                </c:pt>
                <c:pt idx="223">
                  <c:v>43777</c:v>
                </c:pt>
                <c:pt idx="224">
                  <c:v>43780</c:v>
                </c:pt>
                <c:pt idx="225">
                  <c:v>43781</c:v>
                </c:pt>
                <c:pt idx="226">
                  <c:v>43782</c:v>
                </c:pt>
                <c:pt idx="227">
                  <c:v>43783</c:v>
                </c:pt>
                <c:pt idx="228">
                  <c:v>43784</c:v>
                </c:pt>
                <c:pt idx="229">
                  <c:v>43787</c:v>
                </c:pt>
                <c:pt idx="230">
                  <c:v>43788</c:v>
                </c:pt>
                <c:pt idx="231">
                  <c:v>43789</c:v>
                </c:pt>
                <c:pt idx="232">
                  <c:v>43790</c:v>
                </c:pt>
                <c:pt idx="233">
                  <c:v>43791</c:v>
                </c:pt>
                <c:pt idx="234">
                  <c:v>43794</c:v>
                </c:pt>
                <c:pt idx="235">
                  <c:v>43795</c:v>
                </c:pt>
                <c:pt idx="236">
                  <c:v>43796</c:v>
                </c:pt>
                <c:pt idx="237">
                  <c:v>43797</c:v>
                </c:pt>
                <c:pt idx="238">
                  <c:v>43798</c:v>
                </c:pt>
                <c:pt idx="239">
                  <c:v>43801</c:v>
                </c:pt>
                <c:pt idx="240">
                  <c:v>43802</c:v>
                </c:pt>
                <c:pt idx="241">
                  <c:v>43803</c:v>
                </c:pt>
                <c:pt idx="242">
                  <c:v>43804</c:v>
                </c:pt>
                <c:pt idx="243">
                  <c:v>43805</c:v>
                </c:pt>
                <c:pt idx="244">
                  <c:v>43808</c:v>
                </c:pt>
                <c:pt idx="245">
                  <c:v>43809</c:v>
                </c:pt>
                <c:pt idx="246">
                  <c:v>43810</c:v>
                </c:pt>
                <c:pt idx="247">
                  <c:v>43811</c:v>
                </c:pt>
                <c:pt idx="248">
                  <c:v>43812</c:v>
                </c:pt>
                <c:pt idx="249">
                  <c:v>43815</c:v>
                </c:pt>
                <c:pt idx="250">
                  <c:v>43816</c:v>
                </c:pt>
                <c:pt idx="251">
                  <c:v>43817</c:v>
                </c:pt>
                <c:pt idx="252">
                  <c:v>43818</c:v>
                </c:pt>
                <c:pt idx="253">
                  <c:v>43819</c:v>
                </c:pt>
                <c:pt idx="254">
                  <c:v>43822</c:v>
                </c:pt>
                <c:pt idx="255">
                  <c:v>43823</c:v>
                </c:pt>
                <c:pt idx="256">
                  <c:v>43824</c:v>
                </c:pt>
                <c:pt idx="257">
                  <c:v>43825</c:v>
                </c:pt>
                <c:pt idx="258">
                  <c:v>43826</c:v>
                </c:pt>
                <c:pt idx="259">
                  <c:v>43829</c:v>
                </c:pt>
                <c:pt idx="260">
                  <c:v>43830</c:v>
                </c:pt>
                <c:pt idx="261">
                  <c:v>43831</c:v>
                </c:pt>
                <c:pt idx="262">
                  <c:v>43832</c:v>
                </c:pt>
                <c:pt idx="263">
                  <c:v>43833</c:v>
                </c:pt>
                <c:pt idx="264">
                  <c:v>43836</c:v>
                </c:pt>
                <c:pt idx="265">
                  <c:v>43837</c:v>
                </c:pt>
                <c:pt idx="266">
                  <c:v>43838</c:v>
                </c:pt>
                <c:pt idx="267">
                  <c:v>43839</c:v>
                </c:pt>
                <c:pt idx="268">
                  <c:v>43840</c:v>
                </c:pt>
                <c:pt idx="269">
                  <c:v>43843</c:v>
                </c:pt>
                <c:pt idx="270">
                  <c:v>43844</c:v>
                </c:pt>
                <c:pt idx="271">
                  <c:v>43845</c:v>
                </c:pt>
                <c:pt idx="272">
                  <c:v>43846</c:v>
                </c:pt>
                <c:pt idx="273">
                  <c:v>43847</c:v>
                </c:pt>
                <c:pt idx="274">
                  <c:v>43850</c:v>
                </c:pt>
                <c:pt idx="275">
                  <c:v>43851</c:v>
                </c:pt>
                <c:pt idx="276">
                  <c:v>43852</c:v>
                </c:pt>
                <c:pt idx="277">
                  <c:v>43853</c:v>
                </c:pt>
                <c:pt idx="278">
                  <c:v>43854</c:v>
                </c:pt>
                <c:pt idx="279">
                  <c:v>43857</c:v>
                </c:pt>
                <c:pt idx="280">
                  <c:v>43858</c:v>
                </c:pt>
                <c:pt idx="281">
                  <c:v>43859</c:v>
                </c:pt>
                <c:pt idx="282">
                  <c:v>43860</c:v>
                </c:pt>
                <c:pt idx="283">
                  <c:v>43861</c:v>
                </c:pt>
                <c:pt idx="284">
                  <c:v>43864</c:v>
                </c:pt>
                <c:pt idx="285">
                  <c:v>43865</c:v>
                </c:pt>
                <c:pt idx="286">
                  <c:v>43866</c:v>
                </c:pt>
                <c:pt idx="287">
                  <c:v>43867</c:v>
                </c:pt>
                <c:pt idx="288">
                  <c:v>43868</c:v>
                </c:pt>
                <c:pt idx="289">
                  <c:v>43871</c:v>
                </c:pt>
                <c:pt idx="290">
                  <c:v>43872</c:v>
                </c:pt>
                <c:pt idx="291">
                  <c:v>43873</c:v>
                </c:pt>
                <c:pt idx="292">
                  <c:v>43874</c:v>
                </c:pt>
                <c:pt idx="293">
                  <c:v>43875</c:v>
                </c:pt>
                <c:pt idx="294">
                  <c:v>43878</c:v>
                </c:pt>
                <c:pt idx="295">
                  <c:v>43879</c:v>
                </c:pt>
                <c:pt idx="296">
                  <c:v>43880</c:v>
                </c:pt>
                <c:pt idx="297">
                  <c:v>43881</c:v>
                </c:pt>
                <c:pt idx="298">
                  <c:v>43882</c:v>
                </c:pt>
                <c:pt idx="299">
                  <c:v>43885</c:v>
                </c:pt>
                <c:pt idx="300">
                  <c:v>43886</c:v>
                </c:pt>
                <c:pt idx="301">
                  <c:v>43887</c:v>
                </c:pt>
                <c:pt idx="302">
                  <c:v>43888</c:v>
                </c:pt>
                <c:pt idx="303">
                  <c:v>43889</c:v>
                </c:pt>
                <c:pt idx="304">
                  <c:v>43892</c:v>
                </c:pt>
                <c:pt idx="305">
                  <c:v>43893</c:v>
                </c:pt>
                <c:pt idx="306">
                  <c:v>43894</c:v>
                </c:pt>
                <c:pt idx="307">
                  <c:v>43895</c:v>
                </c:pt>
                <c:pt idx="308">
                  <c:v>43896</c:v>
                </c:pt>
                <c:pt idx="309">
                  <c:v>43899</c:v>
                </c:pt>
                <c:pt idx="310">
                  <c:v>43900</c:v>
                </c:pt>
                <c:pt idx="311">
                  <c:v>43901</c:v>
                </c:pt>
                <c:pt idx="312">
                  <c:v>43902</c:v>
                </c:pt>
                <c:pt idx="313">
                  <c:v>43903</c:v>
                </c:pt>
                <c:pt idx="314">
                  <c:v>43906</c:v>
                </c:pt>
                <c:pt idx="315">
                  <c:v>43907</c:v>
                </c:pt>
                <c:pt idx="316">
                  <c:v>43908</c:v>
                </c:pt>
                <c:pt idx="317">
                  <c:v>43909</c:v>
                </c:pt>
                <c:pt idx="318">
                  <c:v>43910</c:v>
                </c:pt>
                <c:pt idx="319">
                  <c:v>43913</c:v>
                </c:pt>
                <c:pt idx="320">
                  <c:v>43914</c:v>
                </c:pt>
                <c:pt idx="321">
                  <c:v>43915</c:v>
                </c:pt>
                <c:pt idx="322">
                  <c:v>43916</c:v>
                </c:pt>
                <c:pt idx="323">
                  <c:v>43917</c:v>
                </c:pt>
                <c:pt idx="324">
                  <c:v>43920</c:v>
                </c:pt>
                <c:pt idx="325">
                  <c:v>43921</c:v>
                </c:pt>
                <c:pt idx="326">
                  <c:v>43922</c:v>
                </c:pt>
                <c:pt idx="327">
                  <c:v>43923</c:v>
                </c:pt>
                <c:pt idx="328">
                  <c:v>43924</c:v>
                </c:pt>
                <c:pt idx="329">
                  <c:v>43927</c:v>
                </c:pt>
                <c:pt idx="330">
                  <c:v>43928</c:v>
                </c:pt>
                <c:pt idx="331">
                  <c:v>43929</c:v>
                </c:pt>
                <c:pt idx="332">
                  <c:v>43930</c:v>
                </c:pt>
                <c:pt idx="333">
                  <c:v>43931</c:v>
                </c:pt>
                <c:pt idx="334">
                  <c:v>43934</c:v>
                </c:pt>
                <c:pt idx="335">
                  <c:v>43935</c:v>
                </c:pt>
                <c:pt idx="336">
                  <c:v>43936</c:v>
                </c:pt>
                <c:pt idx="337">
                  <c:v>43937</c:v>
                </c:pt>
                <c:pt idx="338">
                  <c:v>43938</c:v>
                </c:pt>
                <c:pt idx="339">
                  <c:v>43941</c:v>
                </c:pt>
                <c:pt idx="340">
                  <c:v>43942</c:v>
                </c:pt>
                <c:pt idx="341">
                  <c:v>43943</c:v>
                </c:pt>
                <c:pt idx="342">
                  <c:v>43944</c:v>
                </c:pt>
                <c:pt idx="343">
                  <c:v>43945</c:v>
                </c:pt>
                <c:pt idx="344">
                  <c:v>43948</c:v>
                </c:pt>
                <c:pt idx="345">
                  <c:v>43949</c:v>
                </c:pt>
                <c:pt idx="346">
                  <c:v>43950</c:v>
                </c:pt>
                <c:pt idx="347">
                  <c:v>43951</c:v>
                </c:pt>
                <c:pt idx="348">
                  <c:v>43952</c:v>
                </c:pt>
                <c:pt idx="349">
                  <c:v>43955</c:v>
                </c:pt>
                <c:pt idx="350">
                  <c:v>43956</c:v>
                </c:pt>
                <c:pt idx="351">
                  <c:v>43957</c:v>
                </c:pt>
                <c:pt idx="352">
                  <c:v>43958</c:v>
                </c:pt>
                <c:pt idx="353">
                  <c:v>43959</c:v>
                </c:pt>
                <c:pt idx="354">
                  <c:v>43962</c:v>
                </c:pt>
                <c:pt idx="355">
                  <c:v>43963</c:v>
                </c:pt>
                <c:pt idx="356">
                  <c:v>43964</c:v>
                </c:pt>
                <c:pt idx="357">
                  <c:v>43965</c:v>
                </c:pt>
                <c:pt idx="358">
                  <c:v>43966</c:v>
                </c:pt>
                <c:pt idx="359">
                  <c:v>43969</c:v>
                </c:pt>
                <c:pt idx="360">
                  <c:v>43970</c:v>
                </c:pt>
                <c:pt idx="361">
                  <c:v>43971</c:v>
                </c:pt>
                <c:pt idx="362">
                  <c:v>43972</c:v>
                </c:pt>
                <c:pt idx="363">
                  <c:v>43973</c:v>
                </c:pt>
                <c:pt idx="364">
                  <c:v>43976</c:v>
                </c:pt>
                <c:pt idx="365">
                  <c:v>43977</c:v>
                </c:pt>
                <c:pt idx="366">
                  <c:v>43978</c:v>
                </c:pt>
                <c:pt idx="367">
                  <c:v>43979</c:v>
                </c:pt>
                <c:pt idx="368">
                  <c:v>43980</c:v>
                </c:pt>
                <c:pt idx="369">
                  <c:v>43983</c:v>
                </c:pt>
                <c:pt idx="370">
                  <c:v>43984</c:v>
                </c:pt>
                <c:pt idx="371">
                  <c:v>43985</c:v>
                </c:pt>
                <c:pt idx="372">
                  <c:v>43986</c:v>
                </c:pt>
                <c:pt idx="373">
                  <c:v>43987</c:v>
                </c:pt>
                <c:pt idx="374">
                  <c:v>43990</c:v>
                </c:pt>
                <c:pt idx="375">
                  <c:v>43991</c:v>
                </c:pt>
                <c:pt idx="376">
                  <c:v>43992</c:v>
                </c:pt>
                <c:pt idx="377">
                  <c:v>43993</c:v>
                </c:pt>
                <c:pt idx="378">
                  <c:v>43994</c:v>
                </c:pt>
                <c:pt idx="379">
                  <c:v>43997</c:v>
                </c:pt>
                <c:pt idx="380">
                  <c:v>43998</c:v>
                </c:pt>
                <c:pt idx="381">
                  <c:v>43999</c:v>
                </c:pt>
                <c:pt idx="382">
                  <c:v>44000</c:v>
                </c:pt>
                <c:pt idx="383">
                  <c:v>44001</c:v>
                </c:pt>
                <c:pt idx="384">
                  <c:v>44004</c:v>
                </c:pt>
                <c:pt idx="385">
                  <c:v>44005</c:v>
                </c:pt>
                <c:pt idx="386">
                  <c:v>44006</c:v>
                </c:pt>
                <c:pt idx="387">
                  <c:v>44007</c:v>
                </c:pt>
                <c:pt idx="388">
                  <c:v>44008</c:v>
                </c:pt>
                <c:pt idx="389">
                  <c:v>44011</c:v>
                </c:pt>
                <c:pt idx="390">
                  <c:v>44012</c:v>
                </c:pt>
                <c:pt idx="391">
                  <c:v>44013</c:v>
                </c:pt>
                <c:pt idx="392">
                  <c:v>44014</c:v>
                </c:pt>
                <c:pt idx="393">
                  <c:v>44015</c:v>
                </c:pt>
                <c:pt idx="394">
                  <c:v>44018</c:v>
                </c:pt>
                <c:pt idx="395">
                  <c:v>44019</c:v>
                </c:pt>
                <c:pt idx="396">
                  <c:v>44020</c:v>
                </c:pt>
                <c:pt idx="397">
                  <c:v>44021</c:v>
                </c:pt>
                <c:pt idx="398">
                  <c:v>44022</c:v>
                </c:pt>
                <c:pt idx="399">
                  <c:v>44025</c:v>
                </c:pt>
                <c:pt idx="400">
                  <c:v>44026</c:v>
                </c:pt>
                <c:pt idx="401">
                  <c:v>44027</c:v>
                </c:pt>
                <c:pt idx="402">
                  <c:v>44028</c:v>
                </c:pt>
                <c:pt idx="403">
                  <c:v>44029</c:v>
                </c:pt>
                <c:pt idx="404">
                  <c:v>44032</c:v>
                </c:pt>
                <c:pt idx="405">
                  <c:v>44033</c:v>
                </c:pt>
                <c:pt idx="406">
                  <c:v>44034</c:v>
                </c:pt>
                <c:pt idx="407">
                  <c:v>44035</c:v>
                </c:pt>
                <c:pt idx="408">
                  <c:v>44036</c:v>
                </c:pt>
                <c:pt idx="409">
                  <c:v>44039</c:v>
                </c:pt>
                <c:pt idx="410">
                  <c:v>44040</c:v>
                </c:pt>
                <c:pt idx="411">
                  <c:v>44041</c:v>
                </c:pt>
                <c:pt idx="412">
                  <c:v>44042</c:v>
                </c:pt>
                <c:pt idx="413">
                  <c:v>44043</c:v>
                </c:pt>
                <c:pt idx="414">
                  <c:v>44046</c:v>
                </c:pt>
                <c:pt idx="415">
                  <c:v>44047</c:v>
                </c:pt>
                <c:pt idx="416">
                  <c:v>44048</c:v>
                </c:pt>
                <c:pt idx="417">
                  <c:v>44049</c:v>
                </c:pt>
                <c:pt idx="418">
                  <c:v>44050</c:v>
                </c:pt>
                <c:pt idx="419">
                  <c:v>44053</c:v>
                </c:pt>
                <c:pt idx="420">
                  <c:v>44054</c:v>
                </c:pt>
                <c:pt idx="421">
                  <c:v>44055</c:v>
                </c:pt>
                <c:pt idx="422">
                  <c:v>44056</c:v>
                </c:pt>
                <c:pt idx="423">
                  <c:v>44057</c:v>
                </c:pt>
                <c:pt idx="424">
                  <c:v>44060</c:v>
                </c:pt>
                <c:pt idx="425">
                  <c:v>44061</c:v>
                </c:pt>
                <c:pt idx="426">
                  <c:v>44062</c:v>
                </c:pt>
                <c:pt idx="427">
                  <c:v>44063</c:v>
                </c:pt>
                <c:pt idx="428">
                  <c:v>44064</c:v>
                </c:pt>
                <c:pt idx="429">
                  <c:v>44067</c:v>
                </c:pt>
                <c:pt idx="430">
                  <c:v>44068</c:v>
                </c:pt>
                <c:pt idx="431">
                  <c:v>44069</c:v>
                </c:pt>
                <c:pt idx="432">
                  <c:v>44070</c:v>
                </c:pt>
                <c:pt idx="433">
                  <c:v>44071</c:v>
                </c:pt>
                <c:pt idx="434">
                  <c:v>44074</c:v>
                </c:pt>
                <c:pt idx="435">
                  <c:v>44075</c:v>
                </c:pt>
                <c:pt idx="436">
                  <c:v>44076</c:v>
                </c:pt>
                <c:pt idx="437">
                  <c:v>44077</c:v>
                </c:pt>
                <c:pt idx="438">
                  <c:v>44078</c:v>
                </c:pt>
                <c:pt idx="439">
                  <c:v>44081</c:v>
                </c:pt>
                <c:pt idx="440">
                  <c:v>44082</c:v>
                </c:pt>
                <c:pt idx="441">
                  <c:v>44083</c:v>
                </c:pt>
                <c:pt idx="442">
                  <c:v>44084</c:v>
                </c:pt>
                <c:pt idx="443">
                  <c:v>44085</c:v>
                </c:pt>
                <c:pt idx="444">
                  <c:v>44088</c:v>
                </c:pt>
                <c:pt idx="445">
                  <c:v>44089</c:v>
                </c:pt>
                <c:pt idx="446">
                  <c:v>44090</c:v>
                </c:pt>
                <c:pt idx="447">
                  <c:v>44091</c:v>
                </c:pt>
                <c:pt idx="448">
                  <c:v>44092</c:v>
                </c:pt>
                <c:pt idx="449">
                  <c:v>44095</c:v>
                </c:pt>
                <c:pt idx="450">
                  <c:v>44096</c:v>
                </c:pt>
                <c:pt idx="451">
                  <c:v>44097</c:v>
                </c:pt>
                <c:pt idx="452">
                  <c:v>44098</c:v>
                </c:pt>
                <c:pt idx="453">
                  <c:v>44099</c:v>
                </c:pt>
                <c:pt idx="454">
                  <c:v>44102</c:v>
                </c:pt>
                <c:pt idx="455">
                  <c:v>44103</c:v>
                </c:pt>
                <c:pt idx="456">
                  <c:v>44104</c:v>
                </c:pt>
                <c:pt idx="457">
                  <c:v>44105</c:v>
                </c:pt>
                <c:pt idx="458">
                  <c:v>44106</c:v>
                </c:pt>
                <c:pt idx="459">
                  <c:v>44109</c:v>
                </c:pt>
                <c:pt idx="460">
                  <c:v>44110</c:v>
                </c:pt>
                <c:pt idx="461">
                  <c:v>44111</c:v>
                </c:pt>
                <c:pt idx="462">
                  <c:v>44112</c:v>
                </c:pt>
                <c:pt idx="463">
                  <c:v>44113</c:v>
                </c:pt>
                <c:pt idx="464">
                  <c:v>44116</c:v>
                </c:pt>
                <c:pt idx="465">
                  <c:v>44117</c:v>
                </c:pt>
                <c:pt idx="466">
                  <c:v>44118</c:v>
                </c:pt>
                <c:pt idx="467">
                  <c:v>44119</c:v>
                </c:pt>
                <c:pt idx="468">
                  <c:v>44120</c:v>
                </c:pt>
                <c:pt idx="469">
                  <c:v>44123</c:v>
                </c:pt>
                <c:pt idx="470">
                  <c:v>44124</c:v>
                </c:pt>
                <c:pt idx="471">
                  <c:v>44125</c:v>
                </c:pt>
                <c:pt idx="472">
                  <c:v>44126</c:v>
                </c:pt>
                <c:pt idx="473">
                  <c:v>44127</c:v>
                </c:pt>
                <c:pt idx="474">
                  <c:v>44130</c:v>
                </c:pt>
                <c:pt idx="475">
                  <c:v>44131</c:v>
                </c:pt>
                <c:pt idx="476">
                  <c:v>44132</c:v>
                </c:pt>
                <c:pt idx="477">
                  <c:v>44133</c:v>
                </c:pt>
                <c:pt idx="478">
                  <c:v>44134</c:v>
                </c:pt>
                <c:pt idx="479">
                  <c:v>44137</c:v>
                </c:pt>
                <c:pt idx="480">
                  <c:v>44138</c:v>
                </c:pt>
                <c:pt idx="481">
                  <c:v>44139</c:v>
                </c:pt>
                <c:pt idx="482">
                  <c:v>44140</c:v>
                </c:pt>
                <c:pt idx="483">
                  <c:v>44141</c:v>
                </c:pt>
                <c:pt idx="484">
                  <c:v>44144</c:v>
                </c:pt>
                <c:pt idx="485">
                  <c:v>44145</c:v>
                </c:pt>
                <c:pt idx="486">
                  <c:v>44146</c:v>
                </c:pt>
                <c:pt idx="487">
                  <c:v>44147</c:v>
                </c:pt>
                <c:pt idx="488">
                  <c:v>44148</c:v>
                </c:pt>
                <c:pt idx="489">
                  <c:v>44151</c:v>
                </c:pt>
                <c:pt idx="490">
                  <c:v>44152</c:v>
                </c:pt>
                <c:pt idx="491">
                  <c:v>44153</c:v>
                </c:pt>
                <c:pt idx="492">
                  <c:v>44154</c:v>
                </c:pt>
                <c:pt idx="493">
                  <c:v>44155</c:v>
                </c:pt>
                <c:pt idx="494">
                  <c:v>44158</c:v>
                </c:pt>
                <c:pt idx="495">
                  <c:v>44159</c:v>
                </c:pt>
                <c:pt idx="496">
                  <c:v>44160</c:v>
                </c:pt>
                <c:pt idx="497">
                  <c:v>44161</c:v>
                </c:pt>
                <c:pt idx="498">
                  <c:v>44162</c:v>
                </c:pt>
                <c:pt idx="499">
                  <c:v>44165</c:v>
                </c:pt>
                <c:pt idx="500">
                  <c:v>44166</c:v>
                </c:pt>
                <c:pt idx="501">
                  <c:v>44167</c:v>
                </c:pt>
                <c:pt idx="502">
                  <c:v>44168</c:v>
                </c:pt>
                <c:pt idx="503">
                  <c:v>44169</c:v>
                </c:pt>
                <c:pt idx="504">
                  <c:v>44172</c:v>
                </c:pt>
                <c:pt idx="505">
                  <c:v>44173</c:v>
                </c:pt>
                <c:pt idx="506">
                  <c:v>44174</c:v>
                </c:pt>
                <c:pt idx="507">
                  <c:v>44175</c:v>
                </c:pt>
                <c:pt idx="508">
                  <c:v>44176</c:v>
                </c:pt>
                <c:pt idx="509">
                  <c:v>44179</c:v>
                </c:pt>
                <c:pt idx="510">
                  <c:v>44180</c:v>
                </c:pt>
                <c:pt idx="511">
                  <c:v>44181</c:v>
                </c:pt>
                <c:pt idx="512">
                  <c:v>44182</c:v>
                </c:pt>
                <c:pt idx="513">
                  <c:v>44183</c:v>
                </c:pt>
                <c:pt idx="514">
                  <c:v>44186</c:v>
                </c:pt>
                <c:pt idx="515">
                  <c:v>44187</c:v>
                </c:pt>
                <c:pt idx="516">
                  <c:v>44188</c:v>
                </c:pt>
                <c:pt idx="517">
                  <c:v>44189</c:v>
                </c:pt>
                <c:pt idx="518">
                  <c:v>44190</c:v>
                </c:pt>
                <c:pt idx="519">
                  <c:v>44193</c:v>
                </c:pt>
                <c:pt idx="520">
                  <c:v>44194</c:v>
                </c:pt>
                <c:pt idx="521">
                  <c:v>44195</c:v>
                </c:pt>
                <c:pt idx="522">
                  <c:v>44196</c:v>
                </c:pt>
                <c:pt idx="523">
                  <c:v>44197</c:v>
                </c:pt>
                <c:pt idx="524">
                  <c:v>44200</c:v>
                </c:pt>
                <c:pt idx="525">
                  <c:v>44201</c:v>
                </c:pt>
                <c:pt idx="526">
                  <c:v>44202</c:v>
                </c:pt>
                <c:pt idx="527">
                  <c:v>44203</c:v>
                </c:pt>
                <c:pt idx="528">
                  <c:v>44204</c:v>
                </c:pt>
                <c:pt idx="529">
                  <c:v>44207</c:v>
                </c:pt>
                <c:pt idx="530">
                  <c:v>44208</c:v>
                </c:pt>
                <c:pt idx="531">
                  <c:v>44209</c:v>
                </c:pt>
                <c:pt idx="532">
                  <c:v>44210</c:v>
                </c:pt>
                <c:pt idx="533">
                  <c:v>44211</c:v>
                </c:pt>
                <c:pt idx="534">
                  <c:v>44214</c:v>
                </c:pt>
                <c:pt idx="535">
                  <c:v>44215</c:v>
                </c:pt>
                <c:pt idx="536">
                  <c:v>44216</c:v>
                </c:pt>
                <c:pt idx="537">
                  <c:v>44217</c:v>
                </c:pt>
                <c:pt idx="538">
                  <c:v>44218</c:v>
                </c:pt>
                <c:pt idx="539">
                  <c:v>44221</c:v>
                </c:pt>
                <c:pt idx="540">
                  <c:v>44222</c:v>
                </c:pt>
                <c:pt idx="541">
                  <c:v>44223</c:v>
                </c:pt>
                <c:pt idx="542">
                  <c:v>44224</c:v>
                </c:pt>
                <c:pt idx="543">
                  <c:v>44225</c:v>
                </c:pt>
                <c:pt idx="544">
                  <c:v>44228</c:v>
                </c:pt>
                <c:pt idx="545">
                  <c:v>44229</c:v>
                </c:pt>
                <c:pt idx="546">
                  <c:v>44230</c:v>
                </c:pt>
                <c:pt idx="547">
                  <c:v>44231</c:v>
                </c:pt>
                <c:pt idx="548">
                  <c:v>44232</c:v>
                </c:pt>
                <c:pt idx="549">
                  <c:v>44235</c:v>
                </c:pt>
                <c:pt idx="550">
                  <c:v>44236</c:v>
                </c:pt>
                <c:pt idx="551">
                  <c:v>44237</c:v>
                </c:pt>
                <c:pt idx="552">
                  <c:v>44238</c:v>
                </c:pt>
                <c:pt idx="553">
                  <c:v>44239</c:v>
                </c:pt>
                <c:pt idx="554">
                  <c:v>44242</c:v>
                </c:pt>
                <c:pt idx="555">
                  <c:v>44243</c:v>
                </c:pt>
                <c:pt idx="556">
                  <c:v>44244</c:v>
                </c:pt>
                <c:pt idx="557">
                  <c:v>44245</c:v>
                </c:pt>
                <c:pt idx="558">
                  <c:v>44246</c:v>
                </c:pt>
                <c:pt idx="559">
                  <c:v>44249</c:v>
                </c:pt>
                <c:pt idx="560">
                  <c:v>44250</c:v>
                </c:pt>
                <c:pt idx="561">
                  <c:v>44251</c:v>
                </c:pt>
                <c:pt idx="562">
                  <c:v>44252</c:v>
                </c:pt>
                <c:pt idx="563">
                  <c:v>44253</c:v>
                </c:pt>
                <c:pt idx="564">
                  <c:v>44256</c:v>
                </c:pt>
                <c:pt idx="565">
                  <c:v>44257</c:v>
                </c:pt>
                <c:pt idx="566">
                  <c:v>44258</c:v>
                </c:pt>
                <c:pt idx="567">
                  <c:v>44259</c:v>
                </c:pt>
                <c:pt idx="568">
                  <c:v>44260</c:v>
                </c:pt>
                <c:pt idx="569">
                  <c:v>44263</c:v>
                </c:pt>
                <c:pt idx="570">
                  <c:v>44264</c:v>
                </c:pt>
                <c:pt idx="571">
                  <c:v>44265</c:v>
                </c:pt>
                <c:pt idx="572">
                  <c:v>44266</c:v>
                </c:pt>
                <c:pt idx="573">
                  <c:v>44267</c:v>
                </c:pt>
                <c:pt idx="574">
                  <c:v>44270</c:v>
                </c:pt>
                <c:pt idx="575">
                  <c:v>44271</c:v>
                </c:pt>
                <c:pt idx="576">
                  <c:v>44272</c:v>
                </c:pt>
                <c:pt idx="577">
                  <c:v>44273</c:v>
                </c:pt>
                <c:pt idx="578">
                  <c:v>44274</c:v>
                </c:pt>
                <c:pt idx="579">
                  <c:v>44277</c:v>
                </c:pt>
                <c:pt idx="580">
                  <c:v>44278</c:v>
                </c:pt>
                <c:pt idx="581">
                  <c:v>44279</c:v>
                </c:pt>
                <c:pt idx="582">
                  <c:v>44280</c:v>
                </c:pt>
                <c:pt idx="583">
                  <c:v>44281</c:v>
                </c:pt>
                <c:pt idx="584">
                  <c:v>44284</c:v>
                </c:pt>
                <c:pt idx="585">
                  <c:v>44285</c:v>
                </c:pt>
                <c:pt idx="586">
                  <c:v>44286</c:v>
                </c:pt>
                <c:pt idx="587">
                  <c:v>44287</c:v>
                </c:pt>
                <c:pt idx="588">
                  <c:v>44288</c:v>
                </c:pt>
                <c:pt idx="589">
                  <c:v>44291</c:v>
                </c:pt>
                <c:pt idx="590">
                  <c:v>44292</c:v>
                </c:pt>
                <c:pt idx="591">
                  <c:v>44293</c:v>
                </c:pt>
                <c:pt idx="592">
                  <c:v>44294</c:v>
                </c:pt>
                <c:pt idx="593">
                  <c:v>44295</c:v>
                </c:pt>
                <c:pt idx="594">
                  <c:v>44298</c:v>
                </c:pt>
                <c:pt idx="595">
                  <c:v>44299</c:v>
                </c:pt>
                <c:pt idx="596">
                  <c:v>44300</c:v>
                </c:pt>
                <c:pt idx="597">
                  <c:v>44301</c:v>
                </c:pt>
                <c:pt idx="598">
                  <c:v>44302</c:v>
                </c:pt>
                <c:pt idx="599">
                  <c:v>44305</c:v>
                </c:pt>
                <c:pt idx="600">
                  <c:v>44306</c:v>
                </c:pt>
                <c:pt idx="601">
                  <c:v>44307</c:v>
                </c:pt>
                <c:pt idx="602">
                  <c:v>44308</c:v>
                </c:pt>
                <c:pt idx="603">
                  <c:v>44309</c:v>
                </c:pt>
                <c:pt idx="604">
                  <c:v>44312</c:v>
                </c:pt>
                <c:pt idx="605">
                  <c:v>44313</c:v>
                </c:pt>
                <c:pt idx="606">
                  <c:v>44314</c:v>
                </c:pt>
                <c:pt idx="607">
                  <c:v>44315</c:v>
                </c:pt>
                <c:pt idx="608">
                  <c:v>44316</c:v>
                </c:pt>
                <c:pt idx="609">
                  <c:v>44319</c:v>
                </c:pt>
                <c:pt idx="610">
                  <c:v>44320</c:v>
                </c:pt>
                <c:pt idx="611">
                  <c:v>44321</c:v>
                </c:pt>
                <c:pt idx="612">
                  <c:v>44322</c:v>
                </c:pt>
                <c:pt idx="613">
                  <c:v>44323</c:v>
                </c:pt>
                <c:pt idx="614">
                  <c:v>44326</c:v>
                </c:pt>
                <c:pt idx="615">
                  <c:v>44327</c:v>
                </c:pt>
                <c:pt idx="616">
                  <c:v>44328</c:v>
                </c:pt>
                <c:pt idx="617">
                  <c:v>44329</c:v>
                </c:pt>
                <c:pt idx="618">
                  <c:v>44330</c:v>
                </c:pt>
                <c:pt idx="619">
                  <c:v>44333</c:v>
                </c:pt>
                <c:pt idx="620">
                  <c:v>44334</c:v>
                </c:pt>
                <c:pt idx="621">
                  <c:v>44335</c:v>
                </c:pt>
                <c:pt idx="622">
                  <c:v>44336</c:v>
                </c:pt>
                <c:pt idx="623">
                  <c:v>44337</c:v>
                </c:pt>
                <c:pt idx="624">
                  <c:v>44340</c:v>
                </c:pt>
                <c:pt idx="625">
                  <c:v>44341</c:v>
                </c:pt>
                <c:pt idx="626">
                  <c:v>44342</c:v>
                </c:pt>
                <c:pt idx="627">
                  <c:v>44343</c:v>
                </c:pt>
                <c:pt idx="628">
                  <c:v>44344</c:v>
                </c:pt>
                <c:pt idx="629">
                  <c:v>44347</c:v>
                </c:pt>
                <c:pt idx="630">
                  <c:v>44348</c:v>
                </c:pt>
                <c:pt idx="631">
                  <c:v>44349</c:v>
                </c:pt>
                <c:pt idx="632">
                  <c:v>44350</c:v>
                </c:pt>
                <c:pt idx="633">
                  <c:v>44351</c:v>
                </c:pt>
                <c:pt idx="634">
                  <c:v>44354</c:v>
                </c:pt>
                <c:pt idx="635">
                  <c:v>44355</c:v>
                </c:pt>
                <c:pt idx="636">
                  <c:v>44356</c:v>
                </c:pt>
                <c:pt idx="637">
                  <c:v>44357</c:v>
                </c:pt>
                <c:pt idx="638">
                  <c:v>44358</c:v>
                </c:pt>
                <c:pt idx="639">
                  <c:v>44361</c:v>
                </c:pt>
                <c:pt idx="640">
                  <c:v>44362</c:v>
                </c:pt>
                <c:pt idx="641">
                  <c:v>44363</c:v>
                </c:pt>
                <c:pt idx="642">
                  <c:v>44364</c:v>
                </c:pt>
                <c:pt idx="643">
                  <c:v>44365</c:v>
                </c:pt>
                <c:pt idx="644">
                  <c:v>44368</c:v>
                </c:pt>
                <c:pt idx="645">
                  <c:v>44369</c:v>
                </c:pt>
                <c:pt idx="646">
                  <c:v>44370</c:v>
                </c:pt>
                <c:pt idx="647">
                  <c:v>44371</c:v>
                </c:pt>
                <c:pt idx="648">
                  <c:v>44372</c:v>
                </c:pt>
                <c:pt idx="649">
                  <c:v>44375</c:v>
                </c:pt>
                <c:pt idx="650">
                  <c:v>44376</c:v>
                </c:pt>
                <c:pt idx="651">
                  <c:v>44377</c:v>
                </c:pt>
                <c:pt idx="652">
                  <c:v>44378</c:v>
                </c:pt>
                <c:pt idx="653">
                  <c:v>44379</c:v>
                </c:pt>
                <c:pt idx="654">
                  <c:v>44382</c:v>
                </c:pt>
                <c:pt idx="655">
                  <c:v>44383</c:v>
                </c:pt>
                <c:pt idx="656">
                  <c:v>44384</c:v>
                </c:pt>
                <c:pt idx="657">
                  <c:v>44385</c:v>
                </c:pt>
                <c:pt idx="658">
                  <c:v>44386</c:v>
                </c:pt>
                <c:pt idx="659">
                  <c:v>44389</c:v>
                </c:pt>
                <c:pt idx="660">
                  <c:v>44390</c:v>
                </c:pt>
                <c:pt idx="661">
                  <c:v>44391</c:v>
                </c:pt>
                <c:pt idx="662">
                  <c:v>44392</c:v>
                </c:pt>
                <c:pt idx="663">
                  <c:v>44393</c:v>
                </c:pt>
                <c:pt idx="664">
                  <c:v>44396</c:v>
                </c:pt>
                <c:pt idx="665">
                  <c:v>44397</c:v>
                </c:pt>
                <c:pt idx="666">
                  <c:v>44398</c:v>
                </c:pt>
                <c:pt idx="667">
                  <c:v>44399</c:v>
                </c:pt>
                <c:pt idx="668">
                  <c:v>44400</c:v>
                </c:pt>
                <c:pt idx="669">
                  <c:v>44403</c:v>
                </c:pt>
                <c:pt idx="670">
                  <c:v>44404</c:v>
                </c:pt>
                <c:pt idx="671">
                  <c:v>44405</c:v>
                </c:pt>
                <c:pt idx="672">
                  <c:v>44406</c:v>
                </c:pt>
                <c:pt idx="673">
                  <c:v>44407</c:v>
                </c:pt>
                <c:pt idx="674">
                  <c:v>44410</c:v>
                </c:pt>
                <c:pt idx="675">
                  <c:v>44411</c:v>
                </c:pt>
                <c:pt idx="676">
                  <c:v>44412</c:v>
                </c:pt>
                <c:pt idx="677">
                  <c:v>44413</c:v>
                </c:pt>
                <c:pt idx="678">
                  <c:v>44414</c:v>
                </c:pt>
                <c:pt idx="679">
                  <c:v>44417</c:v>
                </c:pt>
                <c:pt idx="680">
                  <c:v>44418</c:v>
                </c:pt>
                <c:pt idx="681">
                  <c:v>44419</c:v>
                </c:pt>
                <c:pt idx="682">
                  <c:v>44420</c:v>
                </c:pt>
                <c:pt idx="683">
                  <c:v>44421</c:v>
                </c:pt>
                <c:pt idx="684">
                  <c:v>44424</c:v>
                </c:pt>
                <c:pt idx="685">
                  <c:v>44425</c:v>
                </c:pt>
                <c:pt idx="686">
                  <c:v>44426</c:v>
                </c:pt>
                <c:pt idx="687">
                  <c:v>44427</c:v>
                </c:pt>
                <c:pt idx="688">
                  <c:v>44428</c:v>
                </c:pt>
                <c:pt idx="689">
                  <c:v>44431</c:v>
                </c:pt>
                <c:pt idx="690">
                  <c:v>44432</c:v>
                </c:pt>
                <c:pt idx="691">
                  <c:v>44433</c:v>
                </c:pt>
                <c:pt idx="692">
                  <c:v>44434</c:v>
                </c:pt>
                <c:pt idx="693">
                  <c:v>44435</c:v>
                </c:pt>
                <c:pt idx="694">
                  <c:v>44438</c:v>
                </c:pt>
                <c:pt idx="695">
                  <c:v>44439</c:v>
                </c:pt>
                <c:pt idx="696">
                  <c:v>44440</c:v>
                </c:pt>
                <c:pt idx="697">
                  <c:v>44441</c:v>
                </c:pt>
                <c:pt idx="698">
                  <c:v>44442</c:v>
                </c:pt>
                <c:pt idx="699">
                  <c:v>44445</c:v>
                </c:pt>
                <c:pt idx="700">
                  <c:v>44446</c:v>
                </c:pt>
                <c:pt idx="701">
                  <c:v>44447</c:v>
                </c:pt>
                <c:pt idx="702">
                  <c:v>44448</c:v>
                </c:pt>
                <c:pt idx="703">
                  <c:v>44449</c:v>
                </c:pt>
                <c:pt idx="704">
                  <c:v>44452</c:v>
                </c:pt>
                <c:pt idx="705">
                  <c:v>44453</c:v>
                </c:pt>
                <c:pt idx="706">
                  <c:v>44454</c:v>
                </c:pt>
                <c:pt idx="707">
                  <c:v>44455</c:v>
                </c:pt>
                <c:pt idx="708">
                  <c:v>44456</c:v>
                </c:pt>
                <c:pt idx="709">
                  <c:v>44459</c:v>
                </c:pt>
                <c:pt idx="710">
                  <c:v>44460</c:v>
                </c:pt>
                <c:pt idx="711">
                  <c:v>44461</c:v>
                </c:pt>
                <c:pt idx="712">
                  <c:v>44462</c:v>
                </c:pt>
                <c:pt idx="713">
                  <c:v>44463</c:v>
                </c:pt>
                <c:pt idx="714">
                  <c:v>44466</c:v>
                </c:pt>
                <c:pt idx="715">
                  <c:v>44467</c:v>
                </c:pt>
                <c:pt idx="716">
                  <c:v>44468</c:v>
                </c:pt>
                <c:pt idx="717">
                  <c:v>44469</c:v>
                </c:pt>
                <c:pt idx="718">
                  <c:v>44470</c:v>
                </c:pt>
                <c:pt idx="719">
                  <c:v>44473</c:v>
                </c:pt>
                <c:pt idx="720">
                  <c:v>44474</c:v>
                </c:pt>
                <c:pt idx="721">
                  <c:v>44475</c:v>
                </c:pt>
                <c:pt idx="722">
                  <c:v>44476</c:v>
                </c:pt>
                <c:pt idx="723">
                  <c:v>44477</c:v>
                </c:pt>
                <c:pt idx="724">
                  <c:v>44480</c:v>
                </c:pt>
                <c:pt idx="725">
                  <c:v>44481</c:v>
                </c:pt>
                <c:pt idx="726">
                  <c:v>44482</c:v>
                </c:pt>
                <c:pt idx="727">
                  <c:v>44483</c:v>
                </c:pt>
                <c:pt idx="728">
                  <c:v>44484</c:v>
                </c:pt>
                <c:pt idx="729">
                  <c:v>44487</c:v>
                </c:pt>
                <c:pt idx="730">
                  <c:v>44488</c:v>
                </c:pt>
                <c:pt idx="731">
                  <c:v>44489</c:v>
                </c:pt>
                <c:pt idx="732">
                  <c:v>44490</c:v>
                </c:pt>
                <c:pt idx="733">
                  <c:v>44491</c:v>
                </c:pt>
                <c:pt idx="734">
                  <c:v>44494</c:v>
                </c:pt>
                <c:pt idx="735">
                  <c:v>44495</c:v>
                </c:pt>
                <c:pt idx="736">
                  <c:v>44496</c:v>
                </c:pt>
                <c:pt idx="737">
                  <c:v>44497</c:v>
                </c:pt>
                <c:pt idx="738">
                  <c:v>44498</c:v>
                </c:pt>
                <c:pt idx="739">
                  <c:v>44501</c:v>
                </c:pt>
                <c:pt idx="740">
                  <c:v>44502</c:v>
                </c:pt>
                <c:pt idx="741">
                  <c:v>44503</c:v>
                </c:pt>
                <c:pt idx="742">
                  <c:v>44504</c:v>
                </c:pt>
                <c:pt idx="743">
                  <c:v>44505</c:v>
                </c:pt>
                <c:pt idx="744">
                  <c:v>44508</c:v>
                </c:pt>
                <c:pt idx="745">
                  <c:v>44509</c:v>
                </c:pt>
                <c:pt idx="746">
                  <c:v>44510</c:v>
                </c:pt>
                <c:pt idx="747">
                  <c:v>44511</c:v>
                </c:pt>
                <c:pt idx="748">
                  <c:v>44512</c:v>
                </c:pt>
                <c:pt idx="749">
                  <c:v>44515</c:v>
                </c:pt>
                <c:pt idx="750">
                  <c:v>44516</c:v>
                </c:pt>
                <c:pt idx="751">
                  <c:v>44517</c:v>
                </c:pt>
                <c:pt idx="752">
                  <c:v>44518</c:v>
                </c:pt>
                <c:pt idx="753">
                  <c:v>44519</c:v>
                </c:pt>
                <c:pt idx="754">
                  <c:v>44522</c:v>
                </c:pt>
                <c:pt idx="755">
                  <c:v>44523</c:v>
                </c:pt>
                <c:pt idx="756">
                  <c:v>44524</c:v>
                </c:pt>
                <c:pt idx="757">
                  <c:v>44525</c:v>
                </c:pt>
                <c:pt idx="758">
                  <c:v>44526</c:v>
                </c:pt>
                <c:pt idx="759">
                  <c:v>44529</c:v>
                </c:pt>
                <c:pt idx="760">
                  <c:v>44530</c:v>
                </c:pt>
                <c:pt idx="761">
                  <c:v>44531</c:v>
                </c:pt>
                <c:pt idx="762">
                  <c:v>44532</c:v>
                </c:pt>
                <c:pt idx="763">
                  <c:v>44533</c:v>
                </c:pt>
                <c:pt idx="764">
                  <c:v>44536</c:v>
                </c:pt>
                <c:pt idx="765">
                  <c:v>44537</c:v>
                </c:pt>
                <c:pt idx="766">
                  <c:v>44538</c:v>
                </c:pt>
                <c:pt idx="767">
                  <c:v>44539</c:v>
                </c:pt>
                <c:pt idx="768">
                  <c:v>44540</c:v>
                </c:pt>
                <c:pt idx="769">
                  <c:v>44543</c:v>
                </c:pt>
                <c:pt idx="770">
                  <c:v>44544</c:v>
                </c:pt>
                <c:pt idx="771">
                  <c:v>44545</c:v>
                </c:pt>
                <c:pt idx="772">
                  <c:v>44546</c:v>
                </c:pt>
                <c:pt idx="773">
                  <c:v>44547</c:v>
                </c:pt>
                <c:pt idx="774">
                  <c:v>44550</c:v>
                </c:pt>
                <c:pt idx="775">
                  <c:v>44551</c:v>
                </c:pt>
                <c:pt idx="776">
                  <c:v>44552</c:v>
                </c:pt>
                <c:pt idx="777">
                  <c:v>44553</c:v>
                </c:pt>
                <c:pt idx="778">
                  <c:v>44554</c:v>
                </c:pt>
                <c:pt idx="779">
                  <c:v>44557</c:v>
                </c:pt>
                <c:pt idx="780">
                  <c:v>44558</c:v>
                </c:pt>
                <c:pt idx="781">
                  <c:v>44559</c:v>
                </c:pt>
                <c:pt idx="782">
                  <c:v>44560</c:v>
                </c:pt>
                <c:pt idx="783">
                  <c:v>44561</c:v>
                </c:pt>
                <c:pt idx="784">
                  <c:v>44564</c:v>
                </c:pt>
                <c:pt idx="785">
                  <c:v>44565</c:v>
                </c:pt>
                <c:pt idx="786">
                  <c:v>44566</c:v>
                </c:pt>
                <c:pt idx="787">
                  <c:v>44567</c:v>
                </c:pt>
                <c:pt idx="788">
                  <c:v>44568</c:v>
                </c:pt>
                <c:pt idx="789">
                  <c:v>44571</c:v>
                </c:pt>
                <c:pt idx="790">
                  <c:v>44572</c:v>
                </c:pt>
                <c:pt idx="791">
                  <c:v>44573</c:v>
                </c:pt>
                <c:pt idx="792">
                  <c:v>44574</c:v>
                </c:pt>
                <c:pt idx="793">
                  <c:v>44575</c:v>
                </c:pt>
                <c:pt idx="794">
                  <c:v>44578</c:v>
                </c:pt>
                <c:pt idx="795">
                  <c:v>44579</c:v>
                </c:pt>
                <c:pt idx="796">
                  <c:v>44580</c:v>
                </c:pt>
                <c:pt idx="797">
                  <c:v>44581</c:v>
                </c:pt>
                <c:pt idx="798">
                  <c:v>44582</c:v>
                </c:pt>
                <c:pt idx="799">
                  <c:v>44585</c:v>
                </c:pt>
                <c:pt idx="800">
                  <c:v>44586</c:v>
                </c:pt>
                <c:pt idx="801">
                  <c:v>44587</c:v>
                </c:pt>
                <c:pt idx="802">
                  <c:v>44588</c:v>
                </c:pt>
                <c:pt idx="803">
                  <c:v>44589</c:v>
                </c:pt>
                <c:pt idx="804">
                  <c:v>44592</c:v>
                </c:pt>
                <c:pt idx="805">
                  <c:v>44593</c:v>
                </c:pt>
                <c:pt idx="806">
                  <c:v>44594</c:v>
                </c:pt>
                <c:pt idx="807">
                  <c:v>44595</c:v>
                </c:pt>
                <c:pt idx="808">
                  <c:v>44596</c:v>
                </c:pt>
                <c:pt idx="809">
                  <c:v>44599</c:v>
                </c:pt>
                <c:pt idx="810">
                  <c:v>44600</c:v>
                </c:pt>
                <c:pt idx="811">
                  <c:v>44601</c:v>
                </c:pt>
                <c:pt idx="812">
                  <c:v>44602</c:v>
                </c:pt>
                <c:pt idx="813">
                  <c:v>44603</c:v>
                </c:pt>
                <c:pt idx="814">
                  <c:v>44606</c:v>
                </c:pt>
                <c:pt idx="815">
                  <c:v>44607</c:v>
                </c:pt>
                <c:pt idx="816">
                  <c:v>44608</c:v>
                </c:pt>
                <c:pt idx="817">
                  <c:v>44609</c:v>
                </c:pt>
                <c:pt idx="818">
                  <c:v>44610</c:v>
                </c:pt>
                <c:pt idx="819">
                  <c:v>44613</c:v>
                </c:pt>
                <c:pt idx="820">
                  <c:v>44614</c:v>
                </c:pt>
                <c:pt idx="821">
                  <c:v>44615</c:v>
                </c:pt>
                <c:pt idx="822">
                  <c:v>44616</c:v>
                </c:pt>
                <c:pt idx="823">
                  <c:v>44617</c:v>
                </c:pt>
                <c:pt idx="824">
                  <c:v>44620</c:v>
                </c:pt>
                <c:pt idx="825">
                  <c:v>44621</c:v>
                </c:pt>
                <c:pt idx="826">
                  <c:v>44622</c:v>
                </c:pt>
                <c:pt idx="827">
                  <c:v>44623</c:v>
                </c:pt>
                <c:pt idx="828">
                  <c:v>44624</c:v>
                </c:pt>
                <c:pt idx="829">
                  <c:v>44627</c:v>
                </c:pt>
                <c:pt idx="830">
                  <c:v>44628</c:v>
                </c:pt>
                <c:pt idx="831">
                  <c:v>44629</c:v>
                </c:pt>
                <c:pt idx="832">
                  <c:v>44630</c:v>
                </c:pt>
                <c:pt idx="833">
                  <c:v>44631</c:v>
                </c:pt>
                <c:pt idx="834">
                  <c:v>44634</c:v>
                </c:pt>
                <c:pt idx="835">
                  <c:v>44635</c:v>
                </c:pt>
                <c:pt idx="836">
                  <c:v>44636</c:v>
                </c:pt>
                <c:pt idx="837">
                  <c:v>44637</c:v>
                </c:pt>
                <c:pt idx="838">
                  <c:v>44638</c:v>
                </c:pt>
                <c:pt idx="839">
                  <c:v>44641</c:v>
                </c:pt>
                <c:pt idx="840">
                  <c:v>44642</c:v>
                </c:pt>
                <c:pt idx="841">
                  <c:v>44643</c:v>
                </c:pt>
                <c:pt idx="842">
                  <c:v>44644</c:v>
                </c:pt>
                <c:pt idx="843">
                  <c:v>44645</c:v>
                </c:pt>
                <c:pt idx="844">
                  <c:v>44648</c:v>
                </c:pt>
                <c:pt idx="845">
                  <c:v>44649</c:v>
                </c:pt>
                <c:pt idx="846">
                  <c:v>44650</c:v>
                </c:pt>
                <c:pt idx="847">
                  <c:v>44651</c:v>
                </c:pt>
                <c:pt idx="848">
                  <c:v>44652</c:v>
                </c:pt>
                <c:pt idx="849">
                  <c:v>44655</c:v>
                </c:pt>
                <c:pt idx="850">
                  <c:v>44656</c:v>
                </c:pt>
                <c:pt idx="851">
                  <c:v>44657</c:v>
                </c:pt>
                <c:pt idx="852">
                  <c:v>44658</c:v>
                </c:pt>
                <c:pt idx="853">
                  <c:v>44659</c:v>
                </c:pt>
                <c:pt idx="854">
                  <c:v>44662</c:v>
                </c:pt>
                <c:pt idx="855">
                  <c:v>44663</c:v>
                </c:pt>
                <c:pt idx="856">
                  <c:v>44664</c:v>
                </c:pt>
                <c:pt idx="857">
                  <c:v>44665</c:v>
                </c:pt>
                <c:pt idx="858">
                  <c:v>44666</c:v>
                </c:pt>
                <c:pt idx="859">
                  <c:v>44669</c:v>
                </c:pt>
                <c:pt idx="860">
                  <c:v>44670</c:v>
                </c:pt>
                <c:pt idx="861">
                  <c:v>44671</c:v>
                </c:pt>
                <c:pt idx="862">
                  <c:v>44672</c:v>
                </c:pt>
                <c:pt idx="863">
                  <c:v>44673</c:v>
                </c:pt>
                <c:pt idx="864">
                  <c:v>44676</c:v>
                </c:pt>
                <c:pt idx="865">
                  <c:v>44677</c:v>
                </c:pt>
                <c:pt idx="866">
                  <c:v>44678</c:v>
                </c:pt>
                <c:pt idx="867">
                  <c:v>44679</c:v>
                </c:pt>
                <c:pt idx="868">
                  <c:v>44680</c:v>
                </c:pt>
                <c:pt idx="869">
                  <c:v>44683</c:v>
                </c:pt>
                <c:pt idx="870">
                  <c:v>44684</c:v>
                </c:pt>
                <c:pt idx="871">
                  <c:v>44685</c:v>
                </c:pt>
                <c:pt idx="872">
                  <c:v>44686</c:v>
                </c:pt>
                <c:pt idx="873">
                  <c:v>44687</c:v>
                </c:pt>
                <c:pt idx="874">
                  <c:v>44690</c:v>
                </c:pt>
                <c:pt idx="875">
                  <c:v>44691</c:v>
                </c:pt>
                <c:pt idx="876">
                  <c:v>44692</c:v>
                </c:pt>
                <c:pt idx="877">
                  <c:v>44693</c:v>
                </c:pt>
                <c:pt idx="878">
                  <c:v>44694</c:v>
                </c:pt>
                <c:pt idx="879">
                  <c:v>44697</c:v>
                </c:pt>
                <c:pt idx="880">
                  <c:v>44698</c:v>
                </c:pt>
                <c:pt idx="881">
                  <c:v>44699</c:v>
                </c:pt>
                <c:pt idx="882">
                  <c:v>44700</c:v>
                </c:pt>
                <c:pt idx="883">
                  <c:v>44701</c:v>
                </c:pt>
                <c:pt idx="884">
                  <c:v>44704</c:v>
                </c:pt>
                <c:pt idx="885">
                  <c:v>44705</c:v>
                </c:pt>
                <c:pt idx="886">
                  <c:v>44706</c:v>
                </c:pt>
                <c:pt idx="887">
                  <c:v>44707</c:v>
                </c:pt>
                <c:pt idx="888">
                  <c:v>44708</c:v>
                </c:pt>
                <c:pt idx="889">
                  <c:v>44711</c:v>
                </c:pt>
                <c:pt idx="890">
                  <c:v>44712</c:v>
                </c:pt>
                <c:pt idx="891">
                  <c:v>44713</c:v>
                </c:pt>
                <c:pt idx="892">
                  <c:v>44714</c:v>
                </c:pt>
                <c:pt idx="893">
                  <c:v>44715</c:v>
                </c:pt>
                <c:pt idx="894">
                  <c:v>44718</c:v>
                </c:pt>
                <c:pt idx="895">
                  <c:v>44719</c:v>
                </c:pt>
                <c:pt idx="896">
                  <c:v>44720</c:v>
                </c:pt>
                <c:pt idx="897">
                  <c:v>44721</c:v>
                </c:pt>
                <c:pt idx="898">
                  <c:v>44722</c:v>
                </c:pt>
                <c:pt idx="899">
                  <c:v>44725</c:v>
                </c:pt>
                <c:pt idx="900">
                  <c:v>44726</c:v>
                </c:pt>
                <c:pt idx="901">
                  <c:v>44727</c:v>
                </c:pt>
                <c:pt idx="902">
                  <c:v>44728</c:v>
                </c:pt>
                <c:pt idx="903">
                  <c:v>44729</c:v>
                </c:pt>
                <c:pt idx="904">
                  <c:v>44732</c:v>
                </c:pt>
                <c:pt idx="905">
                  <c:v>44733</c:v>
                </c:pt>
                <c:pt idx="906">
                  <c:v>44734</c:v>
                </c:pt>
                <c:pt idx="907">
                  <c:v>44735</c:v>
                </c:pt>
                <c:pt idx="908">
                  <c:v>44736</c:v>
                </c:pt>
                <c:pt idx="909">
                  <c:v>44739</c:v>
                </c:pt>
                <c:pt idx="910">
                  <c:v>44740</c:v>
                </c:pt>
                <c:pt idx="911">
                  <c:v>44741</c:v>
                </c:pt>
                <c:pt idx="912">
                  <c:v>44742</c:v>
                </c:pt>
                <c:pt idx="913">
                  <c:v>44743</c:v>
                </c:pt>
                <c:pt idx="914">
                  <c:v>44746</c:v>
                </c:pt>
                <c:pt idx="915">
                  <c:v>44747</c:v>
                </c:pt>
                <c:pt idx="916">
                  <c:v>44748</c:v>
                </c:pt>
                <c:pt idx="917">
                  <c:v>44749</c:v>
                </c:pt>
                <c:pt idx="918">
                  <c:v>44750</c:v>
                </c:pt>
                <c:pt idx="919">
                  <c:v>44753</c:v>
                </c:pt>
                <c:pt idx="920">
                  <c:v>44754</c:v>
                </c:pt>
                <c:pt idx="921">
                  <c:v>44755</c:v>
                </c:pt>
                <c:pt idx="922">
                  <c:v>44756</c:v>
                </c:pt>
                <c:pt idx="923">
                  <c:v>44757</c:v>
                </c:pt>
                <c:pt idx="924">
                  <c:v>44760</c:v>
                </c:pt>
                <c:pt idx="925">
                  <c:v>44761</c:v>
                </c:pt>
                <c:pt idx="926">
                  <c:v>44762</c:v>
                </c:pt>
                <c:pt idx="927">
                  <c:v>44763</c:v>
                </c:pt>
                <c:pt idx="928">
                  <c:v>44764</c:v>
                </c:pt>
                <c:pt idx="929">
                  <c:v>44767</c:v>
                </c:pt>
                <c:pt idx="930">
                  <c:v>44768</c:v>
                </c:pt>
                <c:pt idx="931">
                  <c:v>44769</c:v>
                </c:pt>
                <c:pt idx="932">
                  <c:v>44770</c:v>
                </c:pt>
                <c:pt idx="933">
                  <c:v>44771</c:v>
                </c:pt>
                <c:pt idx="934">
                  <c:v>44774</c:v>
                </c:pt>
                <c:pt idx="935">
                  <c:v>44775</c:v>
                </c:pt>
                <c:pt idx="936">
                  <c:v>44776</c:v>
                </c:pt>
                <c:pt idx="937">
                  <c:v>44777</c:v>
                </c:pt>
                <c:pt idx="938">
                  <c:v>44778</c:v>
                </c:pt>
                <c:pt idx="939">
                  <c:v>44781</c:v>
                </c:pt>
                <c:pt idx="940">
                  <c:v>44782</c:v>
                </c:pt>
                <c:pt idx="941">
                  <c:v>44783</c:v>
                </c:pt>
                <c:pt idx="942">
                  <c:v>44784</c:v>
                </c:pt>
                <c:pt idx="943">
                  <c:v>44785</c:v>
                </c:pt>
                <c:pt idx="944">
                  <c:v>44788</c:v>
                </c:pt>
                <c:pt idx="945">
                  <c:v>44789</c:v>
                </c:pt>
                <c:pt idx="946">
                  <c:v>44790</c:v>
                </c:pt>
                <c:pt idx="947">
                  <c:v>44791</c:v>
                </c:pt>
                <c:pt idx="948">
                  <c:v>44792</c:v>
                </c:pt>
                <c:pt idx="949">
                  <c:v>44795</c:v>
                </c:pt>
                <c:pt idx="950">
                  <c:v>44796</c:v>
                </c:pt>
                <c:pt idx="951">
                  <c:v>44797</c:v>
                </c:pt>
                <c:pt idx="952">
                  <c:v>44798</c:v>
                </c:pt>
                <c:pt idx="953">
                  <c:v>44799</c:v>
                </c:pt>
                <c:pt idx="954">
                  <c:v>44802</c:v>
                </c:pt>
                <c:pt idx="955">
                  <c:v>44803</c:v>
                </c:pt>
                <c:pt idx="956">
                  <c:v>44804</c:v>
                </c:pt>
                <c:pt idx="957">
                  <c:v>44805</c:v>
                </c:pt>
                <c:pt idx="958">
                  <c:v>44806</c:v>
                </c:pt>
                <c:pt idx="959">
                  <c:v>44809</c:v>
                </c:pt>
                <c:pt idx="960">
                  <c:v>44810</c:v>
                </c:pt>
                <c:pt idx="961">
                  <c:v>44811</c:v>
                </c:pt>
                <c:pt idx="962">
                  <c:v>44812</c:v>
                </c:pt>
                <c:pt idx="963">
                  <c:v>44813</c:v>
                </c:pt>
                <c:pt idx="964">
                  <c:v>44816</c:v>
                </c:pt>
                <c:pt idx="965">
                  <c:v>44817</c:v>
                </c:pt>
                <c:pt idx="966">
                  <c:v>44818</c:v>
                </c:pt>
                <c:pt idx="967">
                  <c:v>44819</c:v>
                </c:pt>
                <c:pt idx="968">
                  <c:v>44820</c:v>
                </c:pt>
                <c:pt idx="969">
                  <c:v>44823</c:v>
                </c:pt>
                <c:pt idx="970">
                  <c:v>44824</c:v>
                </c:pt>
                <c:pt idx="971">
                  <c:v>44825</c:v>
                </c:pt>
                <c:pt idx="972">
                  <c:v>44826</c:v>
                </c:pt>
                <c:pt idx="973">
                  <c:v>44827</c:v>
                </c:pt>
                <c:pt idx="974">
                  <c:v>44830</c:v>
                </c:pt>
                <c:pt idx="975">
                  <c:v>44831</c:v>
                </c:pt>
                <c:pt idx="976">
                  <c:v>44832</c:v>
                </c:pt>
                <c:pt idx="977">
                  <c:v>44833</c:v>
                </c:pt>
                <c:pt idx="978">
                  <c:v>44834</c:v>
                </c:pt>
                <c:pt idx="979">
                  <c:v>44837</c:v>
                </c:pt>
                <c:pt idx="980">
                  <c:v>44838</c:v>
                </c:pt>
                <c:pt idx="981">
                  <c:v>44839</c:v>
                </c:pt>
                <c:pt idx="982">
                  <c:v>44840</c:v>
                </c:pt>
                <c:pt idx="983">
                  <c:v>44841</c:v>
                </c:pt>
                <c:pt idx="984">
                  <c:v>44844</c:v>
                </c:pt>
                <c:pt idx="985">
                  <c:v>44845</c:v>
                </c:pt>
                <c:pt idx="986">
                  <c:v>44846</c:v>
                </c:pt>
                <c:pt idx="987">
                  <c:v>44847</c:v>
                </c:pt>
                <c:pt idx="988">
                  <c:v>44848</c:v>
                </c:pt>
                <c:pt idx="989">
                  <c:v>44851</c:v>
                </c:pt>
                <c:pt idx="990">
                  <c:v>44852</c:v>
                </c:pt>
                <c:pt idx="991">
                  <c:v>44853</c:v>
                </c:pt>
                <c:pt idx="992">
                  <c:v>44854</c:v>
                </c:pt>
                <c:pt idx="993">
                  <c:v>44855</c:v>
                </c:pt>
                <c:pt idx="994">
                  <c:v>44858</c:v>
                </c:pt>
                <c:pt idx="995">
                  <c:v>44859</c:v>
                </c:pt>
                <c:pt idx="996">
                  <c:v>44860</c:v>
                </c:pt>
                <c:pt idx="997">
                  <c:v>44861</c:v>
                </c:pt>
                <c:pt idx="998">
                  <c:v>44862</c:v>
                </c:pt>
                <c:pt idx="999">
                  <c:v>44865</c:v>
                </c:pt>
                <c:pt idx="1000">
                  <c:v>44866</c:v>
                </c:pt>
                <c:pt idx="1001">
                  <c:v>44867</c:v>
                </c:pt>
                <c:pt idx="1002">
                  <c:v>44868</c:v>
                </c:pt>
                <c:pt idx="1003">
                  <c:v>44869</c:v>
                </c:pt>
                <c:pt idx="1004">
                  <c:v>44872</c:v>
                </c:pt>
                <c:pt idx="1005">
                  <c:v>44873</c:v>
                </c:pt>
                <c:pt idx="1006">
                  <c:v>44874</c:v>
                </c:pt>
                <c:pt idx="1007">
                  <c:v>44875</c:v>
                </c:pt>
                <c:pt idx="1008">
                  <c:v>44876</c:v>
                </c:pt>
                <c:pt idx="1009">
                  <c:v>44879</c:v>
                </c:pt>
                <c:pt idx="1010">
                  <c:v>44880</c:v>
                </c:pt>
                <c:pt idx="1011">
                  <c:v>44881</c:v>
                </c:pt>
                <c:pt idx="1012">
                  <c:v>44882</c:v>
                </c:pt>
                <c:pt idx="1013">
                  <c:v>44883</c:v>
                </c:pt>
                <c:pt idx="1014">
                  <c:v>44886</c:v>
                </c:pt>
                <c:pt idx="1015">
                  <c:v>44887</c:v>
                </c:pt>
                <c:pt idx="1016">
                  <c:v>44888</c:v>
                </c:pt>
                <c:pt idx="1017">
                  <c:v>44889</c:v>
                </c:pt>
                <c:pt idx="1018">
                  <c:v>44890</c:v>
                </c:pt>
                <c:pt idx="1019">
                  <c:v>44893</c:v>
                </c:pt>
                <c:pt idx="1020">
                  <c:v>44894</c:v>
                </c:pt>
                <c:pt idx="1021">
                  <c:v>44895</c:v>
                </c:pt>
                <c:pt idx="1022">
                  <c:v>44896</c:v>
                </c:pt>
                <c:pt idx="1023">
                  <c:v>44897</c:v>
                </c:pt>
                <c:pt idx="1024">
                  <c:v>44900</c:v>
                </c:pt>
                <c:pt idx="1025">
                  <c:v>44901</c:v>
                </c:pt>
                <c:pt idx="1026">
                  <c:v>44902</c:v>
                </c:pt>
                <c:pt idx="1027">
                  <c:v>44903</c:v>
                </c:pt>
                <c:pt idx="1028">
                  <c:v>44904</c:v>
                </c:pt>
                <c:pt idx="1029">
                  <c:v>44907</c:v>
                </c:pt>
                <c:pt idx="1030">
                  <c:v>44908</c:v>
                </c:pt>
                <c:pt idx="1031">
                  <c:v>44909</c:v>
                </c:pt>
                <c:pt idx="1032">
                  <c:v>44910</c:v>
                </c:pt>
                <c:pt idx="1033">
                  <c:v>44911</c:v>
                </c:pt>
                <c:pt idx="1034">
                  <c:v>44914</c:v>
                </c:pt>
                <c:pt idx="1035">
                  <c:v>44915</c:v>
                </c:pt>
                <c:pt idx="1036">
                  <c:v>44916</c:v>
                </c:pt>
                <c:pt idx="1037">
                  <c:v>44917</c:v>
                </c:pt>
                <c:pt idx="1038">
                  <c:v>44918</c:v>
                </c:pt>
                <c:pt idx="1039">
                  <c:v>44921</c:v>
                </c:pt>
                <c:pt idx="1040">
                  <c:v>44922</c:v>
                </c:pt>
                <c:pt idx="1041">
                  <c:v>44923</c:v>
                </c:pt>
                <c:pt idx="1042">
                  <c:v>44924</c:v>
                </c:pt>
                <c:pt idx="1043">
                  <c:v>44925</c:v>
                </c:pt>
                <c:pt idx="1044">
                  <c:v>44928</c:v>
                </c:pt>
                <c:pt idx="1045">
                  <c:v>44929</c:v>
                </c:pt>
                <c:pt idx="1046">
                  <c:v>44930</c:v>
                </c:pt>
                <c:pt idx="1047">
                  <c:v>44931</c:v>
                </c:pt>
                <c:pt idx="1048">
                  <c:v>44932</c:v>
                </c:pt>
                <c:pt idx="1049">
                  <c:v>44935</c:v>
                </c:pt>
                <c:pt idx="1050">
                  <c:v>44936</c:v>
                </c:pt>
                <c:pt idx="1051">
                  <c:v>44937</c:v>
                </c:pt>
                <c:pt idx="1052">
                  <c:v>44938</c:v>
                </c:pt>
                <c:pt idx="1053">
                  <c:v>44939</c:v>
                </c:pt>
                <c:pt idx="1054">
                  <c:v>44942</c:v>
                </c:pt>
                <c:pt idx="1055">
                  <c:v>44943</c:v>
                </c:pt>
                <c:pt idx="1056">
                  <c:v>44944</c:v>
                </c:pt>
                <c:pt idx="1057">
                  <c:v>44945</c:v>
                </c:pt>
                <c:pt idx="1058">
                  <c:v>44946</c:v>
                </c:pt>
                <c:pt idx="1059">
                  <c:v>44949</c:v>
                </c:pt>
                <c:pt idx="1060">
                  <c:v>44950</c:v>
                </c:pt>
                <c:pt idx="1061">
                  <c:v>44951</c:v>
                </c:pt>
                <c:pt idx="1062">
                  <c:v>44952</c:v>
                </c:pt>
                <c:pt idx="1063">
                  <c:v>44953</c:v>
                </c:pt>
                <c:pt idx="1064">
                  <c:v>44956</c:v>
                </c:pt>
                <c:pt idx="1065">
                  <c:v>44957</c:v>
                </c:pt>
                <c:pt idx="1066">
                  <c:v>44958</c:v>
                </c:pt>
                <c:pt idx="1067">
                  <c:v>44959</c:v>
                </c:pt>
                <c:pt idx="1068">
                  <c:v>44960</c:v>
                </c:pt>
                <c:pt idx="1069">
                  <c:v>44963</c:v>
                </c:pt>
                <c:pt idx="1070">
                  <c:v>44964</c:v>
                </c:pt>
                <c:pt idx="1071">
                  <c:v>44965</c:v>
                </c:pt>
                <c:pt idx="1072">
                  <c:v>44966</c:v>
                </c:pt>
                <c:pt idx="1073">
                  <c:v>44967</c:v>
                </c:pt>
                <c:pt idx="1074">
                  <c:v>44970</c:v>
                </c:pt>
                <c:pt idx="1075">
                  <c:v>44971</c:v>
                </c:pt>
                <c:pt idx="1076">
                  <c:v>44972</c:v>
                </c:pt>
                <c:pt idx="1077">
                  <c:v>44973</c:v>
                </c:pt>
                <c:pt idx="1078">
                  <c:v>44974</c:v>
                </c:pt>
                <c:pt idx="1079">
                  <c:v>44977</c:v>
                </c:pt>
                <c:pt idx="1080">
                  <c:v>44978</c:v>
                </c:pt>
                <c:pt idx="1081">
                  <c:v>44979</c:v>
                </c:pt>
                <c:pt idx="1082">
                  <c:v>44980</c:v>
                </c:pt>
                <c:pt idx="1083">
                  <c:v>44981</c:v>
                </c:pt>
                <c:pt idx="1084">
                  <c:v>44984</c:v>
                </c:pt>
                <c:pt idx="1085">
                  <c:v>44985</c:v>
                </c:pt>
                <c:pt idx="1086">
                  <c:v>44986</c:v>
                </c:pt>
                <c:pt idx="1087">
                  <c:v>44987</c:v>
                </c:pt>
                <c:pt idx="1088">
                  <c:v>44988</c:v>
                </c:pt>
                <c:pt idx="1089">
                  <c:v>44991</c:v>
                </c:pt>
                <c:pt idx="1090">
                  <c:v>44992</c:v>
                </c:pt>
                <c:pt idx="1091">
                  <c:v>44993</c:v>
                </c:pt>
                <c:pt idx="1092">
                  <c:v>44994</c:v>
                </c:pt>
                <c:pt idx="1093">
                  <c:v>44995</c:v>
                </c:pt>
                <c:pt idx="1094">
                  <c:v>44998</c:v>
                </c:pt>
                <c:pt idx="1095">
                  <c:v>44999</c:v>
                </c:pt>
                <c:pt idx="1096">
                  <c:v>45000</c:v>
                </c:pt>
                <c:pt idx="1097">
                  <c:v>45001</c:v>
                </c:pt>
                <c:pt idx="1098">
                  <c:v>45002</c:v>
                </c:pt>
                <c:pt idx="1099">
                  <c:v>45005</c:v>
                </c:pt>
                <c:pt idx="1100">
                  <c:v>45006</c:v>
                </c:pt>
                <c:pt idx="1101">
                  <c:v>45007</c:v>
                </c:pt>
                <c:pt idx="1102">
                  <c:v>45008</c:v>
                </c:pt>
                <c:pt idx="1103">
                  <c:v>45009</c:v>
                </c:pt>
                <c:pt idx="1104">
                  <c:v>45012</c:v>
                </c:pt>
                <c:pt idx="1105">
                  <c:v>45013</c:v>
                </c:pt>
                <c:pt idx="1106">
                  <c:v>45014</c:v>
                </c:pt>
                <c:pt idx="1107">
                  <c:v>45015</c:v>
                </c:pt>
                <c:pt idx="1108">
                  <c:v>45016</c:v>
                </c:pt>
                <c:pt idx="1109">
                  <c:v>45019</c:v>
                </c:pt>
                <c:pt idx="1110">
                  <c:v>45020</c:v>
                </c:pt>
                <c:pt idx="1111">
                  <c:v>45021</c:v>
                </c:pt>
                <c:pt idx="1112">
                  <c:v>45022</c:v>
                </c:pt>
                <c:pt idx="1113">
                  <c:v>45023</c:v>
                </c:pt>
                <c:pt idx="1114">
                  <c:v>45026</c:v>
                </c:pt>
                <c:pt idx="1115">
                  <c:v>45027</c:v>
                </c:pt>
                <c:pt idx="1116">
                  <c:v>45028</c:v>
                </c:pt>
                <c:pt idx="1117">
                  <c:v>45029</c:v>
                </c:pt>
                <c:pt idx="1118">
                  <c:v>45030</c:v>
                </c:pt>
                <c:pt idx="1119">
                  <c:v>45033</c:v>
                </c:pt>
                <c:pt idx="1120">
                  <c:v>45034</c:v>
                </c:pt>
                <c:pt idx="1121">
                  <c:v>45035</c:v>
                </c:pt>
                <c:pt idx="1122">
                  <c:v>45036</c:v>
                </c:pt>
                <c:pt idx="1123">
                  <c:v>45037</c:v>
                </c:pt>
                <c:pt idx="1124">
                  <c:v>45040</c:v>
                </c:pt>
                <c:pt idx="1125">
                  <c:v>45041</c:v>
                </c:pt>
                <c:pt idx="1126">
                  <c:v>45042</c:v>
                </c:pt>
                <c:pt idx="1127">
                  <c:v>45043</c:v>
                </c:pt>
                <c:pt idx="1128">
                  <c:v>45044</c:v>
                </c:pt>
                <c:pt idx="1129">
                  <c:v>45047</c:v>
                </c:pt>
                <c:pt idx="1130">
                  <c:v>45048</c:v>
                </c:pt>
                <c:pt idx="1131">
                  <c:v>45049</c:v>
                </c:pt>
                <c:pt idx="1132">
                  <c:v>45050</c:v>
                </c:pt>
                <c:pt idx="1133">
                  <c:v>45051</c:v>
                </c:pt>
                <c:pt idx="1134">
                  <c:v>45054</c:v>
                </c:pt>
                <c:pt idx="1135">
                  <c:v>45055</c:v>
                </c:pt>
                <c:pt idx="1136">
                  <c:v>45056</c:v>
                </c:pt>
                <c:pt idx="1137">
                  <c:v>45057</c:v>
                </c:pt>
                <c:pt idx="1138">
                  <c:v>45058</c:v>
                </c:pt>
                <c:pt idx="1139">
                  <c:v>45061</c:v>
                </c:pt>
                <c:pt idx="1140">
                  <c:v>45062</c:v>
                </c:pt>
                <c:pt idx="1141">
                  <c:v>45063</c:v>
                </c:pt>
                <c:pt idx="1142">
                  <c:v>45064</c:v>
                </c:pt>
                <c:pt idx="1143">
                  <c:v>45065</c:v>
                </c:pt>
                <c:pt idx="1144">
                  <c:v>45068</c:v>
                </c:pt>
                <c:pt idx="1145">
                  <c:v>45069</c:v>
                </c:pt>
                <c:pt idx="1146">
                  <c:v>45070</c:v>
                </c:pt>
                <c:pt idx="1147">
                  <c:v>45071</c:v>
                </c:pt>
                <c:pt idx="1148">
                  <c:v>45072</c:v>
                </c:pt>
                <c:pt idx="1149">
                  <c:v>45075</c:v>
                </c:pt>
                <c:pt idx="1150">
                  <c:v>45076</c:v>
                </c:pt>
                <c:pt idx="1151">
                  <c:v>45077</c:v>
                </c:pt>
                <c:pt idx="1152">
                  <c:v>45078</c:v>
                </c:pt>
                <c:pt idx="1153">
                  <c:v>45079</c:v>
                </c:pt>
                <c:pt idx="1154">
                  <c:v>45082</c:v>
                </c:pt>
                <c:pt idx="1155">
                  <c:v>45083</c:v>
                </c:pt>
                <c:pt idx="1156">
                  <c:v>45084</c:v>
                </c:pt>
                <c:pt idx="1157">
                  <c:v>45085</c:v>
                </c:pt>
                <c:pt idx="1158">
                  <c:v>45086</c:v>
                </c:pt>
                <c:pt idx="1159">
                  <c:v>45089</c:v>
                </c:pt>
                <c:pt idx="1160">
                  <c:v>45090</c:v>
                </c:pt>
                <c:pt idx="1161">
                  <c:v>45091</c:v>
                </c:pt>
                <c:pt idx="1162">
                  <c:v>45092</c:v>
                </c:pt>
                <c:pt idx="1163">
                  <c:v>45093</c:v>
                </c:pt>
                <c:pt idx="1164">
                  <c:v>45096</c:v>
                </c:pt>
                <c:pt idx="1165">
                  <c:v>45097</c:v>
                </c:pt>
                <c:pt idx="1166">
                  <c:v>45098</c:v>
                </c:pt>
                <c:pt idx="1167">
                  <c:v>45099</c:v>
                </c:pt>
                <c:pt idx="1168">
                  <c:v>45100</c:v>
                </c:pt>
                <c:pt idx="1169">
                  <c:v>45103</c:v>
                </c:pt>
                <c:pt idx="1170">
                  <c:v>45104</c:v>
                </c:pt>
                <c:pt idx="1171">
                  <c:v>45105</c:v>
                </c:pt>
                <c:pt idx="1172">
                  <c:v>45106</c:v>
                </c:pt>
                <c:pt idx="1173">
                  <c:v>45107</c:v>
                </c:pt>
                <c:pt idx="1174">
                  <c:v>45110</c:v>
                </c:pt>
                <c:pt idx="1175">
                  <c:v>45111</c:v>
                </c:pt>
                <c:pt idx="1176">
                  <c:v>45112</c:v>
                </c:pt>
                <c:pt idx="1177">
                  <c:v>45113</c:v>
                </c:pt>
                <c:pt idx="1178">
                  <c:v>45114</c:v>
                </c:pt>
                <c:pt idx="1179">
                  <c:v>45117</c:v>
                </c:pt>
                <c:pt idx="1180">
                  <c:v>45118</c:v>
                </c:pt>
                <c:pt idx="1181">
                  <c:v>45119</c:v>
                </c:pt>
                <c:pt idx="1182">
                  <c:v>45120</c:v>
                </c:pt>
                <c:pt idx="1183">
                  <c:v>45121</c:v>
                </c:pt>
                <c:pt idx="1184">
                  <c:v>45124</c:v>
                </c:pt>
                <c:pt idx="1185">
                  <c:v>45125</c:v>
                </c:pt>
                <c:pt idx="1186">
                  <c:v>45126</c:v>
                </c:pt>
                <c:pt idx="1187">
                  <c:v>45127</c:v>
                </c:pt>
                <c:pt idx="1188">
                  <c:v>45128</c:v>
                </c:pt>
                <c:pt idx="1189">
                  <c:v>45131</c:v>
                </c:pt>
                <c:pt idx="1190">
                  <c:v>45132</c:v>
                </c:pt>
                <c:pt idx="1191">
                  <c:v>45133</c:v>
                </c:pt>
                <c:pt idx="1192">
                  <c:v>45134</c:v>
                </c:pt>
                <c:pt idx="1193">
                  <c:v>45135</c:v>
                </c:pt>
                <c:pt idx="1194">
                  <c:v>45138</c:v>
                </c:pt>
                <c:pt idx="1195">
                  <c:v>45139</c:v>
                </c:pt>
                <c:pt idx="1196">
                  <c:v>45140</c:v>
                </c:pt>
                <c:pt idx="1197">
                  <c:v>45141</c:v>
                </c:pt>
                <c:pt idx="1198">
                  <c:v>45142</c:v>
                </c:pt>
                <c:pt idx="1199">
                  <c:v>45145</c:v>
                </c:pt>
                <c:pt idx="1200">
                  <c:v>45146</c:v>
                </c:pt>
                <c:pt idx="1201">
                  <c:v>45147</c:v>
                </c:pt>
                <c:pt idx="1202">
                  <c:v>45148</c:v>
                </c:pt>
                <c:pt idx="1203">
                  <c:v>45149</c:v>
                </c:pt>
                <c:pt idx="1204">
                  <c:v>45152</c:v>
                </c:pt>
                <c:pt idx="1205">
                  <c:v>45153</c:v>
                </c:pt>
                <c:pt idx="1206">
                  <c:v>45154</c:v>
                </c:pt>
                <c:pt idx="1207">
                  <c:v>45155</c:v>
                </c:pt>
                <c:pt idx="1208">
                  <c:v>45156</c:v>
                </c:pt>
                <c:pt idx="1209">
                  <c:v>45159</c:v>
                </c:pt>
                <c:pt idx="1210">
                  <c:v>45160</c:v>
                </c:pt>
                <c:pt idx="1211">
                  <c:v>45161</c:v>
                </c:pt>
                <c:pt idx="1212">
                  <c:v>45162</c:v>
                </c:pt>
                <c:pt idx="1213">
                  <c:v>45163</c:v>
                </c:pt>
                <c:pt idx="1214">
                  <c:v>45166</c:v>
                </c:pt>
                <c:pt idx="1215">
                  <c:v>45167</c:v>
                </c:pt>
                <c:pt idx="1216">
                  <c:v>45168</c:v>
                </c:pt>
                <c:pt idx="1217">
                  <c:v>45169</c:v>
                </c:pt>
                <c:pt idx="1218">
                  <c:v>45170</c:v>
                </c:pt>
                <c:pt idx="1219">
                  <c:v>45173</c:v>
                </c:pt>
                <c:pt idx="1220">
                  <c:v>45174</c:v>
                </c:pt>
                <c:pt idx="1221">
                  <c:v>45175</c:v>
                </c:pt>
                <c:pt idx="1222">
                  <c:v>45176</c:v>
                </c:pt>
                <c:pt idx="1223">
                  <c:v>45177</c:v>
                </c:pt>
                <c:pt idx="1224">
                  <c:v>45180</c:v>
                </c:pt>
                <c:pt idx="1225">
                  <c:v>45181</c:v>
                </c:pt>
                <c:pt idx="1226">
                  <c:v>45182</c:v>
                </c:pt>
                <c:pt idx="1227">
                  <c:v>45183</c:v>
                </c:pt>
                <c:pt idx="1228">
                  <c:v>45184</c:v>
                </c:pt>
                <c:pt idx="1229">
                  <c:v>45187</c:v>
                </c:pt>
                <c:pt idx="1230">
                  <c:v>45188</c:v>
                </c:pt>
                <c:pt idx="1231">
                  <c:v>45189</c:v>
                </c:pt>
                <c:pt idx="1232">
                  <c:v>45190</c:v>
                </c:pt>
                <c:pt idx="1233">
                  <c:v>45191</c:v>
                </c:pt>
                <c:pt idx="1234">
                  <c:v>45194</c:v>
                </c:pt>
                <c:pt idx="1235">
                  <c:v>45195</c:v>
                </c:pt>
                <c:pt idx="1236">
                  <c:v>45196</c:v>
                </c:pt>
                <c:pt idx="1237">
                  <c:v>45197</c:v>
                </c:pt>
                <c:pt idx="1238">
                  <c:v>45198</c:v>
                </c:pt>
                <c:pt idx="1239">
                  <c:v>45201</c:v>
                </c:pt>
                <c:pt idx="1240">
                  <c:v>45202</c:v>
                </c:pt>
                <c:pt idx="1241">
                  <c:v>45203</c:v>
                </c:pt>
                <c:pt idx="1242">
                  <c:v>45204</c:v>
                </c:pt>
                <c:pt idx="1243">
                  <c:v>45205</c:v>
                </c:pt>
                <c:pt idx="1244">
                  <c:v>45208</c:v>
                </c:pt>
                <c:pt idx="1245">
                  <c:v>45209</c:v>
                </c:pt>
                <c:pt idx="1246">
                  <c:v>45210</c:v>
                </c:pt>
                <c:pt idx="1247">
                  <c:v>45211</c:v>
                </c:pt>
                <c:pt idx="1248">
                  <c:v>45212</c:v>
                </c:pt>
                <c:pt idx="1249">
                  <c:v>45215</c:v>
                </c:pt>
                <c:pt idx="1250">
                  <c:v>45216</c:v>
                </c:pt>
                <c:pt idx="1251">
                  <c:v>45217</c:v>
                </c:pt>
                <c:pt idx="1252">
                  <c:v>45218</c:v>
                </c:pt>
                <c:pt idx="1253">
                  <c:v>45219</c:v>
                </c:pt>
                <c:pt idx="1254">
                  <c:v>45222</c:v>
                </c:pt>
                <c:pt idx="1255">
                  <c:v>45223</c:v>
                </c:pt>
                <c:pt idx="1256">
                  <c:v>45224</c:v>
                </c:pt>
                <c:pt idx="1257">
                  <c:v>45225</c:v>
                </c:pt>
                <c:pt idx="1258">
                  <c:v>45226</c:v>
                </c:pt>
                <c:pt idx="1259">
                  <c:v>45229</c:v>
                </c:pt>
                <c:pt idx="1260">
                  <c:v>45230</c:v>
                </c:pt>
                <c:pt idx="1261">
                  <c:v>45231</c:v>
                </c:pt>
                <c:pt idx="1262">
                  <c:v>45232</c:v>
                </c:pt>
                <c:pt idx="1263">
                  <c:v>45233</c:v>
                </c:pt>
                <c:pt idx="1264">
                  <c:v>45236</c:v>
                </c:pt>
                <c:pt idx="1265">
                  <c:v>45237</c:v>
                </c:pt>
                <c:pt idx="1266">
                  <c:v>45238</c:v>
                </c:pt>
                <c:pt idx="1267">
                  <c:v>45239</c:v>
                </c:pt>
                <c:pt idx="1268">
                  <c:v>45240</c:v>
                </c:pt>
                <c:pt idx="1269">
                  <c:v>45243</c:v>
                </c:pt>
                <c:pt idx="1270">
                  <c:v>45244</c:v>
                </c:pt>
                <c:pt idx="1271">
                  <c:v>45245</c:v>
                </c:pt>
                <c:pt idx="1272">
                  <c:v>45246</c:v>
                </c:pt>
                <c:pt idx="1273">
                  <c:v>45247</c:v>
                </c:pt>
                <c:pt idx="1274">
                  <c:v>45250</c:v>
                </c:pt>
                <c:pt idx="1275">
                  <c:v>45251</c:v>
                </c:pt>
                <c:pt idx="1276">
                  <c:v>45252</c:v>
                </c:pt>
                <c:pt idx="1277">
                  <c:v>45253</c:v>
                </c:pt>
                <c:pt idx="1278">
                  <c:v>45254</c:v>
                </c:pt>
                <c:pt idx="1279">
                  <c:v>45257</c:v>
                </c:pt>
                <c:pt idx="1280">
                  <c:v>45258</c:v>
                </c:pt>
                <c:pt idx="1281">
                  <c:v>45259</c:v>
                </c:pt>
                <c:pt idx="1282">
                  <c:v>45260</c:v>
                </c:pt>
                <c:pt idx="1283">
                  <c:v>45261</c:v>
                </c:pt>
                <c:pt idx="1284">
                  <c:v>45264</c:v>
                </c:pt>
                <c:pt idx="1285">
                  <c:v>45265</c:v>
                </c:pt>
                <c:pt idx="1286">
                  <c:v>45266</c:v>
                </c:pt>
                <c:pt idx="1287">
                  <c:v>45267</c:v>
                </c:pt>
                <c:pt idx="1288">
                  <c:v>45268</c:v>
                </c:pt>
                <c:pt idx="1289">
                  <c:v>45271</c:v>
                </c:pt>
                <c:pt idx="1290">
                  <c:v>45272</c:v>
                </c:pt>
                <c:pt idx="1291">
                  <c:v>45273</c:v>
                </c:pt>
                <c:pt idx="1292">
                  <c:v>45274</c:v>
                </c:pt>
                <c:pt idx="1293">
                  <c:v>45275</c:v>
                </c:pt>
                <c:pt idx="1294">
                  <c:v>45278</c:v>
                </c:pt>
                <c:pt idx="1295">
                  <c:v>45279</c:v>
                </c:pt>
                <c:pt idx="1296">
                  <c:v>45280</c:v>
                </c:pt>
                <c:pt idx="1297">
                  <c:v>45281</c:v>
                </c:pt>
                <c:pt idx="1298">
                  <c:v>45282</c:v>
                </c:pt>
                <c:pt idx="1299">
                  <c:v>45285</c:v>
                </c:pt>
                <c:pt idx="1300">
                  <c:v>45286</c:v>
                </c:pt>
                <c:pt idx="1301">
                  <c:v>45287</c:v>
                </c:pt>
                <c:pt idx="1302">
                  <c:v>45288</c:v>
                </c:pt>
                <c:pt idx="1303">
                  <c:v>45289</c:v>
                </c:pt>
                <c:pt idx="1304">
                  <c:v>45292</c:v>
                </c:pt>
                <c:pt idx="1305">
                  <c:v>45293</c:v>
                </c:pt>
                <c:pt idx="1306">
                  <c:v>45294</c:v>
                </c:pt>
                <c:pt idx="1307">
                  <c:v>45295</c:v>
                </c:pt>
                <c:pt idx="1308">
                  <c:v>45296</c:v>
                </c:pt>
                <c:pt idx="1309">
                  <c:v>45299</c:v>
                </c:pt>
                <c:pt idx="1310">
                  <c:v>45300</c:v>
                </c:pt>
                <c:pt idx="1311">
                  <c:v>45301</c:v>
                </c:pt>
                <c:pt idx="1312">
                  <c:v>45302</c:v>
                </c:pt>
                <c:pt idx="1313">
                  <c:v>45303</c:v>
                </c:pt>
                <c:pt idx="1314">
                  <c:v>45306</c:v>
                </c:pt>
                <c:pt idx="1315">
                  <c:v>45307</c:v>
                </c:pt>
                <c:pt idx="1316">
                  <c:v>45308</c:v>
                </c:pt>
                <c:pt idx="1317">
                  <c:v>45309</c:v>
                </c:pt>
                <c:pt idx="1318">
                  <c:v>45310</c:v>
                </c:pt>
                <c:pt idx="1319">
                  <c:v>45313</c:v>
                </c:pt>
                <c:pt idx="1320">
                  <c:v>45314</c:v>
                </c:pt>
                <c:pt idx="1321">
                  <c:v>45315</c:v>
                </c:pt>
                <c:pt idx="1322">
                  <c:v>45316</c:v>
                </c:pt>
                <c:pt idx="1323">
                  <c:v>45317</c:v>
                </c:pt>
                <c:pt idx="1324">
                  <c:v>45320</c:v>
                </c:pt>
                <c:pt idx="1325">
                  <c:v>45321</c:v>
                </c:pt>
                <c:pt idx="1326">
                  <c:v>45322</c:v>
                </c:pt>
                <c:pt idx="1327">
                  <c:v>45323</c:v>
                </c:pt>
                <c:pt idx="1328">
                  <c:v>45324</c:v>
                </c:pt>
                <c:pt idx="1329">
                  <c:v>45327</c:v>
                </c:pt>
                <c:pt idx="1330">
                  <c:v>45328</c:v>
                </c:pt>
                <c:pt idx="1331">
                  <c:v>45329</c:v>
                </c:pt>
                <c:pt idx="1332">
                  <c:v>45330</c:v>
                </c:pt>
                <c:pt idx="1333">
                  <c:v>45331</c:v>
                </c:pt>
                <c:pt idx="1334">
                  <c:v>45334</c:v>
                </c:pt>
                <c:pt idx="1335">
                  <c:v>45335</c:v>
                </c:pt>
                <c:pt idx="1336">
                  <c:v>45336</c:v>
                </c:pt>
                <c:pt idx="1337">
                  <c:v>45337</c:v>
                </c:pt>
                <c:pt idx="1338">
                  <c:v>45338</c:v>
                </c:pt>
                <c:pt idx="1339">
                  <c:v>45341</c:v>
                </c:pt>
                <c:pt idx="1340">
                  <c:v>45342</c:v>
                </c:pt>
                <c:pt idx="1341">
                  <c:v>45343</c:v>
                </c:pt>
                <c:pt idx="1342">
                  <c:v>45344</c:v>
                </c:pt>
                <c:pt idx="1343">
                  <c:v>45345</c:v>
                </c:pt>
                <c:pt idx="1344">
                  <c:v>45348</c:v>
                </c:pt>
                <c:pt idx="1345">
                  <c:v>45349</c:v>
                </c:pt>
                <c:pt idx="1346">
                  <c:v>45350</c:v>
                </c:pt>
                <c:pt idx="1347">
                  <c:v>45351</c:v>
                </c:pt>
                <c:pt idx="1348">
                  <c:v>45352</c:v>
                </c:pt>
                <c:pt idx="1349">
                  <c:v>45355</c:v>
                </c:pt>
                <c:pt idx="1350">
                  <c:v>45356</c:v>
                </c:pt>
                <c:pt idx="1351">
                  <c:v>45357</c:v>
                </c:pt>
                <c:pt idx="1352">
                  <c:v>45358</c:v>
                </c:pt>
                <c:pt idx="1353">
                  <c:v>45359</c:v>
                </c:pt>
                <c:pt idx="1354">
                  <c:v>45362</c:v>
                </c:pt>
                <c:pt idx="1355">
                  <c:v>45363</c:v>
                </c:pt>
                <c:pt idx="1356">
                  <c:v>45364</c:v>
                </c:pt>
                <c:pt idx="1357">
                  <c:v>45365</c:v>
                </c:pt>
                <c:pt idx="1358">
                  <c:v>45366</c:v>
                </c:pt>
                <c:pt idx="1359">
                  <c:v>45369</c:v>
                </c:pt>
                <c:pt idx="1360">
                  <c:v>45370</c:v>
                </c:pt>
                <c:pt idx="1361">
                  <c:v>45371</c:v>
                </c:pt>
                <c:pt idx="1362">
                  <c:v>45372</c:v>
                </c:pt>
                <c:pt idx="1363">
                  <c:v>45373</c:v>
                </c:pt>
                <c:pt idx="1364">
                  <c:v>45376</c:v>
                </c:pt>
                <c:pt idx="1365">
                  <c:v>45377</c:v>
                </c:pt>
                <c:pt idx="1366">
                  <c:v>45378</c:v>
                </c:pt>
                <c:pt idx="1367">
                  <c:v>45379</c:v>
                </c:pt>
                <c:pt idx="1368">
                  <c:v>45380</c:v>
                </c:pt>
                <c:pt idx="1369">
                  <c:v>45383</c:v>
                </c:pt>
                <c:pt idx="1370">
                  <c:v>45384</c:v>
                </c:pt>
                <c:pt idx="1371">
                  <c:v>45385</c:v>
                </c:pt>
                <c:pt idx="1372">
                  <c:v>45386</c:v>
                </c:pt>
                <c:pt idx="1373">
                  <c:v>45387</c:v>
                </c:pt>
                <c:pt idx="1374">
                  <c:v>45390</c:v>
                </c:pt>
                <c:pt idx="1375">
                  <c:v>45391</c:v>
                </c:pt>
                <c:pt idx="1376">
                  <c:v>45392</c:v>
                </c:pt>
                <c:pt idx="1377">
                  <c:v>45393</c:v>
                </c:pt>
                <c:pt idx="1378">
                  <c:v>45394</c:v>
                </c:pt>
                <c:pt idx="1379">
                  <c:v>45397</c:v>
                </c:pt>
                <c:pt idx="1380">
                  <c:v>45398</c:v>
                </c:pt>
                <c:pt idx="1381">
                  <c:v>45399</c:v>
                </c:pt>
                <c:pt idx="1382">
                  <c:v>45400</c:v>
                </c:pt>
                <c:pt idx="1383">
                  <c:v>45401</c:v>
                </c:pt>
                <c:pt idx="1384">
                  <c:v>45404</c:v>
                </c:pt>
                <c:pt idx="1385">
                  <c:v>45405</c:v>
                </c:pt>
                <c:pt idx="1386">
                  <c:v>45406</c:v>
                </c:pt>
                <c:pt idx="1387">
                  <c:v>45407</c:v>
                </c:pt>
                <c:pt idx="1388">
                  <c:v>45408</c:v>
                </c:pt>
                <c:pt idx="1389">
                  <c:v>45411</c:v>
                </c:pt>
                <c:pt idx="1390">
                  <c:v>45412</c:v>
                </c:pt>
                <c:pt idx="1391">
                  <c:v>45413</c:v>
                </c:pt>
                <c:pt idx="1392">
                  <c:v>45414</c:v>
                </c:pt>
                <c:pt idx="1393">
                  <c:v>45415</c:v>
                </c:pt>
                <c:pt idx="1394">
                  <c:v>45418</c:v>
                </c:pt>
                <c:pt idx="1395">
                  <c:v>45419</c:v>
                </c:pt>
                <c:pt idx="1396">
                  <c:v>45420</c:v>
                </c:pt>
                <c:pt idx="1397">
                  <c:v>45421</c:v>
                </c:pt>
                <c:pt idx="1398">
                  <c:v>45422</c:v>
                </c:pt>
                <c:pt idx="1399">
                  <c:v>45425</c:v>
                </c:pt>
                <c:pt idx="1400">
                  <c:v>45426</c:v>
                </c:pt>
                <c:pt idx="1401">
                  <c:v>45427</c:v>
                </c:pt>
                <c:pt idx="1402">
                  <c:v>45428</c:v>
                </c:pt>
                <c:pt idx="1403">
                  <c:v>45429</c:v>
                </c:pt>
                <c:pt idx="1404">
                  <c:v>45432</c:v>
                </c:pt>
                <c:pt idx="1405">
                  <c:v>45433</c:v>
                </c:pt>
                <c:pt idx="1406">
                  <c:v>45434</c:v>
                </c:pt>
                <c:pt idx="1407">
                  <c:v>45435</c:v>
                </c:pt>
                <c:pt idx="1408">
                  <c:v>45436</c:v>
                </c:pt>
                <c:pt idx="1409">
                  <c:v>45439</c:v>
                </c:pt>
                <c:pt idx="1410">
                  <c:v>45440</c:v>
                </c:pt>
                <c:pt idx="1411">
                  <c:v>45441</c:v>
                </c:pt>
                <c:pt idx="1412">
                  <c:v>45442</c:v>
                </c:pt>
                <c:pt idx="1413">
                  <c:v>45443</c:v>
                </c:pt>
                <c:pt idx="1414">
                  <c:v>45446</c:v>
                </c:pt>
                <c:pt idx="1415">
                  <c:v>45447</c:v>
                </c:pt>
                <c:pt idx="1416">
                  <c:v>45448</c:v>
                </c:pt>
                <c:pt idx="1417">
                  <c:v>45449</c:v>
                </c:pt>
                <c:pt idx="1418">
                  <c:v>45450</c:v>
                </c:pt>
                <c:pt idx="1419">
                  <c:v>45453</c:v>
                </c:pt>
                <c:pt idx="1420">
                  <c:v>45454</c:v>
                </c:pt>
                <c:pt idx="1421">
                  <c:v>45455</c:v>
                </c:pt>
                <c:pt idx="1422">
                  <c:v>45456</c:v>
                </c:pt>
                <c:pt idx="1423">
                  <c:v>45457</c:v>
                </c:pt>
                <c:pt idx="1424">
                  <c:v>45460</c:v>
                </c:pt>
                <c:pt idx="1425">
                  <c:v>45461</c:v>
                </c:pt>
                <c:pt idx="1426">
                  <c:v>45462</c:v>
                </c:pt>
                <c:pt idx="1427">
                  <c:v>45463</c:v>
                </c:pt>
                <c:pt idx="1428">
                  <c:v>45464</c:v>
                </c:pt>
                <c:pt idx="1429">
                  <c:v>45467</c:v>
                </c:pt>
                <c:pt idx="1430">
                  <c:v>45468</c:v>
                </c:pt>
                <c:pt idx="1431">
                  <c:v>45469</c:v>
                </c:pt>
                <c:pt idx="1432">
                  <c:v>45470</c:v>
                </c:pt>
                <c:pt idx="1433">
                  <c:v>45471</c:v>
                </c:pt>
                <c:pt idx="1434">
                  <c:v>45474</c:v>
                </c:pt>
                <c:pt idx="1435">
                  <c:v>45475</c:v>
                </c:pt>
                <c:pt idx="1436">
                  <c:v>45476</c:v>
                </c:pt>
                <c:pt idx="1437">
                  <c:v>45477</c:v>
                </c:pt>
                <c:pt idx="1438">
                  <c:v>45478</c:v>
                </c:pt>
                <c:pt idx="1439">
                  <c:v>45481</c:v>
                </c:pt>
                <c:pt idx="1440">
                  <c:v>45482</c:v>
                </c:pt>
                <c:pt idx="1441">
                  <c:v>45483</c:v>
                </c:pt>
                <c:pt idx="1442">
                  <c:v>45484</c:v>
                </c:pt>
                <c:pt idx="1443">
                  <c:v>45485</c:v>
                </c:pt>
                <c:pt idx="1444">
                  <c:v>45488</c:v>
                </c:pt>
                <c:pt idx="1445">
                  <c:v>45489</c:v>
                </c:pt>
                <c:pt idx="1446">
                  <c:v>45490</c:v>
                </c:pt>
                <c:pt idx="1447">
                  <c:v>45491</c:v>
                </c:pt>
                <c:pt idx="1448">
                  <c:v>45492</c:v>
                </c:pt>
                <c:pt idx="1449">
                  <c:v>45495</c:v>
                </c:pt>
                <c:pt idx="1450">
                  <c:v>45496</c:v>
                </c:pt>
                <c:pt idx="1451">
                  <c:v>45497</c:v>
                </c:pt>
                <c:pt idx="1452">
                  <c:v>45498</c:v>
                </c:pt>
                <c:pt idx="1453">
                  <c:v>45499</c:v>
                </c:pt>
                <c:pt idx="1454">
                  <c:v>45502</c:v>
                </c:pt>
                <c:pt idx="1455">
                  <c:v>45503</c:v>
                </c:pt>
                <c:pt idx="1456">
                  <c:v>45504</c:v>
                </c:pt>
                <c:pt idx="1457">
                  <c:v>45505</c:v>
                </c:pt>
                <c:pt idx="1458">
                  <c:v>45506</c:v>
                </c:pt>
                <c:pt idx="1459">
                  <c:v>45509</c:v>
                </c:pt>
                <c:pt idx="1460">
                  <c:v>45510</c:v>
                </c:pt>
                <c:pt idx="1461">
                  <c:v>45511</c:v>
                </c:pt>
                <c:pt idx="1462">
                  <c:v>45512</c:v>
                </c:pt>
                <c:pt idx="1463">
                  <c:v>45513</c:v>
                </c:pt>
                <c:pt idx="1464">
                  <c:v>45516</c:v>
                </c:pt>
                <c:pt idx="1465">
                  <c:v>45517</c:v>
                </c:pt>
                <c:pt idx="1466">
                  <c:v>45518</c:v>
                </c:pt>
                <c:pt idx="1467">
                  <c:v>45519</c:v>
                </c:pt>
                <c:pt idx="1468">
                  <c:v>45520</c:v>
                </c:pt>
              </c:numCache>
            </c:numRef>
          </c:cat>
          <c:val>
            <c:numRef>
              <c:f>Tabelle1!$E$9:$E$1477</c:f>
              <c:numCache>
                <c:formatCode>General</c:formatCode>
                <c:ptCount val="1469"/>
                <c:pt idx="0">
                  <c:v>0</c:v>
                </c:pt>
                <c:pt idx="1">
                  <c:v>-1.3761537200899232E-3</c:v>
                </c:pt>
                <c:pt idx="2">
                  <c:v>-2.7296427463101569E-3</c:v>
                </c:pt>
                <c:pt idx="3">
                  <c:v>-4.9711228554260023E-3</c:v>
                </c:pt>
                <c:pt idx="4">
                  <c:v>-6.4565320228879841E-3</c:v>
                </c:pt>
                <c:pt idx="5">
                  <c:v>-7.2550266222981552E-3</c:v>
                </c:pt>
                <c:pt idx="6">
                  <c:v>-9.2001222731177279E-3</c:v>
                </c:pt>
                <c:pt idx="7">
                  <c:v>-8.9821925243703804E-3</c:v>
                </c:pt>
                <c:pt idx="8">
                  <c:v>-1.0361251974443597E-2</c:v>
                </c:pt>
                <c:pt idx="9">
                  <c:v>-1.0399607610223072E-2</c:v>
                </c:pt>
                <c:pt idx="10">
                  <c:v>-1.0769216464098563E-2</c:v>
                </c:pt>
                <c:pt idx="11">
                  <c:v>-1.0776190216058468E-2</c:v>
                </c:pt>
                <c:pt idx="12">
                  <c:v>-1.0497821283658504E-2</c:v>
                </c:pt>
                <c:pt idx="13">
                  <c:v>-1.2438267766504807E-2</c:v>
                </c:pt>
                <c:pt idx="14">
                  <c:v>-1.1563061895535465E-2</c:v>
                </c:pt>
                <c:pt idx="15">
                  <c:v>-1.1787384250246169E-2</c:v>
                </c:pt>
                <c:pt idx="16">
                  <c:v>-1.176007038840321E-2</c:v>
                </c:pt>
                <c:pt idx="17">
                  <c:v>-1.272128586687804E-2</c:v>
                </c:pt>
                <c:pt idx="18">
                  <c:v>-1.3308824469500879E-2</c:v>
                </c:pt>
                <c:pt idx="19">
                  <c:v>-1.334485552129383E-2</c:v>
                </c:pt>
                <c:pt idx="20">
                  <c:v>-1.4904070230331468E-2</c:v>
                </c:pt>
                <c:pt idx="21">
                  <c:v>-1.6507452035115167E-2</c:v>
                </c:pt>
                <c:pt idx="22">
                  <c:v>-1.7709843102203915E-2</c:v>
                </c:pt>
                <c:pt idx="23">
                  <c:v>-1.9488730997978765E-2</c:v>
                </c:pt>
                <c:pt idx="24">
                  <c:v>-1.8861674467583023E-2</c:v>
                </c:pt>
                <c:pt idx="25">
                  <c:v>-1.9346350228797271E-2</c:v>
                </c:pt>
                <c:pt idx="26">
                  <c:v>-1.9745016382505698E-2</c:v>
                </c:pt>
                <c:pt idx="27">
                  <c:v>-1.9659006775000099E-2</c:v>
                </c:pt>
                <c:pt idx="28">
                  <c:v>-1.9490474435968741E-2</c:v>
                </c:pt>
                <c:pt idx="29">
                  <c:v>-1.8935480009159011E-2</c:v>
                </c:pt>
                <c:pt idx="30">
                  <c:v>-1.8540881877427084E-2</c:v>
                </c:pt>
                <c:pt idx="31">
                  <c:v>-1.8408380590188567E-2</c:v>
                </c:pt>
                <c:pt idx="32">
                  <c:v>-1.9077279632343846E-2</c:v>
                </c:pt>
                <c:pt idx="33">
                  <c:v>-2.2461292770892594E-2</c:v>
                </c:pt>
                <c:pt idx="34">
                  <c:v>-2.1795299458720718E-2</c:v>
                </c:pt>
                <c:pt idx="35">
                  <c:v>-2.2228834372228778E-2</c:v>
                </c:pt>
                <c:pt idx="36">
                  <c:v>-2.2350875031527218E-2</c:v>
                </c:pt>
                <c:pt idx="37">
                  <c:v>-2.2927953006210089E-2</c:v>
                </c:pt>
                <c:pt idx="38">
                  <c:v>-2.3101715659211375E-2</c:v>
                </c:pt>
                <c:pt idx="39">
                  <c:v>-2.2593794058130889E-2</c:v>
                </c:pt>
                <c:pt idx="40">
                  <c:v>-2.2335765235614091E-2</c:v>
                </c:pt>
                <c:pt idx="41">
                  <c:v>-2.1946978563848751E-2</c:v>
                </c:pt>
                <c:pt idx="42">
                  <c:v>-1.892618167321225E-2</c:v>
                </c:pt>
                <c:pt idx="43">
                  <c:v>-1.8708251924465014E-2</c:v>
                </c:pt>
                <c:pt idx="44">
                  <c:v>-1.8314816084726404E-2</c:v>
                </c:pt>
                <c:pt idx="45">
                  <c:v>-1.8245078565127248E-2</c:v>
                </c:pt>
                <c:pt idx="46">
                  <c:v>-1.7931840872927762E-2</c:v>
                </c:pt>
                <c:pt idx="47">
                  <c:v>-1.7498305959419702E-2</c:v>
                </c:pt>
                <c:pt idx="48">
                  <c:v>-1.7119398769597782E-2</c:v>
                </c:pt>
                <c:pt idx="49">
                  <c:v>-1.630288864429108E-2</c:v>
                </c:pt>
                <c:pt idx="50">
                  <c:v>-1.6419698989619591E-2</c:v>
                </c:pt>
                <c:pt idx="51">
                  <c:v>-1.6366814703923649E-2</c:v>
                </c:pt>
                <c:pt idx="52">
                  <c:v>-1.6692256462052857E-2</c:v>
                </c:pt>
                <c:pt idx="53">
                  <c:v>-1.6827663479274557E-2</c:v>
                </c:pt>
                <c:pt idx="54">
                  <c:v>-9.4221200438417974E-3</c:v>
                </c:pt>
                <c:pt idx="55">
                  <c:v>-8.9118738587745661E-3</c:v>
                </c:pt>
                <c:pt idx="56">
                  <c:v>-9.1768764332513797E-3</c:v>
                </c:pt>
                <c:pt idx="57">
                  <c:v>-9.481978081497533E-3</c:v>
                </c:pt>
                <c:pt idx="58">
                  <c:v>-9.1937296671543711E-3</c:v>
                </c:pt>
                <c:pt idx="59">
                  <c:v>-8.4992602011463303E-3</c:v>
                </c:pt>
                <c:pt idx="60">
                  <c:v>-8.4115071556507548E-3</c:v>
                </c:pt>
                <c:pt idx="61">
                  <c:v>-8.5236683330059959E-3</c:v>
                </c:pt>
                <c:pt idx="62">
                  <c:v>-8.4672971713299905E-3</c:v>
                </c:pt>
                <c:pt idx="63">
                  <c:v>-8.4853126972265214E-3</c:v>
                </c:pt>
                <c:pt idx="64">
                  <c:v>-8.2487862765859843E-3</c:v>
                </c:pt>
                <c:pt idx="65">
                  <c:v>-7.6804254918529935E-3</c:v>
                </c:pt>
                <c:pt idx="66">
                  <c:v>-8.9037378148213442E-3</c:v>
                </c:pt>
                <c:pt idx="67">
                  <c:v>-7.9768099501493772E-3</c:v>
                </c:pt>
                <c:pt idx="68">
                  <c:v>-7.9233445184566653E-3</c:v>
                </c:pt>
                <c:pt idx="69">
                  <c:v>-7.7274983175823486E-3</c:v>
                </c:pt>
                <c:pt idx="70">
                  <c:v>-7.5967404683339179E-3</c:v>
                </c:pt>
                <c:pt idx="71">
                  <c:v>-7.5223537807614926E-3</c:v>
                </c:pt>
                <c:pt idx="72">
                  <c:v>-7.3828787415631814E-3</c:v>
                </c:pt>
                <c:pt idx="73">
                  <c:v>-7.2335242204216721E-3</c:v>
                </c:pt>
                <c:pt idx="74">
                  <c:v>-5.6557128394910672E-3</c:v>
                </c:pt>
                <c:pt idx="75">
                  <c:v>-5.4964788364063599E-3</c:v>
                </c:pt>
                <c:pt idx="76">
                  <c:v>-5.1506969683938753E-3</c:v>
                </c:pt>
                <c:pt idx="77">
                  <c:v>-5.011221929195564E-3</c:v>
                </c:pt>
                <c:pt idx="78">
                  <c:v>-4.7171620548858151E-3</c:v>
                </c:pt>
                <c:pt idx="79">
                  <c:v>-2.981860108860368E-3</c:v>
                </c:pt>
                <c:pt idx="80">
                  <c:v>-2.3954837982308463E-3</c:v>
                </c:pt>
                <c:pt idx="81">
                  <c:v>-1.2814269226344432E-3</c:v>
                </c:pt>
                <c:pt idx="82">
                  <c:v>-6.2473194640910723E-4</c:v>
                </c:pt>
                <c:pt idx="83">
                  <c:v>-1.0094505961976141E-3</c:v>
                </c:pt>
                <c:pt idx="84">
                  <c:v>-4.6201106734433672E-4</c:v>
                </c:pt>
                <c:pt idx="85">
                  <c:v>-4.9746097314062876E-4</c:v>
                </c:pt>
                <c:pt idx="86">
                  <c:v>4.5445616938777356E-4</c:v>
                </c:pt>
                <c:pt idx="87">
                  <c:v>6.5960070620851852E-4</c:v>
                </c:pt>
                <c:pt idx="88">
                  <c:v>9.9259736229440065E-4</c:v>
                </c:pt>
                <c:pt idx="89">
                  <c:v>2.2693751169555743E-3</c:v>
                </c:pt>
                <c:pt idx="90">
                  <c:v>1.8689655252570603E-3</c:v>
                </c:pt>
                <c:pt idx="91">
                  <c:v>1.7045012082024247E-3</c:v>
                </c:pt>
                <c:pt idx="92">
                  <c:v>1.3598816321833684E-3</c:v>
                </c:pt>
                <c:pt idx="93">
                  <c:v>1.2808457766375625E-3</c:v>
                </c:pt>
                <c:pt idx="94">
                  <c:v>2.0456339082417507E-3</c:v>
                </c:pt>
                <c:pt idx="95">
                  <c:v>2.0979370479410342E-3</c:v>
                </c:pt>
                <c:pt idx="96">
                  <c:v>2.3635207684145065E-3</c:v>
                </c:pt>
                <c:pt idx="97">
                  <c:v>2.2542653210424479E-3</c:v>
                </c:pt>
                <c:pt idx="98">
                  <c:v>2.4384886019834795E-3</c:v>
                </c:pt>
                <c:pt idx="99">
                  <c:v>3.121916294055227E-3</c:v>
                </c:pt>
                <c:pt idx="100">
                  <c:v>3.2532552893003164E-3</c:v>
                </c:pt>
                <c:pt idx="101">
                  <c:v>3.5223258857537409E-3</c:v>
                </c:pt>
                <c:pt idx="102">
                  <c:v>3.4014475184485082E-3</c:v>
                </c:pt>
                <c:pt idx="103">
                  <c:v>3.4979177538940753E-3</c:v>
                </c:pt>
                <c:pt idx="104">
                  <c:v>4.1162570943398258E-3</c:v>
                </c:pt>
                <c:pt idx="105">
                  <c:v>3.9395887113551353E-3</c:v>
                </c:pt>
                <c:pt idx="106">
                  <c:v>4.1929683658987749E-3</c:v>
                </c:pt>
                <c:pt idx="107">
                  <c:v>4.3754482088498303E-3</c:v>
                </c:pt>
                <c:pt idx="108">
                  <c:v>4.496326576155063E-3</c:v>
                </c:pt>
                <c:pt idx="109">
                  <c:v>5.001342447252366E-3</c:v>
                </c:pt>
                <c:pt idx="110">
                  <c:v>4.9182385697299491E-3</c:v>
                </c:pt>
                <c:pt idx="111">
                  <c:v>4.8339724002142148E-3</c:v>
                </c:pt>
                <c:pt idx="112">
                  <c:v>4.5776870156875038E-3</c:v>
                </c:pt>
                <c:pt idx="113">
                  <c:v>4.5317764819512441E-3</c:v>
                </c:pt>
                <c:pt idx="114">
                  <c:v>5.3994274549640231E-3</c:v>
                </c:pt>
                <c:pt idx="115">
                  <c:v>5.2802925256489885E-3</c:v>
                </c:pt>
                <c:pt idx="116">
                  <c:v>5.5412270781489692E-3</c:v>
                </c:pt>
                <c:pt idx="117">
                  <c:v>4.9019664818235054E-3</c:v>
                </c:pt>
                <c:pt idx="118">
                  <c:v>4.8589616780705391E-3</c:v>
                </c:pt>
                <c:pt idx="119">
                  <c:v>4.0255983188608457E-3</c:v>
                </c:pt>
                <c:pt idx="120">
                  <c:v>4.8740714739836655E-3</c:v>
                </c:pt>
                <c:pt idx="121">
                  <c:v>5.2558843937891009E-3</c:v>
                </c:pt>
                <c:pt idx="122">
                  <c:v>4.961824519479574E-3</c:v>
                </c:pt>
                <c:pt idx="123">
                  <c:v>4.9095213797800685E-3</c:v>
                </c:pt>
                <c:pt idx="124">
                  <c:v>7.4311138592859649E-3</c:v>
                </c:pt>
                <c:pt idx="125">
                  <c:v>7.7036713317193417E-3</c:v>
                </c:pt>
                <c:pt idx="126">
                  <c:v>7.1091589771365982E-3</c:v>
                </c:pt>
                <c:pt idx="127">
                  <c:v>6.8360203587065627E-3</c:v>
                </c:pt>
                <c:pt idx="128">
                  <c:v>7.0504632314738469E-3</c:v>
                </c:pt>
                <c:pt idx="129">
                  <c:v>6.7796491970304462E-3</c:v>
                </c:pt>
                <c:pt idx="130">
                  <c:v>7.0998606411900589E-3</c:v>
                </c:pt>
                <c:pt idx="131">
                  <c:v>7.5694266064907367E-3</c:v>
                </c:pt>
                <c:pt idx="132">
                  <c:v>7.8454709549042878E-3</c:v>
                </c:pt>
                <c:pt idx="133">
                  <c:v>7.9134650365133563E-3</c:v>
                </c:pt>
                <c:pt idx="134">
                  <c:v>7.9134650365133563E-3</c:v>
                </c:pt>
                <c:pt idx="135">
                  <c:v>7.7135508136625397E-3</c:v>
                </c:pt>
                <c:pt idx="136">
                  <c:v>7.8617430428107316E-3</c:v>
                </c:pt>
                <c:pt idx="137">
                  <c:v>7.6699648639129148E-3</c:v>
                </c:pt>
                <c:pt idx="138">
                  <c:v>7.9186953504832847E-3</c:v>
                </c:pt>
                <c:pt idx="139">
                  <c:v>8.1592897931004327E-3</c:v>
                </c:pt>
                <c:pt idx="140">
                  <c:v>8.0407360097818348E-3</c:v>
                </c:pt>
                <c:pt idx="141">
                  <c:v>8.410926009653874E-3</c:v>
                </c:pt>
                <c:pt idx="142">
                  <c:v>8.2301896046927947E-3</c:v>
                </c:pt>
                <c:pt idx="143">
                  <c:v>8.5887566846318819E-3</c:v>
                </c:pt>
                <c:pt idx="144">
                  <c:v>9.097259431708915E-3</c:v>
                </c:pt>
                <c:pt idx="145">
                  <c:v>9.4540830736580261E-3</c:v>
                </c:pt>
                <c:pt idx="146">
                  <c:v>9.9323662289088066E-3</c:v>
                </c:pt>
                <c:pt idx="147">
                  <c:v>8.720676825873408E-3</c:v>
                </c:pt>
                <c:pt idx="148">
                  <c:v>8.4731086312965775E-3</c:v>
                </c:pt>
                <c:pt idx="149">
                  <c:v>9.2716032307067486E-3</c:v>
                </c:pt>
                <c:pt idx="150">
                  <c:v>9.4389732777448998E-3</c:v>
                </c:pt>
                <c:pt idx="151">
                  <c:v>1.0352534784493495E-2</c:v>
                </c:pt>
                <c:pt idx="152">
                  <c:v>9.2466139528504243E-3</c:v>
                </c:pt>
                <c:pt idx="153">
                  <c:v>8.7137030739137256E-3</c:v>
                </c:pt>
                <c:pt idx="154">
                  <c:v>8.1732372970202416E-3</c:v>
                </c:pt>
                <c:pt idx="155">
                  <c:v>7.4921341889351289E-3</c:v>
                </c:pt>
                <c:pt idx="156">
                  <c:v>7.718781127632246E-3</c:v>
                </c:pt>
                <c:pt idx="157">
                  <c:v>7.7257548795923725E-3</c:v>
                </c:pt>
                <c:pt idx="158">
                  <c:v>7.989014016078988E-3</c:v>
                </c:pt>
                <c:pt idx="159">
                  <c:v>8.4870561352163865E-3</c:v>
                </c:pt>
                <c:pt idx="160">
                  <c:v>8.4626480033567208E-3</c:v>
                </c:pt>
                <c:pt idx="161">
                  <c:v>8.1424365591971082E-3</c:v>
                </c:pt>
                <c:pt idx="162">
                  <c:v>8.099431755444364E-3</c:v>
                </c:pt>
                <c:pt idx="163">
                  <c:v>9.5790294629398698E-3</c:v>
                </c:pt>
                <c:pt idx="164">
                  <c:v>1.1152772821893864E-2</c:v>
                </c:pt>
                <c:pt idx="165">
                  <c:v>1.1055140294454979E-2</c:v>
                </c:pt>
                <c:pt idx="166">
                  <c:v>1.1380000906587862E-2</c:v>
                </c:pt>
                <c:pt idx="167">
                  <c:v>1.1277138065178827E-2</c:v>
                </c:pt>
                <c:pt idx="168">
                  <c:v>1.1557831581565647E-2</c:v>
                </c:pt>
                <c:pt idx="169">
                  <c:v>1.2305185333269852E-2</c:v>
                </c:pt>
                <c:pt idx="170">
                  <c:v>1.2559146133810151E-2</c:v>
                </c:pt>
                <c:pt idx="171">
                  <c:v>1.2598082915586284E-2</c:v>
                </c:pt>
                <c:pt idx="172">
                  <c:v>1.2541711753910167E-2</c:v>
                </c:pt>
                <c:pt idx="173">
                  <c:v>1.3062418566917033E-2</c:v>
                </c:pt>
                <c:pt idx="174">
                  <c:v>1.3795243668704771E-2</c:v>
                </c:pt>
                <c:pt idx="175">
                  <c:v>1.399050872358254E-2</c:v>
                </c:pt>
                <c:pt idx="176">
                  <c:v>1.4232265458192783E-2</c:v>
                </c:pt>
                <c:pt idx="177">
                  <c:v>1.3403551266956359E-2</c:v>
                </c:pt>
                <c:pt idx="178">
                  <c:v>1.3866143480297355E-2</c:v>
                </c:pt>
                <c:pt idx="179">
                  <c:v>1.6349380324023777E-2</c:v>
                </c:pt>
                <c:pt idx="180">
                  <c:v>1.5821699759056784E-2</c:v>
                </c:pt>
                <c:pt idx="181">
                  <c:v>1.5640963354095705E-2</c:v>
                </c:pt>
                <c:pt idx="182">
                  <c:v>1.5456740073154673E-2</c:v>
                </c:pt>
                <c:pt idx="183">
                  <c:v>1.6706203965972666E-2</c:v>
                </c:pt>
                <c:pt idx="184">
                  <c:v>1.7405903745950857E-2</c:v>
                </c:pt>
                <c:pt idx="185">
                  <c:v>1.7494819083439861E-2</c:v>
                </c:pt>
                <c:pt idx="186">
                  <c:v>1.7178675661256859E-2</c:v>
                </c:pt>
                <c:pt idx="187">
                  <c:v>1.754886566112912E-2</c:v>
                </c:pt>
                <c:pt idx="188">
                  <c:v>1.776563311788304E-2</c:v>
                </c:pt>
                <c:pt idx="189">
                  <c:v>2.1298419631576637E-2</c:v>
                </c:pt>
                <c:pt idx="190">
                  <c:v>2.156400335205011E-2</c:v>
                </c:pt>
                <c:pt idx="191">
                  <c:v>2.1390821845045593E-2</c:v>
                </c:pt>
                <c:pt idx="192">
                  <c:v>2.138675382306876E-2</c:v>
                </c:pt>
                <c:pt idx="193">
                  <c:v>2.1512281358347263E-2</c:v>
                </c:pt>
                <c:pt idx="194">
                  <c:v>2.1723818501131476E-2</c:v>
                </c:pt>
                <c:pt idx="195">
                  <c:v>2.18842147962095E-2</c:v>
                </c:pt>
                <c:pt idx="196">
                  <c:v>2.1561678768063475E-2</c:v>
                </c:pt>
                <c:pt idx="197">
                  <c:v>2.2166070604589416E-2</c:v>
                </c:pt>
                <c:pt idx="198">
                  <c:v>2.1895837716142674E-2</c:v>
                </c:pt>
                <c:pt idx="199">
                  <c:v>2.2180018108509225E-2</c:v>
                </c:pt>
                <c:pt idx="200">
                  <c:v>2.1921989285992316E-2</c:v>
                </c:pt>
                <c:pt idx="201">
                  <c:v>2.1369319443169221E-2</c:v>
                </c:pt>
                <c:pt idx="202">
                  <c:v>2.1257739411810528E-2</c:v>
                </c:pt>
                <c:pt idx="203">
                  <c:v>2.1217640338040855E-2</c:v>
                </c:pt>
                <c:pt idx="204">
                  <c:v>2.093520338366428E-2</c:v>
                </c:pt>
                <c:pt idx="205">
                  <c:v>2.0805026680412508E-2</c:v>
                </c:pt>
                <c:pt idx="206">
                  <c:v>2.0308146853268649E-2</c:v>
                </c:pt>
                <c:pt idx="207">
                  <c:v>1.774296842401335E-2</c:v>
                </c:pt>
                <c:pt idx="208">
                  <c:v>1.7150780653417241E-2</c:v>
                </c:pt>
                <c:pt idx="209">
                  <c:v>1.7102545535694347E-2</c:v>
                </c:pt>
                <c:pt idx="210">
                  <c:v>1.709324719974803E-2</c:v>
                </c:pt>
                <c:pt idx="211">
                  <c:v>1.7294323714592164E-2</c:v>
                </c:pt>
                <c:pt idx="212">
                  <c:v>1.6931688612676687E-2</c:v>
                </c:pt>
                <c:pt idx="213">
                  <c:v>1.6101812129446724E-2</c:v>
                </c:pt>
                <c:pt idx="214">
                  <c:v>1.5143502380955187E-2</c:v>
                </c:pt>
                <c:pt idx="215">
                  <c:v>1.6196538926902315E-2</c:v>
                </c:pt>
                <c:pt idx="216">
                  <c:v>1.6194795488912339E-2</c:v>
                </c:pt>
                <c:pt idx="217">
                  <c:v>1.6095419523483478E-2</c:v>
                </c:pt>
                <c:pt idx="218">
                  <c:v>1.5536938220693575E-2</c:v>
                </c:pt>
                <c:pt idx="219">
                  <c:v>1.5782762977280651E-2</c:v>
                </c:pt>
                <c:pt idx="220">
                  <c:v>1.5816469445086856E-2</c:v>
                </c:pt>
                <c:pt idx="221">
                  <c:v>1.5560184060559923E-2</c:v>
                </c:pt>
                <c:pt idx="222">
                  <c:v>1.5588660214396421E-2</c:v>
                </c:pt>
                <c:pt idx="223">
                  <c:v>1.5731040983578026E-2</c:v>
                </c:pt>
                <c:pt idx="224">
                  <c:v>1.5736852443544613E-2</c:v>
                </c:pt>
                <c:pt idx="225">
                  <c:v>1.5488703102970902E-2</c:v>
                </c:pt>
                <c:pt idx="226">
                  <c:v>1.5673507529908592E-2</c:v>
                </c:pt>
                <c:pt idx="227">
                  <c:v>1.6012315645961284E-2</c:v>
                </c:pt>
                <c:pt idx="228">
                  <c:v>1.6795700449458328E-2</c:v>
                </c:pt>
                <c:pt idx="229">
                  <c:v>1.6416793259636187E-2</c:v>
                </c:pt>
                <c:pt idx="230">
                  <c:v>1.6743397309759045E-2</c:v>
                </c:pt>
                <c:pt idx="231">
                  <c:v>1.7518646069302868E-2</c:v>
                </c:pt>
                <c:pt idx="232">
                  <c:v>1.1505528441866142E-2</c:v>
                </c:pt>
                <c:pt idx="233">
                  <c:v>1.2151762790151732E-2</c:v>
                </c:pt>
                <c:pt idx="234">
                  <c:v>1.2923524673715381E-2</c:v>
                </c:pt>
                <c:pt idx="235">
                  <c:v>1.3301269571544205E-2</c:v>
                </c:pt>
                <c:pt idx="236">
                  <c:v>1.3389603763036551E-2</c:v>
                </c:pt>
                <c:pt idx="237">
                  <c:v>1.3595910591850613E-2</c:v>
                </c:pt>
                <c:pt idx="238">
                  <c:v>1.3721438127129115E-2</c:v>
                </c:pt>
                <c:pt idx="239">
                  <c:v>1.3681920199356323E-2</c:v>
                </c:pt>
                <c:pt idx="240">
                  <c:v>1.4204951596349824E-2</c:v>
                </c:pt>
                <c:pt idx="241">
                  <c:v>1.4197396698393261E-2</c:v>
                </c:pt>
                <c:pt idx="242">
                  <c:v>1.3314635929467578E-2</c:v>
                </c:pt>
                <c:pt idx="243">
                  <c:v>1.3786526478755112E-2</c:v>
                </c:pt>
                <c:pt idx="244">
                  <c:v>1.3284416337641103E-2</c:v>
                </c:pt>
                <c:pt idx="245">
                  <c:v>1.349421004243534E-2</c:v>
                </c:pt>
                <c:pt idx="246">
                  <c:v>1.3724925003109067E-2</c:v>
                </c:pt>
                <c:pt idx="247">
                  <c:v>1.3867305772290672E-2</c:v>
                </c:pt>
                <c:pt idx="248">
                  <c:v>1.427062109397248E-2</c:v>
                </c:pt>
                <c:pt idx="249">
                  <c:v>1.4582696494178649E-2</c:v>
                </c:pt>
                <c:pt idx="250">
                  <c:v>1.4483320528749788E-2</c:v>
                </c:pt>
                <c:pt idx="251">
                  <c:v>1.397249319768612E-2</c:v>
                </c:pt>
                <c:pt idx="252">
                  <c:v>1.379989283667804E-2</c:v>
                </c:pt>
                <c:pt idx="253">
                  <c:v>1.3953896525792819E-2</c:v>
                </c:pt>
                <c:pt idx="254">
                  <c:v>1.7539567325182581E-2</c:v>
                </c:pt>
                <c:pt idx="255">
                  <c:v>1.7748198737983278E-2</c:v>
                </c:pt>
                <c:pt idx="256">
                  <c:v>1.7971358800700665E-2</c:v>
                </c:pt>
                <c:pt idx="257">
                  <c:v>1.7827234593529084E-2</c:v>
                </c:pt>
                <c:pt idx="258">
                  <c:v>1.8109671547905659E-2</c:v>
                </c:pt>
                <c:pt idx="259">
                  <c:v>1.8791936947983867E-2</c:v>
                </c:pt>
                <c:pt idx="260">
                  <c:v>1.9009866696731326E-2</c:v>
                </c:pt>
                <c:pt idx="261">
                  <c:v>1.9263246351274743E-2</c:v>
                </c:pt>
                <c:pt idx="262">
                  <c:v>1.9739786068535548E-2</c:v>
                </c:pt>
                <c:pt idx="263">
                  <c:v>1.9908318407567016E-2</c:v>
                </c:pt>
                <c:pt idx="264">
                  <c:v>2.0742844058770027E-2</c:v>
                </c:pt>
                <c:pt idx="265">
                  <c:v>2.1314691719483081E-2</c:v>
                </c:pt>
                <c:pt idx="266">
                  <c:v>2.1109547182662336E-2</c:v>
                </c:pt>
                <c:pt idx="267">
                  <c:v>2.1893513132156039E-2</c:v>
                </c:pt>
                <c:pt idx="268">
                  <c:v>2.2205007386365549E-2</c:v>
                </c:pt>
                <c:pt idx="269">
                  <c:v>2.2687358563592941E-2</c:v>
                </c:pt>
                <c:pt idx="270">
                  <c:v>2.2826833602791252E-2</c:v>
                </c:pt>
                <c:pt idx="271">
                  <c:v>2.2672248767679815E-2</c:v>
                </c:pt>
                <c:pt idx="272">
                  <c:v>2.2942481656126557E-2</c:v>
                </c:pt>
                <c:pt idx="273">
                  <c:v>2.2361335659467185E-2</c:v>
                </c:pt>
                <c:pt idx="274">
                  <c:v>2.3224918610503131E-2</c:v>
                </c:pt>
                <c:pt idx="275">
                  <c:v>2.4524942205030653E-2</c:v>
                </c:pt>
                <c:pt idx="276">
                  <c:v>2.3746787715503315E-2</c:v>
                </c:pt>
                <c:pt idx="277">
                  <c:v>2.3945539646361036E-2</c:v>
                </c:pt>
                <c:pt idx="278">
                  <c:v>2.5078193193850629E-2</c:v>
                </c:pt>
                <c:pt idx="279">
                  <c:v>2.5550083743138163E-2</c:v>
                </c:pt>
                <c:pt idx="280">
                  <c:v>2.5399566930003337E-2</c:v>
                </c:pt>
                <c:pt idx="281">
                  <c:v>2.7106973868189055E-2</c:v>
                </c:pt>
                <c:pt idx="282">
                  <c:v>2.5359467856233664E-2</c:v>
                </c:pt>
                <c:pt idx="283">
                  <c:v>2.5028795784134417E-2</c:v>
                </c:pt>
                <c:pt idx="284">
                  <c:v>2.3010475737735625E-2</c:v>
                </c:pt>
                <c:pt idx="285">
                  <c:v>2.2408408485196318E-2</c:v>
                </c:pt>
                <c:pt idx="286">
                  <c:v>2.140128247298545E-2</c:v>
                </c:pt>
                <c:pt idx="287">
                  <c:v>2.2320655439700854E-2</c:v>
                </c:pt>
                <c:pt idx="288">
                  <c:v>2.21096994429133E-2</c:v>
                </c:pt>
                <c:pt idx="289">
                  <c:v>2.2893084246410567E-2</c:v>
                </c:pt>
                <c:pt idx="290">
                  <c:v>2.2879136742490758E-2</c:v>
                </c:pt>
                <c:pt idx="291">
                  <c:v>2.4211704512831167E-2</c:v>
                </c:pt>
                <c:pt idx="292">
                  <c:v>2.4183809504991327E-2</c:v>
                </c:pt>
                <c:pt idx="293">
                  <c:v>2.4259358484557181E-2</c:v>
                </c:pt>
                <c:pt idx="294">
                  <c:v>2.4476125941311322E-2</c:v>
                </c:pt>
                <c:pt idx="295">
                  <c:v>2.4165793979094907E-2</c:v>
                </c:pt>
                <c:pt idx="296">
                  <c:v>2.409721875148918E-2</c:v>
                </c:pt>
                <c:pt idx="297">
                  <c:v>2.413324980328202E-2</c:v>
                </c:pt>
                <c:pt idx="298">
                  <c:v>2.4049564779762944E-2</c:v>
                </c:pt>
                <c:pt idx="299">
                  <c:v>2.3773520431349837E-2</c:v>
                </c:pt>
                <c:pt idx="300">
                  <c:v>2.4309337040269829E-2</c:v>
                </c:pt>
                <c:pt idx="301">
                  <c:v>2.3628815078181598E-2</c:v>
                </c:pt>
                <c:pt idx="302">
                  <c:v>2.3086605863298137E-2</c:v>
                </c:pt>
                <c:pt idx="303">
                  <c:v>1.9493961311948693E-2</c:v>
                </c:pt>
                <c:pt idx="304">
                  <c:v>1.8653624200778873E-2</c:v>
                </c:pt>
                <c:pt idx="305">
                  <c:v>1.8236942521174138E-2</c:v>
                </c:pt>
                <c:pt idx="306">
                  <c:v>1.7078137403834681E-2</c:v>
                </c:pt>
                <c:pt idx="307">
                  <c:v>1.607217368361713E-2</c:v>
                </c:pt>
                <c:pt idx="308">
                  <c:v>1.5654910858015514E-2</c:v>
                </c:pt>
                <c:pt idx="309">
                  <c:v>1.2134328410251749E-2</c:v>
                </c:pt>
                <c:pt idx="310">
                  <c:v>1.0365901142416645E-2</c:v>
                </c:pt>
                <c:pt idx="311">
                  <c:v>6.7395501232609956E-3</c:v>
                </c:pt>
                <c:pt idx="312">
                  <c:v>4.6102311915003913E-3</c:v>
                </c:pt>
                <c:pt idx="313">
                  <c:v>7.5258406567413338E-4</c:v>
                </c:pt>
                <c:pt idx="314">
                  <c:v>-1.1221929195496472E-2</c:v>
                </c:pt>
                <c:pt idx="315">
                  <c:v>-1.5757192553427668E-2</c:v>
                </c:pt>
                <c:pt idx="316">
                  <c:v>-2.0440066994510508E-2</c:v>
                </c:pt>
                <c:pt idx="317">
                  <c:v>-2.4624899316456061E-2</c:v>
                </c:pt>
                <c:pt idx="318">
                  <c:v>-3.2514537367106411E-2</c:v>
                </c:pt>
                <c:pt idx="319">
                  <c:v>-4.3276198933248411E-2</c:v>
                </c:pt>
                <c:pt idx="320">
                  <c:v>-5.036676123849182E-2</c:v>
                </c:pt>
                <c:pt idx="321">
                  <c:v>-5.7365502476263153E-2</c:v>
                </c:pt>
                <c:pt idx="322">
                  <c:v>-6.2621386870052254E-2</c:v>
                </c:pt>
                <c:pt idx="323">
                  <c:v>-6.8128907480395129E-2</c:v>
                </c:pt>
                <c:pt idx="324">
                  <c:v>-7.8410542453296261E-2</c:v>
                </c:pt>
                <c:pt idx="325">
                  <c:v>-8.8073256939754985E-2</c:v>
                </c:pt>
                <c:pt idx="326">
                  <c:v>-9.212151995248552E-2</c:v>
                </c:pt>
                <c:pt idx="327">
                  <c:v>-9.7889975115328487E-2</c:v>
                </c:pt>
                <c:pt idx="328">
                  <c:v>-0.1013617412993727</c:v>
                </c:pt>
                <c:pt idx="329">
                  <c:v>-0.11044563437315857</c:v>
                </c:pt>
                <c:pt idx="330">
                  <c:v>-0.12577103545106805</c:v>
                </c:pt>
                <c:pt idx="331">
                  <c:v>-0.13656989036099632</c:v>
                </c:pt>
                <c:pt idx="332">
                  <c:v>-0.14422300199100624</c:v>
                </c:pt>
                <c:pt idx="333">
                  <c:v>-0.14346925563333868</c:v>
                </c:pt>
                <c:pt idx="334">
                  <c:v>-0.14688174492572381</c:v>
                </c:pt>
                <c:pt idx="335">
                  <c:v>-0.15335571132851133</c:v>
                </c:pt>
                <c:pt idx="336">
                  <c:v>-0.16048172353955104</c:v>
                </c:pt>
                <c:pt idx="337">
                  <c:v>-0.16323809900170738</c:v>
                </c:pt>
                <c:pt idx="338">
                  <c:v>-0.16527210999001585</c:v>
                </c:pt>
                <c:pt idx="339">
                  <c:v>-0.16963651642492927</c:v>
                </c:pt>
                <c:pt idx="340">
                  <c:v>-0.17321637576435234</c:v>
                </c:pt>
                <c:pt idx="341">
                  <c:v>-0.17601691832225475</c:v>
                </c:pt>
                <c:pt idx="342">
                  <c:v>-0.1782781573952571</c:v>
                </c:pt>
                <c:pt idx="343">
                  <c:v>-0.18035517318731853</c:v>
                </c:pt>
                <c:pt idx="344">
                  <c:v>-0.18118446852455161</c:v>
                </c:pt>
                <c:pt idx="345">
                  <c:v>-0.18311852240143478</c:v>
                </c:pt>
                <c:pt idx="346">
                  <c:v>-0.18294417860243695</c:v>
                </c:pt>
                <c:pt idx="347">
                  <c:v>-0.18611839803619157</c:v>
                </c:pt>
                <c:pt idx="348">
                  <c:v>-0.19223554079703009</c:v>
                </c:pt>
                <c:pt idx="349">
                  <c:v>-0.18993768952623813</c:v>
                </c:pt>
                <c:pt idx="350">
                  <c:v>-0.19364598213092299</c:v>
                </c:pt>
                <c:pt idx="351">
                  <c:v>-0.19426141574138533</c:v>
                </c:pt>
                <c:pt idx="352">
                  <c:v>-0.19512499869242161</c:v>
                </c:pt>
                <c:pt idx="353">
                  <c:v>-0.19642037311897564</c:v>
                </c:pt>
                <c:pt idx="354">
                  <c:v>-0.19609376906885312</c:v>
                </c:pt>
                <c:pt idx="355">
                  <c:v>-0.19982588865940087</c:v>
                </c:pt>
                <c:pt idx="356">
                  <c:v>-0.20006125278804787</c:v>
                </c:pt>
                <c:pt idx="357">
                  <c:v>-0.20030707754463495</c:v>
                </c:pt>
                <c:pt idx="358">
                  <c:v>-0.2006883093184435</c:v>
                </c:pt>
                <c:pt idx="359">
                  <c:v>-0.19951439440519125</c:v>
                </c:pt>
                <c:pt idx="360">
                  <c:v>-0.19871880553576426</c:v>
                </c:pt>
                <c:pt idx="361">
                  <c:v>-0.19810860223927185</c:v>
                </c:pt>
                <c:pt idx="362">
                  <c:v>-0.19999790787441207</c:v>
                </c:pt>
                <c:pt idx="363">
                  <c:v>-0.19965561288237954</c:v>
                </c:pt>
                <c:pt idx="364">
                  <c:v>-0.19776572610124266</c:v>
                </c:pt>
                <c:pt idx="365">
                  <c:v>-0.19715494165875347</c:v>
                </c:pt>
                <c:pt idx="366">
                  <c:v>-0.19614549106255563</c:v>
                </c:pt>
                <c:pt idx="367">
                  <c:v>-0.19583748368432607</c:v>
                </c:pt>
                <c:pt idx="368">
                  <c:v>-0.19536094396706527</c:v>
                </c:pt>
                <c:pt idx="369">
                  <c:v>-0.19342340321420237</c:v>
                </c:pt>
                <c:pt idx="370">
                  <c:v>-0.19266675112655163</c:v>
                </c:pt>
                <c:pt idx="371">
                  <c:v>-0.19181130421946868</c:v>
                </c:pt>
                <c:pt idx="372">
                  <c:v>-0.19176190680975247</c:v>
                </c:pt>
                <c:pt idx="373">
                  <c:v>-0.19176888056171248</c:v>
                </c:pt>
                <c:pt idx="374">
                  <c:v>-0.18969941966760773</c:v>
                </c:pt>
                <c:pt idx="375">
                  <c:v>-0.18844705004480644</c:v>
                </c:pt>
                <c:pt idx="376">
                  <c:v>-0.1881047550527738</c:v>
                </c:pt>
                <c:pt idx="377">
                  <c:v>-0.18726906710957736</c:v>
                </c:pt>
                <c:pt idx="378">
                  <c:v>-0.18657692222755595</c:v>
                </c:pt>
                <c:pt idx="379">
                  <c:v>-0.18440343620004906</c:v>
                </c:pt>
                <c:pt idx="380">
                  <c:v>-0.18382868280935283</c:v>
                </c:pt>
                <c:pt idx="381">
                  <c:v>-0.18316850095714754</c:v>
                </c:pt>
                <c:pt idx="382">
                  <c:v>-0.18255306734668497</c:v>
                </c:pt>
                <c:pt idx="383">
                  <c:v>-0.18197715166399531</c:v>
                </c:pt>
                <c:pt idx="384">
                  <c:v>-0.17486450581087887</c:v>
                </c:pt>
                <c:pt idx="385">
                  <c:v>-0.17411947664316119</c:v>
                </c:pt>
                <c:pt idx="386">
                  <c:v>-0.17343372436710291</c:v>
                </c:pt>
                <c:pt idx="387">
                  <c:v>-0.17343488665909634</c:v>
                </c:pt>
                <c:pt idx="388">
                  <c:v>-0.17363886890392388</c:v>
                </c:pt>
                <c:pt idx="389">
                  <c:v>-0.17137879212291474</c:v>
                </c:pt>
                <c:pt idx="390">
                  <c:v>-0.1698492158597068</c:v>
                </c:pt>
                <c:pt idx="391">
                  <c:v>-0.16987827315953974</c:v>
                </c:pt>
                <c:pt idx="392">
                  <c:v>-0.16905885730424963</c:v>
                </c:pt>
                <c:pt idx="393">
                  <c:v>-0.16853756934524611</c:v>
                </c:pt>
                <c:pt idx="394">
                  <c:v>-0.16699578901610823</c:v>
                </c:pt>
                <c:pt idx="395">
                  <c:v>-0.16582361754084596</c:v>
                </c:pt>
                <c:pt idx="396">
                  <c:v>-0.16604910218754976</c:v>
                </c:pt>
                <c:pt idx="397">
                  <c:v>-0.16645009292524493</c:v>
                </c:pt>
                <c:pt idx="398">
                  <c:v>-0.16606188739947636</c:v>
                </c:pt>
                <c:pt idx="399">
                  <c:v>-0.16426963314577814</c:v>
                </c:pt>
                <c:pt idx="400">
                  <c:v>-0.16529245009989901</c:v>
                </c:pt>
                <c:pt idx="401">
                  <c:v>-0.16522329372629652</c:v>
                </c:pt>
                <c:pt idx="402">
                  <c:v>-0.16393140617572233</c:v>
                </c:pt>
                <c:pt idx="403">
                  <c:v>-0.1630939747945358</c:v>
                </c:pt>
                <c:pt idx="404">
                  <c:v>-0.16002726737016337</c:v>
                </c:pt>
                <c:pt idx="405">
                  <c:v>-0.15904745521979513</c:v>
                </c:pt>
                <c:pt idx="406">
                  <c:v>-0.15624749380788938</c:v>
                </c:pt>
                <c:pt idx="407">
                  <c:v>-0.15407865694835587</c:v>
                </c:pt>
                <c:pt idx="408">
                  <c:v>-0.15361025327504829</c:v>
                </c:pt>
                <c:pt idx="409">
                  <c:v>-0.15166167074824877</c:v>
                </c:pt>
                <c:pt idx="410">
                  <c:v>-0.14982989856677775</c:v>
                </c:pt>
                <c:pt idx="411">
                  <c:v>-0.14720776782984979</c:v>
                </c:pt>
                <c:pt idx="412">
                  <c:v>-0.14298341758013133</c:v>
                </c:pt>
                <c:pt idx="413">
                  <c:v>-0.13562959613840109</c:v>
                </c:pt>
                <c:pt idx="414">
                  <c:v>-0.13322771973420711</c:v>
                </c:pt>
                <c:pt idx="415">
                  <c:v>-0.132797671696679</c:v>
                </c:pt>
                <c:pt idx="416">
                  <c:v>-0.13169233201103248</c:v>
                </c:pt>
                <c:pt idx="417">
                  <c:v>-0.13101529692492397</c:v>
                </c:pt>
                <c:pt idx="418">
                  <c:v>-0.13066137901295849</c:v>
                </c:pt>
                <c:pt idx="419">
                  <c:v>-0.12918410588944973</c:v>
                </c:pt>
                <c:pt idx="420">
                  <c:v>-0.12842629150980578</c:v>
                </c:pt>
                <c:pt idx="421">
                  <c:v>-0.1280183270201507</c:v>
                </c:pt>
                <c:pt idx="422">
                  <c:v>-0.12708791227949878</c:v>
                </c:pt>
                <c:pt idx="423">
                  <c:v>-0.1259959389517753</c:v>
                </c:pt>
                <c:pt idx="424">
                  <c:v>-0.12410140300266514</c:v>
                </c:pt>
                <c:pt idx="425">
                  <c:v>-0.12298037237510884</c:v>
                </c:pt>
                <c:pt idx="426">
                  <c:v>-0.12128923752482945</c:v>
                </c:pt>
                <c:pt idx="427">
                  <c:v>-0.12021644201499593</c:v>
                </c:pt>
                <c:pt idx="428">
                  <c:v>-0.11890421435453868</c:v>
                </c:pt>
                <c:pt idx="429">
                  <c:v>-0.11691901962994955</c:v>
                </c:pt>
                <c:pt idx="430">
                  <c:v>-0.11531040751119581</c:v>
                </c:pt>
                <c:pt idx="431">
                  <c:v>-0.11460140939527108</c:v>
                </c:pt>
                <c:pt idx="432">
                  <c:v>-0.11399585526675182</c:v>
                </c:pt>
                <c:pt idx="433">
                  <c:v>-0.11407082310032091</c:v>
                </c:pt>
                <c:pt idx="434">
                  <c:v>-0.1124703470255205</c:v>
                </c:pt>
                <c:pt idx="435">
                  <c:v>-0.11133304431005764</c:v>
                </c:pt>
                <c:pt idx="436">
                  <c:v>-0.11081989239500722</c:v>
                </c:pt>
                <c:pt idx="437">
                  <c:v>-0.11050665470280774</c:v>
                </c:pt>
                <c:pt idx="438">
                  <c:v>-0.1097569763671169</c:v>
                </c:pt>
                <c:pt idx="439">
                  <c:v>-0.10791706814169277</c:v>
                </c:pt>
                <c:pt idx="440">
                  <c:v>-0.10787696906792321</c:v>
                </c:pt>
                <c:pt idx="441">
                  <c:v>-0.1072719960854005</c:v>
                </c:pt>
                <c:pt idx="442">
                  <c:v>-0.10611202867606817</c:v>
                </c:pt>
                <c:pt idx="443">
                  <c:v>-0.10498402429655185</c:v>
                </c:pt>
                <c:pt idx="444">
                  <c:v>-0.10284540702884459</c:v>
                </c:pt>
                <c:pt idx="445">
                  <c:v>-0.101996352727725</c:v>
                </c:pt>
                <c:pt idx="446">
                  <c:v>-0.10096714316764099</c:v>
                </c:pt>
                <c:pt idx="447">
                  <c:v>-0.10013552324642105</c:v>
                </c:pt>
                <c:pt idx="448">
                  <c:v>-9.9466043058269116E-2</c:v>
                </c:pt>
                <c:pt idx="449">
                  <c:v>-9.8356635350646093E-2</c:v>
                </c:pt>
                <c:pt idx="450">
                  <c:v>-9.7357064236391566E-2</c:v>
                </c:pt>
                <c:pt idx="451">
                  <c:v>-9.6906094942983856E-2</c:v>
                </c:pt>
                <c:pt idx="452">
                  <c:v>-9.5567134566680201E-2</c:v>
                </c:pt>
                <c:pt idx="453">
                  <c:v>-9.4997611489953671E-2</c:v>
                </c:pt>
                <c:pt idx="454">
                  <c:v>-9.3634824127787009E-2</c:v>
                </c:pt>
                <c:pt idx="455">
                  <c:v>-9.337679530527021E-2</c:v>
                </c:pt>
                <c:pt idx="456">
                  <c:v>-9.280785337454045E-2</c:v>
                </c:pt>
                <c:pt idx="457">
                  <c:v>-9.209013806866595E-2</c:v>
                </c:pt>
                <c:pt idx="458">
                  <c:v>-9.1420657880514011E-2</c:v>
                </c:pt>
                <c:pt idx="459">
                  <c:v>-8.9132686091665358E-2</c:v>
                </c:pt>
                <c:pt idx="460">
                  <c:v>-8.9137916405635287E-2</c:v>
                </c:pt>
                <c:pt idx="461">
                  <c:v>-8.9152445055551754E-2</c:v>
                </c:pt>
                <c:pt idx="462">
                  <c:v>-8.8659633250384395E-2</c:v>
                </c:pt>
                <c:pt idx="463">
                  <c:v>-8.799422108420929E-2</c:v>
                </c:pt>
                <c:pt idx="464">
                  <c:v>-8.6268217474130382E-2</c:v>
                </c:pt>
                <c:pt idx="465">
                  <c:v>-8.5856766108495464E-2</c:v>
                </c:pt>
                <c:pt idx="466">
                  <c:v>-8.4334744743243872E-2</c:v>
                </c:pt>
                <c:pt idx="467">
                  <c:v>-8.3209064947714406E-2</c:v>
                </c:pt>
                <c:pt idx="468">
                  <c:v>-8.240359659634422E-2</c:v>
                </c:pt>
                <c:pt idx="469">
                  <c:v>-8.071827320603131E-2</c:v>
                </c:pt>
                <c:pt idx="470">
                  <c:v>-7.930085812017873E-2</c:v>
                </c:pt>
                <c:pt idx="471">
                  <c:v>-7.822573802635846E-2</c:v>
                </c:pt>
                <c:pt idx="472">
                  <c:v>-7.6685701135210671E-2</c:v>
                </c:pt>
                <c:pt idx="473">
                  <c:v>-7.6777522202682746E-2</c:v>
                </c:pt>
                <c:pt idx="474">
                  <c:v>-7.6042953662905144E-2</c:v>
                </c:pt>
                <c:pt idx="475">
                  <c:v>-7.4064151544279366E-2</c:v>
                </c:pt>
                <c:pt idx="476">
                  <c:v>-7.2209133522941893E-2</c:v>
                </c:pt>
                <c:pt idx="477">
                  <c:v>-6.9940339551982866E-2</c:v>
                </c:pt>
                <c:pt idx="478">
                  <c:v>-6.7988851295200159E-2</c:v>
                </c:pt>
                <c:pt idx="479">
                  <c:v>-6.6556907559430889E-2</c:v>
                </c:pt>
                <c:pt idx="480">
                  <c:v>-6.5082540165905645E-2</c:v>
                </c:pt>
                <c:pt idx="481">
                  <c:v>-6.3801113243271201E-2</c:v>
                </c:pt>
                <c:pt idx="482">
                  <c:v>-6.2162281532691321E-2</c:v>
                </c:pt>
                <c:pt idx="483">
                  <c:v>-6.0953497859639438E-2</c:v>
                </c:pt>
                <c:pt idx="484">
                  <c:v>-5.9199599241720691E-2</c:v>
                </c:pt>
                <c:pt idx="485">
                  <c:v>-5.7706054030305598E-2</c:v>
                </c:pt>
                <c:pt idx="486">
                  <c:v>-5.7022045192237303E-2</c:v>
                </c:pt>
                <c:pt idx="487">
                  <c:v>-5.5956223434363683E-2</c:v>
                </c:pt>
                <c:pt idx="488">
                  <c:v>-5.5572085930571613E-2</c:v>
                </c:pt>
                <c:pt idx="489">
                  <c:v>-5.4086095617113195E-2</c:v>
                </c:pt>
                <c:pt idx="490">
                  <c:v>-5.2476902352362798E-2</c:v>
                </c:pt>
                <c:pt idx="491">
                  <c:v>-4.9683914692416953E-2</c:v>
                </c:pt>
                <c:pt idx="492">
                  <c:v>-4.9081266293880987E-2</c:v>
                </c:pt>
                <c:pt idx="493">
                  <c:v>-4.8534989057021027E-2</c:v>
                </c:pt>
                <c:pt idx="494">
                  <c:v>-4.6387654599363781E-2</c:v>
                </c:pt>
                <c:pt idx="495">
                  <c:v>-4.580534631071087E-2</c:v>
                </c:pt>
                <c:pt idx="496">
                  <c:v>-4.4525662826066514E-2</c:v>
                </c:pt>
                <c:pt idx="497">
                  <c:v>-4.3880009623777694E-2</c:v>
                </c:pt>
                <c:pt idx="498">
                  <c:v>-4.3278523517235046E-2</c:v>
                </c:pt>
                <c:pt idx="499">
                  <c:v>-4.0973698494483179E-2</c:v>
                </c:pt>
                <c:pt idx="500">
                  <c:v>-4.0124063047366931E-2</c:v>
                </c:pt>
                <c:pt idx="501">
                  <c:v>-3.9555702262633829E-2</c:v>
                </c:pt>
                <c:pt idx="502">
                  <c:v>-3.9865453078853363E-2</c:v>
                </c:pt>
                <c:pt idx="503">
                  <c:v>-3.9479572137071539E-2</c:v>
                </c:pt>
                <c:pt idx="504">
                  <c:v>-3.7596659107894448E-2</c:v>
                </c:pt>
                <c:pt idx="505">
                  <c:v>-3.6367535324959399E-2</c:v>
                </c:pt>
                <c:pt idx="506">
                  <c:v>-3.5339488056868706E-2</c:v>
                </c:pt>
                <c:pt idx="507">
                  <c:v>-3.4124892923850236E-2</c:v>
                </c:pt>
                <c:pt idx="508">
                  <c:v>-3.2917852688788218E-2</c:v>
                </c:pt>
                <c:pt idx="509">
                  <c:v>-3.0956484950062091E-2</c:v>
                </c:pt>
                <c:pt idx="510">
                  <c:v>-2.9642513851614982E-2</c:v>
                </c:pt>
                <c:pt idx="511">
                  <c:v>-2.9393202219047954E-2</c:v>
                </c:pt>
                <c:pt idx="512">
                  <c:v>-2.830645920529451E-2</c:v>
                </c:pt>
                <c:pt idx="513">
                  <c:v>-2.7192983475694765E-2</c:v>
                </c:pt>
                <c:pt idx="514">
                  <c:v>-3.9507467144911157E-2</c:v>
                </c:pt>
                <c:pt idx="515">
                  <c:v>-3.8890871242455383E-2</c:v>
                </c:pt>
                <c:pt idx="516">
                  <c:v>-3.8181873126530541E-2</c:v>
                </c:pt>
                <c:pt idx="517">
                  <c:v>-3.7562952640088243E-2</c:v>
                </c:pt>
                <c:pt idx="518">
                  <c:v>-3.701318852724822E-2</c:v>
                </c:pt>
                <c:pt idx="519">
                  <c:v>-3.5338325764875389E-2</c:v>
                </c:pt>
                <c:pt idx="520">
                  <c:v>-3.4778682170092168E-2</c:v>
                </c:pt>
                <c:pt idx="521">
                  <c:v>-3.4287613802914785E-2</c:v>
                </c:pt>
                <c:pt idx="522">
                  <c:v>-3.3663463002502336E-2</c:v>
                </c:pt>
                <c:pt idx="523">
                  <c:v>-3.3265377994790568E-2</c:v>
                </c:pt>
                <c:pt idx="524">
                  <c:v>-2.9960981857784397E-2</c:v>
                </c:pt>
                <c:pt idx="525">
                  <c:v>-2.8547634793908316E-2</c:v>
                </c:pt>
                <c:pt idx="526">
                  <c:v>-2.7660806003005689E-2</c:v>
                </c:pt>
                <c:pt idx="527">
                  <c:v>-2.6753055956223459E-2</c:v>
                </c:pt>
                <c:pt idx="528">
                  <c:v>-2.6024880022409103E-2</c:v>
                </c:pt>
                <c:pt idx="529">
                  <c:v>-2.3359163335731514E-2</c:v>
                </c:pt>
                <c:pt idx="530">
                  <c:v>-2.2414219945163016E-2</c:v>
                </c:pt>
                <c:pt idx="531">
                  <c:v>-2.1977198155675115E-2</c:v>
                </c:pt>
                <c:pt idx="532">
                  <c:v>-2.1458234780658003E-2</c:v>
                </c:pt>
                <c:pt idx="533">
                  <c:v>-2.0960192661520938E-2</c:v>
                </c:pt>
                <c:pt idx="534">
                  <c:v>-1.8096886335979168E-2</c:v>
                </c:pt>
                <c:pt idx="535">
                  <c:v>-1.5157449884874996E-2</c:v>
                </c:pt>
                <c:pt idx="536">
                  <c:v>-1.3062999712913914E-2</c:v>
                </c:pt>
                <c:pt idx="537">
                  <c:v>-1.2230217499700768E-2</c:v>
                </c:pt>
                <c:pt idx="538">
                  <c:v>-1.0052082304220722E-2</c:v>
                </c:pt>
                <c:pt idx="539">
                  <c:v>-7.2898953820976775E-3</c:v>
                </c:pt>
                <c:pt idx="540">
                  <c:v>-4.6445188053033659E-3</c:v>
                </c:pt>
                <c:pt idx="541">
                  <c:v>1.2843326526177368E-3</c:v>
                </c:pt>
                <c:pt idx="542">
                  <c:v>4.892668145876744E-3</c:v>
                </c:pt>
                <c:pt idx="543">
                  <c:v>5.6051531377814268E-3</c:v>
                </c:pt>
                <c:pt idx="544">
                  <c:v>7.9332240003997523E-3</c:v>
                </c:pt>
                <c:pt idx="545">
                  <c:v>1.0919733277233279E-2</c:v>
                </c:pt>
                <c:pt idx="546">
                  <c:v>1.5174303118778099E-2</c:v>
                </c:pt>
                <c:pt idx="547">
                  <c:v>1.599953043403457E-2</c:v>
                </c:pt>
                <c:pt idx="548">
                  <c:v>1.6856139633110834E-2</c:v>
                </c:pt>
                <c:pt idx="549">
                  <c:v>1.8214858973300885E-2</c:v>
                </c:pt>
                <c:pt idx="550">
                  <c:v>1.9591012693390697E-2</c:v>
                </c:pt>
                <c:pt idx="551">
                  <c:v>2.0508061076119688E-2</c:v>
                </c:pt>
                <c:pt idx="552">
                  <c:v>2.063358861139819E-2</c:v>
                </c:pt>
                <c:pt idx="553">
                  <c:v>2.0168671814070338E-2</c:v>
                </c:pt>
                <c:pt idx="554">
                  <c:v>2.131062369750647E-2</c:v>
                </c:pt>
                <c:pt idx="555">
                  <c:v>2.1883633650212841E-2</c:v>
                </c:pt>
                <c:pt idx="556">
                  <c:v>2.2867513822557584E-2</c:v>
                </c:pt>
                <c:pt idx="557">
                  <c:v>2.4414524465665277E-2</c:v>
                </c:pt>
                <c:pt idx="558">
                  <c:v>2.5640161372620485E-2</c:v>
                </c:pt>
                <c:pt idx="559">
                  <c:v>2.7481813036034364E-2</c:v>
                </c:pt>
                <c:pt idx="560">
                  <c:v>2.8679554935149953E-2</c:v>
                </c:pt>
                <c:pt idx="561">
                  <c:v>2.8462206332399154E-2</c:v>
                </c:pt>
                <c:pt idx="562">
                  <c:v>2.8763821104665466E-2</c:v>
                </c:pt>
                <c:pt idx="563">
                  <c:v>3.007604876512282E-2</c:v>
                </c:pt>
                <c:pt idx="564">
                  <c:v>3.2828937351299325E-2</c:v>
                </c:pt>
                <c:pt idx="565">
                  <c:v>3.3540841197207349E-2</c:v>
                </c:pt>
                <c:pt idx="566">
                  <c:v>3.4345728402580766E-2</c:v>
                </c:pt>
                <c:pt idx="567">
                  <c:v>3.5378424838644618E-2</c:v>
                </c:pt>
                <c:pt idx="568">
                  <c:v>3.6427393362615357E-2</c:v>
                </c:pt>
                <c:pt idx="569">
                  <c:v>3.8431765905094117E-2</c:v>
                </c:pt>
                <c:pt idx="570">
                  <c:v>3.9097759217266104E-2</c:v>
                </c:pt>
                <c:pt idx="571">
                  <c:v>3.9294186564136968E-2</c:v>
                </c:pt>
                <c:pt idx="572">
                  <c:v>4.0847589813207907E-2</c:v>
                </c:pt>
                <c:pt idx="573">
                  <c:v>4.1400259656031224E-2</c:v>
                </c:pt>
                <c:pt idx="574">
                  <c:v>4.3700435510809932E-2</c:v>
                </c:pt>
                <c:pt idx="575">
                  <c:v>4.4741267990827227E-2</c:v>
                </c:pt>
                <c:pt idx="576">
                  <c:v>4.5395638383065817E-2</c:v>
                </c:pt>
                <c:pt idx="577">
                  <c:v>4.5959349999825649E-2</c:v>
                </c:pt>
                <c:pt idx="578">
                  <c:v>4.7100720737264901E-2</c:v>
                </c:pt>
                <c:pt idx="579">
                  <c:v>4.744940833526079E-2</c:v>
                </c:pt>
                <c:pt idx="580">
                  <c:v>4.7837613861029249E-2</c:v>
                </c:pt>
                <c:pt idx="581">
                  <c:v>4.8387377973869272E-2</c:v>
                </c:pt>
                <c:pt idx="582">
                  <c:v>4.8992350956391872E-2</c:v>
                </c:pt>
                <c:pt idx="583">
                  <c:v>4.9464822651676066E-2</c:v>
                </c:pt>
                <c:pt idx="584">
                  <c:v>5.0616072871058737E-2</c:v>
                </c:pt>
                <c:pt idx="585">
                  <c:v>5.1705140468798927E-2</c:v>
                </c:pt>
                <c:pt idx="586">
                  <c:v>5.4421416857185712E-2</c:v>
                </c:pt>
                <c:pt idx="587">
                  <c:v>5.6443804925561114E-2</c:v>
                </c:pt>
                <c:pt idx="588">
                  <c:v>5.6896517656958912E-2</c:v>
                </c:pt>
                <c:pt idx="589">
                  <c:v>5.9140322350061503E-2</c:v>
                </c:pt>
                <c:pt idx="590">
                  <c:v>6.0138150026325832E-2</c:v>
                </c:pt>
                <c:pt idx="591">
                  <c:v>6.1424226116933545E-2</c:v>
                </c:pt>
                <c:pt idx="592">
                  <c:v>6.282595026087634E-2</c:v>
                </c:pt>
                <c:pt idx="593">
                  <c:v>6.3594806414456917E-2</c:v>
                </c:pt>
                <c:pt idx="594">
                  <c:v>6.5770035879953781E-2</c:v>
                </c:pt>
                <c:pt idx="595">
                  <c:v>6.638430719842292E-2</c:v>
                </c:pt>
                <c:pt idx="596">
                  <c:v>7.0162918468703372E-2</c:v>
                </c:pt>
                <c:pt idx="597">
                  <c:v>7.5050937446607291E-2</c:v>
                </c:pt>
                <c:pt idx="598">
                  <c:v>7.7302878183662882E-2</c:v>
                </c:pt>
                <c:pt idx="599">
                  <c:v>8.214091860585393E-2</c:v>
                </c:pt>
                <c:pt idx="600">
                  <c:v>8.2347806580664651E-2</c:v>
                </c:pt>
                <c:pt idx="601">
                  <c:v>8.3050412090626136E-2</c:v>
                </c:pt>
                <c:pt idx="602">
                  <c:v>8.6418153141268439E-2</c:v>
                </c:pt>
                <c:pt idx="603">
                  <c:v>8.8078487253724802E-2</c:v>
                </c:pt>
                <c:pt idx="604">
                  <c:v>9.0443170314132626E-2</c:v>
                </c:pt>
                <c:pt idx="605">
                  <c:v>9.5758331599581137E-2</c:v>
                </c:pt>
                <c:pt idx="606">
                  <c:v>0.11048573344692803</c:v>
                </c:pt>
                <c:pt idx="607">
                  <c:v>0.11666389653741582</c:v>
                </c:pt>
                <c:pt idx="608">
                  <c:v>0.1207935199896788</c:v>
                </c:pt>
                <c:pt idx="609">
                  <c:v>0.1249678916836845</c:v>
                </c:pt>
                <c:pt idx="610">
                  <c:v>0.12753771928091306</c:v>
                </c:pt>
                <c:pt idx="611">
                  <c:v>0.12975072323619274</c:v>
                </c:pt>
                <c:pt idx="612">
                  <c:v>0.13165513866724621</c:v>
                </c:pt>
                <c:pt idx="613">
                  <c:v>0.13252104620226901</c:v>
                </c:pt>
                <c:pt idx="614">
                  <c:v>0.13448938769295493</c:v>
                </c:pt>
                <c:pt idx="615">
                  <c:v>0.13514375808519352</c:v>
                </c:pt>
                <c:pt idx="616">
                  <c:v>0.13544769744144647</c:v>
                </c:pt>
                <c:pt idx="617">
                  <c:v>0.13654083306116327</c:v>
                </c:pt>
                <c:pt idx="618">
                  <c:v>0.13685232731537278</c:v>
                </c:pt>
                <c:pt idx="619">
                  <c:v>0.13920654974784075</c:v>
                </c:pt>
                <c:pt idx="620">
                  <c:v>0.14055364616809762</c:v>
                </c:pt>
                <c:pt idx="621">
                  <c:v>0.14194200395411727</c:v>
                </c:pt>
                <c:pt idx="622">
                  <c:v>0.14295900944827156</c:v>
                </c:pt>
                <c:pt idx="623">
                  <c:v>0.14441361787791052</c:v>
                </c:pt>
                <c:pt idx="624">
                  <c:v>0.14581941004383014</c:v>
                </c:pt>
                <c:pt idx="625">
                  <c:v>0.1464516968881957</c:v>
                </c:pt>
                <c:pt idx="626">
                  <c:v>0.14748846134623617</c:v>
                </c:pt>
                <c:pt idx="627">
                  <c:v>0.14875942764093075</c:v>
                </c:pt>
                <c:pt idx="628">
                  <c:v>0.14927664757795789</c:v>
                </c:pt>
                <c:pt idx="629">
                  <c:v>0.15057144085851548</c:v>
                </c:pt>
                <c:pt idx="630">
                  <c:v>0.15038140611760764</c:v>
                </c:pt>
                <c:pt idx="631">
                  <c:v>0.15059875472035822</c:v>
                </c:pt>
                <c:pt idx="632">
                  <c:v>0.15095964638428394</c:v>
                </c:pt>
                <c:pt idx="633">
                  <c:v>0.15236253282022028</c:v>
                </c:pt>
                <c:pt idx="634">
                  <c:v>0.15348646917775977</c:v>
                </c:pt>
                <c:pt idx="635">
                  <c:v>0.15392755898922439</c:v>
                </c:pt>
                <c:pt idx="636">
                  <c:v>0.15469350941282167</c:v>
                </c:pt>
                <c:pt idx="637">
                  <c:v>0.1556861067751163</c:v>
                </c:pt>
                <c:pt idx="638">
                  <c:v>0.15604525500105182</c:v>
                </c:pt>
                <c:pt idx="639">
                  <c:v>0.15731680244174306</c:v>
                </c:pt>
                <c:pt idx="640">
                  <c:v>0.15785494363464969</c:v>
                </c:pt>
                <c:pt idx="641">
                  <c:v>0.15835647262976704</c:v>
                </c:pt>
                <c:pt idx="642">
                  <c:v>0.15906314616170492</c:v>
                </c:pt>
                <c:pt idx="643">
                  <c:v>0.16015802521941169</c:v>
                </c:pt>
                <c:pt idx="644">
                  <c:v>0.16323635556371729</c:v>
                </c:pt>
                <c:pt idx="645">
                  <c:v>0.16433820837338398</c:v>
                </c:pt>
                <c:pt idx="646">
                  <c:v>0.16475256546900208</c:v>
                </c:pt>
                <c:pt idx="647">
                  <c:v>0.1655899968501886</c:v>
                </c:pt>
                <c:pt idx="648">
                  <c:v>0.16604212843558974</c:v>
                </c:pt>
                <c:pt idx="649">
                  <c:v>0.1669016433646493</c:v>
                </c:pt>
                <c:pt idx="650">
                  <c:v>0.16739852319179338</c:v>
                </c:pt>
                <c:pt idx="651">
                  <c:v>0.16847306213961688</c:v>
                </c:pt>
                <c:pt idx="652">
                  <c:v>0.16958828130720649</c:v>
                </c:pt>
                <c:pt idx="653">
                  <c:v>0.1702862376491947</c:v>
                </c:pt>
                <c:pt idx="654">
                  <c:v>0.17124861541966285</c:v>
                </c:pt>
                <c:pt idx="655">
                  <c:v>0.17219646454021453</c:v>
                </c:pt>
                <c:pt idx="656">
                  <c:v>0.17299205340964163</c:v>
                </c:pt>
                <c:pt idx="657">
                  <c:v>0.17350811105467545</c:v>
                </c:pt>
                <c:pt idx="658">
                  <c:v>0.17405555058352862</c:v>
                </c:pt>
                <c:pt idx="659">
                  <c:v>0.17600238967233817</c:v>
                </c:pt>
                <c:pt idx="660">
                  <c:v>0.17802768347069686</c:v>
                </c:pt>
                <c:pt idx="661">
                  <c:v>0.18006460018898873</c:v>
                </c:pt>
                <c:pt idx="662">
                  <c:v>0.18183651433280379</c:v>
                </c:pt>
                <c:pt idx="663">
                  <c:v>0.18282039450514831</c:v>
                </c:pt>
                <c:pt idx="664">
                  <c:v>0.18449816299750443</c:v>
                </c:pt>
                <c:pt idx="665">
                  <c:v>0.18550528900971575</c:v>
                </c:pt>
                <c:pt idx="666">
                  <c:v>0.18818844007629276</c:v>
                </c:pt>
                <c:pt idx="667">
                  <c:v>0.19119645175500288</c:v>
                </c:pt>
                <c:pt idx="668">
                  <c:v>0.19158175155078805</c:v>
                </c:pt>
                <c:pt idx="669">
                  <c:v>0.19500470147111293</c:v>
                </c:pt>
                <c:pt idx="670">
                  <c:v>0.20297221308531577</c:v>
                </c:pt>
                <c:pt idx="671">
                  <c:v>0.21013541864014162</c:v>
                </c:pt>
                <c:pt idx="672">
                  <c:v>0.21424353969052823</c:v>
                </c:pt>
                <c:pt idx="673">
                  <c:v>0.21520707975298969</c:v>
                </c:pt>
                <c:pt idx="674">
                  <c:v>0.21788674394358698</c:v>
                </c:pt>
                <c:pt idx="675">
                  <c:v>0.21948431428840398</c:v>
                </c:pt>
                <c:pt idx="676">
                  <c:v>0.22002361777330415</c:v>
                </c:pt>
                <c:pt idx="677">
                  <c:v>0.22162118811812137</c:v>
                </c:pt>
                <c:pt idx="678">
                  <c:v>0.22290552077073911</c:v>
                </c:pt>
                <c:pt idx="679">
                  <c:v>0.22500926927864673</c:v>
                </c:pt>
                <c:pt idx="680">
                  <c:v>0.22565608477292876</c:v>
                </c:pt>
                <c:pt idx="681">
                  <c:v>0.22648596125615872</c:v>
                </c:pt>
                <c:pt idx="682">
                  <c:v>0.22713103331245077</c:v>
                </c:pt>
                <c:pt idx="683">
                  <c:v>0.22746170538455002</c:v>
                </c:pt>
                <c:pt idx="684">
                  <c:v>0.22904649051744075</c:v>
                </c:pt>
                <c:pt idx="685">
                  <c:v>0.22971306497560939</c:v>
                </c:pt>
                <c:pt idx="686">
                  <c:v>0.23249791659160191</c:v>
                </c:pt>
                <c:pt idx="687">
                  <c:v>0.23343995425218722</c:v>
                </c:pt>
                <c:pt idx="688">
                  <c:v>0.23416464331002151</c:v>
                </c:pt>
                <c:pt idx="689">
                  <c:v>0.23494396009154195</c:v>
                </c:pt>
                <c:pt idx="690">
                  <c:v>0.23523162735988845</c:v>
                </c:pt>
                <c:pt idx="691">
                  <c:v>0.23535076228920371</c:v>
                </c:pt>
                <c:pt idx="692">
                  <c:v>0.23771079618163826</c:v>
                </c:pt>
                <c:pt idx="693">
                  <c:v>0.23788049081266283</c:v>
                </c:pt>
                <c:pt idx="694">
                  <c:v>0.23763466605607575</c:v>
                </c:pt>
                <c:pt idx="695">
                  <c:v>0.23767883315182203</c:v>
                </c:pt>
                <c:pt idx="696">
                  <c:v>0.23779390005916046</c:v>
                </c:pt>
                <c:pt idx="697">
                  <c:v>0.23806761982358715</c:v>
                </c:pt>
                <c:pt idx="698">
                  <c:v>0.23835935511391049</c:v>
                </c:pt>
                <c:pt idx="699">
                  <c:v>0.23914099647941756</c:v>
                </c:pt>
                <c:pt idx="700">
                  <c:v>0.23990927148700147</c:v>
                </c:pt>
                <c:pt idx="701">
                  <c:v>0.24055899271126702</c:v>
                </c:pt>
                <c:pt idx="702">
                  <c:v>0.24113025922598319</c:v>
                </c:pt>
                <c:pt idx="703">
                  <c:v>0.24134353980675738</c:v>
                </c:pt>
                <c:pt idx="704">
                  <c:v>0.2397622415498466</c:v>
                </c:pt>
                <c:pt idx="705">
                  <c:v>0.23746845830103136</c:v>
                </c:pt>
                <c:pt idx="706">
                  <c:v>0.23805018544368761</c:v>
                </c:pt>
                <c:pt idx="707">
                  <c:v>0.23923456098487961</c:v>
                </c:pt>
                <c:pt idx="708">
                  <c:v>0.23943854322970726</c:v>
                </c:pt>
                <c:pt idx="709">
                  <c:v>0.24119592872360585</c:v>
                </c:pt>
                <c:pt idx="710">
                  <c:v>0.24136271762464712</c:v>
                </c:pt>
                <c:pt idx="711">
                  <c:v>0.24166142666693013</c:v>
                </c:pt>
                <c:pt idx="712">
                  <c:v>0.24156495643148457</c:v>
                </c:pt>
                <c:pt idx="713">
                  <c:v>0.24199732905299931</c:v>
                </c:pt>
                <c:pt idx="714">
                  <c:v>0.2443399285655341</c:v>
                </c:pt>
                <c:pt idx="715">
                  <c:v>0.24390755594401936</c:v>
                </c:pt>
                <c:pt idx="716">
                  <c:v>0.24369020734126856</c:v>
                </c:pt>
                <c:pt idx="717">
                  <c:v>0.24374251048096807</c:v>
                </c:pt>
                <c:pt idx="718">
                  <c:v>0.24431145241169783</c:v>
                </c:pt>
                <c:pt idx="719">
                  <c:v>0.24558532443637549</c:v>
                </c:pt>
                <c:pt idx="720">
                  <c:v>0.24582243200301268</c:v>
                </c:pt>
                <c:pt idx="721">
                  <c:v>0.24697833139036862</c:v>
                </c:pt>
                <c:pt idx="722">
                  <c:v>0.24779019234770194</c:v>
                </c:pt>
                <c:pt idx="723">
                  <c:v>0.24773440233202271</c:v>
                </c:pt>
                <c:pt idx="724">
                  <c:v>0.24814294796767422</c:v>
                </c:pt>
                <c:pt idx="725">
                  <c:v>0.24859449840707892</c:v>
                </c:pt>
                <c:pt idx="726">
                  <c:v>0.24931453829693995</c:v>
                </c:pt>
                <c:pt idx="727">
                  <c:v>0.25084004653817127</c:v>
                </c:pt>
                <c:pt idx="728">
                  <c:v>0.25182508900250933</c:v>
                </c:pt>
                <c:pt idx="729">
                  <c:v>0.25365802347597355</c:v>
                </c:pt>
                <c:pt idx="730">
                  <c:v>0.25473430586178725</c:v>
                </c:pt>
                <c:pt idx="731">
                  <c:v>0.25473372471579059</c:v>
                </c:pt>
                <c:pt idx="732">
                  <c:v>0.25514575722742205</c:v>
                </c:pt>
                <c:pt idx="733">
                  <c:v>0.25534160342829648</c:v>
                </c:pt>
                <c:pt idx="734">
                  <c:v>0.25455008258084622</c:v>
                </c:pt>
                <c:pt idx="735">
                  <c:v>0.25472210179585719</c:v>
                </c:pt>
                <c:pt idx="736">
                  <c:v>0.25530034206253349</c:v>
                </c:pt>
                <c:pt idx="737">
                  <c:v>0.25558917162287331</c:v>
                </c:pt>
                <c:pt idx="738">
                  <c:v>0.25361908669419742</c:v>
                </c:pt>
                <c:pt idx="739">
                  <c:v>0.25536310583017285</c:v>
                </c:pt>
                <c:pt idx="740">
                  <c:v>0.25719255342765712</c:v>
                </c:pt>
                <c:pt idx="741">
                  <c:v>0.25927073151171176</c:v>
                </c:pt>
                <c:pt idx="742">
                  <c:v>0.26033771556157892</c:v>
                </c:pt>
                <c:pt idx="743">
                  <c:v>0.26083401424272612</c:v>
                </c:pt>
                <c:pt idx="744">
                  <c:v>0.26174990033346157</c:v>
                </c:pt>
                <c:pt idx="745">
                  <c:v>0.26211660345735366</c:v>
                </c:pt>
                <c:pt idx="746">
                  <c:v>0.26288255388095094</c:v>
                </c:pt>
                <c:pt idx="747">
                  <c:v>0.26278782708349557</c:v>
                </c:pt>
                <c:pt idx="748">
                  <c:v>0.26267276017615693</c:v>
                </c:pt>
                <c:pt idx="749">
                  <c:v>0.26342127621985445</c:v>
                </c:pt>
                <c:pt idx="750">
                  <c:v>0.26457833789920371</c:v>
                </c:pt>
                <c:pt idx="751">
                  <c:v>0.26559069422538473</c:v>
                </c:pt>
                <c:pt idx="752">
                  <c:v>0.26728764053563059</c:v>
                </c:pt>
                <c:pt idx="753">
                  <c:v>0.26777638431882145</c:v>
                </c:pt>
                <c:pt idx="754">
                  <c:v>0.26898168111589316</c:v>
                </c:pt>
                <c:pt idx="755">
                  <c:v>0.26981620676709639</c:v>
                </c:pt>
                <c:pt idx="756">
                  <c:v>0.27058157604469701</c:v>
                </c:pt>
                <c:pt idx="757">
                  <c:v>0.27086982445904018</c:v>
                </c:pt>
                <c:pt idx="758">
                  <c:v>0.27140389762997019</c:v>
                </c:pt>
                <c:pt idx="759">
                  <c:v>0.27320196334363511</c:v>
                </c:pt>
                <c:pt idx="760">
                  <c:v>0.27344430122424201</c:v>
                </c:pt>
                <c:pt idx="761">
                  <c:v>0.27367443503891931</c:v>
                </c:pt>
                <c:pt idx="762">
                  <c:v>0.27349718550993818</c:v>
                </c:pt>
                <c:pt idx="763">
                  <c:v>0.27333562692286684</c:v>
                </c:pt>
                <c:pt idx="764">
                  <c:v>0.27607631144311329</c:v>
                </c:pt>
                <c:pt idx="765">
                  <c:v>0.27681669144285759</c:v>
                </c:pt>
                <c:pt idx="766">
                  <c:v>0.27719617977867617</c:v>
                </c:pt>
                <c:pt idx="767">
                  <c:v>0.27786159194485149</c:v>
                </c:pt>
                <c:pt idx="768">
                  <c:v>0.27959573159888373</c:v>
                </c:pt>
                <c:pt idx="769">
                  <c:v>0.28329182013763865</c:v>
                </c:pt>
                <c:pt idx="770">
                  <c:v>0.2827705321786349</c:v>
                </c:pt>
                <c:pt idx="771">
                  <c:v>0.28346790737462646</c:v>
                </c:pt>
                <c:pt idx="772">
                  <c:v>0.28422223487829057</c:v>
                </c:pt>
                <c:pt idx="773">
                  <c:v>0.28466448698174851</c:v>
                </c:pt>
                <c:pt idx="774">
                  <c:v>0.28899344351086564</c:v>
                </c:pt>
                <c:pt idx="775">
                  <c:v>0.28939675883254745</c:v>
                </c:pt>
                <c:pt idx="776">
                  <c:v>0.28971638913071018</c:v>
                </c:pt>
                <c:pt idx="777">
                  <c:v>0.29008599798458579</c:v>
                </c:pt>
                <c:pt idx="778">
                  <c:v>0.29036959723095546</c:v>
                </c:pt>
                <c:pt idx="779">
                  <c:v>0.29116867297636251</c:v>
                </c:pt>
                <c:pt idx="780">
                  <c:v>0.2912802530077212</c:v>
                </c:pt>
                <c:pt idx="781">
                  <c:v>0.29153886297623455</c:v>
                </c:pt>
                <c:pt idx="782">
                  <c:v>0.29187825223828368</c:v>
                </c:pt>
                <c:pt idx="783">
                  <c:v>0.29191718902006003</c:v>
                </c:pt>
                <c:pt idx="784">
                  <c:v>0.29352870686879706</c:v>
                </c:pt>
                <c:pt idx="785">
                  <c:v>0.29467356448221627</c:v>
                </c:pt>
                <c:pt idx="786">
                  <c:v>0.2957603074959696</c:v>
                </c:pt>
                <c:pt idx="787">
                  <c:v>0.29655647751139336</c:v>
                </c:pt>
                <c:pt idx="788">
                  <c:v>0.29629961098086977</c:v>
                </c:pt>
                <c:pt idx="789">
                  <c:v>0.29727593625525794</c:v>
                </c:pt>
                <c:pt idx="790">
                  <c:v>0.29719690039971236</c:v>
                </c:pt>
                <c:pt idx="791">
                  <c:v>0.29778908817030825</c:v>
                </c:pt>
                <c:pt idx="792">
                  <c:v>0.29907748884490259</c:v>
                </c:pt>
                <c:pt idx="793">
                  <c:v>0.29953543189027032</c:v>
                </c:pt>
                <c:pt idx="794">
                  <c:v>0.30014854091674614</c:v>
                </c:pt>
                <c:pt idx="795">
                  <c:v>0.30037111983346687</c:v>
                </c:pt>
                <c:pt idx="796">
                  <c:v>0.30145147024125674</c:v>
                </c:pt>
                <c:pt idx="797">
                  <c:v>0.30118414308279351</c:v>
                </c:pt>
                <c:pt idx="798">
                  <c:v>0.30110103920527131</c:v>
                </c:pt>
                <c:pt idx="799">
                  <c:v>0.30136720407174122</c:v>
                </c:pt>
                <c:pt idx="800">
                  <c:v>0.30418750559353036</c:v>
                </c:pt>
                <c:pt idx="801">
                  <c:v>0.30283227312932004</c:v>
                </c:pt>
                <c:pt idx="802">
                  <c:v>0.30464021832492816</c:v>
                </c:pt>
                <c:pt idx="803">
                  <c:v>0.30577577760240082</c:v>
                </c:pt>
                <c:pt idx="804">
                  <c:v>0.30752037788437292</c:v>
                </c:pt>
                <c:pt idx="805">
                  <c:v>0.30883202439883339</c:v>
                </c:pt>
                <c:pt idx="806">
                  <c:v>0.3110787348219195</c:v>
                </c:pt>
                <c:pt idx="807">
                  <c:v>0.30905576560754744</c:v>
                </c:pt>
                <c:pt idx="808">
                  <c:v>0.30910574416326009</c:v>
                </c:pt>
                <c:pt idx="809">
                  <c:v>0.30933878370792067</c:v>
                </c:pt>
                <c:pt idx="810">
                  <c:v>0.30914642438302642</c:v>
                </c:pt>
                <c:pt idx="811">
                  <c:v>0.30917315709887272</c:v>
                </c:pt>
                <c:pt idx="812">
                  <c:v>0.30947012270316576</c:v>
                </c:pt>
                <c:pt idx="813">
                  <c:v>0.30963226243623376</c:v>
                </c:pt>
                <c:pt idx="814">
                  <c:v>0.31117171818138489</c:v>
                </c:pt>
                <c:pt idx="815">
                  <c:v>0.31059115333072218</c:v>
                </c:pt>
                <c:pt idx="816">
                  <c:v>0.31255717023742124</c:v>
                </c:pt>
                <c:pt idx="817">
                  <c:v>0.3132981313831622</c:v>
                </c:pt>
                <c:pt idx="818">
                  <c:v>0.31378048256038982</c:v>
                </c:pt>
                <c:pt idx="819">
                  <c:v>0.31453190433407041</c:v>
                </c:pt>
                <c:pt idx="820">
                  <c:v>0.31495149174365866</c:v>
                </c:pt>
                <c:pt idx="821">
                  <c:v>0.31529029985971135</c:v>
                </c:pt>
                <c:pt idx="822">
                  <c:v>0.31482189618640377</c:v>
                </c:pt>
                <c:pt idx="823">
                  <c:v>0.31519673535424908</c:v>
                </c:pt>
                <c:pt idx="824">
                  <c:v>0.31711626058121567</c:v>
                </c:pt>
                <c:pt idx="825">
                  <c:v>0.3182494952747017</c:v>
                </c:pt>
                <c:pt idx="826">
                  <c:v>0.31833724832019761</c:v>
                </c:pt>
                <c:pt idx="827">
                  <c:v>0.32001792254253703</c:v>
                </c:pt>
                <c:pt idx="828">
                  <c:v>0.3204921376758112</c:v>
                </c:pt>
                <c:pt idx="829">
                  <c:v>0.32273478007692047</c:v>
                </c:pt>
                <c:pt idx="830">
                  <c:v>0.32279986842854624</c:v>
                </c:pt>
                <c:pt idx="831">
                  <c:v>0.32381803621469385</c:v>
                </c:pt>
                <c:pt idx="832">
                  <c:v>0.3268115192434875</c:v>
                </c:pt>
                <c:pt idx="833">
                  <c:v>0.3293749542347526</c:v>
                </c:pt>
                <c:pt idx="834">
                  <c:v>0.33178322324491005</c:v>
                </c:pt>
                <c:pt idx="835">
                  <c:v>0.33293040544231611</c:v>
                </c:pt>
                <c:pt idx="836">
                  <c:v>0.33272351746750517</c:v>
                </c:pt>
                <c:pt idx="837">
                  <c:v>0.33335289858188744</c:v>
                </c:pt>
                <c:pt idx="838">
                  <c:v>0.33467733030827462</c:v>
                </c:pt>
                <c:pt idx="839">
                  <c:v>0.33985999030648473</c:v>
                </c:pt>
                <c:pt idx="840">
                  <c:v>0.33993437699405704</c:v>
                </c:pt>
                <c:pt idx="841">
                  <c:v>0.34137503791977619</c:v>
                </c:pt>
                <c:pt idx="842">
                  <c:v>0.34171210259783891</c:v>
                </c:pt>
                <c:pt idx="843">
                  <c:v>0.34257045523490492</c:v>
                </c:pt>
                <c:pt idx="844">
                  <c:v>0.34342880787197116</c:v>
                </c:pt>
                <c:pt idx="845">
                  <c:v>0.34450509025778464</c:v>
                </c:pt>
                <c:pt idx="846">
                  <c:v>0.34441326919031257</c:v>
                </c:pt>
                <c:pt idx="847">
                  <c:v>0.34529893568922176</c:v>
                </c:pt>
                <c:pt idx="848">
                  <c:v>0.3456958584049401</c:v>
                </c:pt>
                <c:pt idx="849">
                  <c:v>0.3473800195032597</c:v>
                </c:pt>
                <c:pt idx="850">
                  <c:v>0.34760899102594345</c:v>
                </c:pt>
                <c:pt idx="851">
                  <c:v>0.34903337986375593</c:v>
                </c:pt>
                <c:pt idx="852">
                  <c:v>0.34987313582892932</c:v>
                </c:pt>
                <c:pt idx="853">
                  <c:v>0.3503229428303436</c:v>
                </c:pt>
                <c:pt idx="854">
                  <c:v>0.34943553289344442</c:v>
                </c:pt>
                <c:pt idx="855">
                  <c:v>0.3496912371319747</c:v>
                </c:pt>
                <c:pt idx="856">
                  <c:v>0.35061177239068342</c:v>
                </c:pt>
                <c:pt idx="857">
                  <c:v>0.35275038965839078</c:v>
                </c:pt>
                <c:pt idx="858">
                  <c:v>0.35332281846510027</c:v>
                </c:pt>
                <c:pt idx="859">
                  <c:v>0.35568982610949473</c:v>
                </c:pt>
                <c:pt idx="860">
                  <c:v>0.3557665373810539</c:v>
                </c:pt>
                <c:pt idx="861">
                  <c:v>0.35771221417787014</c:v>
                </c:pt>
                <c:pt idx="862">
                  <c:v>0.36033899408277148</c:v>
                </c:pt>
                <c:pt idx="863">
                  <c:v>0.36201618142913095</c:v>
                </c:pt>
                <c:pt idx="864">
                  <c:v>0.36309072037695445</c:v>
                </c:pt>
                <c:pt idx="865">
                  <c:v>0.36331620502365847</c:v>
                </c:pt>
                <c:pt idx="866">
                  <c:v>0.36266532150739983</c:v>
                </c:pt>
                <c:pt idx="867">
                  <c:v>0.36056912789744855</c:v>
                </c:pt>
                <c:pt idx="868">
                  <c:v>0.35729727593625515</c:v>
                </c:pt>
                <c:pt idx="869">
                  <c:v>0.35977121444403504</c:v>
                </c:pt>
                <c:pt idx="870">
                  <c:v>0.36015593309382377</c:v>
                </c:pt>
                <c:pt idx="871">
                  <c:v>0.36010886026809419</c:v>
                </c:pt>
                <c:pt idx="872">
                  <c:v>0.36035294158669129</c:v>
                </c:pt>
                <c:pt idx="873">
                  <c:v>0.36095326540124062</c:v>
                </c:pt>
                <c:pt idx="874">
                  <c:v>0.36301807712737211</c:v>
                </c:pt>
                <c:pt idx="875">
                  <c:v>0.36360038541602502</c:v>
                </c:pt>
                <c:pt idx="876">
                  <c:v>0.36370441054942715</c:v>
                </c:pt>
                <c:pt idx="877">
                  <c:v>0.36319358321836326</c:v>
                </c:pt>
                <c:pt idx="878">
                  <c:v>0.36391071737824121</c:v>
                </c:pt>
                <c:pt idx="879">
                  <c:v>0.36531011693819737</c:v>
                </c:pt>
                <c:pt idx="880">
                  <c:v>0.36632131097238507</c:v>
                </c:pt>
                <c:pt idx="881">
                  <c:v>0.36543971249545248</c:v>
                </c:pt>
                <c:pt idx="882">
                  <c:v>0.36542285926154938</c:v>
                </c:pt>
                <c:pt idx="883">
                  <c:v>0.36542227811555272</c:v>
                </c:pt>
                <c:pt idx="884">
                  <c:v>0.36659967990478504</c:v>
                </c:pt>
                <c:pt idx="885">
                  <c:v>0.36753997412738015</c:v>
                </c:pt>
                <c:pt idx="886">
                  <c:v>0.3676550410347188</c:v>
                </c:pt>
                <c:pt idx="887">
                  <c:v>0.36722324955920072</c:v>
                </c:pt>
                <c:pt idx="888">
                  <c:v>0.36766027134868873</c:v>
                </c:pt>
                <c:pt idx="889">
                  <c:v>0.36896552525718596</c:v>
                </c:pt>
                <c:pt idx="890">
                  <c:v>0.36958154001364507</c:v>
                </c:pt>
                <c:pt idx="891">
                  <c:v>0.37021092112802756</c:v>
                </c:pt>
                <c:pt idx="892">
                  <c:v>0.37031262167744305</c:v>
                </c:pt>
                <c:pt idx="893">
                  <c:v>0.3706461994795256</c:v>
                </c:pt>
                <c:pt idx="894">
                  <c:v>0.37313699122120858</c:v>
                </c:pt>
                <c:pt idx="895">
                  <c:v>0.37445793607161559</c:v>
                </c:pt>
                <c:pt idx="896">
                  <c:v>0.37494667985480645</c:v>
                </c:pt>
                <c:pt idx="897">
                  <c:v>0.37488914640113724</c:v>
                </c:pt>
                <c:pt idx="898">
                  <c:v>0.37540229831618754</c:v>
                </c:pt>
                <c:pt idx="899">
                  <c:v>0.3780116438411889</c:v>
                </c:pt>
                <c:pt idx="900">
                  <c:v>0.37780649930436816</c:v>
                </c:pt>
                <c:pt idx="901">
                  <c:v>0.3782417776558662</c:v>
                </c:pt>
                <c:pt idx="902">
                  <c:v>0.37830396027750868</c:v>
                </c:pt>
                <c:pt idx="903">
                  <c:v>0.37871947966512032</c:v>
                </c:pt>
                <c:pt idx="904">
                  <c:v>0.37941569256911856</c:v>
                </c:pt>
                <c:pt idx="905">
                  <c:v>0.38511208562837562</c:v>
                </c:pt>
                <c:pt idx="906">
                  <c:v>0.38481105200210619</c:v>
                </c:pt>
                <c:pt idx="907">
                  <c:v>0.38345291380791258</c:v>
                </c:pt>
                <c:pt idx="908">
                  <c:v>0.38288455302317947</c:v>
                </c:pt>
                <c:pt idx="909">
                  <c:v>0.38287990385520621</c:v>
                </c:pt>
                <c:pt idx="910">
                  <c:v>0.38081683556706469</c:v>
                </c:pt>
                <c:pt idx="911">
                  <c:v>0.38055415757657474</c:v>
                </c:pt>
                <c:pt idx="912">
                  <c:v>0.37869507153326065</c:v>
                </c:pt>
                <c:pt idx="913">
                  <c:v>0.37772048969686267</c:v>
                </c:pt>
                <c:pt idx="914">
                  <c:v>0.37916986781253148</c:v>
                </c:pt>
                <c:pt idx="915">
                  <c:v>0.37842425749881725</c:v>
                </c:pt>
                <c:pt idx="916">
                  <c:v>0.3795842249081498</c:v>
                </c:pt>
                <c:pt idx="917">
                  <c:v>0.37972079421736482</c:v>
                </c:pt>
                <c:pt idx="918">
                  <c:v>0.3796039838720362</c:v>
                </c:pt>
                <c:pt idx="919">
                  <c:v>0.37968883118754859</c:v>
                </c:pt>
                <c:pt idx="920">
                  <c:v>0.37789832037184046</c:v>
                </c:pt>
                <c:pt idx="921">
                  <c:v>0.37744444534844934</c:v>
                </c:pt>
                <c:pt idx="922">
                  <c:v>0.3759474132610543</c:v>
                </c:pt>
                <c:pt idx="923">
                  <c:v>0.37670115961872175</c:v>
                </c:pt>
                <c:pt idx="924">
                  <c:v>0.37757985236567104</c:v>
                </c:pt>
                <c:pt idx="925">
                  <c:v>0.37672731118857139</c:v>
                </c:pt>
                <c:pt idx="926">
                  <c:v>0.37621415927352087</c:v>
                </c:pt>
                <c:pt idx="927">
                  <c:v>0.37549993084362643</c:v>
                </c:pt>
                <c:pt idx="928">
                  <c:v>0.37506813936810834</c:v>
                </c:pt>
                <c:pt idx="929">
                  <c:v>0.37387562778296268</c:v>
                </c:pt>
                <c:pt idx="930">
                  <c:v>0.37156731588423098</c:v>
                </c:pt>
                <c:pt idx="931">
                  <c:v>0.36737027949635559</c:v>
                </c:pt>
                <c:pt idx="932">
                  <c:v>0.36399730813174336</c:v>
                </c:pt>
                <c:pt idx="933">
                  <c:v>0.36277806383075162</c:v>
                </c:pt>
                <c:pt idx="934">
                  <c:v>0.36260372003175378</c:v>
                </c:pt>
                <c:pt idx="935">
                  <c:v>0.3624595958245822</c:v>
                </c:pt>
                <c:pt idx="936">
                  <c:v>0.36258105533788387</c:v>
                </c:pt>
                <c:pt idx="937">
                  <c:v>0.36409087263720563</c:v>
                </c:pt>
                <c:pt idx="938">
                  <c:v>0.36323775031410932</c:v>
                </c:pt>
                <c:pt idx="939">
                  <c:v>0.36194295703355195</c:v>
                </c:pt>
                <c:pt idx="940">
                  <c:v>0.3603936218064574</c:v>
                </c:pt>
                <c:pt idx="941">
                  <c:v>0.36041105618635738</c:v>
                </c:pt>
                <c:pt idx="942">
                  <c:v>0.36009781849415767</c:v>
                </c:pt>
                <c:pt idx="943">
                  <c:v>0.36032214084886816</c:v>
                </c:pt>
                <c:pt idx="944">
                  <c:v>0.36100266281095661</c:v>
                </c:pt>
                <c:pt idx="945">
                  <c:v>0.36137924541679212</c:v>
                </c:pt>
                <c:pt idx="946">
                  <c:v>0.3612891677873098</c:v>
                </c:pt>
                <c:pt idx="947">
                  <c:v>0.36139609865069522</c:v>
                </c:pt>
                <c:pt idx="948">
                  <c:v>0.36234511006324022</c:v>
                </c:pt>
                <c:pt idx="949">
                  <c:v>0.36279607935664804</c:v>
                </c:pt>
                <c:pt idx="950">
                  <c:v>0.36270890745714923</c:v>
                </c:pt>
                <c:pt idx="951">
                  <c:v>0.36076090607634614</c:v>
                </c:pt>
                <c:pt idx="952">
                  <c:v>0.36023322551137937</c:v>
                </c:pt>
                <c:pt idx="953">
                  <c:v>0.36044243807017673</c:v>
                </c:pt>
                <c:pt idx="954">
                  <c:v>0.36310234329688784</c:v>
                </c:pt>
                <c:pt idx="955">
                  <c:v>0.36364978282574101</c:v>
                </c:pt>
                <c:pt idx="956">
                  <c:v>0.36332724679759476</c:v>
                </c:pt>
                <c:pt idx="957">
                  <c:v>0.3633481680534747</c:v>
                </c:pt>
                <c:pt idx="958">
                  <c:v>0.36369162533750043</c:v>
                </c:pt>
                <c:pt idx="959">
                  <c:v>0.36449767483486717</c:v>
                </c:pt>
                <c:pt idx="960">
                  <c:v>0.36437970219754545</c:v>
                </c:pt>
                <c:pt idx="961">
                  <c:v>0.36399498354775672</c:v>
                </c:pt>
                <c:pt idx="962">
                  <c:v>0.36428265081610323</c:v>
                </c:pt>
                <c:pt idx="963">
                  <c:v>0.3645453288065934</c:v>
                </c:pt>
                <c:pt idx="964">
                  <c:v>0.3655931350385706</c:v>
                </c:pt>
                <c:pt idx="965">
                  <c:v>0.36523747368861503</c:v>
                </c:pt>
                <c:pt idx="966">
                  <c:v>0.36525490806851479</c:v>
                </c:pt>
                <c:pt idx="967">
                  <c:v>0.36528280307635441</c:v>
                </c:pt>
                <c:pt idx="968">
                  <c:v>0.36477604376726713</c:v>
                </c:pt>
                <c:pt idx="969">
                  <c:v>0.36710469577588212</c:v>
                </c:pt>
                <c:pt idx="970">
                  <c:v>0.36703147138030312</c:v>
                </c:pt>
                <c:pt idx="971">
                  <c:v>0.36710527692187878</c:v>
                </c:pt>
                <c:pt idx="972">
                  <c:v>0.36693965031283082</c:v>
                </c:pt>
                <c:pt idx="973">
                  <c:v>0.36694720521078739</c:v>
                </c:pt>
                <c:pt idx="974">
                  <c:v>0.36688095456716829</c:v>
                </c:pt>
                <c:pt idx="975">
                  <c:v>0.3663718706740946</c:v>
                </c:pt>
                <c:pt idx="976">
                  <c:v>0.36687862998318166</c:v>
                </c:pt>
                <c:pt idx="977">
                  <c:v>0.36572563632580901</c:v>
                </c:pt>
                <c:pt idx="978">
                  <c:v>0.36474756761343086</c:v>
                </c:pt>
                <c:pt idx="979">
                  <c:v>0.36625912835074237</c:v>
                </c:pt>
                <c:pt idx="980">
                  <c:v>0.3651096215693499</c:v>
                </c:pt>
                <c:pt idx="981">
                  <c:v>0.36442793731526812</c:v>
                </c:pt>
                <c:pt idx="982">
                  <c:v>0.36358120759813506</c:v>
                </c:pt>
                <c:pt idx="983">
                  <c:v>0.36312733257474417</c:v>
                </c:pt>
                <c:pt idx="984">
                  <c:v>0.36308781464697115</c:v>
                </c:pt>
                <c:pt idx="985">
                  <c:v>0.36215333188434262</c:v>
                </c:pt>
                <c:pt idx="986">
                  <c:v>0.361322874255116</c:v>
                </c:pt>
                <c:pt idx="987">
                  <c:v>0.35939230725421289</c:v>
                </c:pt>
                <c:pt idx="988">
                  <c:v>0.35878036051973039</c:v>
                </c:pt>
                <c:pt idx="989">
                  <c:v>0.35707644045752462</c:v>
                </c:pt>
                <c:pt idx="990">
                  <c:v>0.3551092612588318</c:v>
                </c:pt>
                <c:pt idx="991">
                  <c:v>0.35485646275028504</c:v>
                </c:pt>
                <c:pt idx="992">
                  <c:v>0.35300958077290079</c:v>
                </c:pt>
                <c:pt idx="993">
                  <c:v>0.35166074091465394</c:v>
                </c:pt>
                <c:pt idx="994">
                  <c:v>0.35085178568730391</c:v>
                </c:pt>
                <c:pt idx="995">
                  <c:v>0.35011256797955292</c:v>
                </c:pt>
                <c:pt idx="996">
                  <c:v>0.3425721986728949</c:v>
                </c:pt>
                <c:pt idx="997">
                  <c:v>0.33699203481296958</c:v>
                </c:pt>
                <c:pt idx="998">
                  <c:v>0.33402295991603603</c:v>
                </c:pt>
                <c:pt idx="999">
                  <c:v>0.33278337550516102</c:v>
                </c:pt>
                <c:pt idx="1000">
                  <c:v>0.33344588194135305</c:v>
                </c:pt>
                <c:pt idx="1001">
                  <c:v>0.33173847500316711</c:v>
                </c:pt>
                <c:pt idx="1002">
                  <c:v>0.32951442927395092</c:v>
                </c:pt>
                <c:pt idx="1003">
                  <c:v>0.32932788140902325</c:v>
                </c:pt>
                <c:pt idx="1004">
                  <c:v>0.32774658315211269</c:v>
                </c:pt>
                <c:pt idx="1005">
                  <c:v>0.32699806710841517</c:v>
                </c:pt>
                <c:pt idx="1006">
                  <c:v>0.3252953093382025</c:v>
                </c:pt>
                <c:pt idx="1007">
                  <c:v>0.32415045172478307</c:v>
                </c:pt>
                <c:pt idx="1008">
                  <c:v>0.32405514378133082</c:v>
                </c:pt>
                <c:pt idx="1009">
                  <c:v>0.32404235856940455</c:v>
                </c:pt>
                <c:pt idx="1010">
                  <c:v>0.32315146175652543</c:v>
                </c:pt>
                <c:pt idx="1011">
                  <c:v>0.32309160371886936</c:v>
                </c:pt>
                <c:pt idx="1012">
                  <c:v>0.32286960594814551</c:v>
                </c:pt>
                <c:pt idx="1013">
                  <c:v>0.32381629277670387</c:v>
                </c:pt>
                <c:pt idx="1014">
                  <c:v>0.32443056409517301</c:v>
                </c:pt>
                <c:pt idx="1015">
                  <c:v>0.32348562070460463</c:v>
                </c:pt>
                <c:pt idx="1016">
                  <c:v>0.32281497822445959</c:v>
                </c:pt>
                <c:pt idx="1017">
                  <c:v>0.32363206949576284</c:v>
                </c:pt>
                <c:pt idx="1018">
                  <c:v>0.32370994305931533</c:v>
                </c:pt>
                <c:pt idx="1019">
                  <c:v>0.32394821291794562</c:v>
                </c:pt>
                <c:pt idx="1020">
                  <c:v>0.3221855971100771</c:v>
                </c:pt>
                <c:pt idx="1021">
                  <c:v>0.32245757343651382</c:v>
                </c:pt>
                <c:pt idx="1022">
                  <c:v>0.32243200301266084</c:v>
                </c:pt>
                <c:pt idx="1023">
                  <c:v>0.32214433574431434</c:v>
                </c:pt>
                <c:pt idx="1024">
                  <c:v>0.32248953646633005</c:v>
                </c:pt>
                <c:pt idx="1025">
                  <c:v>0.32220128805198689</c:v>
                </c:pt>
                <c:pt idx="1026">
                  <c:v>0.32209145145861817</c:v>
                </c:pt>
                <c:pt idx="1027">
                  <c:v>0.3218711971258843</c:v>
                </c:pt>
                <c:pt idx="1028">
                  <c:v>0.32072808295045485</c:v>
                </c:pt>
                <c:pt idx="1029">
                  <c:v>0.31999002753469741</c:v>
                </c:pt>
                <c:pt idx="1030">
                  <c:v>0.31977674695392322</c:v>
                </c:pt>
                <c:pt idx="1031">
                  <c:v>0.31995806450488096</c:v>
                </c:pt>
                <c:pt idx="1032">
                  <c:v>0.31982614436363921</c:v>
                </c:pt>
                <c:pt idx="1033">
                  <c:v>0.31993946783298788</c:v>
                </c:pt>
                <c:pt idx="1034">
                  <c:v>0.32428702103399809</c:v>
                </c:pt>
                <c:pt idx="1035">
                  <c:v>0.32408826910314059</c:v>
                </c:pt>
                <c:pt idx="1036">
                  <c:v>0.32338101442520584</c:v>
                </c:pt>
                <c:pt idx="1037">
                  <c:v>0.32413243619888665</c:v>
                </c:pt>
                <c:pt idx="1038">
                  <c:v>0.32422658185034559</c:v>
                </c:pt>
                <c:pt idx="1039">
                  <c:v>0.3246903363556799</c:v>
                </c:pt>
                <c:pt idx="1040">
                  <c:v>0.32483446056285148</c:v>
                </c:pt>
                <c:pt idx="1041">
                  <c:v>0.32444451159909282</c:v>
                </c:pt>
                <c:pt idx="1042">
                  <c:v>0.32442707721919306</c:v>
                </c:pt>
                <c:pt idx="1043">
                  <c:v>0.32423704247828544</c:v>
                </c:pt>
                <c:pt idx="1044">
                  <c:v>0.32491814558637055</c:v>
                </c:pt>
                <c:pt idx="1045">
                  <c:v>0.32474961324733909</c:v>
                </c:pt>
                <c:pt idx="1046">
                  <c:v>0.32417950902461601</c:v>
                </c:pt>
                <c:pt idx="1047">
                  <c:v>0.3229939711914307</c:v>
                </c:pt>
                <c:pt idx="1048">
                  <c:v>0.32216060783222078</c:v>
                </c:pt>
                <c:pt idx="1049">
                  <c:v>0.32202229508501579</c:v>
                </c:pt>
                <c:pt idx="1050">
                  <c:v>0.32012078538394562</c:v>
                </c:pt>
                <c:pt idx="1051">
                  <c:v>0.32010335100404586</c:v>
                </c:pt>
                <c:pt idx="1052">
                  <c:v>0.31982614436363921</c:v>
                </c:pt>
                <c:pt idx="1053">
                  <c:v>0.31950709521147314</c:v>
                </c:pt>
                <c:pt idx="1054">
                  <c:v>0.31838257770793699</c:v>
                </c:pt>
                <c:pt idx="1055">
                  <c:v>0.31568082996946667</c:v>
                </c:pt>
                <c:pt idx="1056">
                  <c:v>0.31487594276409303</c:v>
                </c:pt>
                <c:pt idx="1057">
                  <c:v>0.31387462821184875</c:v>
                </c:pt>
                <c:pt idx="1058">
                  <c:v>0.31403967367489982</c:v>
                </c:pt>
                <c:pt idx="1059">
                  <c:v>0.31285297354972097</c:v>
                </c:pt>
                <c:pt idx="1060">
                  <c:v>0.31102178251424673</c:v>
                </c:pt>
                <c:pt idx="1061">
                  <c:v>0.30839384031735206</c:v>
                </c:pt>
                <c:pt idx="1062">
                  <c:v>0.30558167483951637</c:v>
                </c:pt>
                <c:pt idx="1063">
                  <c:v>0.30287237220308949</c:v>
                </c:pt>
                <c:pt idx="1064">
                  <c:v>0.30291305242285582</c:v>
                </c:pt>
                <c:pt idx="1065">
                  <c:v>0.30194660663041084</c:v>
                </c:pt>
                <c:pt idx="1066">
                  <c:v>0.30205528093178624</c:v>
                </c:pt>
                <c:pt idx="1067">
                  <c:v>0.30180713159121253</c:v>
                </c:pt>
                <c:pt idx="1068">
                  <c:v>0.29977718862488079</c:v>
                </c:pt>
                <c:pt idx="1069">
                  <c:v>0.29947847958259777</c:v>
                </c:pt>
                <c:pt idx="1070">
                  <c:v>0.29844752658452345</c:v>
                </c:pt>
                <c:pt idx="1071">
                  <c:v>0.29893452692972433</c:v>
                </c:pt>
                <c:pt idx="1072">
                  <c:v>0.29829410404140555</c:v>
                </c:pt>
                <c:pt idx="1073">
                  <c:v>0.29861082860958477</c:v>
                </c:pt>
                <c:pt idx="1074">
                  <c:v>0.29934888402534265</c:v>
                </c:pt>
                <c:pt idx="1075">
                  <c:v>0.29897230141950715</c:v>
                </c:pt>
                <c:pt idx="1076">
                  <c:v>0.2967732449681475</c:v>
                </c:pt>
                <c:pt idx="1077">
                  <c:v>0.29566151267653762</c:v>
                </c:pt>
                <c:pt idx="1078">
                  <c:v>0.29629031264492323</c:v>
                </c:pt>
                <c:pt idx="1079">
                  <c:v>0.29673547047836446</c:v>
                </c:pt>
                <c:pt idx="1080">
                  <c:v>0.29669362796660503</c:v>
                </c:pt>
                <c:pt idx="1081">
                  <c:v>0.29617815146756787</c:v>
                </c:pt>
                <c:pt idx="1082">
                  <c:v>0.29577076812390946</c:v>
                </c:pt>
                <c:pt idx="1083">
                  <c:v>0.29575740176598653</c:v>
                </c:pt>
                <c:pt idx="1084">
                  <c:v>0.29962783410373928</c:v>
                </c:pt>
                <c:pt idx="1085">
                  <c:v>0.30334019473040064</c:v>
                </c:pt>
                <c:pt idx="1086">
                  <c:v>0.30375920099399223</c:v>
                </c:pt>
                <c:pt idx="1087">
                  <c:v>0.30340760766601305</c:v>
                </c:pt>
                <c:pt idx="1088">
                  <c:v>0.30385276549945428</c:v>
                </c:pt>
                <c:pt idx="1089">
                  <c:v>0.30412067380391439</c:v>
                </c:pt>
                <c:pt idx="1090">
                  <c:v>0.30465184124486111</c:v>
                </c:pt>
                <c:pt idx="1091">
                  <c:v>0.30472680907843031</c:v>
                </c:pt>
                <c:pt idx="1092">
                  <c:v>0.30473726970637016</c:v>
                </c:pt>
                <c:pt idx="1093">
                  <c:v>0.30467218135474416</c:v>
                </c:pt>
                <c:pt idx="1094">
                  <c:v>0.30565489923509559</c:v>
                </c:pt>
                <c:pt idx="1095">
                  <c:v>0.30623895096173848</c:v>
                </c:pt>
                <c:pt idx="1096">
                  <c:v>0.30550322012996745</c:v>
                </c:pt>
                <c:pt idx="1097">
                  <c:v>0.30575892436849772</c:v>
                </c:pt>
                <c:pt idx="1098">
                  <c:v>0.30553460201378702</c:v>
                </c:pt>
                <c:pt idx="1099">
                  <c:v>0.30589665596970605</c:v>
                </c:pt>
                <c:pt idx="1100">
                  <c:v>0.30654695833996803</c:v>
                </c:pt>
                <c:pt idx="1101">
                  <c:v>0.30669398827712291</c:v>
                </c:pt>
                <c:pt idx="1102">
                  <c:v>0.30574381457258459</c:v>
                </c:pt>
                <c:pt idx="1103">
                  <c:v>0.30555668556166005</c:v>
                </c:pt>
                <c:pt idx="1104">
                  <c:v>0.30625173617366497</c:v>
                </c:pt>
                <c:pt idx="1105">
                  <c:v>0.30511036543622549</c:v>
                </c:pt>
                <c:pt idx="1106">
                  <c:v>0.30463847488693796</c:v>
                </c:pt>
                <c:pt idx="1107">
                  <c:v>0.3047029820925673</c:v>
                </c:pt>
                <c:pt idx="1108">
                  <c:v>0.30460883644110837</c:v>
                </c:pt>
                <c:pt idx="1109">
                  <c:v>0.30477911221812959</c:v>
                </c:pt>
                <c:pt idx="1110">
                  <c:v>0.30362088824678701</c:v>
                </c:pt>
                <c:pt idx="1111">
                  <c:v>0.30361914480879726</c:v>
                </c:pt>
                <c:pt idx="1112">
                  <c:v>0.30373188713214905</c:v>
                </c:pt>
                <c:pt idx="1113">
                  <c:v>0.30410905088398099</c:v>
                </c:pt>
                <c:pt idx="1114">
                  <c:v>0.30439206898435422</c:v>
                </c:pt>
                <c:pt idx="1115">
                  <c:v>0.30402536586046214</c:v>
                </c:pt>
                <c:pt idx="1116">
                  <c:v>0.30310018143378015</c:v>
                </c:pt>
                <c:pt idx="1117">
                  <c:v>0.30296361212456513</c:v>
                </c:pt>
                <c:pt idx="1118">
                  <c:v>0.3032658080428281</c:v>
                </c:pt>
                <c:pt idx="1119">
                  <c:v>0.30506329261049614</c:v>
                </c:pt>
                <c:pt idx="1120">
                  <c:v>0.3044559950439869</c:v>
                </c:pt>
                <c:pt idx="1121">
                  <c:v>0.30405035513831846</c:v>
                </c:pt>
                <c:pt idx="1122">
                  <c:v>0.30308390934587348</c:v>
                </c:pt>
                <c:pt idx="1123">
                  <c:v>0.30353022947130825</c:v>
                </c:pt>
                <c:pt idx="1124">
                  <c:v>0.30469775177859737</c:v>
                </c:pt>
                <c:pt idx="1125">
                  <c:v>0.30653882229601481</c:v>
                </c:pt>
                <c:pt idx="1126">
                  <c:v>0.30868208873169523</c:v>
                </c:pt>
                <c:pt idx="1127">
                  <c:v>0.30913654490108322</c:v>
                </c:pt>
                <c:pt idx="1128">
                  <c:v>0.31325222084942617</c:v>
                </c:pt>
                <c:pt idx="1129">
                  <c:v>0.31465743186934891</c:v>
                </c:pt>
                <c:pt idx="1130">
                  <c:v>0.31453364777206061</c:v>
                </c:pt>
                <c:pt idx="1131">
                  <c:v>0.31529146215170467</c:v>
                </c:pt>
                <c:pt idx="1132">
                  <c:v>0.31502820301521783</c:v>
                </c:pt>
                <c:pt idx="1133">
                  <c:v>0.31590224659419386</c:v>
                </c:pt>
                <c:pt idx="1134">
                  <c:v>0.31565351610762349</c:v>
                </c:pt>
                <c:pt idx="1135">
                  <c:v>0.31569942664135975</c:v>
                </c:pt>
                <c:pt idx="1136">
                  <c:v>0.31565932756759008</c:v>
                </c:pt>
                <c:pt idx="1137">
                  <c:v>0.31580519521275185</c:v>
                </c:pt>
                <c:pt idx="1138">
                  <c:v>0.31565642183760678</c:v>
                </c:pt>
                <c:pt idx="1139">
                  <c:v>0.31738068200969582</c:v>
                </c:pt>
                <c:pt idx="1140">
                  <c:v>0.31716856372091518</c:v>
                </c:pt>
                <c:pt idx="1141">
                  <c:v>0.31487884849407632</c:v>
                </c:pt>
                <c:pt idx="1142">
                  <c:v>0.31551462221442184</c:v>
                </c:pt>
                <c:pt idx="1143">
                  <c:v>0.31717146945089825</c:v>
                </c:pt>
                <c:pt idx="1144">
                  <c:v>0.31853774368904486</c:v>
                </c:pt>
                <c:pt idx="1145">
                  <c:v>0.31858772224475773</c:v>
                </c:pt>
                <c:pt idx="1146">
                  <c:v>0.32134002968493736</c:v>
                </c:pt>
                <c:pt idx="1147">
                  <c:v>0.32382559111265041</c:v>
                </c:pt>
                <c:pt idx="1148">
                  <c:v>0.32346353715673137</c:v>
                </c:pt>
                <c:pt idx="1149">
                  <c:v>0.32451018109671548</c:v>
                </c:pt>
                <c:pt idx="1150">
                  <c:v>0.32449797703078542</c:v>
                </c:pt>
                <c:pt idx="1151">
                  <c:v>0.32416207464471625</c:v>
                </c:pt>
                <c:pt idx="1152">
                  <c:v>0.32418648277657613</c:v>
                </c:pt>
                <c:pt idx="1153">
                  <c:v>0.32457759403232789</c:v>
                </c:pt>
                <c:pt idx="1154">
                  <c:v>0.32561377734437191</c:v>
                </c:pt>
                <c:pt idx="1155">
                  <c:v>0.32579218916534636</c:v>
                </c:pt>
                <c:pt idx="1156">
                  <c:v>0.32621816918089785</c:v>
                </c:pt>
                <c:pt idx="1157">
                  <c:v>0.3272793417707982</c:v>
                </c:pt>
                <c:pt idx="1158">
                  <c:v>0.3269480885527023</c:v>
                </c:pt>
                <c:pt idx="1159">
                  <c:v>0.32742985858393303</c:v>
                </c:pt>
                <c:pt idx="1160">
                  <c:v>0.32753795173931199</c:v>
                </c:pt>
                <c:pt idx="1161">
                  <c:v>0.32775413805006925</c:v>
                </c:pt>
                <c:pt idx="1162">
                  <c:v>0.32818709181758066</c:v>
                </c:pt>
                <c:pt idx="1163">
                  <c:v>0.32805284709235227</c:v>
                </c:pt>
                <c:pt idx="1164">
                  <c:v>0.32927964629130058</c:v>
                </c:pt>
                <c:pt idx="1165">
                  <c:v>0.33225395150220427</c:v>
                </c:pt>
                <c:pt idx="1166">
                  <c:v>0.33248292302488824</c:v>
                </c:pt>
                <c:pt idx="1167">
                  <c:v>0.33346099173726618</c:v>
                </c:pt>
                <c:pt idx="1168">
                  <c:v>0.3335580431187084</c:v>
                </c:pt>
                <c:pt idx="1169">
                  <c:v>0.33392300280461051</c:v>
                </c:pt>
                <c:pt idx="1170">
                  <c:v>0.33358826271053443</c:v>
                </c:pt>
                <c:pt idx="1171">
                  <c:v>0.33343193443743324</c:v>
                </c:pt>
                <c:pt idx="1172">
                  <c:v>0.3331349688331402</c:v>
                </c:pt>
                <c:pt idx="1173">
                  <c:v>0.33306871818952088</c:v>
                </c:pt>
                <c:pt idx="1174">
                  <c:v>0.33365625679214372</c:v>
                </c:pt>
                <c:pt idx="1175">
                  <c:v>0.33392242165861385</c:v>
                </c:pt>
                <c:pt idx="1176">
                  <c:v>0.33315298435903662</c:v>
                </c:pt>
                <c:pt idx="1177">
                  <c:v>0.33340462057559006</c:v>
                </c:pt>
                <c:pt idx="1178">
                  <c:v>0.33327444387233851</c:v>
                </c:pt>
                <c:pt idx="1179">
                  <c:v>0.33359407417050124</c:v>
                </c:pt>
                <c:pt idx="1180">
                  <c:v>0.33115674786051086</c:v>
                </c:pt>
                <c:pt idx="1181">
                  <c:v>0.33042043588274317</c:v>
                </c:pt>
                <c:pt idx="1182">
                  <c:v>0.33080457338653524</c:v>
                </c:pt>
                <c:pt idx="1183">
                  <c:v>0.33116372161247098</c:v>
                </c:pt>
                <c:pt idx="1184">
                  <c:v>0.33212551823694247</c:v>
                </c:pt>
                <c:pt idx="1185">
                  <c:v>0.33181228054474299</c:v>
                </c:pt>
                <c:pt idx="1186">
                  <c:v>0.33073251128294934</c:v>
                </c:pt>
                <c:pt idx="1187">
                  <c:v>0.33072088836301639</c:v>
                </c:pt>
                <c:pt idx="1188">
                  <c:v>0.33112246024670799</c:v>
                </c:pt>
                <c:pt idx="1189">
                  <c:v>0.33127820737381275</c:v>
                </c:pt>
                <c:pt idx="1190">
                  <c:v>0.33308499027742755</c:v>
                </c:pt>
                <c:pt idx="1191">
                  <c:v>0.33550778793750125</c:v>
                </c:pt>
                <c:pt idx="1192">
                  <c:v>0.33771846730879407</c:v>
                </c:pt>
                <c:pt idx="1193">
                  <c:v>0.33828740923952383</c:v>
                </c:pt>
                <c:pt idx="1194">
                  <c:v>0.33965484576966376</c:v>
                </c:pt>
                <c:pt idx="1195">
                  <c:v>0.34079621650710323</c:v>
                </c:pt>
                <c:pt idx="1196">
                  <c:v>0.34260067482673118</c:v>
                </c:pt>
                <c:pt idx="1197">
                  <c:v>0.34456088027346388</c:v>
                </c:pt>
                <c:pt idx="1198">
                  <c:v>0.3461386916543947</c:v>
                </c:pt>
                <c:pt idx="1199">
                  <c:v>0.34660651418170563</c:v>
                </c:pt>
                <c:pt idx="1200">
                  <c:v>0.34683025539041967</c:v>
                </c:pt>
                <c:pt idx="1201">
                  <c:v>0.34772347678728543</c:v>
                </c:pt>
                <c:pt idx="1202">
                  <c:v>0.34823314182635579</c:v>
                </c:pt>
                <c:pt idx="1203">
                  <c:v>0.3485318508686388</c:v>
                </c:pt>
                <c:pt idx="1204">
                  <c:v>0.35334490201297353</c:v>
                </c:pt>
                <c:pt idx="1205">
                  <c:v>0.35426950529365886</c:v>
                </c:pt>
                <c:pt idx="1206">
                  <c:v>0.35487099140020151</c:v>
                </c:pt>
                <c:pt idx="1207">
                  <c:v>0.35575375216912741</c:v>
                </c:pt>
                <c:pt idx="1208">
                  <c:v>0.35781333358128897</c:v>
                </c:pt>
                <c:pt idx="1209">
                  <c:v>0.35940509246613961</c:v>
                </c:pt>
                <c:pt idx="1210">
                  <c:v>0.35995718116296604</c:v>
                </c:pt>
                <c:pt idx="1211">
                  <c:v>0.36327494365789548</c:v>
                </c:pt>
                <c:pt idx="1212">
                  <c:v>0.36620624406504643</c:v>
                </c:pt>
                <c:pt idx="1213">
                  <c:v>0.36805661291841063</c:v>
                </c:pt>
                <c:pt idx="1214">
                  <c:v>0.36931711858516514</c:v>
                </c:pt>
                <c:pt idx="1215">
                  <c:v>0.37093735362385205</c:v>
                </c:pt>
                <c:pt idx="1216">
                  <c:v>0.37099837395350144</c:v>
                </c:pt>
                <c:pt idx="1217">
                  <c:v>0.37062121020166927</c:v>
                </c:pt>
                <c:pt idx="1218">
                  <c:v>0.37039223867898552</c:v>
                </c:pt>
                <c:pt idx="1219">
                  <c:v>0.37198922787780586</c:v>
                </c:pt>
                <c:pt idx="1220">
                  <c:v>0.37131509852168065</c:v>
                </c:pt>
                <c:pt idx="1221">
                  <c:v>0.37207465633931469</c:v>
                </c:pt>
                <c:pt idx="1222">
                  <c:v>0.37322009509873078</c:v>
                </c:pt>
                <c:pt idx="1223">
                  <c:v>0.37347812392124768</c:v>
                </c:pt>
                <c:pt idx="1224">
                  <c:v>0.37459043735885422</c:v>
                </c:pt>
                <c:pt idx="1225">
                  <c:v>0.37499317153453915</c:v>
                </c:pt>
                <c:pt idx="1226">
                  <c:v>0.37500305101648235</c:v>
                </c:pt>
                <c:pt idx="1227">
                  <c:v>0.37517448908549689</c:v>
                </c:pt>
                <c:pt idx="1228">
                  <c:v>0.37548191531773001</c:v>
                </c:pt>
                <c:pt idx="1229">
                  <c:v>0.37736192261692358</c:v>
                </c:pt>
                <c:pt idx="1230">
                  <c:v>0.37790878099978031</c:v>
                </c:pt>
                <c:pt idx="1231">
                  <c:v>0.37837602238109458</c:v>
                </c:pt>
                <c:pt idx="1232">
                  <c:v>0.37875783530089979</c:v>
                </c:pt>
                <c:pt idx="1233">
                  <c:v>0.37884500720039882</c:v>
                </c:pt>
                <c:pt idx="1234">
                  <c:v>0.38048558234896879</c:v>
                </c:pt>
                <c:pt idx="1235">
                  <c:v>0.38059367550434753</c:v>
                </c:pt>
                <c:pt idx="1236">
                  <c:v>0.37923786189414077</c:v>
                </c:pt>
                <c:pt idx="1237">
                  <c:v>0.37935118536348944</c:v>
                </c:pt>
                <c:pt idx="1238">
                  <c:v>0.38078894055922508</c:v>
                </c:pt>
                <c:pt idx="1239">
                  <c:v>0.38258816856488309</c:v>
                </c:pt>
                <c:pt idx="1240">
                  <c:v>0.38228539150062346</c:v>
                </c:pt>
                <c:pt idx="1241">
                  <c:v>0.38302635264636442</c:v>
                </c:pt>
                <c:pt idx="1242">
                  <c:v>0.38222785804695425</c:v>
                </c:pt>
                <c:pt idx="1243">
                  <c:v>0.38269451828227186</c:v>
                </c:pt>
                <c:pt idx="1244">
                  <c:v>0.38341513931812976</c:v>
                </c:pt>
                <c:pt idx="1245">
                  <c:v>0.38352323247350828</c:v>
                </c:pt>
                <c:pt idx="1246">
                  <c:v>0.38401371969468912</c:v>
                </c:pt>
                <c:pt idx="1247">
                  <c:v>0.38452280358776303</c:v>
                </c:pt>
                <c:pt idx="1248">
                  <c:v>0.38506908082462288</c:v>
                </c:pt>
                <c:pt idx="1249">
                  <c:v>0.38610933215864351</c:v>
                </c:pt>
                <c:pt idx="1250">
                  <c:v>0.38608492402678385</c:v>
                </c:pt>
                <c:pt idx="1251">
                  <c:v>0.38475468084043007</c:v>
                </c:pt>
                <c:pt idx="1252">
                  <c:v>0.38377719327404858</c:v>
                </c:pt>
                <c:pt idx="1253">
                  <c:v>0.38407764575432157</c:v>
                </c:pt>
                <c:pt idx="1254">
                  <c:v>0.38457161985148236</c:v>
                </c:pt>
                <c:pt idx="1255">
                  <c:v>0.38218369095120819</c:v>
                </c:pt>
                <c:pt idx="1256">
                  <c:v>0.38221565398102442</c:v>
                </c:pt>
                <c:pt idx="1257">
                  <c:v>0.38454779286561935</c:v>
                </c:pt>
                <c:pt idx="1258">
                  <c:v>0.38506210707266297</c:v>
                </c:pt>
                <c:pt idx="1259">
                  <c:v>0.38515857730810854</c:v>
                </c:pt>
                <c:pt idx="1260">
                  <c:v>0.38565487598925574</c:v>
                </c:pt>
                <c:pt idx="1261">
                  <c:v>0.38941372829565002</c:v>
                </c:pt>
                <c:pt idx="1262">
                  <c:v>0.38908247507755389</c:v>
                </c:pt>
                <c:pt idx="1263">
                  <c:v>0.38914814457517632</c:v>
                </c:pt>
                <c:pt idx="1264">
                  <c:v>0.38094178195634654</c:v>
                </c:pt>
                <c:pt idx="1265">
                  <c:v>0.38157929911468202</c:v>
                </c:pt>
                <c:pt idx="1266">
                  <c:v>0.38089935829859045</c:v>
                </c:pt>
                <c:pt idx="1267">
                  <c:v>0.38075349065342889</c:v>
                </c:pt>
                <c:pt idx="1268">
                  <c:v>0.3810649849076384</c:v>
                </c:pt>
                <c:pt idx="1269">
                  <c:v>0.38225226617881392</c:v>
                </c:pt>
                <c:pt idx="1270">
                  <c:v>0.38264570201855252</c:v>
                </c:pt>
                <c:pt idx="1271">
                  <c:v>0.38753488328844932</c:v>
                </c:pt>
                <c:pt idx="1272">
                  <c:v>0.38839904738548237</c:v>
                </c:pt>
                <c:pt idx="1273">
                  <c:v>0.38962584658443067</c:v>
                </c:pt>
                <c:pt idx="1274">
                  <c:v>0.39067655854639116</c:v>
                </c:pt>
                <c:pt idx="1275">
                  <c:v>0.39353812143394284</c:v>
                </c:pt>
                <c:pt idx="1276">
                  <c:v>0.39525657014606508</c:v>
                </c:pt>
                <c:pt idx="1277">
                  <c:v>0.39557155127625476</c:v>
                </c:pt>
                <c:pt idx="1278">
                  <c:v>0.39586735458855449</c:v>
                </c:pt>
                <c:pt idx="1279">
                  <c:v>0.39726559185651733</c:v>
                </c:pt>
                <c:pt idx="1280">
                  <c:v>0.39606552537341533</c:v>
                </c:pt>
                <c:pt idx="1281">
                  <c:v>0.39690644363058181</c:v>
                </c:pt>
                <c:pt idx="1282">
                  <c:v>0.39718888058495838</c:v>
                </c:pt>
                <c:pt idx="1283">
                  <c:v>0.39814951491743655</c:v>
                </c:pt>
                <c:pt idx="1284">
                  <c:v>0.399065401008172</c:v>
                </c:pt>
                <c:pt idx="1285">
                  <c:v>0.39961923314298842</c:v>
                </c:pt>
                <c:pt idx="1286">
                  <c:v>0.39990690041133514</c:v>
                </c:pt>
                <c:pt idx="1287">
                  <c:v>0.40008705567029956</c:v>
                </c:pt>
                <c:pt idx="1288">
                  <c:v>0.40145681678442613</c:v>
                </c:pt>
                <c:pt idx="1289">
                  <c:v>0.40232272431944893</c:v>
                </c:pt>
                <c:pt idx="1290">
                  <c:v>0.40205714059897546</c:v>
                </c:pt>
                <c:pt idx="1291">
                  <c:v>0.40130978684727125</c:v>
                </c:pt>
                <c:pt idx="1292">
                  <c:v>0.39908748455604504</c:v>
                </c:pt>
                <c:pt idx="1293">
                  <c:v>0.39946116143189725</c:v>
                </c:pt>
                <c:pt idx="1294">
                  <c:v>0.40109941199648058</c:v>
                </c:pt>
                <c:pt idx="1295">
                  <c:v>0.40115229628217652</c:v>
                </c:pt>
                <c:pt idx="1296">
                  <c:v>0.40161140161953757</c:v>
                </c:pt>
                <c:pt idx="1297">
                  <c:v>0.40174622749076261</c:v>
                </c:pt>
                <c:pt idx="1298">
                  <c:v>0.40186943044205448</c:v>
                </c:pt>
                <c:pt idx="1299">
                  <c:v>0.40315376309467221</c:v>
                </c:pt>
                <c:pt idx="1300">
                  <c:v>0.40335483960951635</c:v>
                </c:pt>
                <c:pt idx="1301">
                  <c:v>0.40435905989174414</c:v>
                </c:pt>
                <c:pt idx="1302">
                  <c:v>0.4047402916655527</c:v>
                </c:pt>
                <c:pt idx="1303">
                  <c:v>0.40515116188519107</c:v>
                </c:pt>
                <c:pt idx="1304">
                  <c:v>0.40663134073868301</c:v>
                </c:pt>
                <c:pt idx="1305">
                  <c:v>0.40732755364268125</c:v>
                </c:pt>
                <c:pt idx="1306">
                  <c:v>0.40782210888583847</c:v>
                </c:pt>
                <c:pt idx="1307">
                  <c:v>0.40779130814801556</c:v>
                </c:pt>
                <c:pt idx="1308">
                  <c:v>0.40822077503954701</c:v>
                </c:pt>
                <c:pt idx="1309">
                  <c:v>0.4067243240981484</c:v>
                </c:pt>
                <c:pt idx="1310">
                  <c:v>0.40791974141327714</c:v>
                </c:pt>
                <c:pt idx="1311">
                  <c:v>0.40818009481978068</c:v>
                </c:pt>
                <c:pt idx="1312">
                  <c:v>0.40870254507077775</c:v>
                </c:pt>
                <c:pt idx="1313">
                  <c:v>0.40885189959191925</c:v>
                </c:pt>
                <c:pt idx="1314">
                  <c:v>0.41025478602785537</c:v>
                </c:pt>
                <c:pt idx="1315">
                  <c:v>0.41031290062752146</c:v>
                </c:pt>
                <c:pt idx="1316">
                  <c:v>0.41019492799019952</c:v>
                </c:pt>
                <c:pt idx="1317">
                  <c:v>0.4099880400153888</c:v>
                </c:pt>
                <c:pt idx="1318">
                  <c:v>0.41035648657727086</c:v>
                </c:pt>
                <c:pt idx="1319">
                  <c:v>0.40996130729954228</c:v>
                </c:pt>
                <c:pt idx="1320">
                  <c:v>0.40966085481926928</c:v>
                </c:pt>
                <c:pt idx="1321">
                  <c:v>0.40777154918412917</c:v>
                </c:pt>
                <c:pt idx="1322">
                  <c:v>0.40669642909030879</c:v>
                </c:pt>
                <c:pt idx="1323">
                  <c:v>0.40460837152431117</c:v>
                </c:pt>
                <c:pt idx="1324">
                  <c:v>0.40675105681399493</c:v>
                </c:pt>
                <c:pt idx="1325">
                  <c:v>0.40968526295112895</c:v>
                </c:pt>
                <c:pt idx="1326">
                  <c:v>0.41042564295087347</c:v>
                </c:pt>
                <c:pt idx="1327">
                  <c:v>0.41188896857046209</c:v>
                </c:pt>
                <c:pt idx="1328">
                  <c:v>0.41423214922899354</c:v>
                </c:pt>
                <c:pt idx="1329">
                  <c:v>0.41575823861622174</c:v>
                </c:pt>
                <c:pt idx="1330">
                  <c:v>0.41581519092389407</c:v>
                </c:pt>
                <c:pt idx="1331">
                  <c:v>0.41643817943231332</c:v>
                </c:pt>
                <c:pt idx="1332">
                  <c:v>0.41641144671646702</c:v>
                </c:pt>
                <c:pt idx="1333">
                  <c:v>0.4168147620381486</c:v>
                </c:pt>
                <c:pt idx="1334">
                  <c:v>0.41842802332487561</c:v>
                </c:pt>
                <c:pt idx="1335">
                  <c:v>0.41931775784576142</c:v>
                </c:pt>
                <c:pt idx="1336">
                  <c:v>0.41999188720188663</c:v>
                </c:pt>
                <c:pt idx="1337">
                  <c:v>0.42107688677764998</c:v>
                </c:pt>
                <c:pt idx="1338">
                  <c:v>0.42146857917939862</c:v>
                </c:pt>
                <c:pt idx="1339">
                  <c:v>0.42294701459490058</c:v>
                </c:pt>
                <c:pt idx="1340">
                  <c:v>0.42341425597621485</c:v>
                </c:pt>
                <c:pt idx="1341">
                  <c:v>0.4251989553319564</c:v>
                </c:pt>
                <c:pt idx="1342">
                  <c:v>0.42738173969540982</c:v>
                </c:pt>
                <c:pt idx="1343">
                  <c:v>0.42755259661842748</c:v>
                </c:pt>
                <c:pt idx="1344">
                  <c:v>0.42978071036962051</c:v>
                </c:pt>
                <c:pt idx="1345">
                  <c:v>0.43028049592674766</c:v>
                </c:pt>
                <c:pt idx="1346">
                  <c:v>0.4267331807631376</c:v>
                </c:pt>
                <c:pt idx="1347">
                  <c:v>0.42676804952293712</c:v>
                </c:pt>
                <c:pt idx="1348">
                  <c:v>0.42717020255262561</c:v>
                </c:pt>
                <c:pt idx="1349">
                  <c:v>0.42815698845495365</c:v>
                </c:pt>
                <c:pt idx="1350">
                  <c:v>0.42844465572330015</c:v>
                </c:pt>
                <c:pt idx="1351">
                  <c:v>0.42894095440444735</c:v>
                </c:pt>
                <c:pt idx="1352">
                  <c:v>0.42905253443580604</c:v>
                </c:pt>
                <c:pt idx="1353">
                  <c:v>0.42990216988292218</c:v>
                </c:pt>
                <c:pt idx="1354">
                  <c:v>0.43115395835972703</c:v>
                </c:pt>
                <c:pt idx="1355">
                  <c:v>0.43143290843812343</c:v>
                </c:pt>
                <c:pt idx="1356">
                  <c:v>0.43244700820229465</c:v>
                </c:pt>
                <c:pt idx="1357">
                  <c:v>0.43268818379090823</c:v>
                </c:pt>
                <c:pt idx="1358">
                  <c:v>0.43327456010153775</c:v>
                </c:pt>
                <c:pt idx="1359">
                  <c:v>0.43673354107365547</c:v>
                </c:pt>
                <c:pt idx="1360">
                  <c:v>0.43765523862435773</c:v>
                </c:pt>
                <c:pt idx="1361">
                  <c:v>0.43887913209332274</c:v>
                </c:pt>
                <c:pt idx="1362">
                  <c:v>0.4401349885921042</c:v>
                </c:pt>
                <c:pt idx="1363">
                  <c:v>0.44054760224973233</c:v>
                </c:pt>
                <c:pt idx="1364">
                  <c:v>0.44230905576560753</c:v>
                </c:pt>
                <c:pt idx="1365">
                  <c:v>0.44295296552990626</c:v>
                </c:pt>
                <c:pt idx="1366">
                  <c:v>0.44335221282961146</c:v>
                </c:pt>
                <c:pt idx="1367">
                  <c:v>0.44408387563940588</c:v>
                </c:pt>
                <c:pt idx="1368">
                  <c:v>0.44444360501133828</c:v>
                </c:pt>
                <c:pt idx="1369">
                  <c:v>0.44556870366087087</c:v>
                </c:pt>
                <c:pt idx="1370">
                  <c:v>0.44673215794618359</c:v>
                </c:pt>
                <c:pt idx="1371">
                  <c:v>0.44712385034793201</c:v>
                </c:pt>
                <c:pt idx="1372">
                  <c:v>0.44775439375430759</c:v>
                </c:pt>
                <c:pt idx="1373">
                  <c:v>0.44808855270238701</c:v>
                </c:pt>
                <c:pt idx="1374">
                  <c:v>0.4502405363280173</c:v>
                </c:pt>
                <c:pt idx="1375">
                  <c:v>0.44995461249766078</c:v>
                </c:pt>
                <c:pt idx="1376">
                  <c:v>0.44952747019011619</c:v>
                </c:pt>
                <c:pt idx="1377">
                  <c:v>0.4491421703943308</c:v>
                </c:pt>
                <c:pt idx="1378">
                  <c:v>0.44962510271755485</c:v>
                </c:pt>
                <c:pt idx="1379">
                  <c:v>0.4517311758094491</c:v>
                </c:pt>
                <c:pt idx="1380">
                  <c:v>0.4529974929361702</c:v>
                </c:pt>
                <c:pt idx="1381">
                  <c:v>0.453442069623615</c:v>
                </c:pt>
                <c:pt idx="1382">
                  <c:v>0.45386572505517986</c:v>
                </c:pt>
                <c:pt idx="1383">
                  <c:v>0.45537379891651142</c:v>
                </c:pt>
                <c:pt idx="1384">
                  <c:v>0.45708236814669045</c:v>
                </c:pt>
                <c:pt idx="1385">
                  <c:v>0.45787679472412424</c:v>
                </c:pt>
                <c:pt idx="1386">
                  <c:v>0.45852186678041629</c:v>
                </c:pt>
                <c:pt idx="1387">
                  <c:v>0.46066455207010004</c:v>
                </c:pt>
                <c:pt idx="1388">
                  <c:v>0.46172049434603046</c:v>
                </c:pt>
                <c:pt idx="1389">
                  <c:v>0.46022927371860201</c:v>
                </c:pt>
                <c:pt idx="1390">
                  <c:v>0.46664221979174036</c:v>
                </c:pt>
                <c:pt idx="1391">
                  <c:v>0.46665558614966351</c:v>
                </c:pt>
                <c:pt idx="1392">
                  <c:v>0.46991290946094066</c:v>
                </c:pt>
                <c:pt idx="1393">
                  <c:v>0.47006226398208217</c:v>
                </c:pt>
                <c:pt idx="1394">
                  <c:v>0.47290929821971717</c:v>
                </c:pt>
                <c:pt idx="1395">
                  <c:v>0.47344162795265743</c:v>
                </c:pt>
                <c:pt idx="1396">
                  <c:v>0.47030460186268908</c:v>
                </c:pt>
                <c:pt idx="1397">
                  <c:v>0.47062655674483844</c:v>
                </c:pt>
                <c:pt idx="1398">
                  <c:v>0.47122223139141473</c:v>
                </c:pt>
                <c:pt idx="1399">
                  <c:v>0.47249784685408236</c:v>
                </c:pt>
                <c:pt idx="1400">
                  <c:v>0.47415236950657214</c:v>
                </c:pt>
                <c:pt idx="1401">
                  <c:v>0.47085494712152576</c:v>
                </c:pt>
                <c:pt idx="1402">
                  <c:v>0.47164181880100275</c:v>
                </c:pt>
                <c:pt idx="1403">
                  <c:v>0.47175746685433806</c:v>
                </c:pt>
                <c:pt idx="1404">
                  <c:v>0.47375719022884355</c:v>
                </c:pt>
                <c:pt idx="1405">
                  <c:v>0.47411750074677261</c:v>
                </c:pt>
                <c:pt idx="1406">
                  <c:v>0.4767436995056773</c:v>
                </c:pt>
                <c:pt idx="1407">
                  <c:v>0.47791587098093946</c:v>
                </c:pt>
                <c:pt idx="1408">
                  <c:v>0.47865683212668042</c:v>
                </c:pt>
                <c:pt idx="1409">
                  <c:v>0.48039678324067925</c:v>
                </c:pt>
                <c:pt idx="1410">
                  <c:v>0.48098025382132548</c:v>
                </c:pt>
                <c:pt idx="1411">
                  <c:v>0.48124176951982234</c:v>
                </c:pt>
                <c:pt idx="1412">
                  <c:v>0.48171830923708314</c:v>
                </c:pt>
                <c:pt idx="1413">
                  <c:v>0.48208152548499528</c:v>
                </c:pt>
                <c:pt idx="1414">
                  <c:v>0.4839766425801022</c:v>
                </c:pt>
                <c:pt idx="1415">
                  <c:v>0.4843125449661716</c:v>
                </c:pt>
                <c:pt idx="1416">
                  <c:v>0.48477281259552574</c:v>
                </c:pt>
                <c:pt idx="1417">
                  <c:v>0.48526446210869967</c:v>
                </c:pt>
                <c:pt idx="1418">
                  <c:v>0.48579039923567691</c:v>
                </c:pt>
                <c:pt idx="1419">
                  <c:v>0.48811788895229835</c:v>
                </c:pt>
                <c:pt idx="1420">
                  <c:v>0.48850028301810022</c:v>
                </c:pt>
                <c:pt idx="1421">
                  <c:v>0.48791448785346736</c:v>
                </c:pt>
                <c:pt idx="1422">
                  <c:v>0.48870077838694792</c:v>
                </c:pt>
                <c:pt idx="1423">
                  <c:v>0.48959167519982705</c:v>
                </c:pt>
                <c:pt idx="1424">
                  <c:v>0.49154258231061321</c:v>
                </c:pt>
                <c:pt idx="1425">
                  <c:v>0.49251832643900473</c:v>
                </c:pt>
                <c:pt idx="1426">
                  <c:v>0.49309598555968437</c:v>
                </c:pt>
                <c:pt idx="1427">
                  <c:v>0.4931081896256142</c:v>
                </c:pt>
                <c:pt idx="1428">
                  <c:v>0.4939671234086771</c:v>
                </c:pt>
                <c:pt idx="1429">
                  <c:v>0.49783290657845636</c:v>
                </c:pt>
                <c:pt idx="1430">
                  <c:v>0.49880632612286124</c:v>
                </c:pt>
                <c:pt idx="1431">
                  <c:v>0.4993415615857848</c:v>
                </c:pt>
                <c:pt idx="1432">
                  <c:v>0.49959494124032822</c:v>
                </c:pt>
                <c:pt idx="1433">
                  <c:v>0.49904285254350178</c:v>
                </c:pt>
                <c:pt idx="1434">
                  <c:v>0.50015284139712146</c:v>
                </c:pt>
                <c:pt idx="1435">
                  <c:v>0.50037600145983885</c:v>
                </c:pt>
                <c:pt idx="1436">
                  <c:v>0.50078396594949393</c:v>
                </c:pt>
                <c:pt idx="1437">
                  <c:v>0.50129828015653732</c:v>
                </c:pt>
                <c:pt idx="1438">
                  <c:v>0.50192417439493986</c:v>
                </c:pt>
                <c:pt idx="1439">
                  <c:v>0.50347525306002439</c:v>
                </c:pt>
                <c:pt idx="1440">
                  <c:v>0.50378849075222387</c:v>
                </c:pt>
                <c:pt idx="1441">
                  <c:v>0.50382219722002985</c:v>
                </c:pt>
                <c:pt idx="1442">
                  <c:v>0.50325034955931702</c:v>
                </c:pt>
                <c:pt idx="1443">
                  <c:v>0.50372630813058095</c:v>
                </c:pt>
                <c:pt idx="1444">
                  <c:v>0.50580216163064917</c:v>
                </c:pt>
                <c:pt idx="1445">
                  <c:v>0.50624499488010355</c:v>
                </c:pt>
                <c:pt idx="1446">
                  <c:v>0.50712136304306621</c:v>
                </c:pt>
                <c:pt idx="1447">
                  <c:v>0.5076705460099098</c:v>
                </c:pt>
                <c:pt idx="1448">
                  <c:v>0.50844172674747701</c:v>
                </c:pt>
                <c:pt idx="1449">
                  <c:v>0.51032754550663739</c:v>
                </c:pt>
                <c:pt idx="1450">
                  <c:v>0.51131956172293491</c:v>
                </c:pt>
                <c:pt idx="1451">
                  <c:v>0.51211340715437226</c:v>
                </c:pt>
                <c:pt idx="1452">
                  <c:v>0.51315365848839267</c:v>
                </c:pt>
                <c:pt idx="1453">
                  <c:v>0.5132687253957311</c:v>
                </c:pt>
                <c:pt idx="1454">
                  <c:v>0.51498484952386714</c:v>
                </c:pt>
                <c:pt idx="1455">
                  <c:v>0.51736754811017116</c:v>
                </c:pt>
                <c:pt idx="1456">
                  <c:v>0.51824972773310041</c:v>
                </c:pt>
                <c:pt idx="1457">
                  <c:v>0.51822067043326747</c:v>
                </c:pt>
                <c:pt idx="1458">
                  <c:v>0.51583622840897325</c:v>
                </c:pt>
                <c:pt idx="1459">
                  <c:v>0.51590770936656249</c:v>
                </c:pt>
                <c:pt idx="1460">
                  <c:v>0.5171583355513738</c:v>
                </c:pt>
                <c:pt idx="1461">
                  <c:v>0.51833573734060612</c:v>
                </c:pt>
                <c:pt idx="1462">
                  <c:v>0.51934576908280028</c:v>
                </c:pt>
                <c:pt idx="1463">
                  <c:v>0.51933705189285062</c:v>
                </c:pt>
                <c:pt idx="1464">
                  <c:v>0.52042553834459393</c:v>
                </c:pt>
                <c:pt idx="1465">
                  <c:v>0.52076318416865308</c:v>
                </c:pt>
                <c:pt idx="1466">
                  <c:v>0.5212978384855802</c:v>
                </c:pt>
                <c:pt idx="1467">
                  <c:v>0.52108920707277906</c:v>
                </c:pt>
                <c:pt idx="1468">
                  <c:v>0.52168488171935534</c:v>
                </c:pt>
              </c:numCache>
            </c:numRef>
          </c:val>
          <c:smooth val="0"/>
          <c:extLst>
            <c:ext xmlns:c16="http://schemas.microsoft.com/office/drawing/2014/chart" uri="{C3380CC4-5D6E-409C-BE32-E72D297353CC}">
              <c16:uniqueId val="{00000000-3B1F-448B-AFFC-6CB4237F4FE0}"/>
            </c:ext>
          </c:extLst>
        </c:ser>
        <c:ser>
          <c:idx val="1"/>
          <c:order val="1"/>
          <c:tx>
            <c:strRef>
              <c:f>Tabelle1!$F$8</c:f>
              <c:strCache>
                <c:ptCount val="1"/>
                <c:pt idx="0">
                  <c:v>Europa</c:v>
                </c:pt>
              </c:strCache>
            </c:strRef>
          </c:tx>
          <c:spPr>
            <a:ln w="28575" cap="rnd">
              <a:solidFill>
                <a:schemeClr val="accent2"/>
              </a:solidFill>
              <a:round/>
            </a:ln>
            <a:effectLst/>
          </c:spPr>
          <c:marker>
            <c:symbol val="none"/>
          </c:marker>
          <c:cat>
            <c:numRef>
              <c:f>Tabelle1!$D$9:$D$1477</c:f>
              <c:numCache>
                <c:formatCode>dd\.mm\.yyyy</c:formatCode>
                <c:ptCount val="1469"/>
                <c:pt idx="0">
                  <c:v>43466</c:v>
                </c:pt>
                <c:pt idx="1">
                  <c:v>43467</c:v>
                </c:pt>
                <c:pt idx="2">
                  <c:v>43468</c:v>
                </c:pt>
                <c:pt idx="3">
                  <c:v>43469</c:v>
                </c:pt>
                <c:pt idx="4">
                  <c:v>43472</c:v>
                </c:pt>
                <c:pt idx="5">
                  <c:v>43473</c:v>
                </c:pt>
                <c:pt idx="6">
                  <c:v>43474</c:v>
                </c:pt>
                <c:pt idx="7">
                  <c:v>43475</c:v>
                </c:pt>
                <c:pt idx="8">
                  <c:v>43476</c:v>
                </c:pt>
                <c:pt idx="9">
                  <c:v>43479</c:v>
                </c:pt>
                <c:pt idx="10">
                  <c:v>43480</c:v>
                </c:pt>
                <c:pt idx="11">
                  <c:v>43481</c:v>
                </c:pt>
                <c:pt idx="12">
                  <c:v>43482</c:v>
                </c:pt>
                <c:pt idx="13">
                  <c:v>43483</c:v>
                </c:pt>
                <c:pt idx="14">
                  <c:v>43486</c:v>
                </c:pt>
                <c:pt idx="15">
                  <c:v>43487</c:v>
                </c:pt>
                <c:pt idx="16">
                  <c:v>43488</c:v>
                </c:pt>
                <c:pt idx="17">
                  <c:v>43489</c:v>
                </c:pt>
                <c:pt idx="18">
                  <c:v>43490</c:v>
                </c:pt>
                <c:pt idx="19">
                  <c:v>43493</c:v>
                </c:pt>
                <c:pt idx="20">
                  <c:v>43494</c:v>
                </c:pt>
                <c:pt idx="21">
                  <c:v>43495</c:v>
                </c:pt>
                <c:pt idx="22">
                  <c:v>43496</c:v>
                </c:pt>
                <c:pt idx="23">
                  <c:v>43497</c:v>
                </c:pt>
                <c:pt idx="24">
                  <c:v>43500</c:v>
                </c:pt>
                <c:pt idx="25">
                  <c:v>43501</c:v>
                </c:pt>
                <c:pt idx="26">
                  <c:v>43502</c:v>
                </c:pt>
                <c:pt idx="27">
                  <c:v>43503</c:v>
                </c:pt>
                <c:pt idx="28">
                  <c:v>43504</c:v>
                </c:pt>
                <c:pt idx="29">
                  <c:v>43507</c:v>
                </c:pt>
                <c:pt idx="30">
                  <c:v>43508</c:v>
                </c:pt>
                <c:pt idx="31">
                  <c:v>43509</c:v>
                </c:pt>
                <c:pt idx="32">
                  <c:v>43510</c:v>
                </c:pt>
                <c:pt idx="33">
                  <c:v>43511</c:v>
                </c:pt>
                <c:pt idx="34">
                  <c:v>43514</c:v>
                </c:pt>
                <c:pt idx="35">
                  <c:v>43515</c:v>
                </c:pt>
                <c:pt idx="36">
                  <c:v>43516</c:v>
                </c:pt>
                <c:pt idx="37">
                  <c:v>43517</c:v>
                </c:pt>
                <c:pt idx="38">
                  <c:v>43518</c:v>
                </c:pt>
                <c:pt idx="39">
                  <c:v>43521</c:v>
                </c:pt>
                <c:pt idx="40">
                  <c:v>43522</c:v>
                </c:pt>
                <c:pt idx="41">
                  <c:v>43523</c:v>
                </c:pt>
                <c:pt idx="42">
                  <c:v>43524</c:v>
                </c:pt>
                <c:pt idx="43">
                  <c:v>43525</c:v>
                </c:pt>
                <c:pt idx="44">
                  <c:v>43528</c:v>
                </c:pt>
                <c:pt idx="45">
                  <c:v>43529</c:v>
                </c:pt>
                <c:pt idx="46">
                  <c:v>43530</c:v>
                </c:pt>
                <c:pt idx="47">
                  <c:v>43531</c:v>
                </c:pt>
                <c:pt idx="48">
                  <c:v>43532</c:v>
                </c:pt>
                <c:pt idx="49">
                  <c:v>43535</c:v>
                </c:pt>
                <c:pt idx="50">
                  <c:v>43536</c:v>
                </c:pt>
                <c:pt idx="51">
                  <c:v>43537</c:v>
                </c:pt>
                <c:pt idx="52">
                  <c:v>43538</c:v>
                </c:pt>
                <c:pt idx="53">
                  <c:v>43539</c:v>
                </c:pt>
                <c:pt idx="54">
                  <c:v>43542</c:v>
                </c:pt>
                <c:pt idx="55">
                  <c:v>43543</c:v>
                </c:pt>
                <c:pt idx="56">
                  <c:v>43544</c:v>
                </c:pt>
                <c:pt idx="57">
                  <c:v>43545</c:v>
                </c:pt>
                <c:pt idx="58">
                  <c:v>43546</c:v>
                </c:pt>
                <c:pt idx="59">
                  <c:v>43549</c:v>
                </c:pt>
                <c:pt idx="60">
                  <c:v>43550</c:v>
                </c:pt>
                <c:pt idx="61">
                  <c:v>43551</c:v>
                </c:pt>
                <c:pt idx="62">
                  <c:v>43552</c:v>
                </c:pt>
                <c:pt idx="63">
                  <c:v>43553</c:v>
                </c:pt>
                <c:pt idx="64">
                  <c:v>43556</c:v>
                </c:pt>
                <c:pt idx="65">
                  <c:v>43557</c:v>
                </c:pt>
                <c:pt idx="66">
                  <c:v>43558</c:v>
                </c:pt>
                <c:pt idx="67">
                  <c:v>43559</c:v>
                </c:pt>
                <c:pt idx="68">
                  <c:v>43560</c:v>
                </c:pt>
                <c:pt idx="69">
                  <c:v>43563</c:v>
                </c:pt>
                <c:pt idx="70">
                  <c:v>43564</c:v>
                </c:pt>
                <c:pt idx="71">
                  <c:v>43565</c:v>
                </c:pt>
                <c:pt idx="72">
                  <c:v>43566</c:v>
                </c:pt>
                <c:pt idx="73">
                  <c:v>43567</c:v>
                </c:pt>
                <c:pt idx="74">
                  <c:v>43570</c:v>
                </c:pt>
                <c:pt idx="75">
                  <c:v>43571</c:v>
                </c:pt>
                <c:pt idx="76">
                  <c:v>43572</c:v>
                </c:pt>
                <c:pt idx="77">
                  <c:v>43573</c:v>
                </c:pt>
                <c:pt idx="78">
                  <c:v>43574</c:v>
                </c:pt>
                <c:pt idx="79">
                  <c:v>43577</c:v>
                </c:pt>
                <c:pt idx="80">
                  <c:v>43578</c:v>
                </c:pt>
                <c:pt idx="81">
                  <c:v>43579</c:v>
                </c:pt>
                <c:pt idx="82">
                  <c:v>43580</c:v>
                </c:pt>
                <c:pt idx="83">
                  <c:v>43581</c:v>
                </c:pt>
                <c:pt idx="84">
                  <c:v>43584</c:v>
                </c:pt>
                <c:pt idx="85">
                  <c:v>43585</c:v>
                </c:pt>
                <c:pt idx="86">
                  <c:v>43586</c:v>
                </c:pt>
                <c:pt idx="87">
                  <c:v>43587</c:v>
                </c:pt>
                <c:pt idx="88">
                  <c:v>43588</c:v>
                </c:pt>
                <c:pt idx="89">
                  <c:v>43591</c:v>
                </c:pt>
                <c:pt idx="90">
                  <c:v>43592</c:v>
                </c:pt>
                <c:pt idx="91">
                  <c:v>43593</c:v>
                </c:pt>
                <c:pt idx="92">
                  <c:v>43594</c:v>
                </c:pt>
                <c:pt idx="93">
                  <c:v>43595</c:v>
                </c:pt>
                <c:pt idx="94">
                  <c:v>43598</c:v>
                </c:pt>
                <c:pt idx="95">
                  <c:v>43599</c:v>
                </c:pt>
                <c:pt idx="96">
                  <c:v>43600</c:v>
                </c:pt>
                <c:pt idx="97">
                  <c:v>43601</c:v>
                </c:pt>
                <c:pt idx="98">
                  <c:v>43602</c:v>
                </c:pt>
                <c:pt idx="99">
                  <c:v>43605</c:v>
                </c:pt>
                <c:pt idx="100">
                  <c:v>43606</c:v>
                </c:pt>
                <c:pt idx="101">
                  <c:v>43607</c:v>
                </c:pt>
                <c:pt idx="102">
                  <c:v>43608</c:v>
                </c:pt>
                <c:pt idx="103">
                  <c:v>43609</c:v>
                </c:pt>
                <c:pt idx="104">
                  <c:v>43612</c:v>
                </c:pt>
                <c:pt idx="105">
                  <c:v>43613</c:v>
                </c:pt>
                <c:pt idx="106">
                  <c:v>43614</c:v>
                </c:pt>
                <c:pt idx="107">
                  <c:v>43615</c:v>
                </c:pt>
                <c:pt idx="108">
                  <c:v>43616</c:v>
                </c:pt>
                <c:pt idx="109">
                  <c:v>43619</c:v>
                </c:pt>
                <c:pt idx="110">
                  <c:v>43620</c:v>
                </c:pt>
                <c:pt idx="111">
                  <c:v>43621</c:v>
                </c:pt>
                <c:pt idx="112">
                  <c:v>43622</c:v>
                </c:pt>
                <c:pt idx="113">
                  <c:v>43623</c:v>
                </c:pt>
                <c:pt idx="114">
                  <c:v>43626</c:v>
                </c:pt>
                <c:pt idx="115">
                  <c:v>43627</c:v>
                </c:pt>
                <c:pt idx="116">
                  <c:v>43628</c:v>
                </c:pt>
                <c:pt idx="117">
                  <c:v>43629</c:v>
                </c:pt>
                <c:pt idx="118">
                  <c:v>43630</c:v>
                </c:pt>
                <c:pt idx="119">
                  <c:v>43633</c:v>
                </c:pt>
                <c:pt idx="120">
                  <c:v>43634</c:v>
                </c:pt>
                <c:pt idx="121">
                  <c:v>43635</c:v>
                </c:pt>
                <c:pt idx="122">
                  <c:v>43636</c:v>
                </c:pt>
                <c:pt idx="123">
                  <c:v>43637</c:v>
                </c:pt>
                <c:pt idx="124">
                  <c:v>43640</c:v>
                </c:pt>
                <c:pt idx="125">
                  <c:v>43641</c:v>
                </c:pt>
                <c:pt idx="126">
                  <c:v>43642</c:v>
                </c:pt>
                <c:pt idx="127">
                  <c:v>43643</c:v>
                </c:pt>
                <c:pt idx="128">
                  <c:v>43644</c:v>
                </c:pt>
                <c:pt idx="129">
                  <c:v>43647</c:v>
                </c:pt>
                <c:pt idx="130">
                  <c:v>43648</c:v>
                </c:pt>
                <c:pt idx="131">
                  <c:v>43649</c:v>
                </c:pt>
                <c:pt idx="132">
                  <c:v>43650</c:v>
                </c:pt>
                <c:pt idx="133">
                  <c:v>43651</c:v>
                </c:pt>
                <c:pt idx="134">
                  <c:v>43654</c:v>
                </c:pt>
                <c:pt idx="135">
                  <c:v>43655</c:v>
                </c:pt>
                <c:pt idx="136">
                  <c:v>43656</c:v>
                </c:pt>
                <c:pt idx="137">
                  <c:v>43657</c:v>
                </c:pt>
                <c:pt idx="138">
                  <c:v>43658</c:v>
                </c:pt>
                <c:pt idx="139">
                  <c:v>43661</c:v>
                </c:pt>
                <c:pt idx="140">
                  <c:v>43662</c:v>
                </c:pt>
                <c:pt idx="141">
                  <c:v>43663</c:v>
                </c:pt>
                <c:pt idx="142">
                  <c:v>43664</c:v>
                </c:pt>
                <c:pt idx="143">
                  <c:v>43665</c:v>
                </c:pt>
                <c:pt idx="144">
                  <c:v>43668</c:v>
                </c:pt>
                <c:pt idx="145">
                  <c:v>43669</c:v>
                </c:pt>
                <c:pt idx="146">
                  <c:v>43670</c:v>
                </c:pt>
                <c:pt idx="147">
                  <c:v>43671</c:v>
                </c:pt>
                <c:pt idx="148">
                  <c:v>43672</c:v>
                </c:pt>
                <c:pt idx="149">
                  <c:v>43675</c:v>
                </c:pt>
                <c:pt idx="150">
                  <c:v>43676</c:v>
                </c:pt>
                <c:pt idx="151">
                  <c:v>43677</c:v>
                </c:pt>
                <c:pt idx="152">
                  <c:v>43678</c:v>
                </c:pt>
                <c:pt idx="153">
                  <c:v>43679</c:v>
                </c:pt>
                <c:pt idx="154">
                  <c:v>43682</c:v>
                </c:pt>
                <c:pt idx="155">
                  <c:v>43683</c:v>
                </c:pt>
                <c:pt idx="156">
                  <c:v>43684</c:v>
                </c:pt>
                <c:pt idx="157">
                  <c:v>43685</c:v>
                </c:pt>
                <c:pt idx="158">
                  <c:v>43686</c:v>
                </c:pt>
                <c:pt idx="159">
                  <c:v>43689</c:v>
                </c:pt>
                <c:pt idx="160">
                  <c:v>43690</c:v>
                </c:pt>
                <c:pt idx="161">
                  <c:v>43691</c:v>
                </c:pt>
                <c:pt idx="162">
                  <c:v>43692</c:v>
                </c:pt>
                <c:pt idx="163">
                  <c:v>43693</c:v>
                </c:pt>
                <c:pt idx="164">
                  <c:v>43696</c:v>
                </c:pt>
                <c:pt idx="165">
                  <c:v>43697</c:v>
                </c:pt>
                <c:pt idx="166">
                  <c:v>43698</c:v>
                </c:pt>
                <c:pt idx="167">
                  <c:v>43699</c:v>
                </c:pt>
                <c:pt idx="168">
                  <c:v>43700</c:v>
                </c:pt>
                <c:pt idx="169">
                  <c:v>43703</c:v>
                </c:pt>
                <c:pt idx="170">
                  <c:v>43704</c:v>
                </c:pt>
                <c:pt idx="171">
                  <c:v>43705</c:v>
                </c:pt>
                <c:pt idx="172">
                  <c:v>43706</c:v>
                </c:pt>
                <c:pt idx="173">
                  <c:v>43707</c:v>
                </c:pt>
                <c:pt idx="174">
                  <c:v>43710</c:v>
                </c:pt>
                <c:pt idx="175">
                  <c:v>43711</c:v>
                </c:pt>
                <c:pt idx="176">
                  <c:v>43712</c:v>
                </c:pt>
                <c:pt idx="177">
                  <c:v>43713</c:v>
                </c:pt>
                <c:pt idx="178">
                  <c:v>43714</c:v>
                </c:pt>
                <c:pt idx="179">
                  <c:v>43717</c:v>
                </c:pt>
                <c:pt idx="180">
                  <c:v>43718</c:v>
                </c:pt>
                <c:pt idx="181">
                  <c:v>43719</c:v>
                </c:pt>
                <c:pt idx="182">
                  <c:v>43720</c:v>
                </c:pt>
                <c:pt idx="183">
                  <c:v>43721</c:v>
                </c:pt>
                <c:pt idx="184">
                  <c:v>43724</c:v>
                </c:pt>
                <c:pt idx="185">
                  <c:v>43725</c:v>
                </c:pt>
                <c:pt idx="186">
                  <c:v>43726</c:v>
                </c:pt>
                <c:pt idx="187">
                  <c:v>43727</c:v>
                </c:pt>
                <c:pt idx="188">
                  <c:v>43728</c:v>
                </c:pt>
                <c:pt idx="189">
                  <c:v>43731</c:v>
                </c:pt>
                <c:pt idx="190">
                  <c:v>43732</c:v>
                </c:pt>
                <c:pt idx="191">
                  <c:v>43733</c:v>
                </c:pt>
                <c:pt idx="192">
                  <c:v>43734</c:v>
                </c:pt>
                <c:pt idx="193">
                  <c:v>43735</c:v>
                </c:pt>
                <c:pt idx="194">
                  <c:v>43738</c:v>
                </c:pt>
                <c:pt idx="195">
                  <c:v>43739</c:v>
                </c:pt>
                <c:pt idx="196">
                  <c:v>43740</c:v>
                </c:pt>
                <c:pt idx="197">
                  <c:v>43741</c:v>
                </c:pt>
                <c:pt idx="198">
                  <c:v>43742</c:v>
                </c:pt>
                <c:pt idx="199">
                  <c:v>43745</c:v>
                </c:pt>
                <c:pt idx="200">
                  <c:v>43746</c:v>
                </c:pt>
                <c:pt idx="201">
                  <c:v>43747</c:v>
                </c:pt>
                <c:pt idx="202">
                  <c:v>43748</c:v>
                </c:pt>
                <c:pt idx="203">
                  <c:v>43749</c:v>
                </c:pt>
                <c:pt idx="204">
                  <c:v>43752</c:v>
                </c:pt>
                <c:pt idx="205">
                  <c:v>43753</c:v>
                </c:pt>
                <c:pt idx="206">
                  <c:v>43754</c:v>
                </c:pt>
                <c:pt idx="207">
                  <c:v>43755</c:v>
                </c:pt>
                <c:pt idx="208">
                  <c:v>43756</c:v>
                </c:pt>
                <c:pt idx="209">
                  <c:v>43759</c:v>
                </c:pt>
                <c:pt idx="210">
                  <c:v>43760</c:v>
                </c:pt>
                <c:pt idx="211">
                  <c:v>43761</c:v>
                </c:pt>
                <c:pt idx="212">
                  <c:v>43762</c:v>
                </c:pt>
                <c:pt idx="213">
                  <c:v>43763</c:v>
                </c:pt>
                <c:pt idx="214">
                  <c:v>43766</c:v>
                </c:pt>
                <c:pt idx="215">
                  <c:v>43767</c:v>
                </c:pt>
                <c:pt idx="216">
                  <c:v>43768</c:v>
                </c:pt>
                <c:pt idx="217">
                  <c:v>43769</c:v>
                </c:pt>
                <c:pt idx="218">
                  <c:v>43770</c:v>
                </c:pt>
                <c:pt idx="219">
                  <c:v>43773</c:v>
                </c:pt>
                <c:pt idx="220">
                  <c:v>43774</c:v>
                </c:pt>
                <c:pt idx="221">
                  <c:v>43775</c:v>
                </c:pt>
                <c:pt idx="222">
                  <c:v>43776</c:v>
                </c:pt>
                <c:pt idx="223">
                  <c:v>43777</c:v>
                </c:pt>
                <c:pt idx="224">
                  <c:v>43780</c:v>
                </c:pt>
                <c:pt idx="225">
                  <c:v>43781</c:v>
                </c:pt>
                <c:pt idx="226">
                  <c:v>43782</c:v>
                </c:pt>
                <c:pt idx="227">
                  <c:v>43783</c:v>
                </c:pt>
                <c:pt idx="228">
                  <c:v>43784</c:v>
                </c:pt>
                <c:pt idx="229">
                  <c:v>43787</c:v>
                </c:pt>
                <c:pt idx="230">
                  <c:v>43788</c:v>
                </c:pt>
                <c:pt idx="231">
                  <c:v>43789</c:v>
                </c:pt>
                <c:pt idx="232">
                  <c:v>43790</c:v>
                </c:pt>
                <c:pt idx="233">
                  <c:v>43791</c:v>
                </c:pt>
                <c:pt idx="234">
                  <c:v>43794</c:v>
                </c:pt>
                <c:pt idx="235">
                  <c:v>43795</c:v>
                </c:pt>
                <c:pt idx="236">
                  <c:v>43796</c:v>
                </c:pt>
                <c:pt idx="237">
                  <c:v>43797</c:v>
                </c:pt>
                <c:pt idx="238">
                  <c:v>43798</c:v>
                </c:pt>
                <c:pt idx="239">
                  <c:v>43801</c:v>
                </c:pt>
                <c:pt idx="240">
                  <c:v>43802</c:v>
                </c:pt>
                <c:pt idx="241">
                  <c:v>43803</c:v>
                </c:pt>
                <c:pt idx="242">
                  <c:v>43804</c:v>
                </c:pt>
                <c:pt idx="243">
                  <c:v>43805</c:v>
                </c:pt>
                <c:pt idx="244">
                  <c:v>43808</c:v>
                </c:pt>
                <c:pt idx="245">
                  <c:v>43809</c:v>
                </c:pt>
                <c:pt idx="246">
                  <c:v>43810</c:v>
                </c:pt>
                <c:pt idx="247">
                  <c:v>43811</c:v>
                </c:pt>
                <c:pt idx="248">
                  <c:v>43812</c:v>
                </c:pt>
                <c:pt idx="249">
                  <c:v>43815</c:v>
                </c:pt>
                <c:pt idx="250">
                  <c:v>43816</c:v>
                </c:pt>
                <c:pt idx="251">
                  <c:v>43817</c:v>
                </c:pt>
                <c:pt idx="252">
                  <c:v>43818</c:v>
                </c:pt>
                <c:pt idx="253">
                  <c:v>43819</c:v>
                </c:pt>
                <c:pt idx="254">
                  <c:v>43822</c:v>
                </c:pt>
                <c:pt idx="255">
                  <c:v>43823</c:v>
                </c:pt>
                <c:pt idx="256">
                  <c:v>43824</c:v>
                </c:pt>
                <c:pt idx="257">
                  <c:v>43825</c:v>
                </c:pt>
                <c:pt idx="258">
                  <c:v>43826</c:v>
                </c:pt>
                <c:pt idx="259">
                  <c:v>43829</c:v>
                </c:pt>
                <c:pt idx="260">
                  <c:v>43830</c:v>
                </c:pt>
                <c:pt idx="261">
                  <c:v>43831</c:v>
                </c:pt>
                <c:pt idx="262">
                  <c:v>43832</c:v>
                </c:pt>
                <c:pt idx="263">
                  <c:v>43833</c:v>
                </c:pt>
                <c:pt idx="264">
                  <c:v>43836</c:v>
                </c:pt>
                <c:pt idx="265">
                  <c:v>43837</c:v>
                </c:pt>
                <c:pt idx="266">
                  <c:v>43838</c:v>
                </c:pt>
                <c:pt idx="267">
                  <c:v>43839</c:v>
                </c:pt>
                <c:pt idx="268">
                  <c:v>43840</c:v>
                </c:pt>
                <c:pt idx="269">
                  <c:v>43843</c:v>
                </c:pt>
                <c:pt idx="270">
                  <c:v>43844</c:v>
                </c:pt>
                <c:pt idx="271">
                  <c:v>43845</c:v>
                </c:pt>
                <c:pt idx="272">
                  <c:v>43846</c:v>
                </c:pt>
                <c:pt idx="273">
                  <c:v>43847</c:v>
                </c:pt>
                <c:pt idx="274">
                  <c:v>43850</c:v>
                </c:pt>
                <c:pt idx="275">
                  <c:v>43851</c:v>
                </c:pt>
                <c:pt idx="276">
                  <c:v>43852</c:v>
                </c:pt>
                <c:pt idx="277">
                  <c:v>43853</c:v>
                </c:pt>
                <c:pt idx="278">
                  <c:v>43854</c:v>
                </c:pt>
                <c:pt idx="279">
                  <c:v>43857</c:v>
                </c:pt>
                <c:pt idx="280">
                  <c:v>43858</c:v>
                </c:pt>
                <c:pt idx="281">
                  <c:v>43859</c:v>
                </c:pt>
                <c:pt idx="282">
                  <c:v>43860</c:v>
                </c:pt>
                <c:pt idx="283">
                  <c:v>43861</c:v>
                </c:pt>
                <c:pt idx="284">
                  <c:v>43864</c:v>
                </c:pt>
                <c:pt idx="285">
                  <c:v>43865</c:v>
                </c:pt>
                <c:pt idx="286">
                  <c:v>43866</c:v>
                </c:pt>
                <c:pt idx="287">
                  <c:v>43867</c:v>
                </c:pt>
                <c:pt idx="288">
                  <c:v>43868</c:v>
                </c:pt>
                <c:pt idx="289">
                  <c:v>43871</c:v>
                </c:pt>
                <c:pt idx="290">
                  <c:v>43872</c:v>
                </c:pt>
                <c:pt idx="291">
                  <c:v>43873</c:v>
                </c:pt>
                <c:pt idx="292">
                  <c:v>43874</c:v>
                </c:pt>
                <c:pt idx="293">
                  <c:v>43875</c:v>
                </c:pt>
                <c:pt idx="294">
                  <c:v>43878</c:v>
                </c:pt>
                <c:pt idx="295">
                  <c:v>43879</c:v>
                </c:pt>
                <c:pt idx="296">
                  <c:v>43880</c:v>
                </c:pt>
                <c:pt idx="297">
                  <c:v>43881</c:v>
                </c:pt>
                <c:pt idx="298">
                  <c:v>43882</c:v>
                </c:pt>
                <c:pt idx="299">
                  <c:v>43885</c:v>
                </c:pt>
                <c:pt idx="300">
                  <c:v>43886</c:v>
                </c:pt>
                <c:pt idx="301">
                  <c:v>43887</c:v>
                </c:pt>
                <c:pt idx="302">
                  <c:v>43888</c:v>
                </c:pt>
                <c:pt idx="303">
                  <c:v>43889</c:v>
                </c:pt>
                <c:pt idx="304">
                  <c:v>43892</c:v>
                </c:pt>
                <c:pt idx="305">
                  <c:v>43893</c:v>
                </c:pt>
                <c:pt idx="306">
                  <c:v>43894</c:v>
                </c:pt>
                <c:pt idx="307">
                  <c:v>43895</c:v>
                </c:pt>
                <c:pt idx="308">
                  <c:v>43896</c:v>
                </c:pt>
                <c:pt idx="309">
                  <c:v>43899</c:v>
                </c:pt>
                <c:pt idx="310">
                  <c:v>43900</c:v>
                </c:pt>
                <c:pt idx="311">
                  <c:v>43901</c:v>
                </c:pt>
                <c:pt idx="312">
                  <c:v>43902</c:v>
                </c:pt>
                <c:pt idx="313">
                  <c:v>43903</c:v>
                </c:pt>
                <c:pt idx="314">
                  <c:v>43906</c:v>
                </c:pt>
                <c:pt idx="315">
                  <c:v>43907</c:v>
                </c:pt>
                <c:pt idx="316">
                  <c:v>43908</c:v>
                </c:pt>
                <c:pt idx="317">
                  <c:v>43909</c:v>
                </c:pt>
                <c:pt idx="318">
                  <c:v>43910</c:v>
                </c:pt>
                <c:pt idx="319">
                  <c:v>43913</c:v>
                </c:pt>
                <c:pt idx="320">
                  <c:v>43914</c:v>
                </c:pt>
                <c:pt idx="321">
                  <c:v>43915</c:v>
                </c:pt>
                <c:pt idx="322">
                  <c:v>43916</c:v>
                </c:pt>
                <c:pt idx="323">
                  <c:v>43917</c:v>
                </c:pt>
                <c:pt idx="324">
                  <c:v>43920</c:v>
                </c:pt>
                <c:pt idx="325">
                  <c:v>43921</c:v>
                </c:pt>
                <c:pt idx="326">
                  <c:v>43922</c:v>
                </c:pt>
                <c:pt idx="327">
                  <c:v>43923</c:v>
                </c:pt>
                <c:pt idx="328">
                  <c:v>43924</c:v>
                </c:pt>
                <c:pt idx="329">
                  <c:v>43927</c:v>
                </c:pt>
                <c:pt idx="330">
                  <c:v>43928</c:v>
                </c:pt>
                <c:pt idx="331">
                  <c:v>43929</c:v>
                </c:pt>
                <c:pt idx="332">
                  <c:v>43930</c:v>
                </c:pt>
                <c:pt idx="333">
                  <c:v>43931</c:v>
                </c:pt>
                <c:pt idx="334">
                  <c:v>43934</c:v>
                </c:pt>
                <c:pt idx="335">
                  <c:v>43935</c:v>
                </c:pt>
                <c:pt idx="336">
                  <c:v>43936</c:v>
                </c:pt>
                <c:pt idx="337">
                  <c:v>43937</c:v>
                </c:pt>
                <c:pt idx="338">
                  <c:v>43938</c:v>
                </c:pt>
                <c:pt idx="339">
                  <c:v>43941</c:v>
                </c:pt>
                <c:pt idx="340">
                  <c:v>43942</c:v>
                </c:pt>
                <c:pt idx="341">
                  <c:v>43943</c:v>
                </c:pt>
                <c:pt idx="342">
                  <c:v>43944</c:v>
                </c:pt>
                <c:pt idx="343">
                  <c:v>43945</c:v>
                </c:pt>
                <c:pt idx="344">
                  <c:v>43948</c:v>
                </c:pt>
                <c:pt idx="345">
                  <c:v>43949</c:v>
                </c:pt>
                <c:pt idx="346">
                  <c:v>43950</c:v>
                </c:pt>
                <c:pt idx="347">
                  <c:v>43951</c:v>
                </c:pt>
                <c:pt idx="348">
                  <c:v>43952</c:v>
                </c:pt>
                <c:pt idx="349">
                  <c:v>43955</c:v>
                </c:pt>
                <c:pt idx="350">
                  <c:v>43956</c:v>
                </c:pt>
                <c:pt idx="351">
                  <c:v>43957</c:v>
                </c:pt>
                <c:pt idx="352">
                  <c:v>43958</c:v>
                </c:pt>
                <c:pt idx="353">
                  <c:v>43959</c:v>
                </c:pt>
                <c:pt idx="354">
                  <c:v>43962</c:v>
                </c:pt>
                <c:pt idx="355">
                  <c:v>43963</c:v>
                </c:pt>
                <c:pt idx="356">
                  <c:v>43964</c:v>
                </c:pt>
                <c:pt idx="357">
                  <c:v>43965</c:v>
                </c:pt>
                <c:pt idx="358">
                  <c:v>43966</c:v>
                </c:pt>
                <c:pt idx="359">
                  <c:v>43969</c:v>
                </c:pt>
                <c:pt idx="360">
                  <c:v>43970</c:v>
                </c:pt>
                <c:pt idx="361">
                  <c:v>43971</c:v>
                </c:pt>
                <c:pt idx="362">
                  <c:v>43972</c:v>
                </c:pt>
                <c:pt idx="363">
                  <c:v>43973</c:v>
                </c:pt>
                <c:pt idx="364">
                  <c:v>43976</c:v>
                </c:pt>
                <c:pt idx="365">
                  <c:v>43977</c:v>
                </c:pt>
                <c:pt idx="366">
                  <c:v>43978</c:v>
                </c:pt>
                <c:pt idx="367">
                  <c:v>43979</c:v>
                </c:pt>
                <c:pt idx="368">
                  <c:v>43980</c:v>
                </c:pt>
                <c:pt idx="369">
                  <c:v>43983</c:v>
                </c:pt>
                <c:pt idx="370">
                  <c:v>43984</c:v>
                </c:pt>
                <c:pt idx="371">
                  <c:v>43985</c:v>
                </c:pt>
                <c:pt idx="372">
                  <c:v>43986</c:v>
                </c:pt>
                <c:pt idx="373">
                  <c:v>43987</c:v>
                </c:pt>
                <c:pt idx="374">
                  <c:v>43990</c:v>
                </c:pt>
                <c:pt idx="375">
                  <c:v>43991</c:v>
                </c:pt>
                <c:pt idx="376">
                  <c:v>43992</c:v>
                </c:pt>
                <c:pt idx="377">
                  <c:v>43993</c:v>
                </c:pt>
                <c:pt idx="378">
                  <c:v>43994</c:v>
                </c:pt>
                <c:pt idx="379">
                  <c:v>43997</c:v>
                </c:pt>
                <c:pt idx="380">
                  <c:v>43998</c:v>
                </c:pt>
                <c:pt idx="381">
                  <c:v>43999</c:v>
                </c:pt>
                <c:pt idx="382">
                  <c:v>44000</c:v>
                </c:pt>
                <c:pt idx="383">
                  <c:v>44001</c:v>
                </c:pt>
                <c:pt idx="384">
                  <c:v>44004</c:v>
                </c:pt>
                <c:pt idx="385">
                  <c:v>44005</c:v>
                </c:pt>
                <c:pt idx="386">
                  <c:v>44006</c:v>
                </c:pt>
                <c:pt idx="387">
                  <c:v>44007</c:v>
                </c:pt>
                <c:pt idx="388">
                  <c:v>44008</c:v>
                </c:pt>
                <c:pt idx="389">
                  <c:v>44011</c:v>
                </c:pt>
                <c:pt idx="390">
                  <c:v>44012</c:v>
                </c:pt>
                <c:pt idx="391">
                  <c:v>44013</c:v>
                </c:pt>
                <c:pt idx="392">
                  <c:v>44014</c:v>
                </c:pt>
                <c:pt idx="393">
                  <c:v>44015</c:v>
                </c:pt>
                <c:pt idx="394">
                  <c:v>44018</c:v>
                </c:pt>
                <c:pt idx="395">
                  <c:v>44019</c:v>
                </c:pt>
                <c:pt idx="396">
                  <c:v>44020</c:v>
                </c:pt>
                <c:pt idx="397">
                  <c:v>44021</c:v>
                </c:pt>
                <c:pt idx="398">
                  <c:v>44022</c:v>
                </c:pt>
                <c:pt idx="399">
                  <c:v>44025</c:v>
                </c:pt>
                <c:pt idx="400">
                  <c:v>44026</c:v>
                </c:pt>
                <c:pt idx="401">
                  <c:v>44027</c:v>
                </c:pt>
                <c:pt idx="402">
                  <c:v>44028</c:v>
                </c:pt>
                <c:pt idx="403">
                  <c:v>44029</c:v>
                </c:pt>
                <c:pt idx="404">
                  <c:v>44032</c:v>
                </c:pt>
                <c:pt idx="405">
                  <c:v>44033</c:v>
                </c:pt>
                <c:pt idx="406">
                  <c:v>44034</c:v>
                </c:pt>
                <c:pt idx="407">
                  <c:v>44035</c:v>
                </c:pt>
                <c:pt idx="408">
                  <c:v>44036</c:v>
                </c:pt>
                <c:pt idx="409">
                  <c:v>44039</c:v>
                </c:pt>
                <c:pt idx="410">
                  <c:v>44040</c:v>
                </c:pt>
                <c:pt idx="411">
                  <c:v>44041</c:v>
                </c:pt>
                <c:pt idx="412">
                  <c:v>44042</c:v>
                </c:pt>
                <c:pt idx="413">
                  <c:v>44043</c:v>
                </c:pt>
                <c:pt idx="414">
                  <c:v>44046</c:v>
                </c:pt>
                <c:pt idx="415">
                  <c:v>44047</c:v>
                </c:pt>
                <c:pt idx="416">
                  <c:v>44048</c:v>
                </c:pt>
                <c:pt idx="417">
                  <c:v>44049</c:v>
                </c:pt>
                <c:pt idx="418">
                  <c:v>44050</c:v>
                </c:pt>
                <c:pt idx="419">
                  <c:v>44053</c:v>
                </c:pt>
                <c:pt idx="420">
                  <c:v>44054</c:v>
                </c:pt>
                <c:pt idx="421">
                  <c:v>44055</c:v>
                </c:pt>
                <c:pt idx="422">
                  <c:v>44056</c:v>
                </c:pt>
                <c:pt idx="423">
                  <c:v>44057</c:v>
                </c:pt>
                <c:pt idx="424">
                  <c:v>44060</c:v>
                </c:pt>
                <c:pt idx="425">
                  <c:v>44061</c:v>
                </c:pt>
                <c:pt idx="426">
                  <c:v>44062</c:v>
                </c:pt>
                <c:pt idx="427">
                  <c:v>44063</c:v>
                </c:pt>
                <c:pt idx="428">
                  <c:v>44064</c:v>
                </c:pt>
                <c:pt idx="429">
                  <c:v>44067</c:v>
                </c:pt>
                <c:pt idx="430">
                  <c:v>44068</c:v>
                </c:pt>
                <c:pt idx="431">
                  <c:v>44069</c:v>
                </c:pt>
                <c:pt idx="432">
                  <c:v>44070</c:v>
                </c:pt>
                <c:pt idx="433">
                  <c:v>44071</c:v>
                </c:pt>
                <c:pt idx="434">
                  <c:v>44074</c:v>
                </c:pt>
                <c:pt idx="435">
                  <c:v>44075</c:v>
                </c:pt>
                <c:pt idx="436">
                  <c:v>44076</c:v>
                </c:pt>
                <c:pt idx="437">
                  <c:v>44077</c:v>
                </c:pt>
                <c:pt idx="438">
                  <c:v>44078</c:v>
                </c:pt>
                <c:pt idx="439">
                  <c:v>44081</c:v>
                </c:pt>
                <c:pt idx="440">
                  <c:v>44082</c:v>
                </c:pt>
                <c:pt idx="441">
                  <c:v>44083</c:v>
                </c:pt>
                <c:pt idx="442">
                  <c:v>44084</c:v>
                </c:pt>
                <c:pt idx="443">
                  <c:v>44085</c:v>
                </c:pt>
                <c:pt idx="444">
                  <c:v>44088</c:v>
                </c:pt>
                <c:pt idx="445">
                  <c:v>44089</c:v>
                </c:pt>
                <c:pt idx="446">
                  <c:v>44090</c:v>
                </c:pt>
                <c:pt idx="447">
                  <c:v>44091</c:v>
                </c:pt>
                <c:pt idx="448">
                  <c:v>44092</c:v>
                </c:pt>
                <c:pt idx="449">
                  <c:v>44095</c:v>
                </c:pt>
                <c:pt idx="450">
                  <c:v>44096</c:v>
                </c:pt>
                <c:pt idx="451">
                  <c:v>44097</c:v>
                </c:pt>
                <c:pt idx="452">
                  <c:v>44098</c:v>
                </c:pt>
                <c:pt idx="453">
                  <c:v>44099</c:v>
                </c:pt>
                <c:pt idx="454">
                  <c:v>44102</c:v>
                </c:pt>
                <c:pt idx="455">
                  <c:v>44103</c:v>
                </c:pt>
                <c:pt idx="456">
                  <c:v>44104</c:v>
                </c:pt>
                <c:pt idx="457">
                  <c:v>44105</c:v>
                </c:pt>
                <c:pt idx="458">
                  <c:v>44106</c:v>
                </c:pt>
                <c:pt idx="459">
                  <c:v>44109</c:v>
                </c:pt>
                <c:pt idx="460">
                  <c:v>44110</c:v>
                </c:pt>
                <c:pt idx="461">
                  <c:v>44111</c:v>
                </c:pt>
                <c:pt idx="462">
                  <c:v>44112</c:v>
                </c:pt>
                <c:pt idx="463">
                  <c:v>44113</c:v>
                </c:pt>
                <c:pt idx="464">
                  <c:v>44116</c:v>
                </c:pt>
                <c:pt idx="465">
                  <c:v>44117</c:v>
                </c:pt>
                <c:pt idx="466">
                  <c:v>44118</c:v>
                </c:pt>
                <c:pt idx="467">
                  <c:v>44119</c:v>
                </c:pt>
                <c:pt idx="468">
                  <c:v>44120</c:v>
                </c:pt>
                <c:pt idx="469">
                  <c:v>44123</c:v>
                </c:pt>
                <c:pt idx="470">
                  <c:v>44124</c:v>
                </c:pt>
                <c:pt idx="471">
                  <c:v>44125</c:v>
                </c:pt>
                <c:pt idx="472">
                  <c:v>44126</c:v>
                </c:pt>
                <c:pt idx="473">
                  <c:v>44127</c:v>
                </c:pt>
                <c:pt idx="474">
                  <c:v>44130</c:v>
                </c:pt>
                <c:pt idx="475">
                  <c:v>44131</c:v>
                </c:pt>
                <c:pt idx="476">
                  <c:v>44132</c:v>
                </c:pt>
                <c:pt idx="477">
                  <c:v>44133</c:v>
                </c:pt>
                <c:pt idx="478">
                  <c:v>44134</c:v>
                </c:pt>
                <c:pt idx="479">
                  <c:v>44137</c:v>
                </c:pt>
                <c:pt idx="480">
                  <c:v>44138</c:v>
                </c:pt>
                <c:pt idx="481">
                  <c:v>44139</c:v>
                </c:pt>
                <c:pt idx="482">
                  <c:v>44140</c:v>
                </c:pt>
                <c:pt idx="483">
                  <c:v>44141</c:v>
                </c:pt>
                <c:pt idx="484">
                  <c:v>44144</c:v>
                </c:pt>
                <c:pt idx="485">
                  <c:v>44145</c:v>
                </c:pt>
                <c:pt idx="486">
                  <c:v>44146</c:v>
                </c:pt>
                <c:pt idx="487">
                  <c:v>44147</c:v>
                </c:pt>
                <c:pt idx="488">
                  <c:v>44148</c:v>
                </c:pt>
                <c:pt idx="489">
                  <c:v>44151</c:v>
                </c:pt>
                <c:pt idx="490">
                  <c:v>44152</c:v>
                </c:pt>
                <c:pt idx="491">
                  <c:v>44153</c:v>
                </c:pt>
                <c:pt idx="492">
                  <c:v>44154</c:v>
                </c:pt>
                <c:pt idx="493">
                  <c:v>44155</c:v>
                </c:pt>
                <c:pt idx="494">
                  <c:v>44158</c:v>
                </c:pt>
                <c:pt idx="495">
                  <c:v>44159</c:v>
                </c:pt>
                <c:pt idx="496">
                  <c:v>44160</c:v>
                </c:pt>
                <c:pt idx="497">
                  <c:v>44161</c:v>
                </c:pt>
                <c:pt idx="498">
                  <c:v>44162</c:v>
                </c:pt>
                <c:pt idx="499">
                  <c:v>44165</c:v>
                </c:pt>
                <c:pt idx="500">
                  <c:v>44166</c:v>
                </c:pt>
                <c:pt idx="501">
                  <c:v>44167</c:v>
                </c:pt>
                <c:pt idx="502">
                  <c:v>44168</c:v>
                </c:pt>
                <c:pt idx="503">
                  <c:v>44169</c:v>
                </c:pt>
                <c:pt idx="504">
                  <c:v>44172</c:v>
                </c:pt>
                <c:pt idx="505">
                  <c:v>44173</c:v>
                </c:pt>
                <c:pt idx="506">
                  <c:v>44174</c:v>
                </c:pt>
                <c:pt idx="507">
                  <c:v>44175</c:v>
                </c:pt>
                <c:pt idx="508">
                  <c:v>44176</c:v>
                </c:pt>
                <c:pt idx="509">
                  <c:v>44179</c:v>
                </c:pt>
                <c:pt idx="510">
                  <c:v>44180</c:v>
                </c:pt>
                <c:pt idx="511">
                  <c:v>44181</c:v>
                </c:pt>
                <c:pt idx="512">
                  <c:v>44182</c:v>
                </c:pt>
                <c:pt idx="513">
                  <c:v>44183</c:v>
                </c:pt>
                <c:pt idx="514">
                  <c:v>44186</c:v>
                </c:pt>
                <c:pt idx="515">
                  <c:v>44187</c:v>
                </c:pt>
                <c:pt idx="516">
                  <c:v>44188</c:v>
                </c:pt>
                <c:pt idx="517">
                  <c:v>44189</c:v>
                </c:pt>
                <c:pt idx="518">
                  <c:v>44190</c:v>
                </c:pt>
                <c:pt idx="519">
                  <c:v>44193</c:v>
                </c:pt>
                <c:pt idx="520">
                  <c:v>44194</c:v>
                </c:pt>
                <c:pt idx="521">
                  <c:v>44195</c:v>
                </c:pt>
                <c:pt idx="522">
                  <c:v>44196</c:v>
                </c:pt>
                <c:pt idx="523">
                  <c:v>44197</c:v>
                </c:pt>
                <c:pt idx="524">
                  <c:v>44200</c:v>
                </c:pt>
                <c:pt idx="525">
                  <c:v>44201</c:v>
                </c:pt>
                <c:pt idx="526">
                  <c:v>44202</c:v>
                </c:pt>
                <c:pt idx="527">
                  <c:v>44203</c:v>
                </c:pt>
                <c:pt idx="528">
                  <c:v>44204</c:v>
                </c:pt>
                <c:pt idx="529">
                  <c:v>44207</c:v>
                </c:pt>
                <c:pt idx="530">
                  <c:v>44208</c:v>
                </c:pt>
                <c:pt idx="531">
                  <c:v>44209</c:v>
                </c:pt>
                <c:pt idx="532">
                  <c:v>44210</c:v>
                </c:pt>
                <c:pt idx="533">
                  <c:v>44211</c:v>
                </c:pt>
                <c:pt idx="534">
                  <c:v>44214</c:v>
                </c:pt>
                <c:pt idx="535">
                  <c:v>44215</c:v>
                </c:pt>
                <c:pt idx="536">
                  <c:v>44216</c:v>
                </c:pt>
                <c:pt idx="537">
                  <c:v>44217</c:v>
                </c:pt>
                <c:pt idx="538">
                  <c:v>44218</c:v>
                </c:pt>
                <c:pt idx="539">
                  <c:v>44221</c:v>
                </c:pt>
                <c:pt idx="540">
                  <c:v>44222</c:v>
                </c:pt>
                <c:pt idx="541">
                  <c:v>44223</c:v>
                </c:pt>
                <c:pt idx="542">
                  <c:v>44224</c:v>
                </c:pt>
                <c:pt idx="543">
                  <c:v>44225</c:v>
                </c:pt>
                <c:pt idx="544">
                  <c:v>44228</c:v>
                </c:pt>
                <c:pt idx="545">
                  <c:v>44229</c:v>
                </c:pt>
                <c:pt idx="546">
                  <c:v>44230</c:v>
                </c:pt>
                <c:pt idx="547">
                  <c:v>44231</c:v>
                </c:pt>
                <c:pt idx="548">
                  <c:v>44232</c:v>
                </c:pt>
                <c:pt idx="549">
                  <c:v>44235</c:v>
                </c:pt>
                <c:pt idx="550">
                  <c:v>44236</c:v>
                </c:pt>
                <c:pt idx="551">
                  <c:v>44237</c:v>
                </c:pt>
                <c:pt idx="552">
                  <c:v>44238</c:v>
                </c:pt>
                <c:pt idx="553">
                  <c:v>44239</c:v>
                </c:pt>
                <c:pt idx="554">
                  <c:v>44242</c:v>
                </c:pt>
                <c:pt idx="555">
                  <c:v>44243</c:v>
                </c:pt>
                <c:pt idx="556">
                  <c:v>44244</c:v>
                </c:pt>
                <c:pt idx="557">
                  <c:v>44245</c:v>
                </c:pt>
                <c:pt idx="558">
                  <c:v>44246</c:v>
                </c:pt>
                <c:pt idx="559">
                  <c:v>44249</c:v>
                </c:pt>
                <c:pt idx="560">
                  <c:v>44250</c:v>
                </c:pt>
                <c:pt idx="561">
                  <c:v>44251</c:v>
                </c:pt>
                <c:pt idx="562">
                  <c:v>44252</c:v>
                </c:pt>
                <c:pt idx="563">
                  <c:v>44253</c:v>
                </c:pt>
                <c:pt idx="564">
                  <c:v>44256</c:v>
                </c:pt>
                <c:pt idx="565">
                  <c:v>44257</c:v>
                </c:pt>
                <c:pt idx="566">
                  <c:v>44258</c:v>
                </c:pt>
                <c:pt idx="567">
                  <c:v>44259</c:v>
                </c:pt>
                <c:pt idx="568">
                  <c:v>44260</c:v>
                </c:pt>
                <c:pt idx="569">
                  <c:v>44263</c:v>
                </c:pt>
                <c:pt idx="570">
                  <c:v>44264</c:v>
                </c:pt>
                <c:pt idx="571">
                  <c:v>44265</c:v>
                </c:pt>
                <c:pt idx="572">
                  <c:v>44266</c:v>
                </c:pt>
                <c:pt idx="573">
                  <c:v>44267</c:v>
                </c:pt>
                <c:pt idx="574">
                  <c:v>44270</c:v>
                </c:pt>
                <c:pt idx="575">
                  <c:v>44271</c:v>
                </c:pt>
                <c:pt idx="576">
                  <c:v>44272</c:v>
                </c:pt>
                <c:pt idx="577">
                  <c:v>44273</c:v>
                </c:pt>
                <c:pt idx="578">
                  <c:v>44274</c:v>
                </c:pt>
                <c:pt idx="579">
                  <c:v>44277</c:v>
                </c:pt>
                <c:pt idx="580">
                  <c:v>44278</c:v>
                </c:pt>
                <c:pt idx="581">
                  <c:v>44279</c:v>
                </c:pt>
                <c:pt idx="582">
                  <c:v>44280</c:v>
                </c:pt>
                <c:pt idx="583">
                  <c:v>44281</c:v>
                </c:pt>
                <c:pt idx="584">
                  <c:v>44284</c:v>
                </c:pt>
                <c:pt idx="585">
                  <c:v>44285</c:v>
                </c:pt>
                <c:pt idx="586">
                  <c:v>44286</c:v>
                </c:pt>
                <c:pt idx="587">
                  <c:v>44287</c:v>
                </c:pt>
                <c:pt idx="588">
                  <c:v>44288</c:v>
                </c:pt>
                <c:pt idx="589">
                  <c:v>44291</c:v>
                </c:pt>
                <c:pt idx="590">
                  <c:v>44292</c:v>
                </c:pt>
                <c:pt idx="591">
                  <c:v>44293</c:v>
                </c:pt>
                <c:pt idx="592">
                  <c:v>44294</c:v>
                </c:pt>
                <c:pt idx="593">
                  <c:v>44295</c:v>
                </c:pt>
                <c:pt idx="594">
                  <c:v>44298</c:v>
                </c:pt>
                <c:pt idx="595">
                  <c:v>44299</c:v>
                </c:pt>
                <c:pt idx="596">
                  <c:v>44300</c:v>
                </c:pt>
                <c:pt idx="597">
                  <c:v>44301</c:v>
                </c:pt>
                <c:pt idx="598">
                  <c:v>44302</c:v>
                </c:pt>
                <c:pt idx="599">
                  <c:v>44305</c:v>
                </c:pt>
                <c:pt idx="600">
                  <c:v>44306</c:v>
                </c:pt>
                <c:pt idx="601">
                  <c:v>44307</c:v>
                </c:pt>
                <c:pt idx="602">
                  <c:v>44308</c:v>
                </c:pt>
                <c:pt idx="603">
                  <c:v>44309</c:v>
                </c:pt>
                <c:pt idx="604">
                  <c:v>44312</c:v>
                </c:pt>
                <c:pt idx="605">
                  <c:v>44313</c:v>
                </c:pt>
                <c:pt idx="606">
                  <c:v>44314</c:v>
                </c:pt>
                <c:pt idx="607">
                  <c:v>44315</c:v>
                </c:pt>
                <c:pt idx="608">
                  <c:v>44316</c:v>
                </c:pt>
                <c:pt idx="609">
                  <c:v>44319</c:v>
                </c:pt>
                <c:pt idx="610">
                  <c:v>44320</c:v>
                </c:pt>
                <c:pt idx="611">
                  <c:v>44321</c:v>
                </c:pt>
                <c:pt idx="612">
                  <c:v>44322</c:v>
                </c:pt>
                <c:pt idx="613">
                  <c:v>44323</c:v>
                </c:pt>
                <c:pt idx="614">
                  <c:v>44326</c:v>
                </c:pt>
                <c:pt idx="615">
                  <c:v>44327</c:v>
                </c:pt>
                <c:pt idx="616">
                  <c:v>44328</c:v>
                </c:pt>
                <c:pt idx="617">
                  <c:v>44329</c:v>
                </c:pt>
                <c:pt idx="618">
                  <c:v>44330</c:v>
                </c:pt>
                <c:pt idx="619">
                  <c:v>44333</c:v>
                </c:pt>
                <c:pt idx="620">
                  <c:v>44334</c:v>
                </c:pt>
                <c:pt idx="621">
                  <c:v>44335</c:v>
                </c:pt>
                <c:pt idx="622">
                  <c:v>44336</c:v>
                </c:pt>
                <c:pt idx="623">
                  <c:v>44337</c:v>
                </c:pt>
                <c:pt idx="624">
                  <c:v>44340</c:v>
                </c:pt>
                <c:pt idx="625">
                  <c:v>44341</c:v>
                </c:pt>
                <c:pt idx="626">
                  <c:v>44342</c:v>
                </c:pt>
                <c:pt idx="627">
                  <c:v>44343</c:v>
                </c:pt>
                <c:pt idx="628">
                  <c:v>44344</c:v>
                </c:pt>
                <c:pt idx="629">
                  <c:v>44347</c:v>
                </c:pt>
                <c:pt idx="630">
                  <c:v>44348</c:v>
                </c:pt>
                <c:pt idx="631">
                  <c:v>44349</c:v>
                </c:pt>
                <c:pt idx="632">
                  <c:v>44350</c:v>
                </c:pt>
                <c:pt idx="633">
                  <c:v>44351</c:v>
                </c:pt>
                <c:pt idx="634">
                  <c:v>44354</c:v>
                </c:pt>
                <c:pt idx="635">
                  <c:v>44355</c:v>
                </c:pt>
                <c:pt idx="636">
                  <c:v>44356</c:v>
                </c:pt>
                <c:pt idx="637">
                  <c:v>44357</c:v>
                </c:pt>
                <c:pt idx="638">
                  <c:v>44358</c:v>
                </c:pt>
                <c:pt idx="639">
                  <c:v>44361</c:v>
                </c:pt>
                <c:pt idx="640">
                  <c:v>44362</c:v>
                </c:pt>
                <c:pt idx="641">
                  <c:v>44363</c:v>
                </c:pt>
                <c:pt idx="642">
                  <c:v>44364</c:v>
                </c:pt>
                <c:pt idx="643">
                  <c:v>44365</c:v>
                </c:pt>
                <c:pt idx="644">
                  <c:v>44368</c:v>
                </c:pt>
                <c:pt idx="645">
                  <c:v>44369</c:v>
                </c:pt>
                <c:pt idx="646">
                  <c:v>44370</c:v>
                </c:pt>
                <c:pt idx="647">
                  <c:v>44371</c:v>
                </c:pt>
                <c:pt idx="648">
                  <c:v>44372</c:v>
                </c:pt>
                <c:pt idx="649">
                  <c:v>44375</c:v>
                </c:pt>
                <c:pt idx="650">
                  <c:v>44376</c:v>
                </c:pt>
                <c:pt idx="651">
                  <c:v>44377</c:v>
                </c:pt>
                <c:pt idx="652">
                  <c:v>44378</c:v>
                </c:pt>
                <c:pt idx="653">
                  <c:v>44379</c:v>
                </c:pt>
                <c:pt idx="654">
                  <c:v>44382</c:v>
                </c:pt>
                <c:pt idx="655">
                  <c:v>44383</c:v>
                </c:pt>
                <c:pt idx="656">
                  <c:v>44384</c:v>
                </c:pt>
                <c:pt idx="657">
                  <c:v>44385</c:v>
                </c:pt>
                <c:pt idx="658">
                  <c:v>44386</c:v>
                </c:pt>
                <c:pt idx="659">
                  <c:v>44389</c:v>
                </c:pt>
                <c:pt idx="660">
                  <c:v>44390</c:v>
                </c:pt>
                <c:pt idx="661">
                  <c:v>44391</c:v>
                </c:pt>
                <c:pt idx="662">
                  <c:v>44392</c:v>
                </c:pt>
                <c:pt idx="663">
                  <c:v>44393</c:v>
                </c:pt>
                <c:pt idx="664">
                  <c:v>44396</c:v>
                </c:pt>
                <c:pt idx="665">
                  <c:v>44397</c:v>
                </c:pt>
                <c:pt idx="666">
                  <c:v>44398</c:v>
                </c:pt>
                <c:pt idx="667">
                  <c:v>44399</c:v>
                </c:pt>
                <c:pt idx="668">
                  <c:v>44400</c:v>
                </c:pt>
                <c:pt idx="669">
                  <c:v>44403</c:v>
                </c:pt>
                <c:pt idx="670">
                  <c:v>44404</c:v>
                </c:pt>
                <c:pt idx="671">
                  <c:v>44405</c:v>
                </c:pt>
                <c:pt idx="672">
                  <c:v>44406</c:v>
                </c:pt>
                <c:pt idx="673">
                  <c:v>44407</c:v>
                </c:pt>
                <c:pt idx="674">
                  <c:v>44410</c:v>
                </c:pt>
                <c:pt idx="675">
                  <c:v>44411</c:v>
                </c:pt>
                <c:pt idx="676">
                  <c:v>44412</c:v>
                </c:pt>
                <c:pt idx="677">
                  <c:v>44413</c:v>
                </c:pt>
                <c:pt idx="678">
                  <c:v>44414</c:v>
                </c:pt>
                <c:pt idx="679">
                  <c:v>44417</c:v>
                </c:pt>
                <c:pt idx="680">
                  <c:v>44418</c:v>
                </c:pt>
                <c:pt idx="681">
                  <c:v>44419</c:v>
                </c:pt>
                <c:pt idx="682">
                  <c:v>44420</c:v>
                </c:pt>
                <c:pt idx="683">
                  <c:v>44421</c:v>
                </c:pt>
                <c:pt idx="684">
                  <c:v>44424</c:v>
                </c:pt>
                <c:pt idx="685">
                  <c:v>44425</c:v>
                </c:pt>
                <c:pt idx="686">
                  <c:v>44426</c:v>
                </c:pt>
                <c:pt idx="687">
                  <c:v>44427</c:v>
                </c:pt>
                <c:pt idx="688">
                  <c:v>44428</c:v>
                </c:pt>
                <c:pt idx="689">
                  <c:v>44431</c:v>
                </c:pt>
                <c:pt idx="690">
                  <c:v>44432</c:v>
                </c:pt>
                <c:pt idx="691">
                  <c:v>44433</c:v>
                </c:pt>
                <c:pt idx="692">
                  <c:v>44434</c:v>
                </c:pt>
                <c:pt idx="693">
                  <c:v>44435</c:v>
                </c:pt>
                <c:pt idx="694">
                  <c:v>44438</c:v>
                </c:pt>
                <c:pt idx="695">
                  <c:v>44439</c:v>
                </c:pt>
                <c:pt idx="696">
                  <c:v>44440</c:v>
                </c:pt>
                <c:pt idx="697">
                  <c:v>44441</c:v>
                </c:pt>
                <c:pt idx="698">
                  <c:v>44442</c:v>
                </c:pt>
                <c:pt idx="699">
                  <c:v>44445</c:v>
                </c:pt>
                <c:pt idx="700">
                  <c:v>44446</c:v>
                </c:pt>
                <c:pt idx="701">
                  <c:v>44447</c:v>
                </c:pt>
                <c:pt idx="702">
                  <c:v>44448</c:v>
                </c:pt>
                <c:pt idx="703">
                  <c:v>44449</c:v>
                </c:pt>
                <c:pt idx="704">
                  <c:v>44452</c:v>
                </c:pt>
                <c:pt idx="705">
                  <c:v>44453</c:v>
                </c:pt>
                <c:pt idx="706">
                  <c:v>44454</c:v>
                </c:pt>
                <c:pt idx="707">
                  <c:v>44455</c:v>
                </c:pt>
                <c:pt idx="708">
                  <c:v>44456</c:v>
                </c:pt>
                <c:pt idx="709">
                  <c:v>44459</c:v>
                </c:pt>
                <c:pt idx="710">
                  <c:v>44460</c:v>
                </c:pt>
                <c:pt idx="711">
                  <c:v>44461</c:v>
                </c:pt>
                <c:pt idx="712">
                  <c:v>44462</c:v>
                </c:pt>
                <c:pt idx="713">
                  <c:v>44463</c:v>
                </c:pt>
                <c:pt idx="714">
                  <c:v>44466</c:v>
                </c:pt>
                <c:pt idx="715">
                  <c:v>44467</c:v>
                </c:pt>
                <c:pt idx="716">
                  <c:v>44468</c:v>
                </c:pt>
                <c:pt idx="717">
                  <c:v>44469</c:v>
                </c:pt>
                <c:pt idx="718">
                  <c:v>44470</c:v>
                </c:pt>
                <c:pt idx="719">
                  <c:v>44473</c:v>
                </c:pt>
                <c:pt idx="720">
                  <c:v>44474</c:v>
                </c:pt>
                <c:pt idx="721">
                  <c:v>44475</c:v>
                </c:pt>
                <c:pt idx="722">
                  <c:v>44476</c:v>
                </c:pt>
                <c:pt idx="723">
                  <c:v>44477</c:v>
                </c:pt>
                <c:pt idx="724">
                  <c:v>44480</c:v>
                </c:pt>
                <c:pt idx="725">
                  <c:v>44481</c:v>
                </c:pt>
                <c:pt idx="726">
                  <c:v>44482</c:v>
                </c:pt>
                <c:pt idx="727">
                  <c:v>44483</c:v>
                </c:pt>
                <c:pt idx="728">
                  <c:v>44484</c:v>
                </c:pt>
                <c:pt idx="729">
                  <c:v>44487</c:v>
                </c:pt>
                <c:pt idx="730">
                  <c:v>44488</c:v>
                </c:pt>
                <c:pt idx="731">
                  <c:v>44489</c:v>
                </c:pt>
                <c:pt idx="732">
                  <c:v>44490</c:v>
                </c:pt>
                <c:pt idx="733">
                  <c:v>44491</c:v>
                </c:pt>
                <c:pt idx="734">
                  <c:v>44494</c:v>
                </c:pt>
                <c:pt idx="735">
                  <c:v>44495</c:v>
                </c:pt>
                <c:pt idx="736">
                  <c:v>44496</c:v>
                </c:pt>
                <c:pt idx="737">
                  <c:v>44497</c:v>
                </c:pt>
                <c:pt idx="738">
                  <c:v>44498</c:v>
                </c:pt>
                <c:pt idx="739">
                  <c:v>44501</c:v>
                </c:pt>
                <c:pt idx="740">
                  <c:v>44502</c:v>
                </c:pt>
                <c:pt idx="741">
                  <c:v>44503</c:v>
                </c:pt>
                <c:pt idx="742">
                  <c:v>44504</c:v>
                </c:pt>
                <c:pt idx="743">
                  <c:v>44505</c:v>
                </c:pt>
                <c:pt idx="744">
                  <c:v>44508</c:v>
                </c:pt>
                <c:pt idx="745">
                  <c:v>44509</c:v>
                </c:pt>
                <c:pt idx="746">
                  <c:v>44510</c:v>
                </c:pt>
                <c:pt idx="747">
                  <c:v>44511</c:v>
                </c:pt>
                <c:pt idx="748">
                  <c:v>44512</c:v>
                </c:pt>
                <c:pt idx="749">
                  <c:v>44515</c:v>
                </c:pt>
                <c:pt idx="750">
                  <c:v>44516</c:v>
                </c:pt>
                <c:pt idx="751">
                  <c:v>44517</c:v>
                </c:pt>
                <c:pt idx="752">
                  <c:v>44518</c:v>
                </c:pt>
                <c:pt idx="753">
                  <c:v>44519</c:v>
                </c:pt>
                <c:pt idx="754">
                  <c:v>44522</c:v>
                </c:pt>
                <c:pt idx="755">
                  <c:v>44523</c:v>
                </c:pt>
                <c:pt idx="756">
                  <c:v>44524</c:v>
                </c:pt>
                <c:pt idx="757">
                  <c:v>44525</c:v>
                </c:pt>
                <c:pt idx="758">
                  <c:v>44526</c:v>
                </c:pt>
                <c:pt idx="759">
                  <c:v>44529</c:v>
                </c:pt>
                <c:pt idx="760">
                  <c:v>44530</c:v>
                </c:pt>
                <c:pt idx="761">
                  <c:v>44531</c:v>
                </c:pt>
                <c:pt idx="762">
                  <c:v>44532</c:v>
                </c:pt>
                <c:pt idx="763">
                  <c:v>44533</c:v>
                </c:pt>
                <c:pt idx="764">
                  <c:v>44536</c:v>
                </c:pt>
                <c:pt idx="765">
                  <c:v>44537</c:v>
                </c:pt>
                <c:pt idx="766">
                  <c:v>44538</c:v>
                </c:pt>
                <c:pt idx="767">
                  <c:v>44539</c:v>
                </c:pt>
                <c:pt idx="768">
                  <c:v>44540</c:v>
                </c:pt>
                <c:pt idx="769">
                  <c:v>44543</c:v>
                </c:pt>
                <c:pt idx="770">
                  <c:v>44544</c:v>
                </c:pt>
                <c:pt idx="771">
                  <c:v>44545</c:v>
                </c:pt>
                <c:pt idx="772">
                  <c:v>44546</c:v>
                </c:pt>
                <c:pt idx="773">
                  <c:v>44547</c:v>
                </c:pt>
                <c:pt idx="774">
                  <c:v>44550</c:v>
                </c:pt>
                <c:pt idx="775">
                  <c:v>44551</c:v>
                </c:pt>
                <c:pt idx="776">
                  <c:v>44552</c:v>
                </c:pt>
                <c:pt idx="777">
                  <c:v>44553</c:v>
                </c:pt>
                <c:pt idx="778">
                  <c:v>44554</c:v>
                </c:pt>
                <c:pt idx="779">
                  <c:v>44557</c:v>
                </c:pt>
                <c:pt idx="780">
                  <c:v>44558</c:v>
                </c:pt>
                <c:pt idx="781">
                  <c:v>44559</c:v>
                </c:pt>
                <c:pt idx="782">
                  <c:v>44560</c:v>
                </c:pt>
                <c:pt idx="783">
                  <c:v>44561</c:v>
                </c:pt>
                <c:pt idx="784">
                  <c:v>44564</c:v>
                </c:pt>
                <c:pt idx="785">
                  <c:v>44565</c:v>
                </c:pt>
                <c:pt idx="786">
                  <c:v>44566</c:v>
                </c:pt>
                <c:pt idx="787">
                  <c:v>44567</c:v>
                </c:pt>
                <c:pt idx="788">
                  <c:v>44568</c:v>
                </c:pt>
                <c:pt idx="789">
                  <c:v>44571</c:v>
                </c:pt>
                <c:pt idx="790">
                  <c:v>44572</c:v>
                </c:pt>
                <c:pt idx="791">
                  <c:v>44573</c:v>
                </c:pt>
                <c:pt idx="792">
                  <c:v>44574</c:v>
                </c:pt>
                <c:pt idx="793">
                  <c:v>44575</c:v>
                </c:pt>
                <c:pt idx="794">
                  <c:v>44578</c:v>
                </c:pt>
                <c:pt idx="795">
                  <c:v>44579</c:v>
                </c:pt>
                <c:pt idx="796">
                  <c:v>44580</c:v>
                </c:pt>
                <c:pt idx="797">
                  <c:v>44581</c:v>
                </c:pt>
                <c:pt idx="798">
                  <c:v>44582</c:v>
                </c:pt>
                <c:pt idx="799">
                  <c:v>44585</c:v>
                </c:pt>
                <c:pt idx="800">
                  <c:v>44586</c:v>
                </c:pt>
                <c:pt idx="801">
                  <c:v>44587</c:v>
                </c:pt>
                <c:pt idx="802">
                  <c:v>44588</c:v>
                </c:pt>
                <c:pt idx="803">
                  <c:v>44589</c:v>
                </c:pt>
                <c:pt idx="804">
                  <c:v>44592</c:v>
                </c:pt>
                <c:pt idx="805">
                  <c:v>44593</c:v>
                </c:pt>
                <c:pt idx="806">
                  <c:v>44594</c:v>
                </c:pt>
                <c:pt idx="807">
                  <c:v>44595</c:v>
                </c:pt>
                <c:pt idx="808">
                  <c:v>44596</c:v>
                </c:pt>
                <c:pt idx="809">
                  <c:v>44599</c:v>
                </c:pt>
                <c:pt idx="810">
                  <c:v>44600</c:v>
                </c:pt>
                <c:pt idx="811">
                  <c:v>44601</c:v>
                </c:pt>
                <c:pt idx="812">
                  <c:v>44602</c:v>
                </c:pt>
                <c:pt idx="813">
                  <c:v>44603</c:v>
                </c:pt>
                <c:pt idx="814">
                  <c:v>44606</c:v>
                </c:pt>
                <c:pt idx="815">
                  <c:v>44607</c:v>
                </c:pt>
                <c:pt idx="816">
                  <c:v>44608</c:v>
                </c:pt>
                <c:pt idx="817">
                  <c:v>44609</c:v>
                </c:pt>
                <c:pt idx="818">
                  <c:v>44610</c:v>
                </c:pt>
                <c:pt idx="819">
                  <c:v>44613</c:v>
                </c:pt>
                <c:pt idx="820">
                  <c:v>44614</c:v>
                </c:pt>
                <c:pt idx="821">
                  <c:v>44615</c:v>
                </c:pt>
                <c:pt idx="822">
                  <c:v>44616</c:v>
                </c:pt>
                <c:pt idx="823">
                  <c:v>44617</c:v>
                </c:pt>
                <c:pt idx="824">
                  <c:v>44620</c:v>
                </c:pt>
                <c:pt idx="825">
                  <c:v>44621</c:v>
                </c:pt>
                <c:pt idx="826">
                  <c:v>44622</c:v>
                </c:pt>
                <c:pt idx="827">
                  <c:v>44623</c:v>
                </c:pt>
                <c:pt idx="828">
                  <c:v>44624</c:v>
                </c:pt>
                <c:pt idx="829">
                  <c:v>44627</c:v>
                </c:pt>
                <c:pt idx="830">
                  <c:v>44628</c:v>
                </c:pt>
                <c:pt idx="831">
                  <c:v>44629</c:v>
                </c:pt>
                <c:pt idx="832">
                  <c:v>44630</c:v>
                </c:pt>
                <c:pt idx="833">
                  <c:v>44631</c:v>
                </c:pt>
                <c:pt idx="834">
                  <c:v>44634</c:v>
                </c:pt>
                <c:pt idx="835">
                  <c:v>44635</c:v>
                </c:pt>
                <c:pt idx="836">
                  <c:v>44636</c:v>
                </c:pt>
                <c:pt idx="837">
                  <c:v>44637</c:v>
                </c:pt>
                <c:pt idx="838">
                  <c:v>44638</c:v>
                </c:pt>
                <c:pt idx="839">
                  <c:v>44641</c:v>
                </c:pt>
                <c:pt idx="840">
                  <c:v>44642</c:v>
                </c:pt>
                <c:pt idx="841">
                  <c:v>44643</c:v>
                </c:pt>
                <c:pt idx="842">
                  <c:v>44644</c:v>
                </c:pt>
                <c:pt idx="843">
                  <c:v>44645</c:v>
                </c:pt>
                <c:pt idx="844">
                  <c:v>44648</c:v>
                </c:pt>
                <c:pt idx="845">
                  <c:v>44649</c:v>
                </c:pt>
                <c:pt idx="846">
                  <c:v>44650</c:v>
                </c:pt>
                <c:pt idx="847">
                  <c:v>44651</c:v>
                </c:pt>
                <c:pt idx="848">
                  <c:v>44652</c:v>
                </c:pt>
                <c:pt idx="849">
                  <c:v>44655</c:v>
                </c:pt>
                <c:pt idx="850">
                  <c:v>44656</c:v>
                </c:pt>
                <c:pt idx="851">
                  <c:v>44657</c:v>
                </c:pt>
                <c:pt idx="852">
                  <c:v>44658</c:v>
                </c:pt>
                <c:pt idx="853">
                  <c:v>44659</c:v>
                </c:pt>
                <c:pt idx="854">
                  <c:v>44662</c:v>
                </c:pt>
                <c:pt idx="855">
                  <c:v>44663</c:v>
                </c:pt>
                <c:pt idx="856">
                  <c:v>44664</c:v>
                </c:pt>
                <c:pt idx="857">
                  <c:v>44665</c:v>
                </c:pt>
                <c:pt idx="858">
                  <c:v>44666</c:v>
                </c:pt>
                <c:pt idx="859">
                  <c:v>44669</c:v>
                </c:pt>
                <c:pt idx="860">
                  <c:v>44670</c:v>
                </c:pt>
                <c:pt idx="861">
                  <c:v>44671</c:v>
                </c:pt>
                <c:pt idx="862">
                  <c:v>44672</c:v>
                </c:pt>
                <c:pt idx="863">
                  <c:v>44673</c:v>
                </c:pt>
                <c:pt idx="864">
                  <c:v>44676</c:v>
                </c:pt>
                <c:pt idx="865">
                  <c:v>44677</c:v>
                </c:pt>
                <c:pt idx="866">
                  <c:v>44678</c:v>
                </c:pt>
                <c:pt idx="867">
                  <c:v>44679</c:v>
                </c:pt>
                <c:pt idx="868">
                  <c:v>44680</c:v>
                </c:pt>
                <c:pt idx="869">
                  <c:v>44683</c:v>
                </c:pt>
                <c:pt idx="870">
                  <c:v>44684</c:v>
                </c:pt>
                <c:pt idx="871">
                  <c:v>44685</c:v>
                </c:pt>
                <c:pt idx="872">
                  <c:v>44686</c:v>
                </c:pt>
                <c:pt idx="873">
                  <c:v>44687</c:v>
                </c:pt>
                <c:pt idx="874">
                  <c:v>44690</c:v>
                </c:pt>
                <c:pt idx="875">
                  <c:v>44691</c:v>
                </c:pt>
                <c:pt idx="876">
                  <c:v>44692</c:v>
                </c:pt>
                <c:pt idx="877">
                  <c:v>44693</c:v>
                </c:pt>
                <c:pt idx="878">
                  <c:v>44694</c:v>
                </c:pt>
                <c:pt idx="879">
                  <c:v>44697</c:v>
                </c:pt>
                <c:pt idx="880">
                  <c:v>44698</c:v>
                </c:pt>
                <c:pt idx="881">
                  <c:v>44699</c:v>
                </c:pt>
                <c:pt idx="882">
                  <c:v>44700</c:v>
                </c:pt>
                <c:pt idx="883">
                  <c:v>44701</c:v>
                </c:pt>
                <c:pt idx="884">
                  <c:v>44704</c:v>
                </c:pt>
                <c:pt idx="885">
                  <c:v>44705</c:v>
                </c:pt>
                <c:pt idx="886">
                  <c:v>44706</c:v>
                </c:pt>
                <c:pt idx="887">
                  <c:v>44707</c:v>
                </c:pt>
                <c:pt idx="888">
                  <c:v>44708</c:v>
                </c:pt>
                <c:pt idx="889">
                  <c:v>44711</c:v>
                </c:pt>
                <c:pt idx="890">
                  <c:v>44712</c:v>
                </c:pt>
                <c:pt idx="891">
                  <c:v>44713</c:v>
                </c:pt>
                <c:pt idx="892">
                  <c:v>44714</c:v>
                </c:pt>
                <c:pt idx="893">
                  <c:v>44715</c:v>
                </c:pt>
                <c:pt idx="894">
                  <c:v>44718</c:v>
                </c:pt>
                <c:pt idx="895">
                  <c:v>44719</c:v>
                </c:pt>
                <c:pt idx="896">
                  <c:v>44720</c:v>
                </c:pt>
                <c:pt idx="897">
                  <c:v>44721</c:v>
                </c:pt>
                <c:pt idx="898">
                  <c:v>44722</c:v>
                </c:pt>
                <c:pt idx="899">
                  <c:v>44725</c:v>
                </c:pt>
                <c:pt idx="900">
                  <c:v>44726</c:v>
                </c:pt>
                <c:pt idx="901">
                  <c:v>44727</c:v>
                </c:pt>
                <c:pt idx="902">
                  <c:v>44728</c:v>
                </c:pt>
                <c:pt idx="903">
                  <c:v>44729</c:v>
                </c:pt>
                <c:pt idx="904">
                  <c:v>44732</c:v>
                </c:pt>
                <c:pt idx="905">
                  <c:v>44733</c:v>
                </c:pt>
                <c:pt idx="906">
                  <c:v>44734</c:v>
                </c:pt>
                <c:pt idx="907">
                  <c:v>44735</c:v>
                </c:pt>
                <c:pt idx="908">
                  <c:v>44736</c:v>
                </c:pt>
                <c:pt idx="909">
                  <c:v>44739</c:v>
                </c:pt>
                <c:pt idx="910">
                  <c:v>44740</c:v>
                </c:pt>
                <c:pt idx="911">
                  <c:v>44741</c:v>
                </c:pt>
                <c:pt idx="912">
                  <c:v>44742</c:v>
                </c:pt>
                <c:pt idx="913">
                  <c:v>44743</c:v>
                </c:pt>
                <c:pt idx="914">
                  <c:v>44746</c:v>
                </c:pt>
                <c:pt idx="915">
                  <c:v>44747</c:v>
                </c:pt>
                <c:pt idx="916">
                  <c:v>44748</c:v>
                </c:pt>
                <c:pt idx="917">
                  <c:v>44749</c:v>
                </c:pt>
                <c:pt idx="918">
                  <c:v>44750</c:v>
                </c:pt>
                <c:pt idx="919">
                  <c:v>44753</c:v>
                </c:pt>
                <c:pt idx="920">
                  <c:v>44754</c:v>
                </c:pt>
                <c:pt idx="921">
                  <c:v>44755</c:v>
                </c:pt>
                <c:pt idx="922">
                  <c:v>44756</c:v>
                </c:pt>
                <c:pt idx="923">
                  <c:v>44757</c:v>
                </c:pt>
                <c:pt idx="924">
                  <c:v>44760</c:v>
                </c:pt>
                <c:pt idx="925">
                  <c:v>44761</c:v>
                </c:pt>
                <c:pt idx="926">
                  <c:v>44762</c:v>
                </c:pt>
                <c:pt idx="927">
                  <c:v>44763</c:v>
                </c:pt>
                <c:pt idx="928">
                  <c:v>44764</c:v>
                </c:pt>
                <c:pt idx="929">
                  <c:v>44767</c:v>
                </c:pt>
                <c:pt idx="930">
                  <c:v>44768</c:v>
                </c:pt>
                <c:pt idx="931">
                  <c:v>44769</c:v>
                </c:pt>
                <c:pt idx="932">
                  <c:v>44770</c:v>
                </c:pt>
                <c:pt idx="933">
                  <c:v>44771</c:v>
                </c:pt>
                <c:pt idx="934">
                  <c:v>44774</c:v>
                </c:pt>
                <c:pt idx="935">
                  <c:v>44775</c:v>
                </c:pt>
                <c:pt idx="936">
                  <c:v>44776</c:v>
                </c:pt>
                <c:pt idx="937">
                  <c:v>44777</c:v>
                </c:pt>
                <c:pt idx="938">
                  <c:v>44778</c:v>
                </c:pt>
                <c:pt idx="939">
                  <c:v>44781</c:v>
                </c:pt>
                <c:pt idx="940">
                  <c:v>44782</c:v>
                </c:pt>
                <c:pt idx="941">
                  <c:v>44783</c:v>
                </c:pt>
                <c:pt idx="942">
                  <c:v>44784</c:v>
                </c:pt>
                <c:pt idx="943">
                  <c:v>44785</c:v>
                </c:pt>
                <c:pt idx="944">
                  <c:v>44788</c:v>
                </c:pt>
                <c:pt idx="945">
                  <c:v>44789</c:v>
                </c:pt>
                <c:pt idx="946">
                  <c:v>44790</c:v>
                </c:pt>
                <c:pt idx="947">
                  <c:v>44791</c:v>
                </c:pt>
                <c:pt idx="948">
                  <c:v>44792</c:v>
                </c:pt>
                <c:pt idx="949">
                  <c:v>44795</c:v>
                </c:pt>
                <c:pt idx="950">
                  <c:v>44796</c:v>
                </c:pt>
                <c:pt idx="951">
                  <c:v>44797</c:v>
                </c:pt>
                <c:pt idx="952">
                  <c:v>44798</c:v>
                </c:pt>
                <c:pt idx="953">
                  <c:v>44799</c:v>
                </c:pt>
                <c:pt idx="954">
                  <c:v>44802</c:v>
                </c:pt>
                <c:pt idx="955">
                  <c:v>44803</c:v>
                </c:pt>
                <c:pt idx="956">
                  <c:v>44804</c:v>
                </c:pt>
                <c:pt idx="957">
                  <c:v>44805</c:v>
                </c:pt>
                <c:pt idx="958">
                  <c:v>44806</c:v>
                </c:pt>
                <c:pt idx="959">
                  <c:v>44809</c:v>
                </c:pt>
                <c:pt idx="960">
                  <c:v>44810</c:v>
                </c:pt>
                <c:pt idx="961">
                  <c:v>44811</c:v>
                </c:pt>
                <c:pt idx="962">
                  <c:v>44812</c:v>
                </c:pt>
                <c:pt idx="963">
                  <c:v>44813</c:v>
                </c:pt>
                <c:pt idx="964">
                  <c:v>44816</c:v>
                </c:pt>
                <c:pt idx="965">
                  <c:v>44817</c:v>
                </c:pt>
                <c:pt idx="966">
                  <c:v>44818</c:v>
                </c:pt>
                <c:pt idx="967">
                  <c:v>44819</c:v>
                </c:pt>
                <c:pt idx="968">
                  <c:v>44820</c:v>
                </c:pt>
                <c:pt idx="969">
                  <c:v>44823</c:v>
                </c:pt>
                <c:pt idx="970">
                  <c:v>44824</c:v>
                </c:pt>
                <c:pt idx="971">
                  <c:v>44825</c:v>
                </c:pt>
                <c:pt idx="972">
                  <c:v>44826</c:v>
                </c:pt>
                <c:pt idx="973">
                  <c:v>44827</c:v>
                </c:pt>
                <c:pt idx="974">
                  <c:v>44830</c:v>
                </c:pt>
                <c:pt idx="975">
                  <c:v>44831</c:v>
                </c:pt>
                <c:pt idx="976">
                  <c:v>44832</c:v>
                </c:pt>
                <c:pt idx="977">
                  <c:v>44833</c:v>
                </c:pt>
                <c:pt idx="978">
                  <c:v>44834</c:v>
                </c:pt>
                <c:pt idx="979">
                  <c:v>44837</c:v>
                </c:pt>
                <c:pt idx="980">
                  <c:v>44838</c:v>
                </c:pt>
                <c:pt idx="981">
                  <c:v>44839</c:v>
                </c:pt>
                <c:pt idx="982">
                  <c:v>44840</c:v>
                </c:pt>
                <c:pt idx="983">
                  <c:v>44841</c:v>
                </c:pt>
                <c:pt idx="984">
                  <c:v>44844</c:v>
                </c:pt>
                <c:pt idx="985">
                  <c:v>44845</c:v>
                </c:pt>
                <c:pt idx="986">
                  <c:v>44846</c:v>
                </c:pt>
                <c:pt idx="987">
                  <c:v>44847</c:v>
                </c:pt>
                <c:pt idx="988">
                  <c:v>44848</c:v>
                </c:pt>
                <c:pt idx="989">
                  <c:v>44851</c:v>
                </c:pt>
                <c:pt idx="990">
                  <c:v>44852</c:v>
                </c:pt>
                <c:pt idx="991">
                  <c:v>44853</c:v>
                </c:pt>
                <c:pt idx="992">
                  <c:v>44854</c:v>
                </c:pt>
                <c:pt idx="993">
                  <c:v>44855</c:v>
                </c:pt>
                <c:pt idx="994">
                  <c:v>44858</c:v>
                </c:pt>
                <c:pt idx="995">
                  <c:v>44859</c:v>
                </c:pt>
                <c:pt idx="996">
                  <c:v>44860</c:v>
                </c:pt>
                <c:pt idx="997">
                  <c:v>44861</c:v>
                </c:pt>
                <c:pt idx="998">
                  <c:v>44862</c:v>
                </c:pt>
                <c:pt idx="999">
                  <c:v>44865</c:v>
                </c:pt>
                <c:pt idx="1000">
                  <c:v>44866</c:v>
                </c:pt>
                <c:pt idx="1001">
                  <c:v>44867</c:v>
                </c:pt>
                <c:pt idx="1002">
                  <c:v>44868</c:v>
                </c:pt>
                <c:pt idx="1003">
                  <c:v>44869</c:v>
                </c:pt>
                <c:pt idx="1004">
                  <c:v>44872</c:v>
                </c:pt>
                <c:pt idx="1005">
                  <c:v>44873</c:v>
                </c:pt>
                <c:pt idx="1006">
                  <c:v>44874</c:v>
                </c:pt>
                <c:pt idx="1007">
                  <c:v>44875</c:v>
                </c:pt>
                <c:pt idx="1008">
                  <c:v>44876</c:v>
                </c:pt>
                <c:pt idx="1009">
                  <c:v>44879</c:v>
                </c:pt>
                <c:pt idx="1010">
                  <c:v>44880</c:v>
                </c:pt>
                <c:pt idx="1011">
                  <c:v>44881</c:v>
                </c:pt>
                <c:pt idx="1012">
                  <c:v>44882</c:v>
                </c:pt>
                <c:pt idx="1013">
                  <c:v>44883</c:v>
                </c:pt>
                <c:pt idx="1014">
                  <c:v>44886</c:v>
                </c:pt>
                <c:pt idx="1015">
                  <c:v>44887</c:v>
                </c:pt>
                <c:pt idx="1016">
                  <c:v>44888</c:v>
                </c:pt>
                <c:pt idx="1017">
                  <c:v>44889</c:v>
                </c:pt>
                <c:pt idx="1018">
                  <c:v>44890</c:v>
                </c:pt>
                <c:pt idx="1019">
                  <c:v>44893</c:v>
                </c:pt>
                <c:pt idx="1020">
                  <c:v>44894</c:v>
                </c:pt>
                <c:pt idx="1021">
                  <c:v>44895</c:v>
                </c:pt>
                <c:pt idx="1022">
                  <c:v>44896</c:v>
                </c:pt>
                <c:pt idx="1023">
                  <c:v>44897</c:v>
                </c:pt>
                <c:pt idx="1024">
                  <c:v>44900</c:v>
                </c:pt>
                <c:pt idx="1025">
                  <c:v>44901</c:v>
                </c:pt>
                <c:pt idx="1026">
                  <c:v>44902</c:v>
                </c:pt>
                <c:pt idx="1027">
                  <c:v>44903</c:v>
                </c:pt>
                <c:pt idx="1028">
                  <c:v>44904</c:v>
                </c:pt>
                <c:pt idx="1029">
                  <c:v>44907</c:v>
                </c:pt>
                <c:pt idx="1030">
                  <c:v>44908</c:v>
                </c:pt>
                <c:pt idx="1031">
                  <c:v>44909</c:v>
                </c:pt>
                <c:pt idx="1032">
                  <c:v>44910</c:v>
                </c:pt>
                <c:pt idx="1033">
                  <c:v>44911</c:v>
                </c:pt>
                <c:pt idx="1034">
                  <c:v>44914</c:v>
                </c:pt>
                <c:pt idx="1035">
                  <c:v>44915</c:v>
                </c:pt>
                <c:pt idx="1036">
                  <c:v>44916</c:v>
                </c:pt>
                <c:pt idx="1037">
                  <c:v>44917</c:v>
                </c:pt>
                <c:pt idx="1038">
                  <c:v>44918</c:v>
                </c:pt>
                <c:pt idx="1039">
                  <c:v>44921</c:v>
                </c:pt>
                <c:pt idx="1040">
                  <c:v>44922</c:v>
                </c:pt>
                <c:pt idx="1041">
                  <c:v>44923</c:v>
                </c:pt>
                <c:pt idx="1042">
                  <c:v>44924</c:v>
                </c:pt>
                <c:pt idx="1043">
                  <c:v>44925</c:v>
                </c:pt>
                <c:pt idx="1044">
                  <c:v>44928</c:v>
                </c:pt>
                <c:pt idx="1045">
                  <c:v>44929</c:v>
                </c:pt>
                <c:pt idx="1046">
                  <c:v>44930</c:v>
                </c:pt>
                <c:pt idx="1047">
                  <c:v>44931</c:v>
                </c:pt>
                <c:pt idx="1048">
                  <c:v>44932</c:v>
                </c:pt>
                <c:pt idx="1049">
                  <c:v>44935</c:v>
                </c:pt>
                <c:pt idx="1050">
                  <c:v>44936</c:v>
                </c:pt>
                <c:pt idx="1051">
                  <c:v>44937</c:v>
                </c:pt>
                <c:pt idx="1052">
                  <c:v>44938</c:v>
                </c:pt>
                <c:pt idx="1053">
                  <c:v>44939</c:v>
                </c:pt>
                <c:pt idx="1054">
                  <c:v>44942</c:v>
                </c:pt>
                <c:pt idx="1055">
                  <c:v>44943</c:v>
                </c:pt>
                <c:pt idx="1056">
                  <c:v>44944</c:v>
                </c:pt>
                <c:pt idx="1057">
                  <c:v>44945</c:v>
                </c:pt>
                <c:pt idx="1058">
                  <c:v>44946</c:v>
                </c:pt>
                <c:pt idx="1059">
                  <c:v>44949</c:v>
                </c:pt>
                <c:pt idx="1060">
                  <c:v>44950</c:v>
                </c:pt>
                <c:pt idx="1061">
                  <c:v>44951</c:v>
                </c:pt>
                <c:pt idx="1062">
                  <c:v>44952</c:v>
                </c:pt>
                <c:pt idx="1063">
                  <c:v>44953</c:v>
                </c:pt>
                <c:pt idx="1064">
                  <c:v>44956</c:v>
                </c:pt>
                <c:pt idx="1065">
                  <c:v>44957</c:v>
                </c:pt>
                <c:pt idx="1066">
                  <c:v>44958</c:v>
                </c:pt>
                <c:pt idx="1067">
                  <c:v>44959</c:v>
                </c:pt>
                <c:pt idx="1068">
                  <c:v>44960</c:v>
                </c:pt>
                <c:pt idx="1069">
                  <c:v>44963</c:v>
                </c:pt>
                <c:pt idx="1070">
                  <c:v>44964</c:v>
                </c:pt>
                <c:pt idx="1071">
                  <c:v>44965</c:v>
                </c:pt>
                <c:pt idx="1072">
                  <c:v>44966</c:v>
                </c:pt>
                <c:pt idx="1073">
                  <c:v>44967</c:v>
                </c:pt>
                <c:pt idx="1074">
                  <c:v>44970</c:v>
                </c:pt>
                <c:pt idx="1075">
                  <c:v>44971</c:v>
                </c:pt>
                <c:pt idx="1076">
                  <c:v>44972</c:v>
                </c:pt>
                <c:pt idx="1077">
                  <c:v>44973</c:v>
                </c:pt>
                <c:pt idx="1078">
                  <c:v>44974</c:v>
                </c:pt>
                <c:pt idx="1079">
                  <c:v>44977</c:v>
                </c:pt>
                <c:pt idx="1080">
                  <c:v>44978</c:v>
                </c:pt>
                <c:pt idx="1081">
                  <c:v>44979</c:v>
                </c:pt>
                <c:pt idx="1082">
                  <c:v>44980</c:v>
                </c:pt>
                <c:pt idx="1083">
                  <c:v>44981</c:v>
                </c:pt>
                <c:pt idx="1084">
                  <c:v>44984</c:v>
                </c:pt>
                <c:pt idx="1085">
                  <c:v>44985</c:v>
                </c:pt>
                <c:pt idx="1086">
                  <c:v>44986</c:v>
                </c:pt>
                <c:pt idx="1087">
                  <c:v>44987</c:v>
                </c:pt>
                <c:pt idx="1088">
                  <c:v>44988</c:v>
                </c:pt>
                <c:pt idx="1089">
                  <c:v>44991</c:v>
                </c:pt>
                <c:pt idx="1090">
                  <c:v>44992</c:v>
                </c:pt>
                <c:pt idx="1091">
                  <c:v>44993</c:v>
                </c:pt>
                <c:pt idx="1092">
                  <c:v>44994</c:v>
                </c:pt>
                <c:pt idx="1093">
                  <c:v>44995</c:v>
                </c:pt>
                <c:pt idx="1094">
                  <c:v>44998</c:v>
                </c:pt>
                <c:pt idx="1095">
                  <c:v>44999</c:v>
                </c:pt>
                <c:pt idx="1096">
                  <c:v>45000</c:v>
                </c:pt>
                <c:pt idx="1097">
                  <c:v>45001</c:v>
                </c:pt>
                <c:pt idx="1098">
                  <c:v>45002</c:v>
                </c:pt>
                <c:pt idx="1099">
                  <c:v>45005</c:v>
                </c:pt>
                <c:pt idx="1100">
                  <c:v>45006</c:v>
                </c:pt>
                <c:pt idx="1101">
                  <c:v>45007</c:v>
                </c:pt>
                <c:pt idx="1102">
                  <c:v>45008</c:v>
                </c:pt>
                <c:pt idx="1103">
                  <c:v>45009</c:v>
                </c:pt>
                <c:pt idx="1104">
                  <c:v>45012</c:v>
                </c:pt>
                <c:pt idx="1105">
                  <c:v>45013</c:v>
                </c:pt>
                <c:pt idx="1106">
                  <c:v>45014</c:v>
                </c:pt>
                <c:pt idx="1107">
                  <c:v>45015</c:v>
                </c:pt>
                <c:pt idx="1108">
                  <c:v>45016</c:v>
                </c:pt>
                <c:pt idx="1109">
                  <c:v>45019</c:v>
                </c:pt>
                <c:pt idx="1110">
                  <c:v>45020</c:v>
                </c:pt>
                <c:pt idx="1111">
                  <c:v>45021</c:v>
                </c:pt>
                <c:pt idx="1112">
                  <c:v>45022</c:v>
                </c:pt>
                <c:pt idx="1113">
                  <c:v>45023</c:v>
                </c:pt>
                <c:pt idx="1114">
                  <c:v>45026</c:v>
                </c:pt>
                <c:pt idx="1115">
                  <c:v>45027</c:v>
                </c:pt>
                <c:pt idx="1116">
                  <c:v>45028</c:v>
                </c:pt>
                <c:pt idx="1117">
                  <c:v>45029</c:v>
                </c:pt>
                <c:pt idx="1118">
                  <c:v>45030</c:v>
                </c:pt>
                <c:pt idx="1119">
                  <c:v>45033</c:v>
                </c:pt>
                <c:pt idx="1120">
                  <c:v>45034</c:v>
                </c:pt>
                <c:pt idx="1121">
                  <c:v>45035</c:v>
                </c:pt>
                <c:pt idx="1122">
                  <c:v>45036</c:v>
                </c:pt>
                <c:pt idx="1123">
                  <c:v>45037</c:v>
                </c:pt>
                <c:pt idx="1124">
                  <c:v>45040</c:v>
                </c:pt>
                <c:pt idx="1125">
                  <c:v>45041</c:v>
                </c:pt>
                <c:pt idx="1126">
                  <c:v>45042</c:v>
                </c:pt>
                <c:pt idx="1127">
                  <c:v>45043</c:v>
                </c:pt>
                <c:pt idx="1128">
                  <c:v>45044</c:v>
                </c:pt>
                <c:pt idx="1129">
                  <c:v>45047</c:v>
                </c:pt>
                <c:pt idx="1130">
                  <c:v>45048</c:v>
                </c:pt>
                <c:pt idx="1131">
                  <c:v>45049</c:v>
                </c:pt>
                <c:pt idx="1132">
                  <c:v>45050</c:v>
                </c:pt>
                <c:pt idx="1133">
                  <c:v>45051</c:v>
                </c:pt>
                <c:pt idx="1134">
                  <c:v>45054</c:v>
                </c:pt>
                <c:pt idx="1135">
                  <c:v>45055</c:v>
                </c:pt>
                <c:pt idx="1136">
                  <c:v>45056</c:v>
                </c:pt>
                <c:pt idx="1137">
                  <c:v>45057</c:v>
                </c:pt>
                <c:pt idx="1138">
                  <c:v>45058</c:v>
                </c:pt>
                <c:pt idx="1139">
                  <c:v>45061</c:v>
                </c:pt>
                <c:pt idx="1140">
                  <c:v>45062</c:v>
                </c:pt>
                <c:pt idx="1141">
                  <c:v>45063</c:v>
                </c:pt>
                <c:pt idx="1142">
                  <c:v>45064</c:v>
                </c:pt>
                <c:pt idx="1143">
                  <c:v>45065</c:v>
                </c:pt>
                <c:pt idx="1144">
                  <c:v>45068</c:v>
                </c:pt>
                <c:pt idx="1145">
                  <c:v>45069</c:v>
                </c:pt>
                <c:pt idx="1146">
                  <c:v>45070</c:v>
                </c:pt>
                <c:pt idx="1147">
                  <c:v>45071</c:v>
                </c:pt>
                <c:pt idx="1148">
                  <c:v>45072</c:v>
                </c:pt>
                <c:pt idx="1149">
                  <c:v>45075</c:v>
                </c:pt>
                <c:pt idx="1150">
                  <c:v>45076</c:v>
                </c:pt>
                <c:pt idx="1151">
                  <c:v>45077</c:v>
                </c:pt>
                <c:pt idx="1152">
                  <c:v>45078</c:v>
                </c:pt>
                <c:pt idx="1153">
                  <c:v>45079</c:v>
                </c:pt>
                <c:pt idx="1154">
                  <c:v>45082</c:v>
                </c:pt>
                <c:pt idx="1155">
                  <c:v>45083</c:v>
                </c:pt>
                <c:pt idx="1156">
                  <c:v>45084</c:v>
                </c:pt>
                <c:pt idx="1157">
                  <c:v>45085</c:v>
                </c:pt>
                <c:pt idx="1158">
                  <c:v>45086</c:v>
                </c:pt>
                <c:pt idx="1159">
                  <c:v>45089</c:v>
                </c:pt>
                <c:pt idx="1160">
                  <c:v>45090</c:v>
                </c:pt>
                <c:pt idx="1161">
                  <c:v>45091</c:v>
                </c:pt>
                <c:pt idx="1162">
                  <c:v>45092</c:v>
                </c:pt>
                <c:pt idx="1163">
                  <c:v>45093</c:v>
                </c:pt>
                <c:pt idx="1164">
                  <c:v>45096</c:v>
                </c:pt>
                <c:pt idx="1165">
                  <c:v>45097</c:v>
                </c:pt>
                <c:pt idx="1166">
                  <c:v>45098</c:v>
                </c:pt>
                <c:pt idx="1167">
                  <c:v>45099</c:v>
                </c:pt>
                <c:pt idx="1168">
                  <c:v>45100</c:v>
                </c:pt>
                <c:pt idx="1169">
                  <c:v>45103</c:v>
                </c:pt>
                <c:pt idx="1170">
                  <c:v>45104</c:v>
                </c:pt>
                <c:pt idx="1171">
                  <c:v>45105</c:v>
                </c:pt>
                <c:pt idx="1172">
                  <c:v>45106</c:v>
                </c:pt>
                <c:pt idx="1173">
                  <c:v>45107</c:v>
                </c:pt>
                <c:pt idx="1174">
                  <c:v>45110</c:v>
                </c:pt>
                <c:pt idx="1175">
                  <c:v>45111</c:v>
                </c:pt>
                <c:pt idx="1176">
                  <c:v>45112</c:v>
                </c:pt>
                <c:pt idx="1177">
                  <c:v>45113</c:v>
                </c:pt>
                <c:pt idx="1178">
                  <c:v>45114</c:v>
                </c:pt>
                <c:pt idx="1179">
                  <c:v>45117</c:v>
                </c:pt>
                <c:pt idx="1180">
                  <c:v>45118</c:v>
                </c:pt>
                <c:pt idx="1181">
                  <c:v>45119</c:v>
                </c:pt>
                <c:pt idx="1182">
                  <c:v>45120</c:v>
                </c:pt>
                <c:pt idx="1183">
                  <c:v>45121</c:v>
                </c:pt>
                <c:pt idx="1184">
                  <c:v>45124</c:v>
                </c:pt>
                <c:pt idx="1185">
                  <c:v>45125</c:v>
                </c:pt>
                <c:pt idx="1186">
                  <c:v>45126</c:v>
                </c:pt>
                <c:pt idx="1187">
                  <c:v>45127</c:v>
                </c:pt>
                <c:pt idx="1188">
                  <c:v>45128</c:v>
                </c:pt>
                <c:pt idx="1189">
                  <c:v>45131</c:v>
                </c:pt>
                <c:pt idx="1190">
                  <c:v>45132</c:v>
                </c:pt>
                <c:pt idx="1191">
                  <c:v>45133</c:v>
                </c:pt>
                <c:pt idx="1192">
                  <c:v>45134</c:v>
                </c:pt>
                <c:pt idx="1193">
                  <c:v>45135</c:v>
                </c:pt>
                <c:pt idx="1194">
                  <c:v>45138</c:v>
                </c:pt>
                <c:pt idx="1195">
                  <c:v>45139</c:v>
                </c:pt>
                <c:pt idx="1196">
                  <c:v>45140</c:v>
                </c:pt>
                <c:pt idx="1197">
                  <c:v>45141</c:v>
                </c:pt>
                <c:pt idx="1198">
                  <c:v>45142</c:v>
                </c:pt>
                <c:pt idx="1199">
                  <c:v>45145</c:v>
                </c:pt>
                <c:pt idx="1200">
                  <c:v>45146</c:v>
                </c:pt>
                <c:pt idx="1201">
                  <c:v>45147</c:v>
                </c:pt>
                <c:pt idx="1202">
                  <c:v>45148</c:v>
                </c:pt>
                <c:pt idx="1203">
                  <c:v>45149</c:v>
                </c:pt>
                <c:pt idx="1204">
                  <c:v>45152</c:v>
                </c:pt>
                <c:pt idx="1205">
                  <c:v>45153</c:v>
                </c:pt>
                <c:pt idx="1206">
                  <c:v>45154</c:v>
                </c:pt>
                <c:pt idx="1207">
                  <c:v>45155</c:v>
                </c:pt>
                <c:pt idx="1208">
                  <c:v>45156</c:v>
                </c:pt>
                <c:pt idx="1209">
                  <c:v>45159</c:v>
                </c:pt>
                <c:pt idx="1210">
                  <c:v>45160</c:v>
                </c:pt>
                <c:pt idx="1211">
                  <c:v>45161</c:v>
                </c:pt>
                <c:pt idx="1212">
                  <c:v>45162</c:v>
                </c:pt>
                <c:pt idx="1213">
                  <c:v>45163</c:v>
                </c:pt>
                <c:pt idx="1214">
                  <c:v>45166</c:v>
                </c:pt>
                <c:pt idx="1215">
                  <c:v>45167</c:v>
                </c:pt>
                <c:pt idx="1216">
                  <c:v>45168</c:v>
                </c:pt>
                <c:pt idx="1217">
                  <c:v>45169</c:v>
                </c:pt>
                <c:pt idx="1218">
                  <c:v>45170</c:v>
                </c:pt>
                <c:pt idx="1219">
                  <c:v>45173</c:v>
                </c:pt>
                <c:pt idx="1220">
                  <c:v>45174</c:v>
                </c:pt>
                <c:pt idx="1221">
                  <c:v>45175</c:v>
                </c:pt>
                <c:pt idx="1222">
                  <c:v>45176</c:v>
                </c:pt>
                <c:pt idx="1223">
                  <c:v>45177</c:v>
                </c:pt>
                <c:pt idx="1224">
                  <c:v>45180</c:v>
                </c:pt>
                <c:pt idx="1225">
                  <c:v>45181</c:v>
                </c:pt>
                <c:pt idx="1226">
                  <c:v>45182</c:v>
                </c:pt>
                <c:pt idx="1227">
                  <c:v>45183</c:v>
                </c:pt>
                <c:pt idx="1228">
                  <c:v>45184</c:v>
                </c:pt>
                <c:pt idx="1229">
                  <c:v>45187</c:v>
                </c:pt>
                <c:pt idx="1230">
                  <c:v>45188</c:v>
                </c:pt>
                <c:pt idx="1231">
                  <c:v>45189</c:v>
                </c:pt>
                <c:pt idx="1232">
                  <c:v>45190</c:v>
                </c:pt>
                <c:pt idx="1233">
                  <c:v>45191</c:v>
                </c:pt>
                <c:pt idx="1234">
                  <c:v>45194</c:v>
                </c:pt>
                <c:pt idx="1235">
                  <c:v>45195</c:v>
                </c:pt>
                <c:pt idx="1236">
                  <c:v>45196</c:v>
                </c:pt>
                <c:pt idx="1237">
                  <c:v>45197</c:v>
                </c:pt>
                <c:pt idx="1238">
                  <c:v>45198</c:v>
                </c:pt>
                <c:pt idx="1239">
                  <c:v>45201</c:v>
                </c:pt>
                <c:pt idx="1240">
                  <c:v>45202</c:v>
                </c:pt>
                <c:pt idx="1241">
                  <c:v>45203</c:v>
                </c:pt>
                <c:pt idx="1242">
                  <c:v>45204</c:v>
                </c:pt>
                <c:pt idx="1243">
                  <c:v>45205</c:v>
                </c:pt>
                <c:pt idx="1244">
                  <c:v>45208</c:v>
                </c:pt>
                <c:pt idx="1245">
                  <c:v>45209</c:v>
                </c:pt>
                <c:pt idx="1246">
                  <c:v>45210</c:v>
                </c:pt>
                <c:pt idx="1247">
                  <c:v>45211</c:v>
                </c:pt>
                <c:pt idx="1248">
                  <c:v>45212</c:v>
                </c:pt>
                <c:pt idx="1249">
                  <c:v>45215</c:v>
                </c:pt>
                <c:pt idx="1250">
                  <c:v>45216</c:v>
                </c:pt>
                <c:pt idx="1251">
                  <c:v>45217</c:v>
                </c:pt>
                <c:pt idx="1252">
                  <c:v>45218</c:v>
                </c:pt>
                <c:pt idx="1253">
                  <c:v>45219</c:v>
                </c:pt>
                <c:pt idx="1254">
                  <c:v>45222</c:v>
                </c:pt>
                <c:pt idx="1255">
                  <c:v>45223</c:v>
                </c:pt>
                <c:pt idx="1256">
                  <c:v>45224</c:v>
                </c:pt>
                <c:pt idx="1257">
                  <c:v>45225</c:v>
                </c:pt>
                <c:pt idx="1258">
                  <c:v>45226</c:v>
                </c:pt>
                <c:pt idx="1259">
                  <c:v>45229</c:v>
                </c:pt>
                <c:pt idx="1260">
                  <c:v>45230</c:v>
                </c:pt>
                <c:pt idx="1261">
                  <c:v>45231</c:v>
                </c:pt>
                <c:pt idx="1262">
                  <c:v>45232</c:v>
                </c:pt>
                <c:pt idx="1263">
                  <c:v>45233</c:v>
                </c:pt>
                <c:pt idx="1264">
                  <c:v>45236</c:v>
                </c:pt>
                <c:pt idx="1265">
                  <c:v>45237</c:v>
                </c:pt>
                <c:pt idx="1266">
                  <c:v>45238</c:v>
                </c:pt>
                <c:pt idx="1267">
                  <c:v>45239</c:v>
                </c:pt>
                <c:pt idx="1268">
                  <c:v>45240</c:v>
                </c:pt>
                <c:pt idx="1269">
                  <c:v>45243</c:v>
                </c:pt>
                <c:pt idx="1270">
                  <c:v>45244</c:v>
                </c:pt>
                <c:pt idx="1271">
                  <c:v>45245</c:v>
                </c:pt>
                <c:pt idx="1272">
                  <c:v>45246</c:v>
                </c:pt>
                <c:pt idx="1273">
                  <c:v>45247</c:v>
                </c:pt>
                <c:pt idx="1274">
                  <c:v>45250</c:v>
                </c:pt>
                <c:pt idx="1275">
                  <c:v>45251</c:v>
                </c:pt>
                <c:pt idx="1276">
                  <c:v>45252</c:v>
                </c:pt>
                <c:pt idx="1277">
                  <c:v>45253</c:v>
                </c:pt>
                <c:pt idx="1278">
                  <c:v>45254</c:v>
                </c:pt>
                <c:pt idx="1279">
                  <c:v>45257</c:v>
                </c:pt>
                <c:pt idx="1280">
                  <c:v>45258</c:v>
                </c:pt>
                <c:pt idx="1281">
                  <c:v>45259</c:v>
                </c:pt>
                <c:pt idx="1282">
                  <c:v>45260</c:v>
                </c:pt>
                <c:pt idx="1283">
                  <c:v>45261</c:v>
                </c:pt>
                <c:pt idx="1284">
                  <c:v>45264</c:v>
                </c:pt>
                <c:pt idx="1285">
                  <c:v>45265</c:v>
                </c:pt>
                <c:pt idx="1286">
                  <c:v>45266</c:v>
                </c:pt>
                <c:pt idx="1287">
                  <c:v>45267</c:v>
                </c:pt>
                <c:pt idx="1288">
                  <c:v>45268</c:v>
                </c:pt>
                <c:pt idx="1289">
                  <c:v>45271</c:v>
                </c:pt>
                <c:pt idx="1290">
                  <c:v>45272</c:v>
                </c:pt>
                <c:pt idx="1291">
                  <c:v>45273</c:v>
                </c:pt>
                <c:pt idx="1292">
                  <c:v>45274</c:v>
                </c:pt>
                <c:pt idx="1293">
                  <c:v>45275</c:v>
                </c:pt>
                <c:pt idx="1294">
                  <c:v>45278</c:v>
                </c:pt>
                <c:pt idx="1295">
                  <c:v>45279</c:v>
                </c:pt>
                <c:pt idx="1296">
                  <c:v>45280</c:v>
                </c:pt>
                <c:pt idx="1297">
                  <c:v>45281</c:v>
                </c:pt>
                <c:pt idx="1298">
                  <c:v>45282</c:v>
                </c:pt>
                <c:pt idx="1299">
                  <c:v>45285</c:v>
                </c:pt>
                <c:pt idx="1300">
                  <c:v>45286</c:v>
                </c:pt>
                <c:pt idx="1301">
                  <c:v>45287</c:v>
                </c:pt>
                <c:pt idx="1302">
                  <c:v>45288</c:v>
                </c:pt>
                <c:pt idx="1303">
                  <c:v>45289</c:v>
                </c:pt>
                <c:pt idx="1304">
                  <c:v>45292</c:v>
                </c:pt>
                <c:pt idx="1305">
                  <c:v>45293</c:v>
                </c:pt>
                <c:pt idx="1306">
                  <c:v>45294</c:v>
                </c:pt>
                <c:pt idx="1307">
                  <c:v>45295</c:v>
                </c:pt>
                <c:pt idx="1308">
                  <c:v>45296</c:v>
                </c:pt>
                <c:pt idx="1309">
                  <c:v>45299</c:v>
                </c:pt>
                <c:pt idx="1310">
                  <c:v>45300</c:v>
                </c:pt>
                <c:pt idx="1311">
                  <c:v>45301</c:v>
                </c:pt>
                <c:pt idx="1312">
                  <c:v>45302</c:v>
                </c:pt>
                <c:pt idx="1313">
                  <c:v>45303</c:v>
                </c:pt>
                <c:pt idx="1314">
                  <c:v>45306</c:v>
                </c:pt>
                <c:pt idx="1315">
                  <c:v>45307</c:v>
                </c:pt>
                <c:pt idx="1316">
                  <c:v>45308</c:v>
                </c:pt>
                <c:pt idx="1317">
                  <c:v>45309</c:v>
                </c:pt>
                <c:pt idx="1318">
                  <c:v>45310</c:v>
                </c:pt>
                <c:pt idx="1319">
                  <c:v>45313</c:v>
                </c:pt>
                <c:pt idx="1320">
                  <c:v>45314</c:v>
                </c:pt>
                <c:pt idx="1321">
                  <c:v>45315</c:v>
                </c:pt>
                <c:pt idx="1322">
                  <c:v>45316</c:v>
                </c:pt>
                <c:pt idx="1323">
                  <c:v>45317</c:v>
                </c:pt>
                <c:pt idx="1324">
                  <c:v>45320</c:v>
                </c:pt>
                <c:pt idx="1325">
                  <c:v>45321</c:v>
                </c:pt>
                <c:pt idx="1326">
                  <c:v>45322</c:v>
                </c:pt>
                <c:pt idx="1327">
                  <c:v>45323</c:v>
                </c:pt>
                <c:pt idx="1328">
                  <c:v>45324</c:v>
                </c:pt>
                <c:pt idx="1329">
                  <c:v>45327</c:v>
                </c:pt>
                <c:pt idx="1330">
                  <c:v>45328</c:v>
                </c:pt>
                <c:pt idx="1331">
                  <c:v>45329</c:v>
                </c:pt>
                <c:pt idx="1332">
                  <c:v>45330</c:v>
                </c:pt>
                <c:pt idx="1333">
                  <c:v>45331</c:v>
                </c:pt>
                <c:pt idx="1334">
                  <c:v>45334</c:v>
                </c:pt>
                <c:pt idx="1335">
                  <c:v>45335</c:v>
                </c:pt>
                <c:pt idx="1336">
                  <c:v>45336</c:v>
                </c:pt>
                <c:pt idx="1337">
                  <c:v>45337</c:v>
                </c:pt>
                <c:pt idx="1338">
                  <c:v>45338</c:v>
                </c:pt>
                <c:pt idx="1339">
                  <c:v>45341</c:v>
                </c:pt>
                <c:pt idx="1340">
                  <c:v>45342</c:v>
                </c:pt>
                <c:pt idx="1341">
                  <c:v>45343</c:v>
                </c:pt>
                <c:pt idx="1342">
                  <c:v>45344</c:v>
                </c:pt>
                <c:pt idx="1343">
                  <c:v>45345</c:v>
                </c:pt>
                <c:pt idx="1344">
                  <c:v>45348</c:v>
                </c:pt>
                <c:pt idx="1345">
                  <c:v>45349</c:v>
                </c:pt>
                <c:pt idx="1346">
                  <c:v>45350</c:v>
                </c:pt>
                <c:pt idx="1347">
                  <c:v>45351</c:v>
                </c:pt>
                <c:pt idx="1348">
                  <c:v>45352</c:v>
                </c:pt>
                <c:pt idx="1349">
                  <c:v>45355</c:v>
                </c:pt>
                <c:pt idx="1350">
                  <c:v>45356</c:v>
                </c:pt>
                <c:pt idx="1351">
                  <c:v>45357</c:v>
                </c:pt>
                <c:pt idx="1352">
                  <c:v>45358</c:v>
                </c:pt>
                <c:pt idx="1353">
                  <c:v>45359</c:v>
                </c:pt>
                <c:pt idx="1354">
                  <c:v>45362</c:v>
                </c:pt>
                <c:pt idx="1355">
                  <c:v>45363</c:v>
                </c:pt>
                <c:pt idx="1356">
                  <c:v>45364</c:v>
                </c:pt>
                <c:pt idx="1357">
                  <c:v>45365</c:v>
                </c:pt>
                <c:pt idx="1358">
                  <c:v>45366</c:v>
                </c:pt>
                <c:pt idx="1359">
                  <c:v>45369</c:v>
                </c:pt>
                <c:pt idx="1360">
                  <c:v>45370</c:v>
                </c:pt>
                <c:pt idx="1361">
                  <c:v>45371</c:v>
                </c:pt>
                <c:pt idx="1362">
                  <c:v>45372</c:v>
                </c:pt>
                <c:pt idx="1363">
                  <c:v>45373</c:v>
                </c:pt>
                <c:pt idx="1364">
                  <c:v>45376</c:v>
                </c:pt>
                <c:pt idx="1365">
                  <c:v>45377</c:v>
                </c:pt>
                <c:pt idx="1366">
                  <c:v>45378</c:v>
                </c:pt>
                <c:pt idx="1367">
                  <c:v>45379</c:v>
                </c:pt>
                <c:pt idx="1368">
                  <c:v>45380</c:v>
                </c:pt>
                <c:pt idx="1369">
                  <c:v>45383</c:v>
                </c:pt>
                <c:pt idx="1370">
                  <c:v>45384</c:v>
                </c:pt>
                <c:pt idx="1371">
                  <c:v>45385</c:v>
                </c:pt>
                <c:pt idx="1372">
                  <c:v>45386</c:v>
                </c:pt>
                <c:pt idx="1373">
                  <c:v>45387</c:v>
                </c:pt>
                <c:pt idx="1374">
                  <c:v>45390</c:v>
                </c:pt>
                <c:pt idx="1375">
                  <c:v>45391</c:v>
                </c:pt>
                <c:pt idx="1376">
                  <c:v>45392</c:v>
                </c:pt>
                <c:pt idx="1377">
                  <c:v>45393</c:v>
                </c:pt>
                <c:pt idx="1378">
                  <c:v>45394</c:v>
                </c:pt>
                <c:pt idx="1379">
                  <c:v>45397</c:v>
                </c:pt>
                <c:pt idx="1380">
                  <c:v>45398</c:v>
                </c:pt>
                <c:pt idx="1381">
                  <c:v>45399</c:v>
                </c:pt>
                <c:pt idx="1382">
                  <c:v>45400</c:v>
                </c:pt>
                <c:pt idx="1383">
                  <c:v>45401</c:v>
                </c:pt>
                <c:pt idx="1384">
                  <c:v>45404</c:v>
                </c:pt>
                <c:pt idx="1385">
                  <c:v>45405</c:v>
                </c:pt>
                <c:pt idx="1386">
                  <c:v>45406</c:v>
                </c:pt>
                <c:pt idx="1387">
                  <c:v>45407</c:v>
                </c:pt>
                <c:pt idx="1388">
                  <c:v>45408</c:v>
                </c:pt>
                <c:pt idx="1389">
                  <c:v>45411</c:v>
                </c:pt>
                <c:pt idx="1390">
                  <c:v>45412</c:v>
                </c:pt>
                <c:pt idx="1391">
                  <c:v>45413</c:v>
                </c:pt>
                <c:pt idx="1392">
                  <c:v>45414</c:v>
                </c:pt>
                <c:pt idx="1393">
                  <c:v>45415</c:v>
                </c:pt>
                <c:pt idx="1394">
                  <c:v>45418</c:v>
                </c:pt>
                <c:pt idx="1395">
                  <c:v>45419</c:v>
                </c:pt>
                <c:pt idx="1396">
                  <c:v>45420</c:v>
                </c:pt>
                <c:pt idx="1397">
                  <c:v>45421</c:v>
                </c:pt>
                <c:pt idx="1398">
                  <c:v>45422</c:v>
                </c:pt>
                <c:pt idx="1399">
                  <c:v>45425</c:v>
                </c:pt>
                <c:pt idx="1400">
                  <c:v>45426</c:v>
                </c:pt>
                <c:pt idx="1401">
                  <c:v>45427</c:v>
                </c:pt>
                <c:pt idx="1402">
                  <c:v>45428</c:v>
                </c:pt>
                <c:pt idx="1403">
                  <c:v>45429</c:v>
                </c:pt>
                <c:pt idx="1404">
                  <c:v>45432</c:v>
                </c:pt>
                <c:pt idx="1405">
                  <c:v>45433</c:v>
                </c:pt>
                <c:pt idx="1406">
                  <c:v>45434</c:v>
                </c:pt>
                <c:pt idx="1407">
                  <c:v>45435</c:v>
                </c:pt>
                <c:pt idx="1408">
                  <c:v>45436</c:v>
                </c:pt>
                <c:pt idx="1409">
                  <c:v>45439</c:v>
                </c:pt>
                <c:pt idx="1410">
                  <c:v>45440</c:v>
                </c:pt>
                <c:pt idx="1411">
                  <c:v>45441</c:v>
                </c:pt>
                <c:pt idx="1412">
                  <c:v>45442</c:v>
                </c:pt>
                <c:pt idx="1413">
                  <c:v>45443</c:v>
                </c:pt>
                <c:pt idx="1414">
                  <c:v>45446</c:v>
                </c:pt>
                <c:pt idx="1415">
                  <c:v>45447</c:v>
                </c:pt>
                <c:pt idx="1416">
                  <c:v>45448</c:v>
                </c:pt>
                <c:pt idx="1417">
                  <c:v>45449</c:v>
                </c:pt>
                <c:pt idx="1418">
                  <c:v>45450</c:v>
                </c:pt>
                <c:pt idx="1419">
                  <c:v>45453</c:v>
                </c:pt>
                <c:pt idx="1420">
                  <c:v>45454</c:v>
                </c:pt>
                <c:pt idx="1421">
                  <c:v>45455</c:v>
                </c:pt>
                <c:pt idx="1422">
                  <c:v>45456</c:v>
                </c:pt>
                <c:pt idx="1423">
                  <c:v>45457</c:v>
                </c:pt>
                <c:pt idx="1424">
                  <c:v>45460</c:v>
                </c:pt>
                <c:pt idx="1425">
                  <c:v>45461</c:v>
                </c:pt>
                <c:pt idx="1426">
                  <c:v>45462</c:v>
                </c:pt>
                <c:pt idx="1427">
                  <c:v>45463</c:v>
                </c:pt>
                <c:pt idx="1428">
                  <c:v>45464</c:v>
                </c:pt>
                <c:pt idx="1429">
                  <c:v>45467</c:v>
                </c:pt>
                <c:pt idx="1430">
                  <c:v>45468</c:v>
                </c:pt>
                <c:pt idx="1431">
                  <c:v>45469</c:v>
                </c:pt>
                <c:pt idx="1432">
                  <c:v>45470</c:v>
                </c:pt>
                <c:pt idx="1433">
                  <c:v>45471</c:v>
                </c:pt>
                <c:pt idx="1434">
                  <c:v>45474</c:v>
                </c:pt>
                <c:pt idx="1435">
                  <c:v>45475</c:v>
                </c:pt>
                <c:pt idx="1436">
                  <c:v>45476</c:v>
                </c:pt>
                <c:pt idx="1437">
                  <c:v>45477</c:v>
                </c:pt>
                <c:pt idx="1438">
                  <c:v>45478</c:v>
                </c:pt>
                <c:pt idx="1439">
                  <c:v>45481</c:v>
                </c:pt>
                <c:pt idx="1440">
                  <c:v>45482</c:v>
                </c:pt>
                <c:pt idx="1441">
                  <c:v>45483</c:v>
                </c:pt>
                <c:pt idx="1442">
                  <c:v>45484</c:v>
                </c:pt>
                <c:pt idx="1443">
                  <c:v>45485</c:v>
                </c:pt>
                <c:pt idx="1444">
                  <c:v>45488</c:v>
                </c:pt>
                <c:pt idx="1445">
                  <c:v>45489</c:v>
                </c:pt>
                <c:pt idx="1446">
                  <c:v>45490</c:v>
                </c:pt>
                <c:pt idx="1447">
                  <c:v>45491</c:v>
                </c:pt>
                <c:pt idx="1448">
                  <c:v>45492</c:v>
                </c:pt>
                <c:pt idx="1449">
                  <c:v>45495</c:v>
                </c:pt>
                <c:pt idx="1450">
                  <c:v>45496</c:v>
                </c:pt>
                <c:pt idx="1451">
                  <c:v>45497</c:v>
                </c:pt>
                <c:pt idx="1452">
                  <c:v>45498</c:v>
                </c:pt>
                <c:pt idx="1453">
                  <c:v>45499</c:v>
                </c:pt>
                <c:pt idx="1454">
                  <c:v>45502</c:v>
                </c:pt>
                <c:pt idx="1455">
                  <c:v>45503</c:v>
                </c:pt>
                <c:pt idx="1456">
                  <c:v>45504</c:v>
                </c:pt>
                <c:pt idx="1457">
                  <c:v>45505</c:v>
                </c:pt>
                <c:pt idx="1458">
                  <c:v>45506</c:v>
                </c:pt>
                <c:pt idx="1459">
                  <c:v>45509</c:v>
                </c:pt>
                <c:pt idx="1460">
                  <c:v>45510</c:v>
                </c:pt>
                <c:pt idx="1461">
                  <c:v>45511</c:v>
                </c:pt>
                <c:pt idx="1462">
                  <c:v>45512</c:v>
                </c:pt>
                <c:pt idx="1463">
                  <c:v>45513</c:v>
                </c:pt>
                <c:pt idx="1464">
                  <c:v>45516</c:v>
                </c:pt>
                <c:pt idx="1465">
                  <c:v>45517</c:v>
                </c:pt>
                <c:pt idx="1466">
                  <c:v>45518</c:v>
                </c:pt>
                <c:pt idx="1467">
                  <c:v>45519</c:v>
                </c:pt>
                <c:pt idx="1468">
                  <c:v>45520</c:v>
                </c:pt>
              </c:numCache>
            </c:numRef>
          </c:cat>
          <c:val>
            <c:numRef>
              <c:f>Tabelle1!$F$9:$F$1477</c:f>
              <c:numCache>
                <c:formatCode>General</c:formatCode>
                <c:ptCount val="1469"/>
                <c:pt idx="0">
                  <c:v>0</c:v>
                </c:pt>
                <c:pt idx="1">
                  <c:v>2.2655977692576101E-3</c:v>
                </c:pt>
                <c:pt idx="2">
                  <c:v>2.145782502614102E-3</c:v>
                </c:pt>
                <c:pt idx="3">
                  <c:v>1.4014755431626114E-3</c:v>
                </c:pt>
                <c:pt idx="4">
                  <c:v>-7.9876844429005445E-5</c:v>
                </c:pt>
                <c:pt idx="5">
                  <c:v>-2.1494132682700062E-3</c:v>
                </c:pt>
                <c:pt idx="6">
                  <c:v>-4.9959335424654139E-3</c:v>
                </c:pt>
                <c:pt idx="7">
                  <c:v>-4.6364877425352224E-3</c:v>
                </c:pt>
                <c:pt idx="8">
                  <c:v>-3.7687347507842084E-3</c:v>
                </c:pt>
                <c:pt idx="9">
                  <c:v>-3.394765888230622E-3</c:v>
                </c:pt>
                <c:pt idx="10">
                  <c:v>-3.2241199024050093E-3</c:v>
                </c:pt>
                <c:pt idx="11">
                  <c:v>-3.5145811548740191E-3</c:v>
                </c:pt>
                <c:pt idx="12">
                  <c:v>-4.2843034739166175E-3</c:v>
                </c:pt>
                <c:pt idx="13">
                  <c:v>-4.1717497385849178E-3</c:v>
                </c:pt>
                <c:pt idx="14">
                  <c:v>-4.306088067851821E-3</c:v>
                </c:pt>
                <c:pt idx="15">
                  <c:v>-4.4259033344952181E-3</c:v>
                </c:pt>
                <c:pt idx="16">
                  <c:v>-5.6385790635529176E-3</c:v>
                </c:pt>
                <c:pt idx="17">
                  <c:v>-4.5239340072035228E-3</c:v>
                </c:pt>
                <c:pt idx="18">
                  <c:v>-5.5732252817474182E-3</c:v>
                </c:pt>
                <c:pt idx="19">
                  <c:v>-7.5519925641920338E-3</c:v>
                </c:pt>
                <c:pt idx="20">
                  <c:v>-7.6500232369001164E-3</c:v>
                </c:pt>
                <c:pt idx="21">
                  <c:v>-7.8714999419077225E-3</c:v>
                </c:pt>
                <c:pt idx="22">
                  <c:v>-7.4503311258278249E-3</c:v>
                </c:pt>
                <c:pt idx="23">
                  <c:v>-8.8263913093994395E-3</c:v>
                </c:pt>
                <c:pt idx="24">
                  <c:v>-8.5322992912745255E-3</c:v>
                </c:pt>
                <c:pt idx="25">
                  <c:v>-8.7428836993145298E-3</c:v>
                </c:pt>
                <c:pt idx="26">
                  <c:v>-8.8518066689903252E-3</c:v>
                </c:pt>
                <c:pt idx="27">
                  <c:v>-8.9861449982573394E-3</c:v>
                </c:pt>
                <c:pt idx="28">
                  <c:v>-8.8699604972696244E-3</c:v>
                </c:pt>
                <c:pt idx="29">
                  <c:v>-7.5120541419775311E-3</c:v>
                </c:pt>
                <c:pt idx="30">
                  <c:v>-8.3652840711049281E-3</c:v>
                </c:pt>
                <c:pt idx="31">
                  <c:v>-7.907807598466432E-3</c:v>
                </c:pt>
                <c:pt idx="32">
                  <c:v>-8.6230684326711327E-3</c:v>
                </c:pt>
                <c:pt idx="33">
                  <c:v>-8.510514697339433E-3</c:v>
                </c:pt>
                <c:pt idx="34">
                  <c:v>-8.5177762286511305E-3</c:v>
                </c:pt>
                <c:pt idx="35">
                  <c:v>-8.7973451841524275E-3</c:v>
                </c:pt>
                <c:pt idx="36">
                  <c:v>-9.3092831416289323E-3</c:v>
                </c:pt>
                <c:pt idx="37">
                  <c:v>-8.7210991053794373E-3</c:v>
                </c:pt>
                <c:pt idx="38">
                  <c:v>-9.1095910305565297E-3</c:v>
                </c:pt>
                <c:pt idx="39">
                  <c:v>-9.1095910305565297E-3</c:v>
                </c:pt>
                <c:pt idx="40">
                  <c:v>-9.6650981759033305E-3</c:v>
                </c:pt>
                <c:pt idx="41">
                  <c:v>-8.4850993377483253E-3</c:v>
                </c:pt>
                <c:pt idx="42">
                  <c:v>-7.1526083420471176E-3</c:v>
                </c:pt>
                <c:pt idx="43">
                  <c:v>-7.2579005460671198E-3</c:v>
                </c:pt>
                <c:pt idx="44">
                  <c:v>-5.9871325665156183E-3</c:v>
                </c:pt>
                <c:pt idx="45">
                  <c:v>-5.5187637969095205E-3</c:v>
                </c:pt>
                <c:pt idx="46">
                  <c:v>-5.0503950273033116E-3</c:v>
                </c:pt>
                <c:pt idx="47">
                  <c:v>-3.4056581851981127E-3</c:v>
                </c:pt>
                <c:pt idx="48">
                  <c:v>-4.5239340072035228E-3</c:v>
                </c:pt>
                <c:pt idx="49">
                  <c:v>-4.3823341466248111E-3</c:v>
                </c:pt>
                <c:pt idx="50">
                  <c:v>-5.144794934355712E-3</c:v>
                </c:pt>
                <c:pt idx="51">
                  <c:v>-5.4751946090391135E-3</c:v>
                </c:pt>
                <c:pt idx="52">
                  <c:v>-4.0410421749738079E-3</c:v>
                </c:pt>
                <c:pt idx="53">
                  <c:v>-4.4476879284304216E-3</c:v>
                </c:pt>
                <c:pt idx="54">
                  <c:v>-2.9082432903451139E-3</c:v>
                </c:pt>
                <c:pt idx="55">
                  <c:v>-3.601719530614611E-3</c:v>
                </c:pt>
                <c:pt idx="56">
                  <c:v>-3.5835657023353118E-3</c:v>
                </c:pt>
                <c:pt idx="57">
                  <c:v>-3.5327349831533184E-3</c:v>
                </c:pt>
                <c:pt idx="58">
                  <c:v>-2.9227663529685088E-3</c:v>
                </c:pt>
                <c:pt idx="59">
                  <c:v>-2.7702741954223065E-3</c:v>
                </c:pt>
                <c:pt idx="60">
                  <c:v>-1.793598233995608E-3</c:v>
                </c:pt>
                <c:pt idx="61">
                  <c:v>-5.1556872313240909E-4</c:v>
                </c:pt>
                <c:pt idx="62">
                  <c:v>3.848611595214102E-4</c:v>
                </c:pt>
                <c:pt idx="63">
                  <c:v>8.5322992912750806E-4</c:v>
                </c:pt>
                <c:pt idx="64">
                  <c:v>2.5923666782852184E-3</c:v>
                </c:pt>
                <c:pt idx="65">
                  <c:v>2.5124898338562129E-3</c:v>
                </c:pt>
                <c:pt idx="66">
                  <c:v>1.7972289996512902E-3</c:v>
                </c:pt>
                <c:pt idx="67">
                  <c:v>1.4813523875916168E-3</c:v>
                </c:pt>
                <c:pt idx="68">
                  <c:v>2.1131056117114078E-3</c:v>
                </c:pt>
                <c:pt idx="69">
                  <c:v>1.1945219007782892E-3</c:v>
                </c:pt>
                <c:pt idx="70">
                  <c:v>1.4450447310327963E-3</c:v>
                </c:pt>
                <c:pt idx="71">
                  <c:v>1.8988904380154992E-3</c:v>
                </c:pt>
                <c:pt idx="72">
                  <c:v>1.8879981410480084E-3</c:v>
                </c:pt>
                <c:pt idx="73">
                  <c:v>1.1219065876610923E-3</c:v>
                </c:pt>
                <c:pt idx="74">
                  <c:v>1.1473219472522E-3</c:v>
                </c:pt>
                <c:pt idx="75">
                  <c:v>1.234460322992792E-3</c:v>
                </c:pt>
                <c:pt idx="76">
                  <c:v>3.2676890902760825E-4</c:v>
                </c:pt>
                <c:pt idx="77">
                  <c:v>1.5575984663644959E-3</c:v>
                </c:pt>
                <c:pt idx="78">
                  <c:v>1.7137213895666026E-3</c:v>
                </c:pt>
                <c:pt idx="79">
                  <c:v>2.6831358196814925E-3</c:v>
                </c:pt>
                <c:pt idx="80">
                  <c:v>3.4383350761009179E-3</c:v>
                </c:pt>
                <c:pt idx="81">
                  <c:v>4.1935343325201213E-3</c:v>
                </c:pt>
                <c:pt idx="82">
                  <c:v>4.5348263041711245E-3</c:v>
                </c:pt>
                <c:pt idx="83">
                  <c:v>3.9720576275126263E-3</c:v>
                </c:pt>
                <c:pt idx="84">
                  <c:v>3.881288486115908E-3</c:v>
                </c:pt>
                <c:pt idx="85">
                  <c:v>3.9647960962005957E-3</c:v>
                </c:pt>
                <c:pt idx="86">
                  <c:v>3.7469501568490049E-3</c:v>
                </c:pt>
                <c:pt idx="87">
                  <c:v>4.5783954920413095E-3</c:v>
                </c:pt>
                <c:pt idx="88">
                  <c:v>5.7111943766701145E-3</c:v>
                </c:pt>
                <c:pt idx="89">
                  <c:v>5.7656558615080122E-3</c:v>
                </c:pt>
                <c:pt idx="90">
                  <c:v>6.1359939584060275E-3</c:v>
                </c:pt>
                <c:pt idx="91">
                  <c:v>6.0488555826652135E-3</c:v>
                </c:pt>
                <c:pt idx="92">
                  <c:v>6.2267630998025236E-3</c:v>
                </c:pt>
                <c:pt idx="93">
                  <c:v>6.0597478796327042E-3</c:v>
                </c:pt>
                <c:pt idx="94">
                  <c:v>5.9726095038921123E-3</c:v>
                </c:pt>
                <c:pt idx="95">
                  <c:v>6.0452248170093092E-3</c:v>
                </c:pt>
                <c:pt idx="96">
                  <c:v>5.9254095503660231E-3</c:v>
                </c:pt>
                <c:pt idx="97">
                  <c:v>6.0524863483211178E-3</c:v>
                </c:pt>
                <c:pt idx="98">
                  <c:v>6.0379632856977228E-3</c:v>
                </c:pt>
                <c:pt idx="99">
                  <c:v>6.4518705704659229E-3</c:v>
                </c:pt>
                <c:pt idx="100">
                  <c:v>6.6079934936678075E-3</c:v>
                </c:pt>
                <c:pt idx="101">
                  <c:v>6.8984547461368173E-3</c:v>
                </c:pt>
                <c:pt idx="102">
                  <c:v>6.5135935866156291E-3</c:v>
                </c:pt>
                <c:pt idx="103">
                  <c:v>6.4191936795632287E-3</c:v>
                </c:pt>
                <c:pt idx="104">
                  <c:v>6.9275008713838293E-3</c:v>
                </c:pt>
                <c:pt idx="105">
                  <c:v>7.4140234692692264E-3</c:v>
                </c:pt>
                <c:pt idx="106">
                  <c:v>7.9913152085511197E-3</c:v>
                </c:pt>
                <c:pt idx="107">
                  <c:v>8.1220227721621185E-3</c:v>
                </c:pt>
                <c:pt idx="108">
                  <c:v>8.0530382247008259E-3</c:v>
                </c:pt>
                <c:pt idx="109">
                  <c:v>7.4793772510746148E-3</c:v>
                </c:pt>
                <c:pt idx="110">
                  <c:v>6.6915011037527172E-3</c:v>
                </c:pt>
                <c:pt idx="111">
                  <c:v>6.5971011967003168E-3</c:v>
                </c:pt>
                <c:pt idx="112">
                  <c:v>6.0779017079122255E-3</c:v>
                </c:pt>
                <c:pt idx="113">
                  <c:v>4.9305797606600255E-3</c:v>
                </c:pt>
                <c:pt idx="114">
                  <c:v>4.7018415243407219E-3</c:v>
                </c:pt>
                <c:pt idx="115">
                  <c:v>4.3496572557220059E-3</c:v>
                </c:pt>
                <c:pt idx="116">
                  <c:v>4.6619031021262192E-3</c:v>
                </c:pt>
                <c:pt idx="117">
                  <c:v>5.1919948878820232E-3</c:v>
                </c:pt>
                <c:pt idx="118">
                  <c:v>5.4352561868247218E-3</c:v>
                </c:pt>
                <c:pt idx="119">
                  <c:v>5.1266411060764128E-3</c:v>
                </c:pt>
                <c:pt idx="120">
                  <c:v>5.3263332171487043E-3</c:v>
                </c:pt>
                <c:pt idx="121">
                  <c:v>5.5514406878121036E-3</c:v>
                </c:pt>
                <c:pt idx="122">
                  <c:v>5.4062100615777098E-3</c:v>
                </c:pt>
                <c:pt idx="123">
                  <c:v>4.5892877890090222E-3</c:v>
                </c:pt>
                <c:pt idx="124">
                  <c:v>1.8153828279308115E-3</c:v>
                </c:pt>
                <c:pt idx="125">
                  <c:v>2.0187057046590073E-3</c:v>
                </c:pt>
                <c:pt idx="126">
                  <c:v>1.8553212501450922E-3</c:v>
                </c:pt>
                <c:pt idx="127">
                  <c:v>1.4087370744741978E-3</c:v>
                </c:pt>
                <c:pt idx="128">
                  <c:v>1.0928604624143023E-3</c:v>
                </c:pt>
                <c:pt idx="129">
                  <c:v>1.837167421865793E-3</c:v>
                </c:pt>
                <c:pt idx="130">
                  <c:v>1.9243057976066069E-3</c:v>
                </c:pt>
                <c:pt idx="131">
                  <c:v>1.4377831997212098E-3</c:v>
                </c:pt>
                <c:pt idx="132">
                  <c:v>1.263506448239804E-3</c:v>
                </c:pt>
                <c:pt idx="133">
                  <c:v>1.6665214360405134E-3</c:v>
                </c:pt>
                <c:pt idx="134">
                  <c:v>1.8008597653071945E-3</c:v>
                </c:pt>
                <c:pt idx="135">
                  <c:v>8.6049146043909452E-4</c:v>
                </c:pt>
                <c:pt idx="136">
                  <c:v>-5.0104566050890309E-4</c:v>
                </c:pt>
                <c:pt idx="137">
                  <c:v>-2.8319972115720127E-4</c:v>
                </c:pt>
                <c:pt idx="138">
                  <c:v>-4.5021494132679862E-4</c:v>
                </c:pt>
                <c:pt idx="139">
                  <c:v>-3.6670733124211097E-4</c:v>
                </c:pt>
                <c:pt idx="140">
                  <c:v>-3.0498431509240476E-4</c:v>
                </c:pt>
                <c:pt idx="141">
                  <c:v>-4.2843034739170616E-4</c:v>
                </c:pt>
                <c:pt idx="142">
                  <c:v>-1.8153828279299233E-4</c:v>
                </c:pt>
                <c:pt idx="143">
                  <c:v>-2.2147670500760608E-4</c:v>
                </c:pt>
                <c:pt idx="144">
                  <c:v>6.4990705239931224E-4</c:v>
                </c:pt>
                <c:pt idx="145">
                  <c:v>9.4399907052400422E-4</c:v>
                </c:pt>
                <c:pt idx="146">
                  <c:v>1.2743987452072947E-3</c:v>
                </c:pt>
                <c:pt idx="147">
                  <c:v>1.8771058440805177E-3</c:v>
                </c:pt>
                <c:pt idx="148">
                  <c:v>1.7355059835018061E-3</c:v>
                </c:pt>
                <c:pt idx="149">
                  <c:v>9.1132217962108797E-4</c:v>
                </c:pt>
                <c:pt idx="150">
                  <c:v>-5.8092250493801956E-5</c:v>
                </c:pt>
                <c:pt idx="151">
                  <c:v>-1.5612292320210663E-4</c:v>
                </c:pt>
                <c:pt idx="152">
                  <c:v>-7.2978389682809564E-4</c:v>
                </c:pt>
                <c:pt idx="153">
                  <c:v>-1.5103985128382957E-3</c:v>
                </c:pt>
                <c:pt idx="154">
                  <c:v>-2.8319972115719017E-3</c:v>
                </c:pt>
                <c:pt idx="155">
                  <c:v>-3.881288486115908E-3</c:v>
                </c:pt>
                <c:pt idx="156">
                  <c:v>-4.7563030091786196E-3</c:v>
                </c:pt>
                <c:pt idx="157">
                  <c:v>-5.5187637969095205E-3</c:v>
                </c:pt>
                <c:pt idx="158">
                  <c:v>-5.9363018473335138E-3</c:v>
                </c:pt>
                <c:pt idx="159">
                  <c:v>-5.5332868595329154E-3</c:v>
                </c:pt>
                <c:pt idx="160">
                  <c:v>-5.3481178110840188E-3</c:v>
                </c:pt>
                <c:pt idx="161">
                  <c:v>-4.3387649587546262E-3</c:v>
                </c:pt>
                <c:pt idx="162">
                  <c:v>-3.8522423608691181E-3</c:v>
                </c:pt>
                <c:pt idx="163">
                  <c:v>-3.8849192517718123E-3</c:v>
                </c:pt>
                <c:pt idx="164">
                  <c:v>-3.4710119670036121E-3</c:v>
                </c:pt>
                <c:pt idx="165">
                  <c:v>-3.8703961891484173E-3</c:v>
                </c:pt>
                <c:pt idx="166">
                  <c:v>-3.7578424538167177E-3</c:v>
                </c:pt>
                <c:pt idx="167">
                  <c:v>-3.7396886255374184E-3</c:v>
                </c:pt>
                <c:pt idx="168">
                  <c:v>-4.2806727082608242E-3</c:v>
                </c:pt>
                <c:pt idx="169">
                  <c:v>-3.5581503427442041E-3</c:v>
                </c:pt>
                <c:pt idx="170">
                  <c:v>-3.2713198559312096E-3</c:v>
                </c:pt>
                <c:pt idx="171">
                  <c:v>-2.4798129429534077E-3</c:v>
                </c:pt>
                <c:pt idx="172">
                  <c:v>-1.779075171372102E-3</c:v>
                </c:pt>
                <c:pt idx="173">
                  <c:v>-5.1193795747639381E-4</c:v>
                </c:pt>
                <c:pt idx="174">
                  <c:v>-3.158766120600065E-4</c:v>
                </c:pt>
                <c:pt idx="175">
                  <c:v>3.3403044033919471E-4</c:v>
                </c:pt>
                <c:pt idx="176">
                  <c:v>-2.4326129894280957E-4</c:v>
                </c:pt>
                <c:pt idx="177">
                  <c:v>-6.9710700592551245E-4</c:v>
                </c:pt>
                <c:pt idx="178">
                  <c:v>-9.1495294527721427E-4</c:v>
                </c:pt>
                <c:pt idx="179">
                  <c:v>-9.8756825839430018E-4</c:v>
                </c:pt>
                <c:pt idx="180">
                  <c:v>-1.263506448239804E-3</c:v>
                </c:pt>
                <c:pt idx="181">
                  <c:v>-4.7563030091790637E-4</c:v>
                </c:pt>
                <c:pt idx="182">
                  <c:v>-1.4595677936564133E-3</c:v>
                </c:pt>
                <c:pt idx="183">
                  <c:v>-1.2126757290578105E-3</c:v>
                </c:pt>
                <c:pt idx="184">
                  <c:v>1.4305216684094013E-3</c:v>
                </c:pt>
                <c:pt idx="185">
                  <c:v>3.6307656558598467E-4</c:v>
                </c:pt>
                <c:pt idx="186">
                  <c:v>2.9046125246789956E-5</c:v>
                </c:pt>
                <c:pt idx="187">
                  <c:v>5.0104566050879207E-4</c:v>
                </c:pt>
                <c:pt idx="188">
                  <c:v>1.543075403741101E-3</c:v>
                </c:pt>
                <c:pt idx="189">
                  <c:v>3.616242593238006E-3</c:v>
                </c:pt>
                <c:pt idx="190">
                  <c:v>2.9118740560007961E-3</c:v>
                </c:pt>
                <c:pt idx="191">
                  <c:v>3.6924886720111072E-3</c:v>
                </c:pt>
                <c:pt idx="192">
                  <c:v>4.1027651911234031E-3</c:v>
                </c:pt>
                <c:pt idx="193">
                  <c:v>3.8776577204600038E-3</c:v>
                </c:pt>
                <c:pt idx="194">
                  <c:v>4.5675031950738187E-3</c:v>
                </c:pt>
                <c:pt idx="195">
                  <c:v>5.1339026373882213E-3</c:v>
                </c:pt>
                <c:pt idx="196">
                  <c:v>4.0483037062855054E-3</c:v>
                </c:pt>
                <c:pt idx="197">
                  <c:v>3.3039967468340148E-3</c:v>
                </c:pt>
                <c:pt idx="198">
                  <c:v>3.1660276519112074E-3</c:v>
                </c:pt>
                <c:pt idx="199">
                  <c:v>3.336673637736709E-3</c:v>
                </c:pt>
                <c:pt idx="200">
                  <c:v>3.3766120599512117E-3</c:v>
                </c:pt>
                <c:pt idx="201">
                  <c:v>1.9932903450678996E-3</c:v>
                </c:pt>
                <c:pt idx="202">
                  <c:v>8.5322992912750806E-4</c:v>
                </c:pt>
                <c:pt idx="203">
                  <c:v>1.0819681654465896E-3</c:v>
                </c:pt>
                <c:pt idx="204">
                  <c:v>8.9316835134201078E-4</c:v>
                </c:pt>
                <c:pt idx="205">
                  <c:v>1.7754444057163088E-3</c:v>
                </c:pt>
                <c:pt idx="206">
                  <c:v>1.4232601370978148E-3</c:v>
                </c:pt>
                <c:pt idx="207">
                  <c:v>1.5321831067733882E-3</c:v>
                </c:pt>
                <c:pt idx="208">
                  <c:v>6.6806088067861147E-4</c:v>
                </c:pt>
                <c:pt idx="209">
                  <c:v>1.9061519693273077E-3</c:v>
                </c:pt>
                <c:pt idx="210">
                  <c:v>2.7593818984548157E-3</c:v>
                </c:pt>
                <c:pt idx="211">
                  <c:v>1.9351980945740976E-3</c:v>
                </c:pt>
                <c:pt idx="212">
                  <c:v>2.0441210642501151E-3</c:v>
                </c:pt>
                <c:pt idx="213">
                  <c:v>1.4777216219357125E-3</c:v>
                </c:pt>
                <c:pt idx="214">
                  <c:v>7.2615313117219138E-4</c:v>
                </c:pt>
                <c:pt idx="215">
                  <c:v>4.3569187870406978E-5</c:v>
                </c:pt>
                <c:pt idx="216">
                  <c:v>-8.350761008480978E-4</c:v>
                </c:pt>
                <c:pt idx="217">
                  <c:v>-2.5052283025444044E-3</c:v>
                </c:pt>
                <c:pt idx="218">
                  <c:v>-3.086150807482313E-3</c:v>
                </c:pt>
                <c:pt idx="219">
                  <c:v>-2.4471360520506025E-3</c:v>
                </c:pt>
                <c:pt idx="220">
                  <c:v>-1.8553212501453142E-3</c:v>
                </c:pt>
                <c:pt idx="221">
                  <c:v>-1.7028290925991119E-3</c:v>
                </c:pt>
                <c:pt idx="222">
                  <c:v>-1.4486754966887005E-3</c:v>
                </c:pt>
                <c:pt idx="223">
                  <c:v>-1.7500290461253121E-3</c:v>
                </c:pt>
                <c:pt idx="224">
                  <c:v>-1.2126757290578105E-3</c:v>
                </c:pt>
                <c:pt idx="225">
                  <c:v>-7.0073777158130568E-4</c:v>
                </c:pt>
                <c:pt idx="226">
                  <c:v>-7.1163006854890742E-4</c:v>
                </c:pt>
                <c:pt idx="227">
                  <c:v>-2.614151272221088E-4</c:v>
                </c:pt>
                <c:pt idx="228">
                  <c:v>-6.6806088067850045E-4</c:v>
                </c:pt>
                <c:pt idx="229">
                  <c:v>-8.35076100849097E-5</c:v>
                </c:pt>
                <c:pt idx="230">
                  <c:v>-8.7138375740702934E-5</c:v>
                </c:pt>
                <c:pt idx="231">
                  <c:v>6.1723016149706211E-5</c:v>
                </c:pt>
                <c:pt idx="232">
                  <c:v>-3.9575345648890092E-4</c:v>
                </c:pt>
                <c:pt idx="233">
                  <c:v>1.6701522016959736E-4</c:v>
                </c:pt>
                <c:pt idx="234">
                  <c:v>9.2584524224470499E-4</c:v>
                </c:pt>
                <c:pt idx="235">
                  <c:v>1.8153828279299233E-5</c:v>
                </c:pt>
                <c:pt idx="236">
                  <c:v>4.9741489485310986E-4</c:v>
                </c:pt>
                <c:pt idx="237">
                  <c:v>5.2646102009989981E-4</c:v>
                </c:pt>
                <c:pt idx="238">
                  <c:v>1.3070756361099889E-4</c:v>
                </c:pt>
                <c:pt idx="239">
                  <c:v>-2.2510747066339931E-4</c:v>
                </c:pt>
                <c:pt idx="240">
                  <c:v>-2.7593818984550378E-4</c:v>
                </c:pt>
                <c:pt idx="241">
                  <c:v>5.0830719181993445E-5</c:v>
                </c:pt>
                <c:pt idx="242">
                  <c:v>3.1587661205989548E-4</c:v>
                </c:pt>
                <c:pt idx="243">
                  <c:v>1.3579063552922044E-3</c:v>
                </c:pt>
                <c:pt idx="244">
                  <c:v>2.9009817590333054E-3</c:v>
                </c:pt>
                <c:pt idx="245">
                  <c:v>2.5633205530382064E-3</c:v>
                </c:pt>
                <c:pt idx="246">
                  <c:v>2.2910131288484958E-3</c:v>
                </c:pt>
                <c:pt idx="247">
                  <c:v>1.4740908562795862E-3</c:v>
                </c:pt>
                <c:pt idx="248">
                  <c:v>1.5394446380851967E-3</c:v>
                </c:pt>
                <c:pt idx="249">
                  <c:v>1.8625827814569007E-3</c:v>
                </c:pt>
                <c:pt idx="250">
                  <c:v>1.6846752643195906E-3</c:v>
                </c:pt>
                <c:pt idx="251">
                  <c:v>1.4486754966887005E-3</c:v>
                </c:pt>
                <c:pt idx="252">
                  <c:v>1.1255373533169966E-4</c:v>
                </c:pt>
                <c:pt idx="253">
                  <c:v>7.2252236551650917E-4</c:v>
                </c:pt>
                <c:pt idx="254">
                  <c:v>-2.1566747995817037E-3</c:v>
                </c:pt>
                <c:pt idx="255">
                  <c:v>-1.8589520158011075E-3</c:v>
                </c:pt>
                <c:pt idx="256">
                  <c:v>-1.7355059835019171E-3</c:v>
                </c:pt>
                <c:pt idx="257">
                  <c:v>-1.6265830138260107E-3</c:v>
                </c:pt>
                <c:pt idx="258">
                  <c:v>1.837167421865793E-3</c:v>
                </c:pt>
                <c:pt idx="259">
                  <c:v>1.9642442198211096E-3</c:v>
                </c:pt>
                <c:pt idx="260">
                  <c:v>2.0223364703146895E-3</c:v>
                </c:pt>
                <c:pt idx="261">
                  <c:v>2.2365516440105981E-3</c:v>
                </c:pt>
                <c:pt idx="262">
                  <c:v>2.4979667712325959E-3</c:v>
                </c:pt>
                <c:pt idx="263">
                  <c:v>2.7230742418959952E-3</c:v>
                </c:pt>
                <c:pt idx="264">
                  <c:v>2.5633205530382064E-3</c:v>
                </c:pt>
                <c:pt idx="265">
                  <c:v>3.3584582316719125E-3</c:v>
                </c:pt>
                <c:pt idx="266">
                  <c:v>3.659811781108413E-3</c:v>
                </c:pt>
                <c:pt idx="267">
                  <c:v>4.3278726617868024E-3</c:v>
                </c:pt>
                <c:pt idx="268">
                  <c:v>3.8377192982455011E-3</c:v>
                </c:pt>
                <c:pt idx="269">
                  <c:v>3.6489194841409223E-3</c:v>
                </c:pt>
                <c:pt idx="270">
                  <c:v>4.3460264900661016E-3</c:v>
                </c:pt>
                <c:pt idx="271">
                  <c:v>3.8231962356221061E-3</c:v>
                </c:pt>
                <c:pt idx="272">
                  <c:v>4.3714418496572094E-3</c:v>
                </c:pt>
                <c:pt idx="273">
                  <c:v>4.5929185546647044E-3</c:v>
                </c:pt>
                <c:pt idx="274">
                  <c:v>5.2065179505054182E-3</c:v>
                </c:pt>
                <c:pt idx="275">
                  <c:v>5.9907633321714115E-3</c:v>
                </c:pt>
                <c:pt idx="276">
                  <c:v>6.6043627280121253E-3</c:v>
                </c:pt>
                <c:pt idx="277">
                  <c:v>7.5047926106657226E-3</c:v>
                </c:pt>
                <c:pt idx="278">
                  <c:v>7.965899848960234E-3</c:v>
                </c:pt>
                <c:pt idx="279">
                  <c:v>8.4270070872545233E-3</c:v>
                </c:pt>
                <c:pt idx="280">
                  <c:v>8.11476124085031E-3</c:v>
                </c:pt>
                <c:pt idx="281">
                  <c:v>8.3289764145462186E-3</c:v>
                </c:pt>
                <c:pt idx="282">
                  <c:v>7.4358080632044299E-3</c:v>
                </c:pt>
                <c:pt idx="283">
                  <c:v>6.6079934936678075E-3</c:v>
                </c:pt>
                <c:pt idx="284">
                  <c:v>5.7983327524109285E-3</c:v>
                </c:pt>
                <c:pt idx="285">
                  <c:v>5.5877483443709242E-3</c:v>
                </c:pt>
                <c:pt idx="286">
                  <c:v>5.0685488555826108E-3</c:v>
                </c:pt>
                <c:pt idx="287">
                  <c:v>3.4637504356918036E-3</c:v>
                </c:pt>
                <c:pt idx="288">
                  <c:v>4.3823341466249222E-3</c:v>
                </c:pt>
                <c:pt idx="289">
                  <c:v>5.5550714534680079E-3</c:v>
                </c:pt>
                <c:pt idx="290">
                  <c:v>4.4585802253978013E-3</c:v>
                </c:pt>
                <c:pt idx="291">
                  <c:v>5.3372255141164171E-3</c:v>
                </c:pt>
                <c:pt idx="292">
                  <c:v>5.6240560009293006E-3</c:v>
                </c:pt>
                <c:pt idx="293">
                  <c:v>5.6531021261763126E-3</c:v>
                </c:pt>
                <c:pt idx="294">
                  <c:v>5.8419019402811134E-3</c:v>
                </c:pt>
                <c:pt idx="295">
                  <c:v>6.2303938654582058E-3</c:v>
                </c:pt>
                <c:pt idx="296">
                  <c:v>5.2537179040315074E-3</c:v>
                </c:pt>
                <c:pt idx="297">
                  <c:v>4.3315034274427067E-3</c:v>
                </c:pt>
                <c:pt idx="298">
                  <c:v>2.1966132217963175E-3</c:v>
                </c:pt>
                <c:pt idx="299">
                  <c:v>1.3796909492274079E-3</c:v>
                </c:pt>
                <c:pt idx="300">
                  <c:v>1.9932903450678996E-3</c:v>
                </c:pt>
                <c:pt idx="301">
                  <c:v>2.5851051469734099E-3</c:v>
                </c:pt>
                <c:pt idx="302">
                  <c:v>-5.6276867665849828E-4</c:v>
                </c:pt>
                <c:pt idx="303">
                  <c:v>-4.9342105263158187E-3</c:v>
                </c:pt>
                <c:pt idx="304">
                  <c:v>-1.1516788660392741E-2</c:v>
                </c:pt>
                <c:pt idx="305">
                  <c:v>-1.2228418728941537E-2</c:v>
                </c:pt>
                <c:pt idx="306">
                  <c:v>-1.3012664110607641E-2</c:v>
                </c:pt>
                <c:pt idx="307">
                  <c:v>-1.4918816079934949E-2</c:v>
                </c:pt>
                <c:pt idx="308">
                  <c:v>-1.8142935982339958E-2</c:v>
                </c:pt>
                <c:pt idx="309">
                  <c:v>-2.3959422563030075E-2</c:v>
                </c:pt>
                <c:pt idx="310">
                  <c:v>-2.9757755315441003E-2</c:v>
                </c:pt>
                <c:pt idx="311">
                  <c:v>-3.6387533403044126E-2</c:v>
                </c:pt>
                <c:pt idx="312">
                  <c:v>-3.7128209596839823E-2</c:v>
                </c:pt>
                <c:pt idx="313">
                  <c:v>-4.0817067503195137E-2</c:v>
                </c:pt>
                <c:pt idx="314">
                  <c:v>-5.3328685953293875E-2</c:v>
                </c:pt>
                <c:pt idx="315">
                  <c:v>-5.6770651795050586E-2</c:v>
                </c:pt>
                <c:pt idx="316">
                  <c:v>-6.9169716509817625E-2</c:v>
                </c:pt>
                <c:pt idx="317">
                  <c:v>-7.8787614732194755E-2</c:v>
                </c:pt>
                <c:pt idx="318">
                  <c:v>-8.5784100151039877E-2</c:v>
                </c:pt>
                <c:pt idx="319">
                  <c:v>-9.4882798884628916E-2</c:v>
                </c:pt>
                <c:pt idx="320">
                  <c:v>-0.10743798652259784</c:v>
                </c:pt>
                <c:pt idx="321">
                  <c:v>-0.12007668177065189</c:v>
                </c:pt>
                <c:pt idx="322">
                  <c:v>-0.12935328802137791</c:v>
                </c:pt>
                <c:pt idx="323">
                  <c:v>-0.13557642035552464</c:v>
                </c:pt>
                <c:pt idx="324">
                  <c:v>-0.14194841408156156</c:v>
                </c:pt>
                <c:pt idx="325">
                  <c:v>-0.15184225049378419</c:v>
                </c:pt>
                <c:pt idx="326">
                  <c:v>-0.17089650865574535</c:v>
                </c:pt>
                <c:pt idx="327">
                  <c:v>-0.17790388637155807</c:v>
                </c:pt>
                <c:pt idx="328">
                  <c:v>-0.17972653073080047</c:v>
                </c:pt>
                <c:pt idx="329">
                  <c:v>-0.18999070523992101</c:v>
                </c:pt>
                <c:pt idx="330">
                  <c:v>-0.20035654118740565</c:v>
                </c:pt>
                <c:pt idx="331">
                  <c:v>-0.20819173347275477</c:v>
                </c:pt>
                <c:pt idx="332">
                  <c:v>-0.21662600209132099</c:v>
                </c:pt>
                <c:pt idx="333">
                  <c:v>-0.21617578714999419</c:v>
                </c:pt>
                <c:pt idx="334">
                  <c:v>-0.21546415708144528</c:v>
                </c:pt>
                <c:pt idx="335">
                  <c:v>-0.2206162135471128</c:v>
                </c:pt>
                <c:pt idx="336">
                  <c:v>-0.22027855234111771</c:v>
                </c:pt>
                <c:pt idx="337">
                  <c:v>-0.2224497502033228</c:v>
                </c:pt>
                <c:pt idx="338">
                  <c:v>-0.22657066922272573</c:v>
                </c:pt>
                <c:pt idx="339">
                  <c:v>-0.23003078889276163</c:v>
                </c:pt>
                <c:pt idx="340">
                  <c:v>-0.23326580109213435</c:v>
                </c:pt>
                <c:pt idx="341">
                  <c:v>-0.23842511908911357</c:v>
                </c:pt>
                <c:pt idx="342">
                  <c:v>-0.24248068432671077</c:v>
                </c:pt>
                <c:pt idx="343">
                  <c:v>-0.2458209887301035</c:v>
                </c:pt>
                <c:pt idx="344">
                  <c:v>-0.2496441849657256</c:v>
                </c:pt>
                <c:pt idx="345">
                  <c:v>-0.25215304403392591</c:v>
                </c:pt>
                <c:pt idx="346">
                  <c:v>-0.25677500871383763</c:v>
                </c:pt>
                <c:pt idx="347">
                  <c:v>-0.25960337515975374</c:v>
                </c:pt>
                <c:pt idx="348">
                  <c:v>-0.26077974323225284</c:v>
                </c:pt>
                <c:pt idx="349">
                  <c:v>-0.26236638782386434</c:v>
                </c:pt>
                <c:pt idx="350">
                  <c:v>-0.26457026257697225</c:v>
                </c:pt>
                <c:pt idx="351">
                  <c:v>-0.26480263157894746</c:v>
                </c:pt>
                <c:pt idx="352">
                  <c:v>-0.26719530614616016</c:v>
                </c:pt>
                <c:pt idx="353">
                  <c:v>-0.26657081445335196</c:v>
                </c:pt>
                <c:pt idx="354">
                  <c:v>-0.26751844428953186</c:v>
                </c:pt>
                <c:pt idx="355">
                  <c:v>-0.27142151736958287</c:v>
                </c:pt>
                <c:pt idx="356">
                  <c:v>-0.27286293133495987</c:v>
                </c:pt>
                <c:pt idx="357">
                  <c:v>-0.27321874636923438</c:v>
                </c:pt>
                <c:pt idx="358">
                  <c:v>-0.27560779017079129</c:v>
                </c:pt>
                <c:pt idx="359">
                  <c:v>-0.27606526664342979</c:v>
                </c:pt>
                <c:pt idx="360">
                  <c:v>-0.27757929592192399</c:v>
                </c:pt>
                <c:pt idx="361">
                  <c:v>-0.2790388637155804</c:v>
                </c:pt>
                <c:pt idx="362">
                  <c:v>-0.27979769373765551</c:v>
                </c:pt>
                <c:pt idx="363">
                  <c:v>-0.2796488323457651</c:v>
                </c:pt>
                <c:pt idx="364">
                  <c:v>-0.2784906181015453</c:v>
                </c:pt>
                <c:pt idx="365">
                  <c:v>-0.27868667944696168</c:v>
                </c:pt>
                <c:pt idx="366">
                  <c:v>-0.27889363308934589</c:v>
                </c:pt>
                <c:pt idx="367">
                  <c:v>-0.28123910770303251</c:v>
                </c:pt>
                <c:pt idx="368">
                  <c:v>-0.2819216916463344</c:v>
                </c:pt>
                <c:pt idx="369">
                  <c:v>-0.281591291971651</c:v>
                </c:pt>
                <c:pt idx="370">
                  <c:v>-0.2824953526199605</c:v>
                </c:pt>
                <c:pt idx="371">
                  <c:v>-0.28282575229464391</c:v>
                </c:pt>
                <c:pt idx="372">
                  <c:v>-0.28408562797722781</c:v>
                </c:pt>
                <c:pt idx="373">
                  <c:v>-0.28500784245381672</c:v>
                </c:pt>
                <c:pt idx="374">
                  <c:v>-0.2832723364703148</c:v>
                </c:pt>
                <c:pt idx="375">
                  <c:v>-0.2829491983269431</c:v>
                </c:pt>
                <c:pt idx="376">
                  <c:v>-0.28330138259556181</c:v>
                </c:pt>
                <c:pt idx="377">
                  <c:v>-0.282822121528988</c:v>
                </c:pt>
                <c:pt idx="378">
                  <c:v>-0.28296735215522251</c:v>
                </c:pt>
                <c:pt idx="379">
                  <c:v>-0.28136981526664351</c:v>
                </c:pt>
                <c:pt idx="380">
                  <c:v>-0.2809413849192518</c:v>
                </c:pt>
                <c:pt idx="381">
                  <c:v>-0.2806545544324387</c:v>
                </c:pt>
                <c:pt idx="382">
                  <c:v>-0.27910058673172999</c:v>
                </c:pt>
                <c:pt idx="383">
                  <c:v>-0.28074895433949121</c:v>
                </c:pt>
                <c:pt idx="384">
                  <c:v>-0.28257159869873361</c:v>
                </c:pt>
                <c:pt idx="385">
                  <c:v>-0.28309079818752181</c:v>
                </c:pt>
                <c:pt idx="386">
                  <c:v>-0.2829092599047287</c:v>
                </c:pt>
                <c:pt idx="387">
                  <c:v>-0.2817691994887882</c:v>
                </c:pt>
                <c:pt idx="388">
                  <c:v>-0.2813734460322993</c:v>
                </c:pt>
                <c:pt idx="389">
                  <c:v>-0.2802878471011967</c:v>
                </c:pt>
                <c:pt idx="390">
                  <c:v>-0.2813335076100848</c:v>
                </c:pt>
                <c:pt idx="391">
                  <c:v>-0.2822738759149529</c:v>
                </c:pt>
                <c:pt idx="392">
                  <c:v>-0.2820959683978157</c:v>
                </c:pt>
                <c:pt idx="393">
                  <c:v>-0.2815259381898455</c:v>
                </c:pt>
                <c:pt idx="394">
                  <c:v>-0.2814569536423841</c:v>
                </c:pt>
                <c:pt idx="395">
                  <c:v>-0.28085424654351121</c:v>
                </c:pt>
                <c:pt idx="396">
                  <c:v>-0.2800954165214361</c:v>
                </c:pt>
                <c:pt idx="397">
                  <c:v>-0.27829818752178459</c:v>
                </c:pt>
                <c:pt idx="398">
                  <c:v>-0.27774631114209358</c:v>
                </c:pt>
                <c:pt idx="399">
                  <c:v>-0.27811664923899149</c:v>
                </c:pt>
                <c:pt idx="400">
                  <c:v>-0.2796597246427327</c:v>
                </c:pt>
                <c:pt idx="401">
                  <c:v>-0.2788064947136053</c:v>
                </c:pt>
                <c:pt idx="402">
                  <c:v>-0.27981584756593469</c:v>
                </c:pt>
                <c:pt idx="403">
                  <c:v>-0.28043670849308699</c:v>
                </c:pt>
                <c:pt idx="404">
                  <c:v>-0.27873751016614379</c:v>
                </c:pt>
                <c:pt idx="405">
                  <c:v>-0.2785305565237598</c:v>
                </c:pt>
                <c:pt idx="406">
                  <c:v>-0.2781384338329268</c:v>
                </c:pt>
                <c:pt idx="407">
                  <c:v>-0.278472464273266</c:v>
                </c:pt>
                <c:pt idx="408">
                  <c:v>-0.27750668060880679</c:v>
                </c:pt>
                <c:pt idx="409">
                  <c:v>-0.27752120367143018</c:v>
                </c:pt>
                <c:pt idx="410">
                  <c:v>-0.27759381898454749</c:v>
                </c:pt>
                <c:pt idx="411">
                  <c:v>-0.27660625072615319</c:v>
                </c:pt>
                <c:pt idx="412">
                  <c:v>-0.27879560241663759</c:v>
                </c:pt>
                <c:pt idx="413">
                  <c:v>-0.27992840130126639</c:v>
                </c:pt>
                <c:pt idx="414">
                  <c:v>-0.2787556639944232</c:v>
                </c:pt>
                <c:pt idx="415">
                  <c:v>-0.2791441559196004</c:v>
                </c:pt>
                <c:pt idx="416">
                  <c:v>-0.27911874056000929</c:v>
                </c:pt>
                <c:pt idx="417">
                  <c:v>-0.2801389857093064</c:v>
                </c:pt>
                <c:pt idx="418">
                  <c:v>-0.27723437318461719</c:v>
                </c:pt>
                <c:pt idx="419">
                  <c:v>-0.27479449866387828</c:v>
                </c:pt>
                <c:pt idx="420">
                  <c:v>-0.27359634599744387</c:v>
                </c:pt>
                <c:pt idx="421">
                  <c:v>-0.27368711513884048</c:v>
                </c:pt>
                <c:pt idx="422">
                  <c:v>-0.27297548507029157</c:v>
                </c:pt>
                <c:pt idx="423">
                  <c:v>-0.27349468455907988</c:v>
                </c:pt>
                <c:pt idx="424">
                  <c:v>-0.27165025560590217</c:v>
                </c:pt>
                <c:pt idx="425">
                  <c:v>-0.27133800975949818</c:v>
                </c:pt>
                <c:pt idx="426">
                  <c:v>-0.27096041013128858</c:v>
                </c:pt>
                <c:pt idx="427">
                  <c:v>-0.27046299523643547</c:v>
                </c:pt>
                <c:pt idx="428">
                  <c:v>-0.26945001161845017</c:v>
                </c:pt>
                <c:pt idx="429">
                  <c:v>-0.26790330544905316</c:v>
                </c:pt>
                <c:pt idx="430">
                  <c:v>-0.26663253746950166</c:v>
                </c:pt>
                <c:pt idx="431">
                  <c:v>-0.26622226095038926</c:v>
                </c:pt>
                <c:pt idx="432">
                  <c:v>-0.26545980016265824</c:v>
                </c:pt>
                <c:pt idx="433">
                  <c:v>-0.26492607761124665</c:v>
                </c:pt>
                <c:pt idx="434">
                  <c:v>-0.26401475543162545</c:v>
                </c:pt>
                <c:pt idx="435">
                  <c:v>-0.26378238642965024</c:v>
                </c:pt>
                <c:pt idx="436">
                  <c:v>-0.26259512606018365</c:v>
                </c:pt>
                <c:pt idx="437">
                  <c:v>-0.26170558847449754</c:v>
                </c:pt>
                <c:pt idx="438">
                  <c:v>-0.26092860462414325</c:v>
                </c:pt>
                <c:pt idx="439">
                  <c:v>-0.25888811432554903</c:v>
                </c:pt>
                <c:pt idx="440">
                  <c:v>-0.25817285349134433</c:v>
                </c:pt>
                <c:pt idx="441">
                  <c:v>-0.25772990008132923</c:v>
                </c:pt>
                <c:pt idx="442">
                  <c:v>-0.25798042291158352</c:v>
                </c:pt>
                <c:pt idx="443">
                  <c:v>-0.25735593121877542</c:v>
                </c:pt>
                <c:pt idx="444">
                  <c:v>-0.25747574648541882</c:v>
                </c:pt>
                <c:pt idx="445">
                  <c:v>-0.25635383989775762</c:v>
                </c:pt>
                <c:pt idx="446">
                  <c:v>-0.25526461020099922</c:v>
                </c:pt>
                <c:pt idx="447">
                  <c:v>-0.25441501103752762</c:v>
                </c:pt>
                <c:pt idx="448">
                  <c:v>-0.25404104217497381</c:v>
                </c:pt>
                <c:pt idx="449">
                  <c:v>-0.25290461252468932</c:v>
                </c:pt>
                <c:pt idx="450">
                  <c:v>-0.25173913674915771</c:v>
                </c:pt>
                <c:pt idx="451">
                  <c:v>-0.2509476298361798</c:v>
                </c:pt>
                <c:pt idx="452">
                  <c:v>-0.25062449169280809</c:v>
                </c:pt>
                <c:pt idx="453">
                  <c:v>-0.2491649238991519</c:v>
                </c:pt>
                <c:pt idx="454">
                  <c:v>-0.24574837341698619</c:v>
                </c:pt>
                <c:pt idx="455">
                  <c:v>-0.24663791100267218</c:v>
                </c:pt>
                <c:pt idx="456">
                  <c:v>-0.24590812710584409</c:v>
                </c:pt>
                <c:pt idx="457">
                  <c:v>-0.24405643662135479</c:v>
                </c:pt>
                <c:pt idx="458">
                  <c:v>-0.24371514464970379</c:v>
                </c:pt>
                <c:pt idx="459">
                  <c:v>-0.24216843848030678</c:v>
                </c:pt>
                <c:pt idx="460">
                  <c:v>-0.24137693156732887</c:v>
                </c:pt>
                <c:pt idx="461">
                  <c:v>-0.24120265481584757</c:v>
                </c:pt>
                <c:pt idx="462">
                  <c:v>-0.24034579412106427</c:v>
                </c:pt>
                <c:pt idx="463">
                  <c:v>-0.23968862553735337</c:v>
                </c:pt>
                <c:pt idx="464">
                  <c:v>-0.23729232020448476</c:v>
                </c:pt>
                <c:pt idx="465">
                  <c:v>-0.23574924480074366</c:v>
                </c:pt>
                <c:pt idx="466">
                  <c:v>-0.23529539909376085</c:v>
                </c:pt>
                <c:pt idx="467">
                  <c:v>-0.23354173928197985</c:v>
                </c:pt>
                <c:pt idx="468">
                  <c:v>-0.23303343209015925</c:v>
                </c:pt>
                <c:pt idx="469">
                  <c:v>-0.23098204949459755</c:v>
                </c:pt>
                <c:pt idx="470">
                  <c:v>-0.23091669571279194</c:v>
                </c:pt>
                <c:pt idx="471">
                  <c:v>-0.23060808063204374</c:v>
                </c:pt>
                <c:pt idx="472">
                  <c:v>-0.22959872777971424</c:v>
                </c:pt>
                <c:pt idx="473">
                  <c:v>-0.22873460555361913</c:v>
                </c:pt>
                <c:pt idx="474">
                  <c:v>-0.22653073080051123</c:v>
                </c:pt>
                <c:pt idx="475">
                  <c:v>-0.22598974671778782</c:v>
                </c:pt>
                <c:pt idx="476">
                  <c:v>-0.22457737887765772</c:v>
                </c:pt>
                <c:pt idx="477">
                  <c:v>-0.22280193447194152</c:v>
                </c:pt>
                <c:pt idx="478">
                  <c:v>-0.22278014987800621</c:v>
                </c:pt>
                <c:pt idx="479">
                  <c:v>-0.2205181828744045</c:v>
                </c:pt>
                <c:pt idx="480">
                  <c:v>-0.2197375682583943</c:v>
                </c:pt>
                <c:pt idx="481">
                  <c:v>-0.2191711688160799</c:v>
                </c:pt>
                <c:pt idx="482">
                  <c:v>-0.2189642151736958</c:v>
                </c:pt>
                <c:pt idx="483">
                  <c:v>-0.21904772278378071</c:v>
                </c:pt>
                <c:pt idx="484">
                  <c:v>-0.21656064830951549</c:v>
                </c:pt>
                <c:pt idx="485">
                  <c:v>-0.21575824909957009</c:v>
                </c:pt>
                <c:pt idx="486">
                  <c:v>-0.21448021958870689</c:v>
                </c:pt>
                <c:pt idx="487">
                  <c:v>-0.21434225049378419</c:v>
                </c:pt>
                <c:pt idx="488">
                  <c:v>-0.21367782037876148</c:v>
                </c:pt>
                <c:pt idx="489">
                  <c:v>-0.21021406994306957</c:v>
                </c:pt>
                <c:pt idx="490">
                  <c:v>-0.21113265365400258</c:v>
                </c:pt>
                <c:pt idx="491">
                  <c:v>-0.21065339258742888</c:v>
                </c:pt>
                <c:pt idx="492">
                  <c:v>-0.20989456256535388</c:v>
                </c:pt>
                <c:pt idx="493">
                  <c:v>-0.20896508655745327</c:v>
                </c:pt>
                <c:pt idx="494">
                  <c:v>-0.20621296619031027</c:v>
                </c:pt>
                <c:pt idx="495">
                  <c:v>-0.20494945974207035</c:v>
                </c:pt>
                <c:pt idx="496">
                  <c:v>-0.20473161380271876</c:v>
                </c:pt>
                <c:pt idx="497">
                  <c:v>-0.20417247589171605</c:v>
                </c:pt>
                <c:pt idx="498">
                  <c:v>-0.20401998373416985</c:v>
                </c:pt>
                <c:pt idx="499">
                  <c:v>-0.20237524689206465</c:v>
                </c:pt>
                <c:pt idx="500">
                  <c:v>-0.20306872313233415</c:v>
                </c:pt>
                <c:pt idx="501">
                  <c:v>-0.20348626118275825</c:v>
                </c:pt>
                <c:pt idx="502">
                  <c:v>-0.20335918438480305</c:v>
                </c:pt>
                <c:pt idx="503">
                  <c:v>-0.20265118508191016</c:v>
                </c:pt>
                <c:pt idx="504">
                  <c:v>-0.20086847914488204</c:v>
                </c:pt>
                <c:pt idx="505">
                  <c:v>-0.19940528058556994</c:v>
                </c:pt>
                <c:pt idx="506">
                  <c:v>-0.19738294411525503</c:v>
                </c:pt>
                <c:pt idx="507">
                  <c:v>-0.19696540606483093</c:v>
                </c:pt>
                <c:pt idx="508">
                  <c:v>-0.19535697687928433</c:v>
                </c:pt>
                <c:pt idx="509">
                  <c:v>-0.19254676426164752</c:v>
                </c:pt>
                <c:pt idx="510">
                  <c:v>-0.19122516556291391</c:v>
                </c:pt>
                <c:pt idx="511">
                  <c:v>-0.19040461252468921</c:v>
                </c:pt>
                <c:pt idx="512">
                  <c:v>-0.19040461252468921</c:v>
                </c:pt>
                <c:pt idx="513">
                  <c:v>-0.18936621354711292</c:v>
                </c:pt>
                <c:pt idx="514">
                  <c:v>-0.1883532299291274</c:v>
                </c:pt>
                <c:pt idx="515">
                  <c:v>-0.1890612292320204</c:v>
                </c:pt>
                <c:pt idx="516">
                  <c:v>-0.18834233763215991</c:v>
                </c:pt>
                <c:pt idx="517">
                  <c:v>-0.18766701522016971</c:v>
                </c:pt>
                <c:pt idx="518">
                  <c:v>-0.1871260311374463</c:v>
                </c:pt>
                <c:pt idx="519">
                  <c:v>-0.1853469559660742</c:v>
                </c:pt>
                <c:pt idx="520">
                  <c:v>-0.18481686418031829</c:v>
                </c:pt>
                <c:pt idx="521">
                  <c:v>-0.18453729522481699</c:v>
                </c:pt>
                <c:pt idx="522">
                  <c:v>-0.18368043453003369</c:v>
                </c:pt>
                <c:pt idx="523">
                  <c:v>-0.18331009643313578</c:v>
                </c:pt>
                <c:pt idx="524">
                  <c:v>-0.18096825258510518</c:v>
                </c:pt>
                <c:pt idx="525">
                  <c:v>-0.18024936098524458</c:v>
                </c:pt>
                <c:pt idx="526">
                  <c:v>-0.17964302312071567</c:v>
                </c:pt>
                <c:pt idx="527">
                  <c:v>-0.17939613105611707</c:v>
                </c:pt>
                <c:pt idx="528">
                  <c:v>-0.17837588590682008</c:v>
                </c:pt>
                <c:pt idx="529">
                  <c:v>-0.17679650284652038</c:v>
                </c:pt>
                <c:pt idx="530">
                  <c:v>-0.17543496572557227</c:v>
                </c:pt>
                <c:pt idx="531">
                  <c:v>-0.17190223074241895</c:v>
                </c:pt>
                <c:pt idx="532">
                  <c:v>-0.16919367956314624</c:v>
                </c:pt>
                <c:pt idx="533">
                  <c:v>-0.16809355756942024</c:v>
                </c:pt>
                <c:pt idx="534">
                  <c:v>-0.16424131520855123</c:v>
                </c:pt>
                <c:pt idx="535">
                  <c:v>-0.16163079470198682</c:v>
                </c:pt>
                <c:pt idx="536">
                  <c:v>-0.1567946148483792</c:v>
                </c:pt>
                <c:pt idx="537">
                  <c:v>-0.15563276983850349</c:v>
                </c:pt>
                <c:pt idx="538">
                  <c:v>-0.15418409434181479</c:v>
                </c:pt>
                <c:pt idx="539">
                  <c:v>-0.15208914255838268</c:v>
                </c:pt>
                <c:pt idx="540">
                  <c:v>-0.15180957360288139</c:v>
                </c:pt>
                <c:pt idx="541">
                  <c:v>-0.15013579063552929</c:v>
                </c:pt>
                <c:pt idx="542">
                  <c:v>-0.14999419077495058</c:v>
                </c:pt>
                <c:pt idx="543">
                  <c:v>-0.14925714534681078</c:v>
                </c:pt>
                <c:pt idx="544">
                  <c:v>-0.14715130126641107</c:v>
                </c:pt>
                <c:pt idx="545">
                  <c:v>-0.14393081212966197</c:v>
                </c:pt>
                <c:pt idx="546">
                  <c:v>-0.14302312071569656</c:v>
                </c:pt>
                <c:pt idx="547">
                  <c:v>-0.14123678401301265</c:v>
                </c:pt>
                <c:pt idx="548">
                  <c:v>-0.14171604507958646</c:v>
                </c:pt>
                <c:pt idx="549">
                  <c:v>-0.14033998489601496</c:v>
                </c:pt>
                <c:pt idx="550">
                  <c:v>-0.13993333914255834</c:v>
                </c:pt>
                <c:pt idx="551">
                  <c:v>-0.13895303241547585</c:v>
                </c:pt>
                <c:pt idx="552">
                  <c:v>-0.13867346345997444</c:v>
                </c:pt>
                <c:pt idx="553">
                  <c:v>-0.13771857209248284</c:v>
                </c:pt>
                <c:pt idx="554">
                  <c:v>-0.13503180550714533</c:v>
                </c:pt>
                <c:pt idx="555">
                  <c:v>-0.13409143720227723</c:v>
                </c:pt>
                <c:pt idx="556">
                  <c:v>-0.13402245265481594</c:v>
                </c:pt>
                <c:pt idx="557">
                  <c:v>-0.13337254560241663</c:v>
                </c:pt>
                <c:pt idx="558">
                  <c:v>-0.13333260718020212</c:v>
                </c:pt>
                <c:pt idx="559">
                  <c:v>-0.13196743929359833</c:v>
                </c:pt>
                <c:pt idx="560">
                  <c:v>-0.13140467061693972</c:v>
                </c:pt>
                <c:pt idx="561">
                  <c:v>-0.13075476356454052</c:v>
                </c:pt>
                <c:pt idx="562">
                  <c:v>-0.12993421052631582</c:v>
                </c:pt>
                <c:pt idx="563">
                  <c:v>-0.12816239688625541</c:v>
                </c:pt>
                <c:pt idx="564">
                  <c:v>-0.12633975252701291</c:v>
                </c:pt>
                <c:pt idx="565">
                  <c:v>-0.1253884919251772</c:v>
                </c:pt>
                <c:pt idx="566">
                  <c:v>-0.124764000232369</c:v>
                </c:pt>
                <c:pt idx="567">
                  <c:v>-0.12465507726269309</c:v>
                </c:pt>
                <c:pt idx="568">
                  <c:v>-0.1237473858487278</c:v>
                </c:pt>
                <c:pt idx="569">
                  <c:v>-0.12105698849773439</c:v>
                </c:pt>
                <c:pt idx="570">
                  <c:v>-0.11962283606366919</c:v>
                </c:pt>
                <c:pt idx="571">
                  <c:v>-0.11877323690019748</c:v>
                </c:pt>
                <c:pt idx="572">
                  <c:v>-0.11833391425583828</c:v>
                </c:pt>
                <c:pt idx="573">
                  <c:v>-0.11612277797141857</c:v>
                </c:pt>
                <c:pt idx="574">
                  <c:v>-0.11455065644243057</c:v>
                </c:pt>
                <c:pt idx="575">
                  <c:v>-0.11335976530730796</c:v>
                </c:pt>
                <c:pt idx="576">
                  <c:v>-0.11295311955385157</c:v>
                </c:pt>
                <c:pt idx="577">
                  <c:v>-0.11066573719065886</c:v>
                </c:pt>
                <c:pt idx="578">
                  <c:v>-0.10933687696061356</c:v>
                </c:pt>
                <c:pt idx="579">
                  <c:v>-0.11678357732078537</c:v>
                </c:pt>
                <c:pt idx="580">
                  <c:v>-0.11591219356337856</c:v>
                </c:pt>
                <c:pt idx="581">
                  <c:v>-0.11375188799814107</c:v>
                </c:pt>
                <c:pt idx="582">
                  <c:v>-0.11224148948530266</c:v>
                </c:pt>
                <c:pt idx="583">
                  <c:v>-0.11136284419658415</c:v>
                </c:pt>
                <c:pt idx="584">
                  <c:v>-0.11012475310793546</c:v>
                </c:pt>
                <c:pt idx="585">
                  <c:v>-0.10918438480306736</c:v>
                </c:pt>
                <c:pt idx="586">
                  <c:v>-0.10798260137097715</c:v>
                </c:pt>
                <c:pt idx="587">
                  <c:v>-0.10710032531660274</c:v>
                </c:pt>
                <c:pt idx="588">
                  <c:v>-0.10671909492273723</c:v>
                </c:pt>
                <c:pt idx="589">
                  <c:v>-0.10578961891483685</c:v>
                </c:pt>
                <c:pt idx="590">
                  <c:v>-0.10656297199953535</c:v>
                </c:pt>
                <c:pt idx="591">
                  <c:v>-0.10686432554897174</c:v>
                </c:pt>
                <c:pt idx="592">
                  <c:v>-0.10647583362379465</c:v>
                </c:pt>
                <c:pt idx="593">
                  <c:v>-0.10644315673289184</c:v>
                </c:pt>
                <c:pt idx="594">
                  <c:v>-0.10329165214360403</c:v>
                </c:pt>
                <c:pt idx="595">
                  <c:v>-0.10120033112582794</c:v>
                </c:pt>
                <c:pt idx="596">
                  <c:v>-0.10104783896828162</c:v>
                </c:pt>
                <c:pt idx="597">
                  <c:v>-0.10020187057046592</c:v>
                </c:pt>
                <c:pt idx="598">
                  <c:v>-9.9217933077727527E-2</c:v>
                </c:pt>
                <c:pt idx="599">
                  <c:v>-9.6001074706634215E-2</c:v>
                </c:pt>
                <c:pt idx="600">
                  <c:v>-9.4628645288718505E-2</c:v>
                </c:pt>
                <c:pt idx="601">
                  <c:v>-9.3121877541536002E-2</c:v>
                </c:pt>
                <c:pt idx="602">
                  <c:v>-9.1255663994423197E-2</c:v>
                </c:pt>
                <c:pt idx="603">
                  <c:v>-8.9712588590681985E-2</c:v>
                </c:pt>
                <c:pt idx="604">
                  <c:v>-8.7984344138491988E-2</c:v>
                </c:pt>
                <c:pt idx="605">
                  <c:v>-8.4005024979667775E-2</c:v>
                </c:pt>
                <c:pt idx="606">
                  <c:v>-7.9727983037062966E-2</c:v>
                </c:pt>
                <c:pt idx="607">
                  <c:v>-7.7309893110259154E-2</c:v>
                </c:pt>
                <c:pt idx="608">
                  <c:v>-7.4419803648193339E-2</c:v>
                </c:pt>
                <c:pt idx="609">
                  <c:v>-7.2687928430347326E-2</c:v>
                </c:pt>
                <c:pt idx="610">
                  <c:v>-7.0789037992331827E-2</c:v>
                </c:pt>
                <c:pt idx="611">
                  <c:v>-6.7379749041477921E-2</c:v>
                </c:pt>
                <c:pt idx="612">
                  <c:v>-6.4613105611711519E-2</c:v>
                </c:pt>
                <c:pt idx="613">
                  <c:v>-6.5440920181247919E-2</c:v>
                </c:pt>
                <c:pt idx="614">
                  <c:v>-6.25471999535262E-2</c:v>
                </c:pt>
                <c:pt idx="615">
                  <c:v>-6.1821046822353898E-2</c:v>
                </c:pt>
                <c:pt idx="616">
                  <c:v>-5.9421110723829496E-2</c:v>
                </c:pt>
                <c:pt idx="617">
                  <c:v>-5.7355205065644177E-2</c:v>
                </c:pt>
                <c:pt idx="618">
                  <c:v>-5.6679882653653979E-2</c:v>
                </c:pt>
                <c:pt idx="619">
                  <c:v>-5.4541361682351686E-2</c:v>
                </c:pt>
                <c:pt idx="620">
                  <c:v>-5.4102039037992378E-2</c:v>
                </c:pt>
                <c:pt idx="621">
                  <c:v>-5.384062391077038E-2</c:v>
                </c:pt>
                <c:pt idx="622">
                  <c:v>-5.3691762518879971E-2</c:v>
                </c:pt>
                <c:pt idx="623">
                  <c:v>-5.2907517137213866E-2</c:v>
                </c:pt>
                <c:pt idx="624">
                  <c:v>-5.171662600209137E-2</c:v>
                </c:pt>
                <c:pt idx="625">
                  <c:v>-5.1353549436505164E-2</c:v>
                </c:pt>
                <c:pt idx="626">
                  <c:v>-5.0819826885093455E-2</c:v>
                </c:pt>
                <c:pt idx="627">
                  <c:v>-4.9316689903566857E-2</c:v>
                </c:pt>
                <c:pt idx="628">
                  <c:v>-4.8953613337980761E-2</c:v>
                </c:pt>
                <c:pt idx="629">
                  <c:v>-4.787164517253395E-2</c:v>
                </c:pt>
                <c:pt idx="630">
                  <c:v>-4.7181799697920357E-2</c:v>
                </c:pt>
                <c:pt idx="631">
                  <c:v>-4.6274108283954951E-2</c:v>
                </c:pt>
                <c:pt idx="632">
                  <c:v>-4.4229987219704836E-2</c:v>
                </c:pt>
                <c:pt idx="633">
                  <c:v>-4.3750726153131247E-2</c:v>
                </c:pt>
                <c:pt idx="634">
                  <c:v>-4.315164981991404E-2</c:v>
                </c:pt>
                <c:pt idx="635">
                  <c:v>-4.2414604391774247E-2</c:v>
                </c:pt>
                <c:pt idx="636">
                  <c:v>-4.1550482165679137E-2</c:v>
                </c:pt>
                <c:pt idx="637">
                  <c:v>-4.0348698733588928E-2</c:v>
                </c:pt>
                <c:pt idx="638">
                  <c:v>-3.9404699663064924E-2</c:v>
                </c:pt>
                <c:pt idx="639">
                  <c:v>-3.6932148251423214E-2</c:v>
                </c:pt>
                <c:pt idx="640">
                  <c:v>-3.6707040780759814E-2</c:v>
                </c:pt>
                <c:pt idx="641">
                  <c:v>-3.6369379574764715E-2</c:v>
                </c:pt>
                <c:pt idx="642">
                  <c:v>-3.4114674102474818E-2</c:v>
                </c:pt>
                <c:pt idx="643">
                  <c:v>-3.2836644591611397E-2</c:v>
                </c:pt>
                <c:pt idx="644">
                  <c:v>-3.4310735447891316E-2</c:v>
                </c:pt>
                <c:pt idx="645">
                  <c:v>-3.1235476937376605E-2</c:v>
                </c:pt>
                <c:pt idx="646">
                  <c:v>-2.9834001394213994E-2</c:v>
                </c:pt>
                <c:pt idx="647">
                  <c:v>-2.9282125014523097E-2</c:v>
                </c:pt>
                <c:pt idx="648">
                  <c:v>-2.8929940745904492E-2</c:v>
                </c:pt>
                <c:pt idx="649">
                  <c:v>-2.6740589055419983E-2</c:v>
                </c:pt>
                <c:pt idx="650">
                  <c:v>-2.4743667944696179E-2</c:v>
                </c:pt>
                <c:pt idx="651">
                  <c:v>-2.4805390960845775E-2</c:v>
                </c:pt>
                <c:pt idx="652">
                  <c:v>-2.3382130823748182E-2</c:v>
                </c:pt>
                <c:pt idx="653">
                  <c:v>-2.2267485767398676E-2</c:v>
                </c:pt>
                <c:pt idx="654">
                  <c:v>-2.1134686882769871E-2</c:v>
                </c:pt>
                <c:pt idx="655">
                  <c:v>-2.0027303357732062E-2</c:v>
                </c:pt>
                <c:pt idx="656">
                  <c:v>-1.732601370977116E-2</c:v>
                </c:pt>
                <c:pt idx="657">
                  <c:v>-1.6269460903915456E-2</c:v>
                </c:pt>
                <c:pt idx="658">
                  <c:v>-1.515481584756595E-2</c:v>
                </c:pt>
                <c:pt idx="659">
                  <c:v>-1.3982078540722753E-2</c:v>
                </c:pt>
                <c:pt idx="660">
                  <c:v>-1.183629603810854E-2</c:v>
                </c:pt>
                <c:pt idx="661">
                  <c:v>-1.0358574416172828E-2</c:v>
                </c:pt>
                <c:pt idx="662">
                  <c:v>-8.8518066689903252E-3</c:v>
                </c:pt>
                <c:pt idx="663">
                  <c:v>-7.1526083420471176E-3</c:v>
                </c:pt>
                <c:pt idx="664">
                  <c:v>-6.1178401301267282E-3</c:v>
                </c:pt>
                <c:pt idx="665">
                  <c:v>-6.5753166027652243E-3</c:v>
                </c:pt>
                <c:pt idx="666">
                  <c:v>-4.6183339142559232E-3</c:v>
                </c:pt>
                <c:pt idx="667">
                  <c:v>-1.793598233995608E-3</c:v>
                </c:pt>
                <c:pt idx="668">
                  <c:v>-2.1784593935170182E-4</c:v>
                </c:pt>
                <c:pt idx="669">
                  <c:v>1.4232601370978148E-3</c:v>
                </c:pt>
                <c:pt idx="670">
                  <c:v>2.7956895550131922E-3</c:v>
                </c:pt>
                <c:pt idx="671">
                  <c:v>4.9160566980364084E-3</c:v>
                </c:pt>
                <c:pt idx="672">
                  <c:v>6.7132856976879207E-3</c:v>
                </c:pt>
                <c:pt idx="673">
                  <c:v>1.1146450563494836E-2</c:v>
                </c:pt>
                <c:pt idx="674">
                  <c:v>1.7198936911815954E-2</c:v>
                </c:pt>
                <c:pt idx="675">
                  <c:v>1.934835018008596E-2</c:v>
                </c:pt>
                <c:pt idx="676">
                  <c:v>2.4954252352736184E-2</c:v>
                </c:pt>
                <c:pt idx="677">
                  <c:v>2.7760834204717089E-2</c:v>
                </c:pt>
                <c:pt idx="678">
                  <c:v>3.0313262460787804E-2</c:v>
                </c:pt>
                <c:pt idx="679">
                  <c:v>3.3820582084350015E-2</c:v>
                </c:pt>
                <c:pt idx="680">
                  <c:v>3.568679563146282E-2</c:v>
                </c:pt>
                <c:pt idx="681">
                  <c:v>3.5755780178924113E-2</c:v>
                </c:pt>
                <c:pt idx="682">
                  <c:v>3.6895840594864504E-2</c:v>
                </c:pt>
                <c:pt idx="683">
                  <c:v>3.7375101661438315E-2</c:v>
                </c:pt>
                <c:pt idx="684">
                  <c:v>3.8384454513767707E-2</c:v>
                </c:pt>
                <c:pt idx="685">
                  <c:v>4.0232514232601435E-2</c:v>
                </c:pt>
                <c:pt idx="686">
                  <c:v>4.0199837341698519E-2</c:v>
                </c:pt>
                <c:pt idx="687">
                  <c:v>3.9883960729638623E-2</c:v>
                </c:pt>
                <c:pt idx="688">
                  <c:v>4.0737190658766131E-2</c:v>
                </c:pt>
                <c:pt idx="689">
                  <c:v>4.4927094225630348E-2</c:v>
                </c:pt>
                <c:pt idx="690">
                  <c:v>4.4963401882188947E-2</c:v>
                </c:pt>
                <c:pt idx="691">
                  <c:v>4.5424509120483458E-2</c:v>
                </c:pt>
                <c:pt idx="692">
                  <c:v>4.5500755199256337E-2</c:v>
                </c:pt>
                <c:pt idx="693">
                  <c:v>4.5417247589171428E-2</c:v>
                </c:pt>
                <c:pt idx="694">
                  <c:v>4.5551585918438553E-2</c:v>
                </c:pt>
                <c:pt idx="695">
                  <c:v>4.5631462762867336E-2</c:v>
                </c:pt>
                <c:pt idx="696">
                  <c:v>4.4429679330777239E-2</c:v>
                </c:pt>
                <c:pt idx="697">
                  <c:v>4.386691065411874E-2</c:v>
                </c:pt>
                <c:pt idx="698">
                  <c:v>4.3561926339026336E-2</c:v>
                </c:pt>
                <c:pt idx="699">
                  <c:v>4.395041826420365E-2</c:v>
                </c:pt>
                <c:pt idx="700">
                  <c:v>4.4901678866039241E-2</c:v>
                </c:pt>
                <c:pt idx="701">
                  <c:v>4.4959771116533043E-2</c:v>
                </c:pt>
                <c:pt idx="702">
                  <c:v>4.4640263738817243E-2</c:v>
                </c:pt>
                <c:pt idx="703">
                  <c:v>4.5754908795166749E-2</c:v>
                </c:pt>
                <c:pt idx="704">
                  <c:v>4.6666230974787837E-2</c:v>
                </c:pt>
                <c:pt idx="705">
                  <c:v>4.8212937144184842E-2</c:v>
                </c:pt>
                <c:pt idx="706">
                  <c:v>4.8249244800743663E-2</c:v>
                </c:pt>
                <c:pt idx="707">
                  <c:v>4.9966596955966169E-2</c:v>
                </c:pt>
                <c:pt idx="708">
                  <c:v>4.9879458580225355E-2</c:v>
                </c:pt>
                <c:pt idx="709">
                  <c:v>5.0209858254908868E-2</c:v>
                </c:pt>
                <c:pt idx="710">
                  <c:v>5.1771087486929268E-2</c:v>
                </c:pt>
                <c:pt idx="711">
                  <c:v>5.0721796212385151E-2</c:v>
                </c:pt>
                <c:pt idx="712">
                  <c:v>5.0046473800394953E-2</c:v>
                </c:pt>
                <c:pt idx="713">
                  <c:v>5.0627396305332972E-2</c:v>
                </c:pt>
                <c:pt idx="714">
                  <c:v>5.1854595097014178E-2</c:v>
                </c:pt>
                <c:pt idx="715">
                  <c:v>5.1832810503078752E-2</c:v>
                </c:pt>
                <c:pt idx="716">
                  <c:v>5.3582839549204175E-2</c:v>
                </c:pt>
                <c:pt idx="717">
                  <c:v>5.5278407110491479E-2</c:v>
                </c:pt>
                <c:pt idx="718">
                  <c:v>5.6200621587080279E-2</c:v>
                </c:pt>
                <c:pt idx="719">
                  <c:v>5.8095881259439874E-2</c:v>
                </c:pt>
                <c:pt idx="720">
                  <c:v>5.9254095503659787E-2</c:v>
                </c:pt>
                <c:pt idx="721">
                  <c:v>5.9740618101545184E-2</c:v>
                </c:pt>
                <c:pt idx="722">
                  <c:v>6.1109416753805101E-2</c:v>
                </c:pt>
                <c:pt idx="723">
                  <c:v>6.215144649703741E-2</c:v>
                </c:pt>
                <c:pt idx="724">
                  <c:v>6.3665475775531499E-2</c:v>
                </c:pt>
                <c:pt idx="725">
                  <c:v>6.5175874288369906E-2</c:v>
                </c:pt>
                <c:pt idx="726">
                  <c:v>6.5531689322644304E-2</c:v>
                </c:pt>
                <c:pt idx="727">
                  <c:v>6.6824241896130898E-2</c:v>
                </c:pt>
                <c:pt idx="728">
                  <c:v>6.7321656790984008E-2</c:v>
                </c:pt>
                <c:pt idx="729">
                  <c:v>6.6718949692111007E-2</c:v>
                </c:pt>
                <c:pt idx="730">
                  <c:v>6.6711688160799198E-2</c:v>
                </c:pt>
                <c:pt idx="731">
                  <c:v>6.6334088532589597E-2</c:v>
                </c:pt>
                <c:pt idx="732">
                  <c:v>6.7931625421168818E-2</c:v>
                </c:pt>
                <c:pt idx="733">
                  <c:v>6.8933716742186624E-2</c:v>
                </c:pt>
                <c:pt idx="734">
                  <c:v>7.0611130475194628E-2</c:v>
                </c:pt>
                <c:pt idx="735">
                  <c:v>7.1885529220401923E-2</c:v>
                </c:pt>
                <c:pt idx="736">
                  <c:v>7.1689467874985535E-2</c:v>
                </c:pt>
                <c:pt idx="737">
                  <c:v>7.2422882537469535E-2</c:v>
                </c:pt>
                <c:pt idx="738">
                  <c:v>7.5679679330777239E-2</c:v>
                </c:pt>
                <c:pt idx="739">
                  <c:v>7.9600906239107649E-2</c:v>
                </c:pt>
                <c:pt idx="740">
                  <c:v>7.578497153479713E-2</c:v>
                </c:pt>
                <c:pt idx="741">
                  <c:v>7.6641832229580542E-2</c:v>
                </c:pt>
                <c:pt idx="742">
                  <c:v>7.8054200069710644E-2</c:v>
                </c:pt>
                <c:pt idx="743">
                  <c:v>7.948835250377595E-2</c:v>
                </c:pt>
                <c:pt idx="744">
                  <c:v>8.0998751016614357E-2</c:v>
                </c:pt>
                <c:pt idx="745">
                  <c:v>8.1463489020564772E-2</c:v>
                </c:pt>
                <c:pt idx="746">
                  <c:v>8.2792349250609965E-2</c:v>
                </c:pt>
                <c:pt idx="747">
                  <c:v>8.6325084233763283E-2</c:v>
                </c:pt>
                <c:pt idx="748">
                  <c:v>8.8383728360636793E-2</c:v>
                </c:pt>
                <c:pt idx="749">
                  <c:v>9.1687725107470586E-2</c:v>
                </c:pt>
                <c:pt idx="750">
                  <c:v>9.4294614848379199E-2</c:v>
                </c:pt>
                <c:pt idx="751">
                  <c:v>9.62515975368885E-2</c:v>
                </c:pt>
                <c:pt idx="752">
                  <c:v>9.628064366213529E-2</c:v>
                </c:pt>
                <c:pt idx="753">
                  <c:v>9.8041565005228204E-2</c:v>
                </c:pt>
                <c:pt idx="754">
                  <c:v>0.10039067038457072</c:v>
                </c:pt>
                <c:pt idx="755">
                  <c:v>9.9973132334146619E-2</c:v>
                </c:pt>
                <c:pt idx="756">
                  <c:v>0.10161786917625193</c:v>
                </c:pt>
                <c:pt idx="757">
                  <c:v>0.10204629952364352</c:v>
                </c:pt>
                <c:pt idx="758">
                  <c:v>0.10073196235622173</c:v>
                </c:pt>
                <c:pt idx="759">
                  <c:v>0.10196279191355861</c:v>
                </c:pt>
                <c:pt idx="760">
                  <c:v>0.10159608458231673</c:v>
                </c:pt>
                <c:pt idx="761">
                  <c:v>0.10146174625304982</c:v>
                </c:pt>
                <c:pt idx="762">
                  <c:v>0.10104420820262572</c:v>
                </c:pt>
                <c:pt idx="763">
                  <c:v>0.10073922388753331</c:v>
                </c:pt>
                <c:pt idx="764">
                  <c:v>0.10132014639247111</c:v>
                </c:pt>
                <c:pt idx="765">
                  <c:v>0.10215522249331932</c:v>
                </c:pt>
                <c:pt idx="766">
                  <c:v>0.10022728593005703</c:v>
                </c:pt>
                <c:pt idx="767">
                  <c:v>0.10149805390960842</c:v>
                </c:pt>
                <c:pt idx="768">
                  <c:v>0.10286322179621221</c:v>
                </c:pt>
                <c:pt idx="769">
                  <c:v>0.10355669803648193</c:v>
                </c:pt>
                <c:pt idx="770">
                  <c:v>0.10429737423027752</c:v>
                </c:pt>
                <c:pt idx="771">
                  <c:v>0.10403958986871165</c:v>
                </c:pt>
                <c:pt idx="772">
                  <c:v>0.10375275938189832</c:v>
                </c:pt>
                <c:pt idx="773">
                  <c:v>0.10418118972929014</c:v>
                </c:pt>
                <c:pt idx="774">
                  <c:v>0.10540475775531544</c:v>
                </c:pt>
                <c:pt idx="775">
                  <c:v>0.10591669571279172</c:v>
                </c:pt>
                <c:pt idx="776">
                  <c:v>0.10599657255722095</c:v>
                </c:pt>
                <c:pt idx="777">
                  <c:v>0.10594937260369464</c:v>
                </c:pt>
                <c:pt idx="778">
                  <c:v>0.10601109561984434</c:v>
                </c:pt>
                <c:pt idx="779">
                  <c:v>0.10626524921575453</c:v>
                </c:pt>
                <c:pt idx="780">
                  <c:v>0.10658112582781465</c:v>
                </c:pt>
                <c:pt idx="781">
                  <c:v>0.10653755663994424</c:v>
                </c:pt>
                <c:pt idx="782">
                  <c:v>0.10686795631462753</c:v>
                </c:pt>
                <c:pt idx="783">
                  <c:v>0.10641774137330073</c:v>
                </c:pt>
                <c:pt idx="784">
                  <c:v>0.10819318577901704</c:v>
                </c:pt>
                <c:pt idx="785">
                  <c:v>0.10845823167189494</c:v>
                </c:pt>
                <c:pt idx="786">
                  <c:v>0.10828758568606944</c:v>
                </c:pt>
                <c:pt idx="787">
                  <c:v>0.11018284535842926</c:v>
                </c:pt>
                <c:pt idx="788">
                  <c:v>0.10983066108981054</c:v>
                </c:pt>
                <c:pt idx="789">
                  <c:v>0.11111595213198555</c:v>
                </c:pt>
                <c:pt idx="790">
                  <c:v>0.11154438247937715</c:v>
                </c:pt>
                <c:pt idx="791">
                  <c:v>0.11593397815731366</c:v>
                </c:pt>
                <c:pt idx="792">
                  <c:v>0.11638419309864068</c:v>
                </c:pt>
                <c:pt idx="793">
                  <c:v>0.11811969908214248</c:v>
                </c:pt>
                <c:pt idx="794">
                  <c:v>0.12005126641106068</c:v>
                </c:pt>
                <c:pt idx="795">
                  <c:v>0.12263637155803409</c:v>
                </c:pt>
                <c:pt idx="796">
                  <c:v>0.1220264029278495</c:v>
                </c:pt>
                <c:pt idx="797">
                  <c:v>0.12331169397002451</c:v>
                </c:pt>
                <c:pt idx="798">
                  <c:v>0.12282880213779479</c:v>
                </c:pt>
                <c:pt idx="799">
                  <c:v>0.1211404961078193</c:v>
                </c:pt>
                <c:pt idx="800">
                  <c:v>0.1223640641338446</c:v>
                </c:pt>
                <c:pt idx="801">
                  <c:v>0.12346418612757071</c:v>
                </c:pt>
                <c:pt idx="802">
                  <c:v>0.12668830602997549</c:v>
                </c:pt>
                <c:pt idx="803">
                  <c:v>0.12893938073660971</c:v>
                </c:pt>
                <c:pt idx="804">
                  <c:v>0.13483211339607304</c:v>
                </c:pt>
                <c:pt idx="805">
                  <c:v>0.13600848146857203</c:v>
                </c:pt>
                <c:pt idx="806">
                  <c:v>0.13574706634135003</c:v>
                </c:pt>
                <c:pt idx="807">
                  <c:v>0.13180768560474032</c:v>
                </c:pt>
                <c:pt idx="808">
                  <c:v>0.13165156268153821</c:v>
                </c:pt>
                <c:pt idx="809">
                  <c:v>0.13376829905890553</c:v>
                </c:pt>
                <c:pt idx="810">
                  <c:v>0.13424029859416753</c:v>
                </c:pt>
                <c:pt idx="811">
                  <c:v>0.13359039154176844</c:v>
                </c:pt>
                <c:pt idx="812">
                  <c:v>0.13364122226095021</c:v>
                </c:pt>
                <c:pt idx="813">
                  <c:v>0.13802718717323104</c:v>
                </c:pt>
                <c:pt idx="814">
                  <c:v>0.14146915301498786</c:v>
                </c:pt>
                <c:pt idx="815">
                  <c:v>0.14085192285349146</c:v>
                </c:pt>
                <c:pt idx="816">
                  <c:v>0.14102983037062855</c:v>
                </c:pt>
                <c:pt idx="817">
                  <c:v>0.14244945974207046</c:v>
                </c:pt>
                <c:pt idx="818">
                  <c:v>0.14345518182874395</c:v>
                </c:pt>
                <c:pt idx="819">
                  <c:v>0.14455893458812596</c:v>
                </c:pt>
                <c:pt idx="820">
                  <c:v>0.14588416405251547</c:v>
                </c:pt>
                <c:pt idx="821">
                  <c:v>0.14667930173114896</c:v>
                </c:pt>
                <c:pt idx="822">
                  <c:v>0.15033911351225737</c:v>
                </c:pt>
                <c:pt idx="823">
                  <c:v>0.15001597536888567</c:v>
                </c:pt>
                <c:pt idx="824">
                  <c:v>0.15050975949808287</c:v>
                </c:pt>
                <c:pt idx="825">
                  <c:v>0.15376292552573489</c:v>
                </c:pt>
                <c:pt idx="826">
                  <c:v>0.15441283257813398</c:v>
                </c:pt>
                <c:pt idx="827">
                  <c:v>0.1562536307656559</c:v>
                </c:pt>
                <c:pt idx="828">
                  <c:v>0.15989528871848502</c:v>
                </c:pt>
                <c:pt idx="829">
                  <c:v>0.16308310096433143</c:v>
                </c:pt>
                <c:pt idx="830">
                  <c:v>0.16307947019867552</c:v>
                </c:pt>
                <c:pt idx="831">
                  <c:v>0.16062144184965721</c:v>
                </c:pt>
                <c:pt idx="832">
                  <c:v>0.16428488439642153</c:v>
                </c:pt>
                <c:pt idx="833">
                  <c:v>0.16475325316602762</c:v>
                </c:pt>
                <c:pt idx="834">
                  <c:v>0.16505460671546412</c:v>
                </c:pt>
                <c:pt idx="835">
                  <c:v>0.16478956082258622</c:v>
                </c:pt>
                <c:pt idx="836">
                  <c:v>0.1637765772046007</c:v>
                </c:pt>
                <c:pt idx="837">
                  <c:v>0.16245860927152322</c:v>
                </c:pt>
                <c:pt idx="838">
                  <c:v>0.1638709771116531</c:v>
                </c:pt>
                <c:pt idx="839">
                  <c:v>0.16901940281166494</c:v>
                </c:pt>
                <c:pt idx="840">
                  <c:v>0.17122690833042875</c:v>
                </c:pt>
                <c:pt idx="841">
                  <c:v>0.17374665969559677</c:v>
                </c:pt>
                <c:pt idx="842">
                  <c:v>0.17537324270942256</c:v>
                </c:pt>
                <c:pt idx="843">
                  <c:v>0.17784216335540859</c:v>
                </c:pt>
                <c:pt idx="844">
                  <c:v>0.17705065644243057</c:v>
                </c:pt>
                <c:pt idx="845">
                  <c:v>0.17541318113163706</c:v>
                </c:pt>
                <c:pt idx="846">
                  <c:v>0.17355785988149175</c:v>
                </c:pt>
                <c:pt idx="847">
                  <c:v>0.17459625885906815</c:v>
                </c:pt>
                <c:pt idx="848">
                  <c:v>0.17632087254560225</c:v>
                </c:pt>
                <c:pt idx="849">
                  <c:v>0.18096099105379326</c:v>
                </c:pt>
                <c:pt idx="850">
                  <c:v>0.18410523411176949</c:v>
                </c:pt>
                <c:pt idx="851">
                  <c:v>0.18581532473568041</c:v>
                </c:pt>
                <c:pt idx="852">
                  <c:v>0.19059704310444969</c:v>
                </c:pt>
                <c:pt idx="853">
                  <c:v>0.1912796270477517</c:v>
                </c:pt>
                <c:pt idx="854">
                  <c:v>0.19273556407575221</c:v>
                </c:pt>
                <c:pt idx="855">
                  <c:v>0.19504836179853591</c:v>
                </c:pt>
                <c:pt idx="856">
                  <c:v>0.19711789822237713</c:v>
                </c:pt>
                <c:pt idx="857">
                  <c:v>0.19959408039967474</c:v>
                </c:pt>
                <c:pt idx="858">
                  <c:v>0.19985186476124084</c:v>
                </c:pt>
                <c:pt idx="859">
                  <c:v>0.20191050888811413</c:v>
                </c:pt>
                <c:pt idx="860">
                  <c:v>0.20207026257697214</c:v>
                </c:pt>
                <c:pt idx="861">
                  <c:v>0.20243696990821425</c:v>
                </c:pt>
                <c:pt idx="862">
                  <c:v>0.20246964679911694</c:v>
                </c:pt>
                <c:pt idx="863">
                  <c:v>0.20304693853839884</c:v>
                </c:pt>
                <c:pt idx="864">
                  <c:v>0.20695001161845017</c:v>
                </c:pt>
                <c:pt idx="865">
                  <c:v>0.20912120948065538</c:v>
                </c:pt>
                <c:pt idx="866">
                  <c:v>0.21246151388404799</c:v>
                </c:pt>
                <c:pt idx="867">
                  <c:v>0.21622298710352039</c:v>
                </c:pt>
                <c:pt idx="868">
                  <c:v>0.217885877773905</c:v>
                </c:pt>
                <c:pt idx="869">
                  <c:v>0.2198029220401998</c:v>
                </c:pt>
                <c:pt idx="870">
                  <c:v>0.2216655048216567</c:v>
                </c:pt>
                <c:pt idx="871">
                  <c:v>0.22252599628209602</c:v>
                </c:pt>
                <c:pt idx="872">
                  <c:v>0.22439947136052063</c:v>
                </c:pt>
                <c:pt idx="873">
                  <c:v>0.22334654932032061</c:v>
                </c:pt>
                <c:pt idx="874">
                  <c:v>0.2232448878819564</c:v>
                </c:pt>
                <c:pt idx="875">
                  <c:v>0.22550685488555811</c:v>
                </c:pt>
                <c:pt idx="876">
                  <c:v>0.22804112931334952</c:v>
                </c:pt>
                <c:pt idx="877">
                  <c:v>0.23192604856512133</c:v>
                </c:pt>
                <c:pt idx="878">
                  <c:v>0.23172272568839314</c:v>
                </c:pt>
                <c:pt idx="879">
                  <c:v>0.23366518531427904</c:v>
                </c:pt>
                <c:pt idx="880">
                  <c:v>0.23352721621935624</c:v>
                </c:pt>
                <c:pt idx="881">
                  <c:v>0.23532081445335185</c:v>
                </c:pt>
                <c:pt idx="882">
                  <c:v>0.23467090740095276</c:v>
                </c:pt>
                <c:pt idx="883">
                  <c:v>0.23729958173579657</c:v>
                </c:pt>
                <c:pt idx="884">
                  <c:v>0.23618130591379116</c:v>
                </c:pt>
                <c:pt idx="885">
                  <c:v>0.23435140002323696</c:v>
                </c:pt>
                <c:pt idx="886">
                  <c:v>0.23480887649587534</c:v>
                </c:pt>
                <c:pt idx="887">
                  <c:v>0.23468543046357615</c:v>
                </c:pt>
                <c:pt idx="888">
                  <c:v>0.23465638433832936</c:v>
                </c:pt>
                <c:pt idx="889">
                  <c:v>0.23364340072034384</c:v>
                </c:pt>
                <c:pt idx="890">
                  <c:v>0.23564032183106765</c:v>
                </c:pt>
                <c:pt idx="891">
                  <c:v>0.23764087370744758</c:v>
                </c:pt>
                <c:pt idx="892">
                  <c:v>0.23585090623910765</c:v>
                </c:pt>
                <c:pt idx="893">
                  <c:v>0.23565484489369104</c:v>
                </c:pt>
                <c:pt idx="894">
                  <c:v>0.23684210526315796</c:v>
                </c:pt>
                <c:pt idx="895">
                  <c:v>0.23734678168932266</c:v>
                </c:pt>
                <c:pt idx="896">
                  <c:v>0.23943447194144296</c:v>
                </c:pt>
                <c:pt idx="897">
                  <c:v>0.24070160915533867</c:v>
                </c:pt>
                <c:pt idx="898">
                  <c:v>0.24634381898454749</c:v>
                </c:pt>
                <c:pt idx="899">
                  <c:v>0.24880910886487739</c:v>
                </c:pt>
                <c:pt idx="900">
                  <c:v>0.24826449401649819</c:v>
                </c:pt>
                <c:pt idx="901">
                  <c:v>0.24950621587080279</c:v>
                </c:pt>
                <c:pt idx="902">
                  <c:v>0.24748751016614379</c:v>
                </c:pt>
                <c:pt idx="903">
                  <c:v>0.2494916928081794</c:v>
                </c:pt>
                <c:pt idx="904">
                  <c:v>0.25370338096897882</c:v>
                </c:pt>
                <c:pt idx="905">
                  <c:v>0.2531188276983849</c:v>
                </c:pt>
                <c:pt idx="906">
                  <c:v>0.25288645869640991</c:v>
                </c:pt>
                <c:pt idx="907">
                  <c:v>0.25330399674683379</c:v>
                </c:pt>
                <c:pt idx="908">
                  <c:v>0.25312971999535261</c:v>
                </c:pt>
                <c:pt idx="909">
                  <c:v>0.25230553619147211</c:v>
                </c:pt>
                <c:pt idx="910">
                  <c:v>0.25331488904380151</c:v>
                </c:pt>
                <c:pt idx="911">
                  <c:v>0.25536990240501911</c:v>
                </c:pt>
                <c:pt idx="912">
                  <c:v>0.25484344138491921</c:v>
                </c:pt>
                <c:pt idx="913">
                  <c:v>0.25888811432554903</c:v>
                </c:pt>
                <c:pt idx="914">
                  <c:v>0.25832534564889031</c:v>
                </c:pt>
                <c:pt idx="915">
                  <c:v>0.26347377134890215</c:v>
                </c:pt>
                <c:pt idx="916">
                  <c:v>0.27243087022191226</c:v>
                </c:pt>
                <c:pt idx="917">
                  <c:v>0.27324779249448117</c:v>
                </c:pt>
                <c:pt idx="918">
                  <c:v>0.27229290112698967</c:v>
                </c:pt>
                <c:pt idx="919">
                  <c:v>0.27550975949808287</c:v>
                </c:pt>
                <c:pt idx="920">
                  <c:v>0.27690034274427799</c:v>
                </c:pt>
                <c:pt idx="921">
                  <c:v>0.27493972929011257</c:v>
                </c:pt>
                <c:pt idx="922">
                  <c:v>0.2778661264087372</c:v>
                </c:pt>
                <c:pt idx="923">
                  <c:v>0.27517209829208777</c:v>
                </c:pt>
                <c:pt idx="924">
                  <c:v>0.27406471476705008</c:v>
                </c:pt>
                <c:pt idx="925">
                  <c:v>0.27127628674334847</c:v>
                </c:pt>
                <c:pt idx="926">
                  <c:v>0.27043031834553255</c:v>
                </c:pt>
                <c:pt idx="927">
                  <c:v>0.26956982688509346</c:v>
                </c:pt>
                <c:pt idx="928">
                  <c:v>0.26869118159637506</c:v>
                </c:pt>
                <c:pt idx="929">
                  <c:v>0.26918496572557227</c:v>
                </c:pt>
                <c:pt idx="930">
                  <c:v>0.27150139421401187</c:v>
                </c:pt>
                <c:pt idx="931">
                  <c:v>0.27356003834088538</c:v>
                </c:pt>
                <c:pt idx="932">
                  <c:v>0.27383960729638668</c:v>
                </c:pt>
                <c:pt idx="933">
                  <c:v>0.27554969792029738</c:v>
                </c:pt>
                <c:pt idx="934">
                  <c:v>0.27741954223306609</c:v>
                </c:pt>
                <c:pt idx="935">
                  <c:v>0.28176193795747628</c:v>
                </c:pt>
                <c:pt idx="936">
                  <c:v>0.28700476356454052</c:v>
                </c:pt>
                <c:pt idx="937">
                  <c:v>0.2862931334959915</c:v>
                </c:pt>
                <c:pt idx="938">
                  <c:v>0.28728433252004182</c:v>
                </c:pt>
                <c:pt idx="939">
                  <c:v>0.28857325432787273</c:v>
                </c:pt>
                <c:pt idx="940">
                  <c:v>0.28900531544092001</c:v>
                </c:pt>
                <c:pt idx="941">
                  <c:v>0.2879632856976877</c:v>
                </c:pt>
                <c:pt idx="942">
                  <c:v>0.28543264203555241</c:v>
                </c:pt>
                <c:pt idx="943">
                  <c:v>0.28774180899268043</c:v>
                </c:pt>
                <c:pt idx="944">
                  <c:v>0.29231657371906583</c:v>
                </c:pt>
                <c:pt idx="945">
                  <c:v>0.29410654118740553</c:v>
                </c:pt>
                <c:pt idx="946">
                  <c:v>0.29463663297316134</c:v>
                </c:pt>
                <c:pt idx="947">
                  <c:v>0.29664807714650876</c:v>
                </c:pt>
                <c:pt idx="948">
                  <c:v>0.29823835250377595</c:v>
                </c:pt>
                <c:pt idx="949">
                  <c:v>0.30111754966887427</c:v>
                </c:pt>
                <c:pt idx="950">
                  <c:v>0.30178924131520857</c:v>
                </c:pt>
                <c:pt idx="951">
                  <c:v>0.30278044033925888</c:v>
                </c:pt>
                <c:pt idx="952">
                  <c:v>0.30185459509701418</c:v>
                </c:pt>
                <c:pt idx="953">
                  <c:v>0.30184007203439056</c:v>
                </c:pt>
                <c:pt idx="954">
                  <c:v>0.30233748692924367</c:v>
                </c:pt>
                <c:pt idx="955">
                  <c:v>0.30051121180434537</c:v>
                </c:pt>
                <c:pt idx="956">
                  <c:v>0.30035508888114326</c:v>
                </c:pt>
                <c:pt idx="957">
                  <c:v>0.30202161031718355</c:v>
                </c:pt>
                <c:pt idx="958">
                  <c:v>0.30061650400836526</c:v>
                </c:pt>
                <c:pt idx="959">
                  <c:v>0.30289299407459036</c:v>
                </c:pt>
                <c:pt idx="960">
                  <c:v>0.30415286975717426</c:v>
                </c:pt>
                <c:pt idx="961">
                  <c:v>0.30420370047635648</c:v>
                </c:pt>
                <c:pt idx="962">
                  <c:v>0.30377163936330875</c:v>
                </c:pt>
                <c:pt idx="963">
                  <c:v>0.30196351806668997</c:v>
                </c:pt>
                <c:pt idx="964">
                  <c:v>0.29924770535610534</c:v>
                </c:pt>
                <c:pt idx="965">
                  <c:v>0.30291840943418147</c:v>
                </c:pt>
                <c:pt idx="966">
                  <c:v>0.30313988613918896</c:v>
                </c:pt>
                <c:pt idx="967">
                  <c:v>0.30276591727663549</c:v>
                </c:pt>
                <c:pt idx="968">
                  <c:v>0.30447600790054619</c:v>
                </c:pt>
                <c:pt idx="969">
                  <c:v>0.30535465318926436</c:v>
                </c:pt>
                <c:pt idx="970">
                  <c:v>0.30680332868595328</c:v>
                </c:pt>
                <c:pt idx="971">
                  <c:v>0.31230030788892771</c:v>
                </c:pt>
                <c:pt idx="972">
                  <c:v>0.31431538282793059</c:v>
                </c:pt>
                <c:pt idx="973">
                  <c:v>0.31948196235622173</c:v>
                </c:pt>
                <c:pt idx="974">
                  <c:v>0.32152971418612752</c:v>
                </c:pt>
                <c:pt idx="975">
                  <c:v>0.32276780527477644</c:v>
                </c:pt>
                <c:pt idx="976">
                  <c:v>0.31996485418845122</c:v>
                </c:pt>
                <c:pt idx="977">
                  <c:v>0.31832737887765772</c:v>
                </c:pt>
                <c:pt idx="978">
                  <c:v>0.31828744045544322</c:v>
                </c:pt>
                <c:pt idx="979">
                  <c:v>0.31588024282560712</c:v>
                </c:pt>
                <c:pt idx="980">
                  <c:v>0.30992941791564999</c:v>
                </c:pt>
                <c:pt idx="981">
                  <c:v>0.3112401243174161</c:v>
                </c:pt>
                <c:pt idx="982">
                  <c:v>0.3125036307656559</c:v>
                </c:pt>
                <c:pt idx="983">
                  <c:v>0.3137017834320901</c:v>
                </c:pt>
                <c:pt idx="984">
                  <c:v>0.31536830486813061</c:v>
                </c:pt>
                <c:pt idx="985">
                  <c:v>0.3131607993493668</c:v>
                </c:pt>
                <c:pt idx="986">
                  <c:v>0.3160399965144649</c:v>
                </c:pt>
                <c:pt idx="987">
                  <c:v>0.3125726153131172</c:v>
                </c:pt>
                <c:pt idx="988">
                  <c:v>0.3141011676542349</c:v>
                </c:pt>
                <c:pt idx="989">
                  <c:v>0.31014000232368999</c:v>
                </c:pt>
                <c:pt idx="990">
                  <c:v>0.30851341930986398</c:v>
                </c:pt>
                <c:pt idx="991">
                  <c:v>0.31002018705704648</c:v>
                </c:pt>
                <c:pt idx="992">
                  <c:v>0.30865138840478679</c:v>
                </c:pt>
                <c:pt idx="993">
                  <c:v>0.30632406761937969</c:v>
                </c:pt>
                <c:pt idx="994">
                  <c:v>0.30369176251887975</c:v>
                </c:pt>
                <c:pt idx="995">
                  <c:v>0.30070364238410585</c:v>
                </c:pt>
                <c:pt idx="996">
                  <c:v>0.29753761473219464</c:v>
                </c:pt>
                <c:pt idx="997">
                  <c:v>0.29816936795631466</c:v>
                </c:pt>
                <c:pt idx="998">
                  <c:v>0.30475557685604748</c:v>
                </c:pt>
                <c:pt idx="999">
                  <c:v>0.30571409898919466</c:v>
                </c:pt>
                <c:pt idx="1000">
                  <c:v>0.30449053096316958</c:v>
                </c:pt>
                <c:pt idx="1001">
                  <c:v>0.30515859184384819</c:v>
                </c:pt>
                <c:pt idx="1002">
                  <c:v>0.30816486580690139</c:v>
                </c:pt>
                <c:pt idx="1003">
                  <c:v>0.30292567096549328</c:v>
                </c:pt>
                <c:pt idx="1004">
                  <c:v>0.29785349134425476</c:v>
                </c:pt>
                <c:pt idx="1005">
                  <c:v>0.29517035552457305</c:v>
                </c:pt>
                <c:pt idx="1006">
                  <c:v>0.29556610898106195</c:v>
                </c:pt>
                <c:pt idx="1007">
                  <c:v>0.29461484837922614</c:v>
                </c:pt>
                <c:pt idx="1008">
                  <c:v>0.29106395956779352</c:v>
                </c:pt>
                <c:pt idx="1009">
                  <c:v>0.28957534564889054</c:v>
                </c:pt>
                <c:pt idx="1010">
                  <c:v>0.28635485651214121</c:v>
                </c:pt>
                <c:pt idx="1011">
                  <c:v>0.28726254792610684</c:v>
                </c:pt>
                <c:pt idx="1012">
                  <c:v>0.28628224119902401</c:v>
                </c:pt>
                <c:pt idx="1013">
                  <c:v>0.28681596375043572</c:v>
                </c:pt>
                <c:pt idx="1014">
                  <c:v>0.29001829905890553</c:v>
                </c:pt>
                <c:pt idx="1015">
                  <c:v>0.29155048216567914</c:v>
                </c:pt>
                <c:pt idx="1016">
                  <c:v>0.28966974555594294</c:v>
                </c:pt>
                <c:pt idx="1017">
                  <c:v>0.28878020797025661</c:v>
                </c:pt>
                <c:pt idx="1018">
                  <c:v>0.28884193098640631</c:v>
                </c:pt>
                <c:pt idx="1019">
                  <c:v>0.28920500755199274</c:v>
                </c:pt>
                <c:pt idx="1020">
                  <c:v>0.29040316021842671</c:v>
                </c:pt>
                <c:pt idx="1021">
                  <c:v>0.29194260485651213</c:v>
                </c:pt>
                <c:pt idx="1022">
                  <c:v>0.28652913326362262</c:v>
                </c:pt>
                <c:pt idx="1023">
                  <c:v>0.28538544208202632</c:v>
                </c:pt>
                <c:pt idx="1024">
                  <c:v>0.28430347391657951</c:v>
                </c:pt>
                <c:pt idx="1025">
                  <c:v>0.2845431044498663</c:v>
                </c:pt>
                <c:pt idx="1026">
                  <c:v>0.2822629836179853</c:v>
                </c:pt>
                <c:pt idx="1027">
                  <c:v>0.28192169164633452</c:v>
                </c:pt>
                <c:pt idx="1028">
                  <c:v>0.28138796909492259</c:v>
                </c:pt>
                <c:pt idx="1029">
                  <c:v>0.2821504298826536</c:v>
                </c:pt>
                <c:pt idx="1030">
                  <c:v>0.28131535378180561</c:v>
                </c:pt>
                <c:pt idx="1031">
                  <c:v>0.28018981642848861</c:v>
                </c:pt>
                <c:pt idx="1032">
                  <c:v>0.28061824677587999</c:v>
                </c:pt>
                <c:pt idx="1033">
                  <c:v>0.28050932380620441</c:v>
                </c:pt>
                <c:pt idx="1034">
                  <c:v>0.27766643429766469</c:v>
                </c:pt>
                <c:pt idx="1035">
                  <c:v>0.27627222028581389</c:v>
                </c:pt>
                <c:pt idx="1036">
                  <c:v>0.27611972812826746</c:v>
                </c:pt>
                <c:pt idx="1037">
                  <c:v>0.27585468223538956</c:v>
                </c:pt>
                <c:pt idx="1038">
                  <c:v>0.27603622051818277</c:v>
                </c:pt>
                <c:pt idx="1039">
                  <c:v>0.27589825142326019</c:v>
                </c:pt>
                <c:pt idx="1040">
                  <c:v>0.27581111304751937</c:v>
                </c:pt>
                <c:pt idx="1041">
                  <c:v>0.27529917509004287</c:v>
                </c:pt>
                <c:pt idx="1042">
                  <c:v>0.27468194492854647</c:v>
                </c:pt>
                <c:pt idx="1043">
                  <c:v>0.27394853026606247</c:v>
                </c:pt>
                <c:pt idx="1044">
                  <c:v>0.27381056117113967</c:v>
                </c:pt>
                <c:pt idx="1045">
                  <c:v>0.27574575926571376</c:v>
                </c:pt>
                <c:pt idx="1046">
                  <c:v>0.27509585221331467</c:v>
                </c:pt>
                <c:pt idx="1047">
                  <c:v>0.27561505170210276</c:v>
                </c:pt>
                <c:pt idx="1048">
                  <c:v>0.27385776112466576</c:v>
                </c:pt>
                <c:pt idx="1049">
                  <c:v>0.26986028813756247</c:v>
                </c:pt>
                <c:pt idx="1050">
                  <c:v>0.26969690368304877</c:v>
                </c:pt>
                <c:pt idx="1051">
                  <c:v>0.26747850586731725</c:v>
                </c:pt>
                <c:pt idx="1052">
                  <c:v>0.26299814104798425</c:v>
                </c:pt>
                <c:pt idx="1053">
                  <c:v>0.26305260253282214</c:v>
                </c:pt>
                <c:pt idx="1054">
                  <c:v>0.26313247937725115</c:v>
                </c:pt>
                <c:pt idx="1055">
                  <c:v>0.26334669455094684</c:v>
                </c:pt>
                <c:pt idx="1056">
                  <c:v>0.26253703380968973</c:v>
                </c:pt>
                <c:pt idx="1057">
                  <c:v>0.26156035784826304</c:v>
                </c:pt>
                <c:pt idx="1058">
                  <c:v>0.25940368304868122</c:v>
                </c:pt>
                <c:pt idx="1059">
                  <c:v>0.25883002207505501</c:v>
                </c:pt>
                <c:pt idx="1060">
                  <c:v>0.25693476240269542</c:v>
                </c:pt>
                <c:pt idx="1061">
                  <c:v>0.25634657836644603</c:v>
                </c:pt>
                <c:pt idx="1062">
                  <c:v>0.25775168467526433</c:v>
                </c:pt>
                <c:pt idx="1063">
                  <c:v>0.25770085395608211</c:v>
                </c:pt>
                <c:pt idx="1064">
                  <c:v>0.2583144533519226</c:v>
                </c:pt>
                <c:pt idx="1065">
                  <c:v>0.25849962240037194</c:v>
                </c:pt>
                <c:pt idx="1066">
                  <c:v>0.25880823748112003</c:v>
                </c:pt>
                <c:pt idx="1067">
                  <c:v>0.25894620657604261</c:v>
                </c:pt>
                <c:pt idx="1068">
                  <c:v>0.25991925177181363</c:v>
                </c:pt>
                <c:pt idx="1069">
                  <c:v>0.26509672359707226</c:v>
                </c:pt>
                <c:pt idx="1070">
                  <c:v>0.26425438596491224</c:v>
                </c:pt>
                <c:pt idx="1071">
                  <c:v>0.26518023120715695</c:v>
                </c:pt>
                <c:pt idx="1072">
                  <c:v>0.26421807830835364</c:v>
                </c:pt>
                <c:pt idx="1073">
                  <c:v>0.26584466132217965</c:v>
                </c:pt>
                <c:pt idx="1074">
                  <c:v>0.26602256883931696</c:v>
                </c:pt>
                <c:pt idx="1075">
                  <c:v>0.26703555245730204</c:v>
                </c:pt>
                <c:pt idx="1076">
                  <c:v>0.26709001394213994</c:v>
                </c:pt>
                <c:pt idx="1077">
                  <c:v>0.26638564540490295</c:v>
                </c:pt>
                <c:pt idx="1078">
                  <c:v>0.26669426048565104</c:v>
                </c:pt>
                <c:pt idx="1079">
                  <c:v>0.26804127454397575</c:v>
                </c:pt>
                <c:pt idx="1080">
                  <c:v>0.26900705820843518</c:v>
                </c:pt>
                <c:pt idx="1081">
                  <c:v>0.27076797955152787</c:v>
                </c:pt>
                <c:pt idx="1082">
                  <c:v>0.27326957708841637</c:v>
                </c:pt>
                <c:pt idx="1083">
                  <c:v>0.27585105146973388</c:v>
                </c:pt>
                <c:pt idx="1084">
                  <c:v>0.28607528755663991</c:v>
                </c:pt>
                <c:pt idx="1085">
                  <c:v>0.29061737539212262</c:v>
                </c:pt>
                <c:pt idx="1086">
                  <c:v>0.28882014639247111</c:v>
                </c:pt>
                <c:pt idx="1087">
                  <c:v>0.29056291390728473</c:v>
                </c:pt>
                <c:pt idx="1088">
                  <c:v>0.29010906820030202</c:v>
                </c:pt>
                <c:pt idx="1089">
                  <c:v>0.28949909957011744</c:v>
                </c:pt>
                <c:pt idx="1090">
                  <c:v>0.29114746717787865</c:v>
                </c:pt>
                <c:pt idx="1091">
                  <c:v>0.29261429650284643</c:v>
                </c:pt>
                <c:pt idx="1092">
                  <c:v>0.29302820378761485</c:v>
                </c:pt>
                <c:pt idx="1093">
                  <c:v>0.29165577436969903</c:v>
                </c:pt>
                <c:pt idx="1094">
                  <c:v>0.29028334495178343</c:v>
                </c:pt>
                <c:pt idx="1095">
                  <c:v>0.28959713024282552</c:v>
                </c:pt>
                <c:pt idx="1096">
                  <c:v>0.29341306494713604</c:v>
                </c:pt>
                <c:pt idx="1097">
                  <c:v>0.29475644823980462</c:v>
                </c:pt>
                <c:pt idx="1098">
                  <c:v>0.29313712675729064</c:v>
                </c:pt>
                <c:pt idx="1099">
                  <c:v>0.30223582549087946</c:v>
                </c:pt>
                <c:pt idx="1100">
                  <c:v>0.30112118043452996</c:v>
                </c:pt>
                <c:pt idx="1101">
                  <c:v>0.30050031950737766</c:v>
                </c:pt>
                <c:pt idx="1102">
                  <c:v>0.29857238294411514</c:v>
                </c:pt>
                <c:pt idx="1103">
                  <c:v>0.30082345765074958</c:v>
                </c:pt>
                <c:pt idx="1104">
                  <c:v>0.30206881027070986</c:v>
                </c:pt>
                <c:pt idx="1105">
                  <c:v>0.30141164168699897</c:v>
                </c:pt>
                <c:pt idx="1106">
                  <c:v>0.30144794934355756</c:v>
                </c:pt>
                <c:pt idx="1107">
                  <c:v>0.29753761473219464</c:v>
                </c:pt>
                <c:pt idx="1108">
                  <c:v>0.29726167654234925</c:v>
                </c:pt>
                <c:pt idx="1109">
                  <c:v>0.29713459974439393</c:v>
                </c:pt>
                <c:pt idx="1110">
                  <c:v>0.29428807947019853</c:v>
                </c:pt>
                <c:pt idx="1111">
                  <c:v>0.29473466364586964</c:v>
                </c:pt>
                <c:pt idx="1112">
                  <c:v>0.29384149529452763</c:v>
                </c:pt>
                <c:pt idx="1113">
                  <c:v>0.29405934123387945</c:v>
                </c:pt>
                <c:pt idx="1114">
                  <c:v>0.29625232369001986</c:v>
                </c:pt>
                <c:pt idx="1115">
                  <c:v>0.29542813988613914</c:v>
                </c:pt>
                <c:pt idx="1116">
                  <c:v>0.29251989659579403</c:v>
                </c:pt>
                <c:pt idx="1117">
                  <c:v>0.29219675845242254</c:v>
                </c:pt>
                <c:pt idx="1118">
                  <c:v>0.29377614151272202</c:v>
                </c:pt>
                <c:pt idx="1119">
                  <c:v>0.29654641570814455</c:v>
                </c:pt>
                <c:pt idx="1120">
                  <c:v>0.29639392355059835</c:v>
                </c:pt>
                <c:pt idx="1121">
                  <c:v>0.29643386197281263</c:v>
                </c:pt>
                <c:pt idx="1122">
                  <c:v>0.29728709190194036</c:v>
                </c:pt>
                <c:pt idx="1123">
                  <c:v>0.29685140002323696</c:v>
                </c:pt>
                <c:pt idx="1124">
                  <c:v>0.29659724642732654</c:v>
                </c:pt>
                <c:pt idx="1125">
                  <c:v>0.29708376902521216</c:v>
                </c:pt>
                <c:pt idx="1126">
                  <c:v>0.29648832345765053</c:v>
                </c:pt>
                <c:pt idx="1127">
                  <c:v>0.29748678401301265</c:v>
                </c:pt>
                <c:pt idx="1128">
                  <c:v>0.29812216800278835</c:v>
                </c:pt>
                <c:pt idx="1129">
                  <c:v>0.29992665853375167</c:v>
                </c:pt>
                <c:pt idx="1130">
                  <c:v>0.30063102707098865</c:v>
                </c:pt>
                <c:pt idx="1131">
                  <c:v>0.30105582665272457</c:v>
                </c:pt>
                <c:pt idx="1132">
                  <c:v>0.30477736144998269</c:v>
                </c:pt>
                <c:pt idx="1133">
                  <c:v>0.30575766817706529</c:v>
                </c:pt>
                <c:pt idx="1134">
                  <c:v>0.30653102126176357</c:v>
                </c:pt>
                <c:pt idx="1135">
                  <c:v>0.3086259730451959</c:v>
                </c:pt>
                <c:pt idx="1136">
                  <c:v>0.31038689438828859</c:v>
                </c:pt>
                <c:pt idx="1137">
                  <c:v>0.31233298477983018</c:v>
                </c:pt>
                <c:pt idx="1138">
                  <c:v>0.31482369001975141</c:v>
                </c:pt>
                <c:pt idx="1139">
                  <c:v>0.31708202625769699</c:v>
                </c:pt>
                <c:pt idx="1140">
                  <c:v>0.31818940978273491</c:v>
                </c:pt>
                <c:pt idx="1141">
                  <c:v>0.32036060764494034</c:v>
                </c:pt>
                <c:pt idx="1142">
                  <c:v>0.32265888230510043</c:v>
                </c:pt>
                <c:pt idx="1143">
                  <c:v>0.32230306727082625</c:v>
                </c:pt>
                <c:pt idx="1144">
                  <c:v>0.32357383525037764</c:v>
                </c:pt>
                <c:pt idx="1145">
                  <c:v>0.32591567909840835</c:v>
                </c:pt>
                <c:pt idx="1146">
                  <c:v>0.32614078656907175</c:v>
                </c:pt>
                <c:pt idx="1147">
                  <c:v>0.32746964679911694</c:v>
                </c:pt>
                <c:pt idx="1148">
                  <c:v>0.32746238526780536</c:v>
                </c:pt>
                <c:pt idx="1149">
                  <c:v>0.32827930754037427</c:v>
                </c:pt>
                <c:pt idx="1150">
                  <c:v>0.32884570698268867</c:v>
                </c:pt>
                <c:pt idx="1151">
                  <c:v>0.33099512025095845</c:v>
                </c:pt>
                <c:pt idx="1152">
                  <c:v>0.32976792145927725</c:v>
                </c:pt>
                <c:pt idx="1153">
                  <c:v>0.33047592076217036</c:v>
                </c:pt>
                <c:pt idx="1154">
                  <c:v>0.33103142790751705</c:v>
                </c:pt>
                <c:pt idx="1155">
                  <c:v>0.33257450331125837</c:v>
                </c:pt>
                <c:pt idx="1156">
                  <c:v>0.33110767398629037</c:v>
                </c:pt>
                <c:pt idx="1157">
                  <c:v>0.32985505983501806</c:v>
                </c:pt>
                <c:pt idx="1158">
                  <c:v>0.33018182874404567</c:v>
                </c:pt>
                <c:pt idx="1159">
                  <c:v>0.32874767630998014</c:v>
                </c:pt>
                <c:pt idx="1160">
                  <c:v>0.33207345765074936</c:v>
                </c:pt>
                <c:pt idx="1161">
                  <c:v>0.33083536656210066</c:v>
                </c:pt>
                <c:pt idx="1162">
                  <c:v>0.32896189148367605</c:v>
                </c:pt>
                <c:pt idx="1163">
                  <c:v>0.32825026141512703</c:v>
                </c:pt>
                <c:pt idx="1164">
                  <c:v>0.33006564424305807</c:v>
                </c:pt>
                <c:pt idx="1165">
                  <c:v>0.32953192169164613</c:v>
                </c:pt>
                <c:pt idx="1166">
                  <c:v>0.32721549320320653</c:v>
                </c:pt>
                <c:pt idx="1167">
                  <c:v>0.32725180085976535</c:v>
                </c:pt>
                <c:pt idx="1168">
                  <c:v>0.32870773788776564</c:v>
                </c:pt>
                <c:pt idx="1169">
                  <c:v>0.32847899965144656</c:v>
                </c:pt>
                <c:pt idx="1170">
                  <c:v>0.32792349250609965</c:v>
                </c:pt>
                <c:pt idx="1171">
                  <c:v>0.32740429301731133</c:v>
                </c:pt>
                <c:pt idx="1172">
                  <c:v>0.32806509236667813</c:v>
                </c:pt>
                <c:pt idx="1173">
                  <c:v>0.32648570930637844</c:v>
                </c:pt>
                <c:pt idx="1174">
                  <c:v>0.32662004763564534</c:v>
                </c:pt>
                <c:pt idx="1175">
                  <c:v>0.32771290809805964</c:v>
                </c:pt>
                <c:pt idx="1176">
                  <c:v>0.32751321598698735</c:v>
                </c:pt>
                <c:pt idx="1177">
                  <c:v>0.32754589287789004</c:v>
                </c:pt>
                <c:pt idx="1178">
                  <c:v>0.32524761821772974</c:v>
                </c:pt>
                <c:pt idx="1179">
                  <c:v>0.32443795747647264</c:v>
                </c:pt>
                <c:pt idx="1180">
                  <c:v>0.32514958754502143</c:v>
                </c:pt>
                <c:pt idx="1181">
                  <c:v>0.32249186708493083</c:v>
                </c:pt>
                <c:pt idx="1182">
                  <c:v>0.32107586847914482</c:v>
                </c:pt>
                <c:pt idx="1183">
                  <c:v>0.31891193214825142</c:v>
                </c:pt>
                <c:pt idx="1184">
                  <c:v>0.31675525734866961</c:v>
                </c:pt>
                <c:pt idx="1185">
                  <c:v>0.31590928895085391</c:v>
                </c:pt>
                <c:pt idx="1186">
                  <c:v>0.31534652027419541</c:v>
                </c:pt>
                <c:pt idx="1187">
                  <c:v>0.31567328918322302</c:v>
                </c:pt>
                <c:pt idx="1188">
                  <c:v>0.31609082723364712</c:v>
                </c:pt>
                <c:pt idx="1189">
                  <c:v>0.31710018008597651</c:v>
                </c:pt>
                <c:pt idx="1190">
                  <c:v>0.3189155629139071</c:v>
                </c:pt>
                <c:pt idx="1191">
                  <c:v>0.31953279307540372</c:v>
                </c:pt>
                <c:pt idx="1192">
                  <c:v>0.32319986638782372</c:v>
                </c:pt>
                <c:pt idx="1193">
                  <c:v>0.32260805158591843</c:v>
                </c:pt>
                <c:pt idx="1194">
                  <c:v>0.32437986522597884</c:v>
                </c:pt>
                <c:pt idx="1195">
                  <c:v>0.32489906471476715</c:v>
                </c:pt>
                <c:pt idx="1196">
                  <c:v>0.32551629487626355</c:v>
                </c:pt>
                <c:pt idx="1197">
                  <c:v>0.32631506332055293</c:v>
                </c:pt>
                <c:pt idx="1198">
                  <c:v>0.32561795631462753</c:v>
                </c:pt>
                <c:pt idx="1199">
                  <c:v>0.32577044847217373</c:v>
                </c:pt>
                <c:pt idx="1200">
                  <c:v>0.32720823167189494</c:v>
                </c:pt>
                <c:pt idx="1201">
                  <c:v>0.32637678633670264</c:v>
                </c:pt>
                <c:pt idx="1202">
                  <c:v>0.32522220285813863</c:v>
                </c:pt>
                <c:pt idx="1203">
                  <c:v>0.32619887881956533</c:v>
                </c:pt>
                <c:pt idx="1204">
                  <c:v>0.32717192401533635</c:v>
                </c:pt>
                <c:pt idx="1205">
                  <c:v>0.32869321482514224</c:v>
                </c:pt>
                <c:pt idx="1206">
                  <c:v>0.33020724410363633</c:v>
                </c:pt>
                <c:pt idx="1207">
                  <c:v>0.33183745788311847</c:v>
                </c:pt>
                <c:pt idx="1208">
                  <c:v>0.33200447310328784</c:v>
                </c:pt>
                <c:pt idx="1209">
                  <c:v>0.33168133495991636</c:v>
                </c:pt>
                <c:pt idx="1210">
                  <c:v>0.33293031834553255</c:v>
                </c:pt>
                <c:pt idx="1211">
                  <c:v>0.33350761008481467</c:v>
                </c:pt>
                <c:pt idx="1212">
                  <c:v>0.33516686998954337</c:v>
                </c:pt>
                <c:pt idx="1213">
                  <c:v>0.33339505634948297</c:v>
                </c:pt>
                <c:pt idx="1214">
                  <c:v>0.33559530033693497</c:v>
                </c:pt>
                <c:pt idx="1215">
                  <c:v>0.33449154757755317</c:v>
                </c:pt>
                <c:pt idx="1216">
                  <c:v>0.33366010224236087</c:v>
                </c:pt>
                <c:pt idx="1217">
                  <c:v>0.33509062391077027</c:v>
                </c:pt>
                <c:pt idx="1218">
                  <c:v>0.33560619263390268</c:v>
                </c:pt>
                <c:pt idx="1219">
                  <c:v>0.33582040780759836</c:v>
                </c:pt>
                <c:pt idx="1220">
                  <c:v>0.33709843731846179</c:v>
                </c:pt>
                <c:pt idx="1221">
                  <c:v>0.33704034506796776</c:v>
                </c:pt>
                <c:pt idx="1222">
                  <c:v>0.33755591379110017</c:v>
                </c:pt>
                <c:pt idx="1223">
                  <c:v>0.33759948297897058</c:v>
                </c:pt>
                <c:pt idx="1224">
                  <c:v>0.33571511560357847</c:v>
                </c:pt>
                <c:pt idx="1225">
                  <c:v>0.33594385383989755</c:v>
                </c:pt>
                <c:pt idx="1226">
                  <c:v>0.33616169977924937</c:v>
                </c:pt>
                <c:pt idx="1227">
                  <c:v>0.34008655745323568</c:v>
                </c:pt>
                <c:pt idx="1228">
                  <c:v>0.33991954223306609</c:v>
                </c:pt>
                <c:pt idx="1229">
                  <c:v>0.3420399093760893</c:v>
                </c:pt>
                <c:pt idx="1230">
                  <c:v>0.3420943708609272</c:v>
                </c:pt>
                <c:pt idx="1231">
                  <c:v>0.34159695596607409</c:v>
                </c:pt>
                <c:pt idx="1232">
                  <c:v>0.34306378529104209</c:v>
                </c:pt>
                <c:pt idx="1233">
                  <c:v>0.3430202161031719</c:v>
                </c:pt>
                <c:pt idx="1234">
                  <c:v>0.34512969094922719</c:v>
                </c:pt>
                <c:pt idx="1235">
                  <c:v>0.3447303067270826</c:v>
                </c:pt>
                <c:pt idx="1236">
                  <c:v>0.3471338735912628</c:v>
                </c:pt>
                <c:pt idx="1237">
                  <c:v>0.34719922737306841</c:v>
                </c:pt>
                <c:pt idx="1238">
                  <c:v>0.34707215057511309</c:v>
                </c:pt>
                <c:pt idx="1239">
                  <c:v>0.34931233298477982</c:v>
                </c:pt>
                <c:pt idx="1240">
                  <c:v>0.35039793191588231</c:v>
                </c:pt>
                <c:pt idx="1241">
                  <c:v>0.35208986871151393</c:v>
                </c:pt>
                <c:pt idx="1242">
                  <c:v>0.3517267921459275</c:v>
                </c:pt>
                <c:pt idx="1243">
                  <c:v>0.35127294643894502</c:v>
                </c:pt>
                <c:pt idx="1244">
                  <c:v>0.35207897641454622</c:v>
                </c:pt>
                <c:pt idx="1245">
                  <c:v>0.35042334727547342</c:v>
                </c:pt>
                <c:pt idx="1246">
                  <c:v>0.34981337864528883</c:v>
                </c:pt>
                <c:pt idx="1247">
                  <c:v>0.350561316370396</c:v>
                </c:pt>
                <c:pt idx="1248">
                  <c:v>0.35114586964098993</c:v>
                </c:pt>
                <c:pt idx="1249">
                  <c:v>0.35251466829324962</c:v>
                </c:pt>
                <c:pt idx="1250">
                  <c:v>0.35124390031369823</c:v>
                </c:pt>
                <c:pt idx="1251">
                  <c:v>0.35141454629952373</c:v>
                </c:pt>
                <c:pt idx="1252">
                  <c:v>0.35041245497850593</c:v>
                </c:pt>
                <c:pt idx="1253">
                  <c:v>0.35025633205530382</c:v>
                </c:pt>
                <c:pt idx="1254">
                  <c:v>0.34760587312652502</c:v>
                </c:pt>
                <c:pt idx="1255">
                  <c:v>0.34817227256883942</c:v>
                </c:pt>
                <c:pt idx="1256">
                  <c:v>0.3486987335889391</c:v>
                </c:pt>
                <c:pt idx="1257">
                  <c:v>0.34871688741721862</c:v>
                </c:pt>
                <c:pt idx="1258">
                  <c:v>0.3462479667712326</c:v>
                </c:pt>
                <c:pt idx="1259">
                  <c:v>0.34466132217962131</c:v>
                </c:pt>
                <c:pt idx="1260">
                  <c:v>0.3437899384222145</c:v>
                </c:pt>
                <c:pt idx="1261">
                  <c:v>0.344824706634135</c:v>
                </c:pt>
                <c:pt idx="1262">
                  <c:v>0.342806000929476</c:v>
                </c:pt>
                <c:pt idx="1263">
                  <c:v>0.34044237248751008</c:v>
                </c:pt>
                <c:pt idx="1264">
                  <c:v>0.3404786801440689</c:v>
                </c:pt>
                <c:pt idx="1265">
                  <c:v>0.34182206343673749</c:v>
                </c:pt>
                <c:pt idx="1266">
                  <c:v>0.3408381259439992</c:v>
                </c:pt>
                <c:pt idx="1267">
                  <c:v>0.34032618798652248</c:v>
                </c:pt>
                <c:pt idx="1268">
                  <c:v>0.34164778668525608</c:v>
                </c:pt>
                <c:pt idx="1269">
                  <c:v>0.34097246427326589</c:v>
                </c:pt>
                <c:pt idx="1270">
                  <c:v>0.33788631346578346</c:v>
                </c:pt>
                <c:pt idx="1271">
                  <c:v>0.33749056000929456</c:v>
                </c:pt>
                <c:pt idx="1272">
                  <c:v>0.33742157546183327</c:v>
                </c:pt>
                <c:pt idx="1273">
                  <c:v>0.33690237597304518</c:v>
                </c:pt>
                <c:pt idx="1274">
                  <c:v>0.33565702335308467</c:v>
                </c:pt>
                <c:pt idx="1275">
                  <c:v>0.33560982339955836</c:v>
                </c:pt>
                <c:pt idx="1276">
                  <c:v>0.33528668525618688</c:v>
                </c:pt>
                <c:pt idx="1277">
                  <c:v>0.33571511560357847</c:v>
                </c:pt>
                <c:pt idx="1278">
                  <c:v>0.33527942372487507</c:v>
                </c:pt>
                <c:pt idx="1279">
                  <c:v>0.33623794585802247</c:v>
                </c:pt>
                <c:pt idx="1280">
                  <c:v>0.33543191588242127</c:v>
                </c:pt>
                <c:pt idx="1281">
                  <c:v>0.33457505518763786</c:v>
                </c:pt>
                <c:pt idx="1282">
                  <c:v>0.33648120715696517</c:v>
                </c:pt>
                <c:pt idx="1283">
                  <c:v>0.33745425235273618</c:v>
                </c:pt>
                <c:pt idx="1284">
                  <c:v>0.33989049610781907</c:v>
                </c:pt>
                <c:pt idx="1285">
                  <c:v>0.34071467991169957</c:v>
                </c:pt>
                <c:pt idx="1286">
                  <c:v>0.34111043336818847</c:v>
                </c:pt>
                <c:pt idx="1287">
                  <c:v>0.34174218659230848</c:v>
                </c:pt>
                <c:pt idx="1288">
                  <c:v>0.34219966306494709</c:v>
                </c:pt>
                <c:pt idx="1289">
                  <c:v>0.3426208318810271</c:v>
                </c:pt>
                <c:pt idx="1290">
                  <c:v>0.33953831183920058</c:v>
                </c:pt>
                <c:pt idx="1291">
                  <c:v>0.33914981991402349</c:v>
                </c:pt>
                <c:pt idx="1292">
                  <c:v>0.33569333100964349</c:v>
                </c:pt>
                <c:pt idx="1293">
                  <c:v>0.33635413035900985</c:v>
                </c:pt>
                <c:pt idx="1294">
                  <c:v>0.33430637852910428</c:v>
                </c:pt>
                <c:pt idx="1295">
                  <c:v>0.33378717904031596</c:v>
                </c:pt>
                <c:pt idx="1296">
                  <c:v>0.33201899616591124</c:v>
                </c:pt>
                <c:pt idx="1297">
                  <c:v>0.33145259672359706</c:v>
                </c:pt>
                <c:pt idx="1298">
                  <c:v>0.33054490530963165</c:v>
                </c:pt>
                <c:pt idx="1299">
                  <c:v>0.33096607412571166</c:v>
                </c:pt>
                <c:pt idx="1300">
                  <c:v>0.33084262809341247</c:v>
                </c:pt>
                <c:pt idx="1301">
                  <c:v>0.33022539793191585</c:v>
                </c:pt>
                <c:pt idx="1302">
                  <c:v>0.33044687463692357</c:v>
                </c:pt>
                <c:pt idx="1303">
                  <c:v>0.33054853607528756</c:v>
                </c:pt>
                <c:pt idx="1304">
                  <c:v>0.33113308934588104</c:v>
                </c:pt>
                <c:pt idx="1305">
                  <c:v>0.33316994887881957</c:v>
                </c:pt>
                <c:pt idx="1306">
                  <c:v>0.33450607064017657</c:v>
                </c:pt>
                <c:pt idx="1307">
                  <c:v>0.33321714883234566</c:v>
                </c:pt>
                <c:pt idx="1308">
                  <c:v>0.33323530266062518</c:v>
                </c:pt>
                <c:pt idx="1309">
                  <c:v>0.33258902637388177</c:v>
                </c:pt>
                <c:pt idx="1310">
                  <c:v>0.33319536423841067</c:v>
                </c:pt>
                <c:pt idx="1311">
                  <c:v>0.33123112001858956</c:v>
                </c:pt>
                <c:pt idx="1312">
                  <c:v>0.33163413500639005</c:v>
                </c:pt>
                <c:pt idx="1313">
                  <c:v>0.33186650400836526</c:v>
                </c:pt>
                <c:pt idx="1314">
                  <c:v>0.33190644243057976</c:v>
                </c:pt>
                <c:pt idx="1315">
                  <c:v>0.33059573602881365</c:v>
                </c:pt>
                <c:pt idx="1316">
                  <c:v>0.32975702916230953</c:v>
                </c:pt>
                <c:pt idx="1317">
                  <c:v>0.33085352039037974</c:v>
                </c:pt>
                <c:pt idx="1318">
                  <c:v>0.33033069013593597</c:v>
                </c:pt>
                <c:pt idx="1319">
                  <c:v>0.32993856744510275</c:v>
                </c:pt>
                <c:pt idx="1320">
                  <c:v>0.33057032066922276</c:v>
                </c:pt>
                <c:pt idx="1321">
                  <c:v>0.32850078424538154</c:v>
                </c:pt>
                <c:pt idx="1322">
                  <c:v>0.32896552224933173</c:v>
                </c:pt>
                <c:pt idx="1323">
                  <c:v>0.32831561519693264</c:v>
                </c:pt>
                <c:pt idx="1324">
                  <c:v>0.32994945974207046</c:v>
                </c:pt>
                <c:pt idx="1325">
                  <c:v>0.32934312187754156</c:v>
                </c:pt>
                <c:pt idx="1326">
                  <c:v>0.32894736842105265</c:v>
                </c:pt>
                <c:pt idx="1327">
                  <c:v>0.32764029278494244</c:v>
                </c:pt>
                <c:pt idx="1328">
                  <c:v>0.32848989194841383</c:v>
                </c:pt>
                <c:pt idx="1329">
                  <c:v>0.32938306029975606</c:v>
                </c:pt>
                <c:pt idx="1330">
                  <c:v>0.32901998373416985</c:v>
                </c:pt>
                <c:pt idx="1331">
                  <c:v>0.32799973858487297</c:v>
                </c:pt>
                <c:pt idx="1332">
                  <c:v>0.32719733937492745</c:v>
                </c:pt>
                <c:pt idx="1333">
                  <c:v>0.32589026373881724</c:v>
                </c:pt>
                <c:pt idx="1334">
                  <c:v>0.32639494016498194</c:v>
                </c:pt>
                <c:pt idx="1335">
                  <c:v>0.32673986290228885</c:v>
                </c:pt>
                <c:pt idx="1336">
                  <c:v>0.32620250958522146</c:v>
                </c:pt>
                <c:pt idx="1337">
                  <c:v>0.32583217148832322</c:v>
                </c:pt>
                <c:pt idx="1338">
                  <c:v>0.32581764842569982</c:v>
                </c:pt>
                <c:pt idx="1339">
                  <c:v>0.32553081793888694</c:v>
                </c:pt>
                <c:pt idx="1340">
                  <c:v>0.32505155687231313</c:v>
                </c:pt>
                <c:pt idx="1341">
                  <c:v>0.32447426513303124</c:v>
                </c:pt>
                <c:pt idx="1342">
                  <c:v>0.32377715812710584</c:v>
                </c:pt>
                <c:pt idx="1343">
                  <c:v>0.32343949692111051</c:v>
                </c:pt>
                <c:pt idx="1344">
                  <c:v>0.32279685140002323</c:v>
                </c:pt>
                <c:pt idx="1345">
                  <c:v>0.32243014406878112</c:v>
                </c:pt>
                <c:pt idx="1346">
                  <c:v>0.31863962472406171</c:v>
                </c:pt>
                <c:pt idx="1347">
                  <c:v>0.31868682467758802</c:v>
                </c:pt>
                <c:pt idx="1348">
                  <c:v>0.31837094806552813</c:v>
                </c:pt>
                <c:pt idx="1349">
                  <c:v>0.3192895317764608</c:v>
                </c:pt>
                <c:pt idx="1350">
                  <c:v>0.31798608690600672</c:v>
                </c:pt>
                <c:pt idx="1351">
                  <c:v>0.31788079470198682</c:v>
                </c:pt>
                <c:pt idx="1352">
                  <c:v>0.31707476472638541</c:v>
                </c:pt>
                <c:pt idx="1353">
                  <c:v>0.31726356454049021</c:v>
                </c:pt>
                <c:pt idx="1354">
                  <c:v>0.31826928662716392</c:v>
                </c:pt>
                <c:pt idx="1355">
                  <c:v>0.31790257929592203</c:v>
                </c:pt>
                <c:pt idx="1356">
                  <c:v>0.31783359474846051</c:v>
                </c:pt>
                <c:pt idx="1357">
                  <c:v>0.31950374695015693</c:v>
                </c:pt>
                <c:pt idx="1358">
                  <c:v>0.31932583943301962</c:v>
                </c:pt>
                <c:pt idx="1359">
                  <c:v>0.32143894504473103</c:v>
                </c:pt>
                <c:pt idx="1360">
                  <c:v>0.32191820611130462</c:v>
                </c:pt>
                <c:pt idx="1361">
                  <c:v>0.32197992912745432</c:v>
                </c:pt>
                <c:pt idx="1362">
                  <c:v>0.32194362147089572</c:v>
                </c:pt>
                <c:pt idx="1363">
                  <c:v>0.32256448239804802</c:v>
                </c:pt>
                <c:pt idx="1364">
                  <c:v>0.32230306727082625</c:v>
                </c:pt>
                <c:pt idx="1365">
                  <c:v>0.32228491344254673</c:v>
                </c:pt>
                <c:pt idx="1366">
                  <c:v>0.32179839084466133</c:v>
                </c:pt>
                <c:pt idx="1367">
                  <c:v>0.32214331358196802</c:v>
                </c:pt>
                <c:pt idx="1368">
                  <c:v>0.32232485186476123</c:v>
                </c:pt>
                <c:pt idx="1369">
                  <c:v>0.32441254211688153</c:v>
                </c:pt>
                <c:pt idx="1370">
                  <c:v>0.32462675729057744</c:v>
                </c:pt>
                <c:pt idx="1371">
                  <c:v>0.32302195887068663</c:v>
                </c:pt>
                <c:pt idx="1372">
                  <c:v>0.32219414430115023</c:v>
                </c:pt>
                <c:pt idx="1373">
                  <c:v>0.32369728128267683</c:v>
                </c:pt>
                <c:pt idx="1374">
                  <c:v>0.32395506564424292</c:v>
                </c:pt>
                <c:pt idx="1375">
                  <c:v>0.32553081793888694</c:v>
                </c:pt>
                <c:pt idx="1376">
                  <c:v>0.32838459974439416</c:v>
                </c:pt>
                <c:pt idx="1377">
                  <c:v>0.33034521319855936</c:v>
                </c:pt>
                <c:pt idx="1378">
                  <c:v>0.33211702683861977</c:v>
                </c:pt>
                <c:pt idx="1379">
                  <c:v>0.33395056349482988</c:v>
                </c:pt>
                <c:pt idx="1380">
                  <c:v>0.33415751713721376</c:v>
                </c:pt>
                <c:pt idx="1381">
                  <c:v>0.33318810270709887</c:v>
                </c:pt>
                <c:pt idx="1382">
                  <c:v>0.33366736377367245</c:v>
                </c:pt>
                <c:pt idx="1383">
                  <c:v>0.33338053328685957</c:v>
                </c:pt>
                <c:pt idx="1384">
                  <c:v>0.33355844080399666</c:v>
                </c:pt>
                <c:pt idx="1385">
                  <c:v>0.33297025676774727</c:v>
                </c:pt>
                <c:pt idx="1386">
                  <c:v>0.33347856395956788</c:v>
                </c:pt>
                <c:pt idx="1387">
                  <c:v>0.33321714883234566</c:v>
                </c:pt>
                <c:pt idx="1388">
                  <c:v>0.33428096316951317</c:v>
                </c:pt>
                <c:pt idx="1389">
                  <c:v>0.33565339258742899</c:v>
                </c:pt>
                <c:pt idx="1390">
                  <c:v>0.33616896131056095</c:v>
                </c:pt>
                <c:pt idx="1391">
                  <c:v>0.33700040664575326</c:v>
                </c:pt>
                <c:pt idx="1392">
                  <c:v>0.33855437434646207</c:v>
                </c:pt>
                <c:pt idx="1393">
                  <c:v>0.33890292784942488</c:v>
                </c:pt>
                <c:pt idx="1394">
                  <c:v>0.34013375740676177</c:v>
                </c:pt>
                <c:pt idx="1395">
                  <c:v>0.34056581851980949</c:v>
                </c:pt>
                <c:pt idx="1396">
                  <c:v>0.34178938654583479</c:v>
                </c:pt>
                <c:pt idx="1397">
                  <c:v>0.3429258161961195</c:v>
                </c:pt>
                <c:pt idx="1398">
                  <c:v>0.3436338154990124</c:v>
                </c:pt>
                <c:pt idx="1399">
                  <c:v>0.34425830719182038</c:v>
                </c:pt>
                <c:pt idx="1400">
                  <c:v>0.34498446032299279</c:v>
                </c:pt>
                <c:pt idx="1401">
                  <c:v>0.34389159986057871</c:v>
                </c:pt>
                <c:pt idx="1402">
                  <c:v>0.3439751074706634</c:v>
                </c:pt>
                <c:pt idx="1403">
                  <c:v>0.34327073893342619</c:v>
                </c:pt>
                <c:pt idx="1404">
                  <c:v>0.3445378761473219</c:v>
                </c:pt>
                <c:pt idx="1405">
                  <c:v>0.3448428604624143</c:v>
                </c:pt>
                <c:pt idx="1406">
                  <c:v>0.34587399790867912</c:v>
                </c:pt>
                <c:pt idx="1407">
                  <c:v>0.34692328918322279</c:v>
                </c:pt>
                <c:pt idx="1408">
                  <c:v>0.34869147205762752</c:v>
                </c:pt>
                <c:pt idx="1409">
                  <c:v>0.34938857906355292</c:v>
                </c:pt>
                <c:pt idx="1410">
                  <c:v>0.3500167015220168</c:v>
                </c:pt>
                <c:pt idx="1411">
                  <c:v>0.35155251539444632</c:v>
                </c:pt>
                <c:pt idx="1412">
                  <c:v>0.35238032996398272</c:v>
                </c:pt>
                <c:pt idx="1413">
                  <c:v>0.35303386778203771</c:v>
                </c:pt>
                <c:pt idx="1414">
                  <c:v>0.35373823631927515</c:v>
                </c:pt>
                <c:pt idx="1415">
                  <c:v>0.35457694318577904</c:v>
                </c:pt>
                <c:pt idx="1416">
                  <c:v>0.35527768095736012</c:v>
                </c:pt>
                <c:pt idx="1417">
                  <c:v>0.35455152782618793</c:v>
                </c:pt>
                <c:pt idx="1418">
                  <c:v>0.35642500290461254</c:v>
                </c:pt>
                <c:pt idx="1419">
                  <c:v>0.35893386197281285</c:v>
                </c:pt>
                <c:pt idx="1420">
                  <c:v>0.35975078424538176</c:v>
                </c:pt>
                <c:pt idx="1421">
                  <c:v>0.35919164633437894</c:v>
                </c:pt>
                <c:pt idx="1422">
                  <c:v>0.36136647496224006</c:v>
                </c:pt>
                <c:pt idx="1423">
                  <c:v>0.36355582665272435</c:v>
                </c:pt>
                <c:pt idx="1424">
                  <c:v>0.36466321017776226</c:v>
                </c:pt>
                <c:pt idx="1425">
                  <c:v>0.36400967235970727</c:v>
                </c:pt>
                <c:pt idx="1426">
                  <c:v>0.36418757987684436</c:v>
                </c:pt>
                <c:pt idx="1427">
                  <c:v>0.36440179505054004</c:v>
                </c:pt>
                <c:pt idx="1428">
                  <c:v>0.36513884047868017</c:v>
                </c:pt>
                <c:pt idx="1429">
                  <c:v>0.36970634367375399</c:v>
                </c:pt>
                <c:pt idx="1430">
                  <c:v>0.36981163587777388</c:v>
                </c:pt>
                <c:pt idx="1431">
                  <c:v>0.37041434297664688</c:v>
                </c:pt>
                <c:pt idx="1432">
                  <c:v>0.37009120483327518</c:v>
                </c:pt>
                <c:pt idx="1433">
                  <c:v>0.36979348204949458</c:v>
                </c:pt>
                <c:pt idx="1434">
                  <c:v>0.36958289764145458</c:v>
                </c:pt>
                <c:pt idx="1435">
                  <c:v>0.36872966771232707</c:v>
                </c:pt>
                <c:pt idx="1436">
                  <c:v>0.36735360752875579</c:v>
                </c:pt>
                <c:pt idx="1437">
                  <c:v>0.36715754618333918</c:v>
                </c:pt>
                <c:pt idx="1438">
                  <c:v>0.36717206924596257</c:v>
                </c:pt>
                <c:pt idx="1439">
                  <c:v>0.36748431509236679</c:v>
                </c:pt>
                <c:pt idx="1440">
                  <c:v>0.36777840711049148</c:v>
                </c:pt>
                <c:pt idx="1441">
                  <c:v>0.36746253049843158</c:v>
                </c:pt>
                <c:pt idx="1442">
                  <c:v>0.36772757639130926</c:v>
                </c:pt>
                <c:pt idx="1443">
                  <c:v>0.36597028581387248</c:v>
                </c:pt>
                <c:pt idx="1444">
                  <c:v>0.36586862437550827</c:v>
                </c:pt>
                <c:pt idx="1445">
                  <c:v>0.36548013245033117</c:v>
                </c:pt>
                <c:pt idx="1446">
                  <c:v>0.36545834785639575</c:v>
                </c:pt>
                <c:pt idx="1447">
                  <c:v>0.36556727082607177</c:v>
                </c:pt>
                <c:pt idx="1448">
                  <c:v>0.36586136284419668</c:v>
                </c:pt>
                <c:pt idx="1449">
                  <c:v>0.36681625421168818</c:v>
                </c:pt>
                <c:pt idx="1450">
                  <c:v>0.36756056117113967</c:v>
                </c:pt>
                <c:pt idx="1451">
                  <c:v>0.36755329963982808</c:v>
                </c:pt>
                <c:pt idx="1452">
                  <c:v>0.36698326943185777</c:v>
                </c:pt>
                <c:pt idx="1453">
                  <c:v>0.36581053212501446</c:v>
                </c:pt>
                <c:pt idx="1454">
                  <c:v>0.36738265365400258</c:v>
                </c:pt>
                <c:pt idx="1455">
                  <c:v>0.36762591495294528</c:v>
                </c:pt>
                <c:pt idx="1456">
                  <c:v>0.36872603694667139</c:v>
                </c:pt>
                <c:pt idx="1457">
                  <c:v>0.37034535842918559</c:v>
                </c:pt>
                <c:pt idx="1458">
                  <c:v>0.36650763913093987</c:v>
                </c:pt>
                <c:pt idx="1459">
                  <c:v>0.36529859416753796</c:v>
                </c:pt>
                <c:pt idx="1460">
                  <c:v>0.36603927036133377</c:v>
                </c:pt>
                <c:pt idx="1461">
                  <c:v>0.36570887068665026</c:v>
                </c:pt>
                <c:pt idx="1462">
                  <c:v>0.36619176251887997</c:v>
                </c:pt>
                <c:pt idx="1463">
                  <c:v>0.36646043917741356</c:v>
                </c:pt>
                <c:pt idx="1464">
                  <c:v>0.36746979202974339</c:v>
                </c:pt>
                <c:pt idx="1465">
                  <c:v>0.36683803880562338</c:v>
                </c:pt>
                <c:pt idx="1466">
                  <c:v>0.36635514697339366</c:v>
                </c:pt>
                <c:pt idx="1467">
                  <c:v>0.36680899268037659</c:v>
                </c:pt>
                <c:pt idx="1468">
                  <c:v>0.36712850005809239</c:v>
                </c:pt>
              </c:numCache>
            </c:numRef>
          </c:val>
          <c:smooth val="0"/>
          <c:extLst>
            <c:ext xmlns:c16="http://schemas.microsoft.com/office/drawing/2014/chart" uri="{C3380CC4-5D6E-409C-BE32-E72D297353CC}">
              <c16:uniqueId val="{00000001-3B1F-448B-AFFC-6CB4237F4FE0}"/>
            </c:ext>
          </c:extLst>
        </c:ser>
        <c:dLbls>
          <c:showLegendKey val="0"/>
          <c:showVal val="0"/>
          <c:showCatName val="0"/>
          <c:showSerName val="0"/>
          <c:showPercent val="0"/>
          <c:showBubbleSize val="0"/>
        </c:dLbls>
        <c:smooth val="0"/>
        <c:axId val="1529681272"/>
        <c:axId val="1529687504"/>
      </c:lineChart>
      <c:dateAx>
        <c:axId val="1529681272"/>
        <c:scaling>
          <c:orientation val="minMax"/>
        </c:scaling>
        <c:delete val="0"/>
        <c:axPos val="b"/>
        <c:numFmt formatCode="yyyy" sourceLinked="0"/>
        <c:majorTickMark val="none"/>
        <c:minorTickMark val="none"/>
        <c:tickLblPos val="low"/>
        <c:spPr>
          <a:noFill/>
          <a:ln w="9525" cap="flat" cmpd="sng" algn="ctr">
            <a:solidFill>
              <a:srgbClr val="888888"/>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de-DE"/>
          </a:p>
        </c:txPr>
        <c:crossAx val="1529687504"/>
        <c:crosses val="autoZero"/>
        <c:auto val="1"/>
        <c:lblOffset val="100"/>
        <c:baseTimeUnit val="days"/>
        <c:majorUnit val="1"/>
        <c:majorTimeUnit val="years"/>
      </c:dateAx>
      <c:valAx>
        <c:axId val="1529687504"/>
        <c:scaling>
          <c:orientation val="minMax"/>
          <c:max val="0.53"/>
          <c:min val="-0.30000000000000004"/>
        </c:scaling>
        <c:delete val="0"/>
        <c:axPos val="l"/>
        <c:numFmt formatCode="0\ %"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de-DE"/>
          </a:p>
        </c:txPr>
        <c:crossAx val="1529681272"/>
        <c:crosses val="autoZero"/>
        <c:crossBetween val="between"/>
      </c:valAx>
      <c:spPr>
        <a:noFill/>
        <a:ln>
          <a:noFill/>
        </a:ln>
        <a:effectLst/>
      </c:spPr>
    </c:plotArea>
    <c:legend>
      <c:legendPos val="b"/>
      <c:layout>
        <c:manualLayout>
          <c:xMode val="edge"/>
          <c:yMode val="edge"/>
          <c:x val="0.32381737999758353"/>
          <c:y val="0.90099087864708016"/>
          <c:w val="0.33409788187032891"/>
          <c:h val="9.5864339561156864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de-DE"/>
        </a:p>
      </c:txPr>
    </c:legend>
    <c:plotVisOnly val="1"/>
    <c:dispBlanksAs val="gap"/>
    <c:showDLblsOverMax val="0"/>
  </c:chart>
  <c:spPr>
    <a:noFill/>
    <a:ln>
      <a:noFill/>
    </a:ln>
    <a:effectLst/>
  </c:spPr>
  <c:txPr>
    <a:bodyPr/>
    <a:lstStyle/>
    <a:p>
      <a:pPr>
        <a:defRPr sz="1400">
          <a:solidFill>
            <a:schemeClr val="tx1"/>
          </a:solidFill>
        </a:defRPr>
      </a:pPr>
      <a:endParaRPr lang="de-D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431724637265349E-2"/>
          <c:y val="4.037323682942609E-2"/>
          <c:w val="0.91850296220125549"/>
          <c:h val="0.78933603390861906"/>
        </c:manualLayout>
      </c:layout>
      <c:lineChart>
        <c:grouping val="standard"/>
        <c:varyColors val="0"/>
        <c:ser>
          <c:idx val="0"/>
          <c:order val="0"/>
          <c:tx>
            <c:strRef>
              <c:f>Worksheet!$C$6</c:f>
              <c:strCache>
                <c:ptCount val="1"/>
                <c:pt idx="0">
                  <c:v>USA</c:v>
                </c:pt>
              </c:strCache>
            </c:strRef>
          </c:tx>
          <c:spPr>
            <a:ln w="25400" cap="rnd">
              <a:solidFill>
                <a:schemeClr val="accent1"/>
              </a:solidFill>
              <a:round/>
            </a:ln>
            <a:effectLst/>
          </c:spPr>
          <c:marker>
            <c:symbol val="none"/>
          </c:marker>
          <c:cat>
            <c:numRef>
              <c:f>Worksheet!$A$8:$A$6089</c:f>
              <c:numCache>
                <c:formatCode>dd\.mm\.yyyy</c:formatCode>
                <c:ptCount val="6082"/>
                <c:pt idx="0">
                  <c:v>39083</c:v>
                </c:pt>
                <c:pt idx="1">
                  <c:v>39084</c:v>
                </c:pt>
                <c:pt idx="2">
                  <c:v>39085</c:v>
                </c:pt>
                <c:pt idx="3">
                  <c:v>39086</c:v>
                </c:pt>
                <c:pt idx="4">
                  <c:v>39087</c:v>
                </c:pt>
                <c:pt idx="5">
                  <c:v>39090</c:v>
                </c:pt>
                <c:pt idx="6">
                  <c:v>39091</c:v>
                </c:pt>
                <c:pt idx="7">
                  <c:v>39092</c:v>
                </c:pt>
                <c:pt idx="8">
                  <c:v>39093</c:v>
                </c:pt>
                <c:pt idx="9">
                  <c:v>39094</c:v>
                </c:pt>
                <c:pt idx="10">
                  <c:v>39097</c:v>
                </c:pt>
                <c:pt idx="11">
                  <c:v>39098</c:v>
                </c:pt>
                <c:pt idx="12">
                  <c:v>39099</c:v>
                </c:pt>
                <c:pt idx="13">
                  <c:v>39100</c:v>
                </c:pt>
                <c:pt idx="14">
                  <c:v>39101</c:v>
                </c:pt>
                <c:pt idx="15">
                  <c:v>39104</c:v>
                </c:pt>
                <c:pt idx="16">
                  <c:v>39105</c:v>
                </c:pt>
                <c:pt idx="17">
                  <c:v>39106</c:v>
                </c:pt>
                <c:pt idx="18">
                  <c:v>39107</c:v>
                </c:pt>
                <c:pt idx="19">
                  <c:v>39108</c:v>
                </c:pt>
                <c:pt idx="20">
                  <c:v>39111</c:v>
                </c:pt>
                <c:pt idx="21">
                  <c:v>39112</c:v>
                </c:pt>
                <c:pt idx="22">
                  <c:v>39113</c:v>
                </c:pt>
                <c:pt idx="23">
                  <c:v>39114</c:v>
                </c:pt>
                <c:pt idx="24">
                  <c:v>39115</c:v>
                </c:pt>
                <c:pt idx="25">
                  <c:v>39118</c:v>
                </c:pt>
                <c:pt idx="26">
                  <c:v>39119</c:v>
                </c:pt>
                <c:pt idx="27">
                  <c:v>39120</c:v>
                </c:pt>
                <c:pt idx="28">
                  <c:v>39121</c:v>
                </c:pt>
                <c:pt idx="29">
                  <c:v>39122</c:v>
                </c:pt>
                <c:pt idx="30">
                  <c:v>39125</c:v>
                </c:pt>
                <c:pt idx="31">
                  <c:v>39126</c:v>
                </c:pt>
                <c:pt idx="32">
                  <c:v>39127</c:v>
                </c:pt>
                <c:pt idx="33">
                  <c:v>39128</c:v>
                </c:pt>
                <c:pt idx="34">
                  <c:v>39129</c:v>
                </c:pt>
                <c:pt idx="35">
                  <c:v>39132</c:v>
                </c:pt>
                <c:pt idx="36">
                  <c:v>39133</c:v>
                </c:pt>
                <c:pt idx="37">
                  <c:v>39134</c:v>
                </c:pt>
                <c:pt idx="38">
                  <c:v>39135</c:v>
                </c:pt>
                <c:pt idx="39">
                  <c:v>39136</c:v>
                </c:pt>
                <c:pt idx="40">
                  <c:v>39139</c:v>
                </c:pt>
                <c:pt idx="41">
                  <c:v>39140</c:v>
                </c:pt>
                <c:pt idx="42">
                  <c:v>39141</c:v>
                </c:pt>
                <c:pt idx="43">
                  <c:v>39142</c:v>
                </c:pt>
                <c:pt idx="44">
                  <c:v>39143</c:v>
                </c:pt>
                <c:pt idx="45">
                  <c:v>39146</c:v>
                </c:pt>
                <c:pt idx="46">
                  <c:v>39147</c:v>
                </c:pt>
                <c:pt idx="47">
                  <c:v>39148</c:v>
                </c:pt>
                <c:pt idx="48">
                  <c:v>39149</c:v>
                </c:pt>
                <c:pt idx="49">
                  <c:v>39150</c:v>
                </c:pt>
                <c:pt idx="50">
                  <c:v>39153</c:v>
                </c:pt>
                <c:pt idx="51">
                  <c:v>39154</c:v>
                </c:pt>
                <c:pt idx="52">
                  <c:v>39155</c:v>
                </c:pt>
                <c:pt idx="53">
                  <c:v>39156</c:v>
                </c:pt>
                <c:pt idx="54">
                  <c:v>39157</c:v>
                </c:pt>
                <c:pt idx="55">
                  <c:v>39160</c:v>
                </c:pt>
                <c:pt idx="56">
                  <c:v>39161</c:v>
                </c:pt>
                <c:pt idx="57">
                  <c:v>39162</c:v>
                </c:pt>
                <c:pt idx="58">
                  <c:v>39163</c:v>
                </c:pt>
                <c:pt idx="59">
                  <c:v>39164</c:v>
                </c:pt>
                <c:pt idx="60">
                  <c:v>39167</c:v>
                </c:pt>
                <c:pt idx="61">
                  <c:v>39168</c:v>
                </c:pt>
                <c:pt idx="62">
                  <c:v>39169</c:v>
                </c:pt>
                <c:pt idx="63">
                  <c:v>39170</c:v>
                </c:pt>
                <c:pt idx="64">
                  <c:v>39171</c:v>
                </c:pt>
                <c:pt idx="65">
                  <c:v>39174</c:v>
                </c:pt>
                <c:pt idx="66">
                  <c:v>39175</c:v>
                </c:pt>
                <c:pt idx="67">
                  <c:v>39176</c:v>
                </c:pt>
                <c:pt idx="68">
                  <c:v>39177</c:v>
                </c:pt>
                <c:pt idx="69">
                  <c:v>39178</c:v>
                </c:pt>
                <c:pt idx="70">
                  <c:v>39181</c:v>
                </c:pt>
                <c:pt idx="71">
                  <c:v>39182</c:v>
                </c:pt>
                <c:pt idx="72">
                  <c:v>39183</c:v>
                </c:pt>
                <c:pt idx="73">
                  <c:v>39184</c:v>
                </c:pt>
                <c:pt idx="74">
                  <c:v>39185</c:v>
                </c:pt>
                <c:pt idx="75">
                  <c:v>39188</c:v>
                </c:pt>
                <c:pt idx="76">
                  <c:v>39189</c:v>
                </c:pt>
                <c:pt idx="77">
                  <c:v>39190</c:v>
                </c:pt>
                <c:pt idx="78">
                  <c:v>39191</c:v>
                </c:pt>
                <c:pt idx="79">
                  <c:v>39192</c:v>
                </c:pt>
                <c:pt idx="80">
                  <c:v>39195</c:v>
                </c:pt>
                <c:pt idx="81">
                  <c:v>39196</c:v>
                </c:pt>
                <c:pt idx="82">
                  <c:v>39197</c:v>
                </c:pt>
                <c:pt idx="83">
                  <c:v>39198</c:v>
                </c:pt>
                <c:pt idx="84">
                  <c:v>39199</c:v>
                </c:pt>
                <c:pt idx="85">
                  <c:v>39202</c:v>
                </c:pt>
                <c:pt idx="86">
                  <c:v>39203</c:v>
                </c:pt>
                <c:pt idx="87">
                  <c:v>39204</c:v>
                </c:pt>
                <c:pt idx="88">
                  <c:v>39205</c:v>
                </c:pt>
                <c:pt idx="89">
                  <c:v>39206</c:v>
                </c:pt>
                <c:pt idx="90">
                  <c:v>39209</c:v>
                </c:pt>
                <c:pt idx="91">
                  <c:v>39210</c:v>
                </c:pt>
                <c:pt idx="92">
                  <c:v>39211</c:v>
                </c:pt>
                <c:pt idx="93">
                  <c:v>39212</c:v>
                </c:pt>
                <c:pt idx="94">
                  <c:v>39213</c:v>
                </c:pt>
                <c:pt idx="95">
                  <c:v>39216</c:v>
                </c:pt>
                <c:pt idx="96">
                  <c:v>39217</c:v>
                </c:pt>
                <c:pt idx="97">
                  <c:v>39218</c:v>
                </c:pt>
                <c:pt idx="98">
                  <c:v>39219</c:v>
                </c:pt>
                <c:pt idx="99">
                  <c:v>39220</c:v>
                </c:pt>
                <c:pt idx="100">
                  <c:v>39223</c:v>
                </c:pt>
                <c:pt idx="101">
                  <c:v>39224</c:v>
                </c:pt>
                <c:pt idx="102">
                  <c:v>39225</c:v>
                </c:pt>
                <c:pt idx="103">
                  <c:v>39226</c:v>
                </c:pt>
                <c:pt idx="104">
                  <c:v>39227</c:v>
                </c:pt>
                <c:pt idx="105">
                  <c:v>39230</c:v>
                </c:pt>
                <c:pt idx="106">
                  <c:v>39231</c:v>
                </c:pt>
                <c:pt idx="107">
                  <c:v>39232</c:v>
                </c:pt>
                <c:pt idx="108">
                  <c:v>39233</c:v>
                </c:pt>
                <c:pt idx="109">
                  <c:v>39234</c:v>
                </c:pt>
                <c:pt idx="110">
                  <c:v>39237</c:v>
                </c:pt>
                <c:pt idx="111">
                  <c:v>39238</c:v>
                </c:pt>
                <c:pt idx="112">
                  <c:v>39239</c:v>
                </c:pt>
                <c:pt idx="113">
                  <c:v>39240</c:v>
                </c:pt>
                <c:pt idx="114">
                  <c:v>39241</c:v>
                </c:pt>
                <c:pt idx="115">
                  <c:v>39244</c:v>
                </c:pt>
                <c:pt idx="116">
                  <c:v>39245</c:v>
                </c:pt>
                <c:pt idx="117">
                  <c:v>39246</c:v>
                </c:pt>
                <c:pt idx="118">
                  <c:v>39247</c:v>
                </c:pt>
                <c:pt idx="119">
                  <c:v>39248</c:v>
                </c:pt>
                <c:pt idx="120">
                  <c:v>39251</c:v>
                </c:pt>
                <c:pt idx="121">
                  <c:v>39252</c:v>
                </c:pt>
                <c:pt idx="122">
                  <c:v>39253</c:v>
                </c:pt>
                <c:pt idx="123">
                  <c:v>39254</c:v>
                </c:pt>
                <c:pt idx="124">
                  <c:v>39255</c:v>
                </c:pt>
                <c:pt idx="125">
                  <c:v>39258</c:v>
                </c:pt>
                <c:pt idx="126">
                  <c:v>39259</c:v>
                </c:pt>
                <c:pt idx="127">
                  <c:v>39260</c:v>
                </c:pt>
                <c:pt idx="128">
                  <c:v>39261</c:v>
                </c:pt>
                <c:pt idx="129">
                  <c:v>39262</c:v>
                </c:pt>
                <c:pt idx="130">
                  <c:v>39265</c:v>
                </c:pt>
                <c:pt idx="131">
                  <c:v>39266</c:v>
                </c:pt>
                <c:pt idx="132">
                  <c:v>39267</c:v>
                </c:pt>
                <c:pt idx="133">
                  <c:v>39268</c:v>
                </c:pt>
                <c:pt idx="134">
                  <c:v>39269</c:v>
                </c:pt>
                <c:pt idx="135">
                  <c:v>39272</c:v>
                </c:pt>
                <c:pt idx="136">
                  <c:v>39273</c:v>
                </c:pt>
                <c:pt idx="137">
                  <c:v>39274</c:v>
                </c:pt>
                <c:pt idx="138">
                  <c:v>39275</c:v>
                </c:pt>
                <c:pt idx="139">
                  <c:v>39276</c:v>
                </c:pt>
                <c:pt idx="140">
                  <c:v>39279</c:v>
                </c:pt>
                <c:pt idx="141">
                  <c:v>39280</c:v>
                </c:pt>
                <c:pt idx="142">
                  <c:v>39281</c:v>
                </c:pt>
                <c:pt idx="143">
                  <c:v>39282</c:v>
                </c:pt>
                <c:pt idx="144">
                  <c:v>39283</c:v>
                </c:pt>
                <c:pt idx="145">
                  <c:v>39286</c:v>
                </c:pt>
                <c:pt idx="146">
                  <c:v>39287</c:v>
                </c:pt>
                <c:pt idx="147">
                  <c:v>39288</c:v>
                </c:pt>
                <c:pt idx="148">
                  <c:v>39289</c:v>
                </c:pt>
                <c:pt idx="149">
                  <c:v>39290</c:v>
                </c:pt>
                <c:pt idx="150">
                  <c:v>39293</c:v>
                </c:pt>
                <c:pt idx="151">
                  <c:v>39294</c:v>
                </c:pt>
                <c:pt idx="152">
                  <c:v>39295</c:v>
                </c:pt>
                <c:pt idx="153">
                  <c:v>39296</c:v>
                </c:pt>
                <c:pt idx="154">
                  <c:v>39297</c:v>
                </c:pt>
                <c:pt idx="155">
                  <c:v>39300</c:v>
                </c:pt>
                <c:pt idx="156">
                  <c:v>39301</c:v>
                </c:pt>
                <c:pt idx="157">
                  <c:v>39302</c:v>
                </c:pt>
                <c:pt idx="158">
                  <c:v>39303</c:v>
                </c:pt>
                <c:pt idx="159">
                  <c:v>39304</c:v>
                </c:pt>
                <c:pt idx="160">
                  <c:v>39307</c:v>
                </c:pt>
                <c:pt idx="161">
                  <c:v>39308</c:v>
                </c:pt>
                <c:pt idx="162">
                  <c:v>39309</c:v>
                </c:pt>
                <c:pt idx="163">
                  <c:v>39310</c:v>
                </c:pt>
                <c:pt idx="164">
                  <c:v>39311</c:v>
                </c:pt>
                <c:pt idx="165">
                  <c:v>39314</c:v>
                </c:pt>
                <c:pt idx="166">
                  <c:v>39315</c:v>
                </c:pt>
                <c:pt idx="167">
                  <c:v>39316</c:v>
                </c:pt>
                <c:pt idx="168">
                  <c:v>39317</c:v>
                </c:pt>
                <c:pt idx="169">
                  <c:v>39318</c:v>
                </c:pt>
                <c:pt idx="170">
                  <c:v>39321</c:v>
                </c:pt>
                <c:pt idx="171">
                  <c:v>39322</c:v>
                </c:pt>
                <c:pt idx="172">
                  <c:v>39323</c:v>
                </c:pt>
                <c:pt idx="173">
                  <c:v>39324</c:v>
                </c:pt>
                <c:pt idx="174">
                  <c:v>39325</c:v>
                </c:pt>
                <c:pt idx="175">
                  <c:v>39328</c:v>
                </c:pt>
                <c:pt idx="176">
                  <c:v>39329</c:v>
                </c:pt>
                <c:pt idx="177">
                  <c:v>39330</c:v>
                </c:pt>
                <c:pt idx="178">
                  <c:v>39331</c:v>
                </c:pt>
                <c:pt idx="179">
                  <c:v>39332</c:v>
                </c:pt>
                <c:pt idx="180">
                  <c:v>39335</c:v>
                </c:pt>
                <c:pt idx="181">
                  <c:v>39336</c:v>
                </c:pt>
                <c:pt idx="182">
                  <c:v>39337</c:v>
                </c:pt>
                <c:pt idx="183">
                  <c:v>39338</c:v>
                </c:pt>
                <c:pt idx="184">
                  <c:v>39339</c:v>
                </c:pt>
                <c:pt idx="185">
                  <c:v>39342</c:v>
                </c:pt>
                <c:pt idx="186">
                  <c:v>39343</c:v>
                </c:pt>
                <c:pt idx="187">
                  <c:v>39344</c:v>
                </c:pt>
                <c:pt idx="188">
                  <c:v>39345</c:v>
                </c:pt>
                <c:pt idx="189">
                  <c:v>39346</c:v>
                </c:pt>
                <c:pt idx="190">
                  <c:v>39349</c:v>
                </c:pt>
                <c:pt idx="191">
                  <c:v>39350</c:v>
                </c:pt>
                <c:pt idx="192">
                  <c:v>39351</c:v>
                </c:pt>
                <c:pt idx="193">
                  <c:v>39352</c:v>
                </c:pt>
                <c:pt idx="194">
                  <c:v>39353</c:v>
                </c:pt>
                <c:pt idx="195">
                  <c:v>39356</c:v>
                </c:pt>
                <c:pt idx="196">
                  <c:v>39357</c:v>
                </c:pt>
                <c:pt idx="197">
                  <c:v>39358</c:v>
                </c:pt>
                <c:pt idx="198">
                  <c:v>39359</c:v>
                </c:pt>
                <c:pt idx="199">
                  <c:v>39360</c:v>
                </c:pt>
                <c:pt idx="200">
                  <c:v>39363</c:v>
                </c:pt>
                <c:pt idx="201">
                  <c:v>39364</c:v>
                </c:pt>
                <c:pt idx="202">
                  <c:v>39365</c:v>
                </c:pt>
                <c:pt idx="203">
                  <c:v>39366</c:v>
                </c:pt>
                <c:pt idx="204">
                  <c:v>39367</c:v>
                </c:pt>
                <c:pt idx="205">
                  <c:v>39370</c:v>
                </c:pt>
                <c:pt idx="206">
                  <c:v>39371</c:v>
                </c:pt>
                <c:pt idx="207">
                  <c:v>39372</c:v>
                </c:pt>
                <c:pt idx="208">
                  <c:v>39373</c:v>
                </c:pt>
                <c:pt idx="209">
                  <c:v>39374</c:v>
                </c:pt>
                <c:pt idx="210">
                  <c:v>39377</c:v>
                </c:pt>
                <c:pt idx="211">
                  <c:v>39378</c:v>
                </c:pt>
                <c:pt idx="212">
                  <c:v>39379</c:v>
                </c:pt>
                <c:pt idx="213">
                  <c:v>39380</c:v>
                </c:pt>
                <c:pt idx="214">
                  <c:v>39381</c:v>
                </c:pt>
                <c:pt idx="215">
                  <c:v>39384</c:v>
                </c:pt>
                <c:pt idx="216">
                  <c:v>39385</c:v>
                </c:pt>
                <c:pt idx="217">
                  <c:v>39386</c:v>
                </c:pt>
                <c:pt idx="218">
                  <c:v>39387</c:v>
                </c:pt>
                <c:pt idx="219">
                  <c:v>39388</c:v>
                </c:pt>
                <c:pt idx="220">
                  <c:v>39391</c:v>
                </c:pt>
                <c:pt idx="221">
                  <c:v>39392</c:v>
                </c:pt>
                <c:pt idx="222">
                  <c:v>39393</c:v>
                </c:pt>
                <c:pt idx="223">
                  <c:v>39394</c:v>
                </c:pt>
                <c:pt idx="224">
                  <c:v>39395</c:v>
                </c:pt>
                <c:pt idx="225">
                  <c:v>39398</c:v>
                </c:pt>
                <c:pt idx="226">
                  <c:v>39399</c:v>
                </c:pt>
                <c:pt idx="227">
                  <c:v>39400</c:v>
                </c:pt>
                <c:pt idx="228">
                  <c:v>39401</c:v>
                </c:pt>
                <c:pt idx="229">
                  <c:v>39402</c:v>
                </c:pt>
                <c:pt idx="230">
                  <c:v>39405</c:v>
                </c:pt>
                <c:pt idx="231">
                  <c:v>39406</c:v>
                </c:pt>
                <c:pt idx="232">
                  <c:v>39407</c:v>
                </c:pt>
                <c:pt idx="233">
                  <c:v>39408</c:v>
                </c:pt>
                <c:pt idx="234">
                  <c:v>39409</c:v>
                </c:pt>
                <c:pt idx="235">
                  <c:v>39412</c:v>
                </c:pt>
                <c:pt idx="236">
                  <c:v>39413</c:v>
                </c:pt>
                <c:pt idx="237">
                  <c:v>39414</c:v>
                </c:pt>
                <c:pt idx="238">
                  <c:v>39415</c:v>
                </c:pt>
                <c:pt idx="239">
                  <c:v>39416</c:v>
                </c:pt>
                <c:pt idx="240">
                  <c:v>39419</c:v>
                </c:pt>
                <c:pt idx="241">
                  <c:v>39420</c:v>
                </c:pt>
                <c:pt idx="242">
                  <c:v>39421</c:v>
                </c:pt>
                <c:pt idx="243">
                  <c:v>39422</c:v>
                </c:pt>
                <c:pt idx="244">
                  <c:v>39423</c:v>
                </c:pt>
                <c:pt idx="245">
                  <c:v>39426</c:v>
                </c:pt>
                <c:pt idx="246">
                  <c:v>39427</c:v>
                </c:pt>
                <c:pt idx="247">
                  <c:v>39428</c:v>
                </c:pt>
                <c:pt idx="248">
                  <c:v>39429</c:v>
                </c:pt>
                <c:pt idx="249">
                  <c:v>39430</c:v>
                </c:pt>
                <c:pt idx="250">
                  <c:v>39433</c:v>
                </c:pt>
                <c:pt idx="251">
                  <c:v>39434</c:v>
                </c:pt>
                <c:pt idx="252">
                  <c:v>39435</c:v>
                </c:pt>
                <c:pt idx="253">
                  <c:v>39436</c:v>
                </c:pt>
                <c:pt idx="254">
                  <c:v>39437</c:v>
                </c:pt>
                <c:pt idx="255">
                  <c:v>39440</c:v>
                </c:pt>
                <c:pt idx="256">
                  <c:v>39441</c:v>
                </c:pt>
                <c:pt idx="257">
                  <c:v>39442</c:v>
                </c:pt>
                <c:pt idx="258">
                  <c:v>39443</c:v>
                </c:pt>
                <c:pt idx="259">
                  <c:v>39444</c:v>
                </c:pt>
                <c:pt idx="260">
                  <c:v>39447</c:v>
                </c:pt>
                <c:pt idx="261">
                  <c:v>39448</c:v>
                </c:pt>
                <c:pt idx="262">
                  <c:v>39449</c:v>
                </c:pt>
                <c:pt idx="263">
                  <c:v>39450</c:v>
                </c:pt>
                <c:pt idx="264">
                  <c:v>39451</c:v>
                </c:pt>
                <c:pt idx="265">
                  <c:v>39454</c:v>
                </c:pt>
                <c:pt idx="266">
                  <c:v>39455</c:v>
                </c:pt>
                <c:pt idx="267">
                  <c:v>39456</c:v>
                </c:pt>
                <c:pt idx="268">
                  <c:v>39457</c:v>
                </c:pt>
                <c:pt idx="269">
                  <c:v>39458</c:v>
                </c:pt>
                <c:pt idx="270">
                  <c:v>39461</c:v>
                </c:pt>
                <c:pt idx="271">
                  <c:v>39462</c:v>
                </c:pt>
                <c:pt idx="272">
                  <c:v>39463</c:v>
                </c:pt>
                <c:pt idx="273">
                  <c:v>39464</c:v>
                </c:pt>
                <c:pt idx="274">
                  <c:v>39465</c:v>
                </c:pt>
                <c:pt idx="275">
                  <c:v>39468</c:v>
                </c:pt>
                <c:pt idx="276">
                  <c:v>39469</c:v>
                </c:pt>
                <c:pt idx="277">
                  <c:v>39470</c:v>
                </c:pt>
                <c:pt idx="278">
                  <c:v>39471</c:v>
                </c:pt>
                <c:pt idx="279">
                  <c:v>39472</c:v>
                </c:pt>
                <c:pt idx="280">
                  <c:v>39475</c:v>
                </c:pt>
                <c:pt idx="281">
                  <c:v>39476</c:v>
                </c:pt>
                <c:pt idx="282">
                  <c:v>39477</c:v>
                </c:pt>
                <c:pt idx="283">
                  <c:v>39478</c:v>
                </c:pt>
                <c:pt idx="284">
                  <c:v>39479</c:v>
                </c:pt>
                <c:pt idx="285">
                  <c:v>39482</c:v>
                </c:pt>
                <c:pt idx="286">
                  <c:v>39483</c:v>
                </c:pt>
                <c:pt idx="287">
                  <c:v>39484</c:v>
                </c:pt>
                <c:pt idx="288">
                  <c:v>39485</c:v>
                </c:pt>
                <c:pt idx="289">
                  <c:v>39486</c:v>
                </c:pt>
                <c:pt idx="290">
                  <c:v>39489</c:v>
                </c:pt>
                <c:pt idx="291">
                  <c:v>39490</c:v>
                </c:pt>
                <c:pt idx="292">
                  <c:v>39491</c:v>
                </c:pt>
                <c:pt idx="293">
                  <c:v>39492</c:v>
                </c:pt>
                <c:pt idx="294">
                  <c:v>39493</c:v>
                </c:pt>
                <c:pt idx="295">
                  <c:v>39496</c:v>
                </c:pt>
                <c:pt idx="296">
                  <c:v>39497</c:v>
                </c:pt>
                <c:pt idx="297">
                  <c:v>39498</c:v>
                </c:pt>
                <c:pt idx="298">
                  <c:v>39499</c:v>
                </c:pt>
                <c:pt idx="299">
                  <c:v>39500</c:v>
                </c:pt>
                <c:pt idx="300">
                  <c:v>39503</c:v>
                </c:pt>
                <c:pt idx="301">
                  <c:v>39504</c:v>
                </c:pt>
                <c:pt idx="302">
                  <c:v>39505</c:v>
                </c:pt>
                <c:pt idx="303">
                  <c:v>39506</c:v>
                </c:pt>
                <c:pt idx="304">
                  <c:v>39507</c:v>
                </c:pt>
                <c:pt idx="305">
                  <c:v>39510</c:v>
                </c:pt>
                <c:pt idx="306">
                  <c:v>39511</c:v>
                </c:pt>
                <c:pt idx="307">
                  <c:v>39512</c:v>
                </c:pt>
                <c:pt idx="308">
                  <c:v>39513</c:v>
                </c:pt>
                <c:pt idx="309">
                  <c:v>39514</c:v>
                </c:pt>
                <c:pt idx="310">
                  <c:v>39517</c:v>
                </c:pt>
                <c:pt idx="311">
                  <c:v>39518</c:v>
                </c:pt>
                <c:pt idx="312">
                  <c:v>39519</c:v>
                </c:pt>
                <c:pt idx="313">
                  <c:v>39520</c:v>
                </c:pt>
                <c:pt idx="314">
                  <c:v>39521</c:v>
                </c:pt>
                <c:pt idx="315">
                  <c:v>39524</c:v>
                </c:pt>
                <c:pt idx="316">
                  <c:v>39525</c:v>
                </c:pt>
                <c:pt idx="317">
                  <c:v>39526</c:v>
                </c:pt>
                <c:pt idx="318">
                  <c:v>39527</c:v>
                </c:pt>
                <c:pt idx="319">
                  <c:v>39528</c:v>
                </c:pt>
                <c:pt idx="320">
                  <c:v>39531</c:v>
                </c:pt>
                <c:pt idx="321">
                  <c:v>39532</c:v>
                </c:pt>
                <c:pt idx="322">
                  <c:v>39533</c:v>
                </c:pt>
                <c:pt idx="323">
                  <c:v>39534</c:v>
                </c:pt>
                <c:pt idx="324">
                  <c:v>39535</c:v>
                </c:pt>
                <c:pt idx="325">
                  <c:v>39538</c:v>
                </c:pt>
                <c:pt idx="326">
                  <c:v>39539</c:v>
                </c:pt>
                <c:pt idx="327">
                  <c:v>39540</c:v>
                </c:pt>
                <c:pt idx="328">
                  <c:v>39541</c:v>
                </c:pt>
                <c:pt idx="329">
                  <c:v>39542</c:v>
                </c:pt>
                <c:pt idx="330">
                  <c:v>39545</c:v>
                </c:pt>
                <c:pt idx="331">
                  <c:v>39546</c:v>
                </c:pt>
                <c:pt idx="332">
                  <c:v>39547</c:v>
                </c:pt>
                <c:pt idx="333">
                  <c:v>39548</c:v>
                </c:pt>
                <c:pt idx="334">
                  <c:v>39549</c:v>
                </c:pt>
                <c:pt idx="335">
                  <c:v>39552</c:v>
                </c:pt>
                <c:pt idx="336">
                  <c:v>39553</c:v>
                </c:pt>
                <c:pt idx="337">
                  <c:v>39554</c:v>
                </c:pt>
                <c:pt idx="338">
                  <c:v>39555</c:v>
                </c:pt>
                <c:pt idx="339">
                  <c:v>39556</c:v>
                </c:pt>
                <c:pt idx="340">
                  <c:v>39559</c:v>
                </c:pt>
                <c:pt idx="341">
                  <c:v>39560</c:v>
                </c:pt>
                <c:pt idx="342">
                  <c:v>39561</c:v>
                </c:pt>
                <c:pt idx="343">
                  <c:v>39562</c:v>
                </c:pt>
                <c:pt idx="344">
                  <c:v>39563</c:v>
                </c:pt>
                <c:pt idx="345">
                  <c:v>39566</c:v>
                </c:pt>
                <c:pt idx="346">
                  <c:v>39567</c:v>
                </c:pt>
                <c:pt idx="347">
                  <c:v>39568</c:v>
                </c:pt>
                <c:pt idx="348">
                  <c:v>39569</c:v>
                </c:pt>
                <c:pt idx="349">
                  <c:v>39570</c:v>
                </c:pt>
                <c:pt idx="350">
                  <c:v>39573</c:v>
                </c:pt>
                <c:pt idx="351">
                  <c:v>39574</c:v>
                </c:pt>
                <c:pt idx="352">
                  <c:v>39575</c:v>
                </c:pt>
                <c:pt idx="353">
                  <c:v>39576</c:v>
                </c:pt>
                <c:pt idx="354">
                  <c:v>39577</c:v>
                </c:pt>
                <c:pt idx="355">
                  <c:v>39580</c:v>
                </c:pt>
                <c:pt idx="356">
                  <c:v>39581</c:v>
                </c:pt>
                <c:pt idx="357">
                  <c:v>39582</c:v>
                </c:pt>
                <c:pt idx="358">
                  <c:v>39583</c:v>
                </c:pt>
                <c:pt idx="359">
                  <c:v>39584</c:v>
                </c:pt>
                <c:pt idx="360">
                  <c:v>39587</c:v>
                </c:pt>
                <c:pt idx="361">
                  <c:v>39588</c:v>
                </c:pt>
                <c:pt idx="362">
                  <c:v>39589</c:v>
                </c:pt>
                <c:pt idx="363">
                  <c:v>39590</c:v>
                </c:pt>
                <c:pt idx="364">
                  <c:v>39591</c:v>
                </c:pt>
                <c:pt idx="365">
                  <c:v>39594</c:v>
                </c:pt>
                <c:pt idx="366">
                  <c:v>39595</c:v>
                </c:pt>
                <c:pt idx="367">
                  <c:v>39596</c:v>
                </c:pt>
                <c:pt idx="368">
                  <c:v>39597</c:v>
                </c:pt>
                <c:pt idx="369">
                  <c:v>39598</c:v>
                </c:pt>
                <c:pt idx="370">
                  <c:v>39601</c:v>
                </c:pt>
                <c:pt idx="371">
                  <c:v>39602</c:v>
                </c:pt>
                <c:pt idx="372">
                  <c:v>39603</c:v>
                </c:pt>
                <c:pt idx="373">
                  <c:v>39604</c:v>
                </c:pt>
                <c:pt idx="374">
                  <c:v>39605</c:v>
                </c:pt>
                <c:pt idx="375">
                  <c:v>39608</c:v>
                </c:pt>
                <c:pt idx="376">
                  <c:v>39609</c:v>
                </c:pt>
                <c:pt idx="377">
                  <c:v>39610</c:v>
                </c:pt>
                <c:pt idx="378">
                  <c:v>39611</c:v>
                </c:pt>
                <c:pt idx="379">
                  <c:v>39612</c:v>
                </c:pt>
                <c:pt idx="380">
                  <c:v>39615</c:v>
                </c:pt>
                <c:pt idx="381">
                  <c:v>39616</c:v>
                </c:pt>
                <c:pt idx="382">
                  <c:v>39617</c:v>
                </c:pt>
                <c:pt idx="383">
                  <c:v>39618</c:v>
                </c:pt>
                <c:pt idx="384">
                  <c:v>39619</c:v>
                </c:pt>
                <c:pt idx="385">
                  <c:v>39622</c:v>
                </c:pt>
                <c:pt idx="386">
                  <c:v>39623</c:v>
                </c:pt>
                <c:pt idx="387">
                  <c:v>39624</c:v>
                </c:pt>
                <c:pt idx="388">
                  <c:v>39625</c:v>
                </c:pt>
                <c:pt idx="389">
                  <c:v>39626</c:v>
                </c:pt>
                <c:pt idx="390">
                  <c:v>39629</c:v>
                </c:pt>
                <c:pt idx="391">
                  <c:v>39630</c:v>
                </c:pt>
                <c:pt idx="392">
                  <c:v>39631</c:v>
                </c:pt>
                <c:pt idx="393">
                  <c:v>39632</c:v>
                </c:pt>
                <c:pt idx="394">
                  <c:v>39633</c:v>
                </c:pt>
                <c:pt idx="395">
                  <c:v>39636</c:v>
                </c:pt>
                <c:pt idx="396">
                  <c:v>39637</c:v>
                </c:pt>
                <c:pt idx="397">
                  <c:v>39638</c:v>
                </c:pt>
                <c:pt idx="398">
                  <c:v>39639</c:v>
                </c:pt>
                <c:pt idx="399">
                  <c:v>39640</c:v>
                </c:pt>
                <c:pt idx="400">
                  <c:v>39643</c:v>
                </c:pt>
                <c:pt idx="401">
                  <c:v>39644</c:v>
                </c:pt>
                <c:pt idx="402">
                  <c:v>39645</c:v>
                </c:pt>
                <c:pt idx="403">
                  <c:v>39646</c:v>
                </c:pt>
                <c:pt idx="404">
                  <c:v>39647</c:v>
                </c:pt>
                <c:pt idx="405">
                  <c:v>39650</c:v>
                </c:pt>
                <c:pt idx="406">
                  <c:v>39651</c:v>
                </c:pt>
                <c:pt idx="407">
                  <c:v>39652</c:v>
                </c:pt>
                <c:pt idx="408">
                  <c:v>39653</c:v>
                </c:pt>
                <c:pt idx="409">
                  <c:v>39654</c:v>
                </c:pt>
                <c:pt idx="410">
                  <c:v>39657</c:v>
                </c:pt>
                <c:pt idx="411">
                  <c:v>39658</c:v>
                </c:pt>
                <c:pt idx="412">
                  <c:v>39659</c:v>
                </c:pt>
                <c:pt idx="413">
                  <c:v>39660</c:v>
                </c:pt>
                <c:pt idx="414">
                  <c:v>39661</c:v>
                </c:pt>
                <c:pt idx="415">
                  <c:v>39664</c:v>
                </c:pt>
                <c:pt idx="416">
                  <c:v>39665</c:v>
                </c:pt>
                <c:pt idx="417">
                  <c:v>39666</c:v>
                </c:pt>
                <c:pt idx="418">
                  <c:v>39667</c:v>
                </c:pt>
                <c:pt idx="419">
                  <c:v>39668</c:v>
                </c:pt>
                <c:pt idx="420">
                  <c:v>39671</c:v>
                </c:pt>
                <c:pt idx="421">
                  <c:v>39672</c:v>
                </c:pt>
                <c:pt idx="422">
                  <c:v>39673</c:v>
                </c:pt>
                <c:pt idx="423">
                  <c:v>39674</c:v>
                </c:pt>
                <c:pt idx="424">
                  <c:v>39675</c:v>
                </c:pt>
                <c:pt idx="425">
                  <c:v>39678</c:v>
                </c:pt>
                <c:pt idx="426">
                  <c:v>39679</c:v>
                </c:pt>
                <c:pt idx="427">
                  <c:v>39680</c:v>
                </c:pt>
                <c:pt idx="428">
                  <c:v>39681</c:v>
                </c:pt>
                <c:pt idx="429">
                  <c:v>39682</c:v>
                </c:pt>
                <c:pt idx="430">
                  <c:v>39685</c:v>
                </c:pt>
                <c:pt idx="431">
                  <c:v>39686</c:v>
                </c:pt>
                <c:pt idx="432">
                  <c:v>39687</c:v>
                </c:pt>
                <c:pt idx="433">
                  <c:v>39688</c:v>
                </c:pt>
                <c:pt idx="434">
                  <c:v>39689</c:v>
                </c:pt>
                <c:pt idx="435">
                  <c:v>39692</c:v>
                </c:pt>
                <c:pt idx="436">
                  <c:v>39693</c:v>
                </c:pt>
                <c:pt idx="437">
                  <c:v>39694</c:v>
                </c:pt>
                <c:pt idx="438">
                  <c:v>39695</c:v>
                </c:pt>
                <c:pt idx="439">
                  <c:v>39696</c:v>
                </c:pt>
                <c:pt idx="440">
                  <c:v>39699</c:v>
                </c:pt>
                <c:pt idx="441">
                  <c:v>39700</c:v>
                </c:pt>
                <c:pt idx="442">
                  <c:v>39701</c:v>
                </c:pt>
                <c:pt idx="443">
                  <c:v>39702</c:v>
                </c:pt>
                <c:pt idx="444">
                  <c:v>39703</c:v>
                </c:pt>
                <c:pt idx="445">
                  <c:v>39706</c:v>
                </c:pt>
                <c:pt idx="446">
                  <c:v>39707</c:v>
                </c:pt>
                <c:pt idx="447">
                  <c:v>39708</c:v>
                </c:pt>
                <c:pt idx="448">
                  <c:v>39709</c:v>
                </c:pt>
                <c:pt idx="449">
                  <c:v>39710</c:v>
                </c:pt>
                <c:pt idx="450">
                  <c:v>39713</c:v>
                </c:pt>
                <c:pt idx="451">
                  <c:v>39714</c:v>
                </c:pt>
                <c:pt idx="452">
                  <c:v>39715</c:v>
                </c:pt>
                <c:pt idx="453">
                  <c:v>39716</c:v>
                </c:pt>
                <c:pt idx="454">
                  <c:v>39717</c:v>
                </c:pt>
                <c:pt idx="455">
                  <c:v>39720</c:v>
                </c:pt>
                <c:pt idx="456">
                  <c:v>39721</c:v>
                </c:pt>
                <c:pt idx="457">
                  <c:v>39722</c:v>
                </c:pt>
                <c:pt idx="458">
                  <c:v>39723</c:v>
                </c:pt>
                <c:pt idx="459">
                  <c:v>39724</c:v>
                </c:pt>
                <c:pt idx="460">
                  <c:v>39727</c:v>
                </c:pt>
                <c:pt idx="461">
                  <c:v>39728</c:v>
                </c:pt>
                <c:pt idx="462">
                  <c:v>39729</c:v>
                </c:pt>
                <c:pt idx="463">
                  <c:v>39730</c:v>
                </c:pt>
                <c:pt idx="464">
                  <c:v>39731</c:v>
                </c:pt>
                <c:pt idx="465">
                  <c:v>39734</c:v>
                </c:pt>
                <c:pt idx="466">
                  <c:v>39735</c:v>
                </c:pt>
                <c:pt idx="467">
                  <c:v>39736</c:v>
                </c:pt>
                <c:pt idx="468">
                  <c:v>39737</c:v>
                </c:pt>
                <c:pt idx="469">
                  <c:v>39738</c:v>
                </c:pt>
                <c:pt idx="470">
                  <c:v>39741</c:v>
                </c:pt>
                <c:pt idx="471">
                  <c:v>39742</c:v>
                </c:pt>
                <c:pt idx="472">
                  <c:v>39743</c:v>
                </c:pt>
                <c:pt idx="473">
                  <c:v>39744</c:v>
                </c:pt>
                <c:pt idx="474">
                  <c:v>39745</c:v>
                </c:pt>
                <c:pt idx="475">
                  <c:v>39748</c:v>
                </c:pt>
                <c:pt idx="476">
                  <c:v>39749</c:v>
                </c:pt>
                <c:pt idx="477">
                  <c:v>39750</c:v>
                </c:pt>
                <c:pt idx="478">
                  <c:v>39751</c:v>
                </c:pt>
                <c:pt idx="479">
                  <c:v>39752</c:v>
                </c:pt>
                <c:pt idx="480">
                  <c:v>39755</c:v>
                </c:pt>
                <c:pt idx="481">
                  <c:v>39756</c:v>
                </c:pt>
                <c:pt idx="482">
                  <c:v>39757</c:v>
                </c:pt>
                <c:pt idx="483">
                  <c:v>39758</c:v>
                </c:pt>
                <c:pt idx="484">
                  <c:v>39759</c:v>
                </c:pt>
                <c:pt idx="485">
                  <c:v>39762</c:v>
                </c:pt>
                <c:pt idx="486">
                  <c:v>39763</c:v>
                </c:pt>
                <c:pt idx="487">
                  <c:v>39764</c:v>
                </c:pt>
                <c:pt idx="488">
                  <c:v>39765</c:v>
                </c:pt>
                <c:pt idx="489">
                  <c:v>39766</c:v>
                </c:pt>
                <c:pt idx="490">
                  <c:v>39769</c:v>
                </c:pt>
                <c:pt idx="491">
                  <c:v>39770</c:v>
                </c:pt>
                <c:pt idx="492">
                  <c:v>39771</c:v>
                </c:pt>
                <c:pt idx="493">
                  <c:v>39772</c:v>
                </c:pt>
                <c:pt idx="494">
                  <c:v>39773</c:v>
                </c:pt>
                <c:pt idx="495">
                  <c:v>39776</c:v>
                </c:pt>
                <c:pt idx="496">
                  <c:v>39777</c:v>
                </c:pt>
                <c:pt idx="497">
                  <c:v>39778</c:v>
                </c:pt>
                <c:pt idx="498">
                  <c:v>39779</c:v>
                </c:pt>
                <c:pt idx="499">
                  <c:v>39780</c:v>
                </c:pt>
                <c:pt idx="500">
                  <c:v>39783</c:v>
                </c:pt>
                <c:pt idx="501">
                  <c:v>39784</c:v>
                </c:pt>
                <c:pt idx="502">
                  <c:v>39785</c:v>
                </c:pt>
                <c:pt idx="503">
                  <c:v>39786</c:v>
                </c:pt>
                <c:pt idx="504">
                  <c:v>39787</c:v>
                </c:pt>
                <c:pt idx="505">
                  <c:v>39790</c:v>
                </c:pt>
                <c:pt idx="506">
                  <c:v>39791</c:v>
                </c:pt>
                <c:pt idx="507">
                  <c:v>39792</c:v>
                </c:pt>
                <c:pt idx="508">
                  <c:v>39793</c:v>
                </c:pt>
                <c:pt idx="509">
                  <c:v>39794</c:v>
                </c:pt>
                <c:pt idx="510">
                  <c:v>39797</c:v>
                </c:pt>
                <c:pt idx="511">
                  <c:v>39798</c:v>
                </c:pt>
                <c:pt idx="512">
                  <c:v>39799</c:v>
                </c:pt>
                <c:pt idx="513">
                  <c:v>39800</c:v>
                </c:pt>
                <c:pt idx="514">
                  <c:v>39801</c:v>
                </c:pt>
                <c:pt idx="515">
                  <c:v>39804</c:v>
                </c:pt>
                <c:pt idx="516">
                  <c:v>39805</c:v>
                </c:pt>
                <c:pt idx="517">
                  <c:v>39806</c:v>
                </c:pt>
                <c:pt idx="518">
                  <c:v>39807</c:v>
                </c:pt>
                <c:pt idx="519">
                  <c:v>39808</c:v>
                </c:pt>
                <c:pt idx="520">
                  <c:v>39811</c:v>
                </c:pt>
                <c:pt idx="521">
                  <c:v>39812</c:v>
                </c:pt>
                <c:pt idx="522">
                  <c:v>39813</c:v>
                </c:pt>
                <c:pt idx="523">
                  <c:v>39814</c:v>
                </c:pt>
                <c:pt idx="524">
                  <c:v>39815</c:v>
                </c:pt>
                <c:pt idx="525">
                  <c:v>39818</c:v>
                </c:pt>
                <c:pt idx="526">
                  <c:v>39819</c:v>
                </c:pt>
                <c:pt idx="527">
                  <c:v>39820</c:v>
                </c:pt>
                <c:pt idx="528">
                  <c:v>39821</c:v>
                </c:pt>
                <c:pt idx="529">
                  <c:v>39822</c:v>
                </c:pt>
                <c:pt idx="530">
                  <c:v>39825</c:v>
                </c:pt>
                <c:pt idx="531">
                  <c:v>39826</c:v>
                </c:pt>
                <c:pt idx="532">
                  <c:v>39827</c:v>
                </c:pt>
                <c:pt idx="533">
                  <c:v>39828</c:v>
                </c:pt>
                <c:pt idx="534">
                  <c:v>39829</c:v>
                </c:pt>
                <c:pt idx="535">
                  <c:v>39832</c:v>
                </c:pt>
                <c:pt idx="536">
                  <c:v>39833</c:v>
                </c:pt>
                <c:pt idx="537">
                  <c:v>39834</c:v>
                </c:pt>
                <c:pt idx="538">
                  <c:v>39835</c:v>
                </c:pt>
                <c:pt idx="539">
                  <c:v>39836</c:v>
                </c:pt>
                <c:pt idx="540">
                  <c:v>39839</c:v>
                </c:pt>
                <c:pt idx="541">
                  <c:v>39840</c:v>
                </c:pt>
                <c:pt idx="542">
                  <c:v>39841</c:v>
                </c:pt>
                <c:pt idx="543">
                  <c:v>39842</c:v>
                </c:pt>
                <c:pt idx="544">
                  <c:v>39843</c:v>
                </c:pt>
                <c:pt idx="545">
                  <c:v>39846</c:v>
                </c:pt>
                <c:pt idx="546">
                  <c:v>39847</c:v>
                </c:pt>
                <c:pt idx="547">
                  <c:v>39848</c:v>
                </c:pt>
                <c:pt idx="548">
                  <c:v>39849</c:v>
                </c:pt>
                <c:pt idx="549">
                  <c:v>39850</c:v>
                </c:pt>
                <c:pt idx="550">
                  <c:v>39853</c:v>
                </c:pt>
                <c:pt idx="551">
                  <c:v>39854</c:v>
                </c:pt>
                <c:pt idx="552">
                  <c:v>39855</c:v>
                </c:pt>
                <c:pt idx="553">
                  <c:v>39856</c:v>
                </c:pt>
                <c:pt idx="554">
                  <c:v>39857</c:v>
                </c:pt>
                <c:pt idx="555">
                  <c:v>39860</c:v>
                </c:pt>
                <c:pt idx="556">
                  <c:v>39861</c:v>
                </c:pt>
                <c:pt idx="557">
                  <c:v>39862</c:v>
                </c:pt>
                <c:pt idx="558">
                  <c:v>39863</c:v>
                </c:pt>
                <c:pt idx="559">
                  <c:v>39864</c:v>
                </c:pt>
                <c:pt idx="560">
                  <c:v>39867</c:v>
                </c:pt>
                <c:pt idx="561">
                  <c:v>39868</c:v>
                </c:pt>
                <c:pt idx="562">
                  <c:v>39869</c:v>
                </c:pt>
                <c:pt idx="563">
                  <c:v>39870</c:v>
                </c:pt>
                <c:pt idx="564">
                  <c:v>39871</c:v>
                </c:pt>
                <c:pt idx="565">
                  <c:v>39874</c:v>
                </c:pt>
                <c:pt idx="566">
                  <c:v>39875</c:v>
                </c:pt>
                <c:pt idx="567">
                  <c:v>39876</c:v>
                </c:pt>
                <c:pt idx="568">
                  <c:v>39877</c:v>
                </c:pt>
                <c:pt idx="569">
                  <c:v>39878</c:v>
                </c:pt>
                <c:pt idx="570">
                  <c:v>39881</c:v>
                </c:pt>
                <c:pt idx="571">
                  <c:v>39882</c:v>
                </c:pt>
                <c:pt idx="572">
                  <c:v>39883</c:v>
                </c:pt>
                <c:pt idx="573">
                  <c:v>39884</c:v>
                </c:pt>
                <c:pt idx="574">
                  <c:v>39885</c:v>
                </c:pt>
                <c:pt idx="575">
                  <c:v>39888</c:v>
                </c:pt>
                <c:pt idx="576">
                  <c:v>39889</c:v>
                </c:pt>
                <c:pt idx="577">
                  <c:v>39890</c:v>
                </c:pt>
                <c:pt idx="578">
                  <c:v>39891</c:v>
                </c:pt>
                <c:pt idx="579">
                  <c:v>39892</c:v>
                </c:pt>
                <c:pt idx="580">
                  <c:v>39895</c:v>
                </c:pt>
                <c:pt idx="581">
                  <c:v>39896</c:v>
                </c:pt>
                <c:pt idx="582">
                  <c:v>39897</c:v>
                </c:pt>
                <c:pt idx="583">
                  <c:v>39898</c:v>
                </c:pt>
                <c:pt idx="584">
                  <c:v>39899</c:v>
                </c:pt>
                <c:pt idx="585">
                  <c:v>39902</c:v>
                </c:pt>
                <c:pt idx="586">
                  <c:v>39903</c:v>
                </c:pt>
                <c:pt idx="587">
                  <c:v>39904</c:v>
                </c:pt>
                <c:pt idx="588">
                  <c:v>39905</c:v>
                </c:pt>
                <c:pt idx="589">
                  <c:v>39906</c:v>
                </c:pt>
                <c:pt idx="590">
                  <c:v>39909</c:v>
                </c:pt>
                <c:pt idx="591">
                  <c:v>39910</c:v>
                </c:pt>
                <c:pt idx="592">
                  <c:v>39911</c:v>
                </c:pt>
                <c:pt idx="593">
                  <c:v>39912</c:v>
                </c:pt>
                <c:pt idx="594">
                  <c:v>39913</c:v>
                </c:pt>
                <c:pt idx="595">
                  <c:v>39916</c:v>
                </c:pt>
                <c:pt idx="596">
                  <c:v>39917</c:v>
                </c:pt>
                <c:pt idx="597">
                  <c:v>39918</c:v>
                </c:pt>
                <c:pt idx="598">
                  <c:v>39919</c:v>
                </c:pt>
                <c:pt idx="599">
                  <c:v>39920</c:v>
                </c:pt>
                <c:pt idx="600">
                  <c:v>39923</c:v>
                </c:pt>
                <c:pt idx="601">
                  <c:v>39924</c:v>
                </c:pt>
                <c:pt idx="602">
                  <c:v>39925</c:v>
                </c:pt>
                <c:pt idx="603">
                  <c:v>39926</c:v>
                </c:pt>
                <c:pt idx="604">
                  <c:v>39927</c:v>
                </c:pt>
                <c:pt idx="605">
                  <c:v>39930</c:v>
                </c:pt>
                <c:pt idx="606">
                  <c:v>39931</c:v>
                </c:pt>
                <c:pt idx="607">
                  <c:v>39932</c:v>
                </c:pt>
                <c:pt idx="608">
                  <c:v>39933</c:v>
                </c:pt>
                <c:pt idx="609">
                  <c:v>39934</c:v>
                </c:pt>
                <c:pt idx="610">
                  <c:v>39937</c:v>
                </c:pt>
                <c:pt idx="611">
                  <c:v>39938</c:v>
                </c:pt>
                <c:pt idx="612">
                  <c:v>39939</c:v>
                </c:pt>
                <c:pt idx="613">
                  <c:v>39940</c:v>
                </c:pt>
                <c:pt idx="614">
                  <c:v>39941</c:v>
                </c:pt>
                <c:pt idx="615">
                  <c:v>39944</c:v>
                </c:pt>
                <c:pt idx="616">
                  <c:v>39945</c:v>
                </c:pt>
                <c:pt idx="617">
                  <c:v>39946</c:v>
                </c:pt>
                <c:pt idx="618">
                  <c:v>39947</c:v>
                </c:pt>
                <c:pt idx="619">
                  <c:v>39948</c:v>
                </c:pt>
                <c:pt idx="620">
                  <c:v>39951</c:v>
                </c:pt>
                <c:pt idx="621">
                  <c:v>39952</c:v>
                </c:pt>
                <c:pt idx="622">
                  <c:v>39953</c:v>
                </c:pt>
                <c:pt idx="623">
                  <c:v>39954</c:v>
                </c:pt>
                <c:pt idx="624">
                  <c:v>39955</c:v>
                </c:pt>
                <c:pt idx="625">
                  <c:v>39958</c:v>
                </c:pt>
                <c:pt idx="626">
                  <c:v>39959</c:v>
                </c:pt>
                <c:pt idx="627">
                  <c:v>39960</c:v>
                </c:pt>
                <c:pt idx="628">
                  <c:v>39961</c:v>
                </c:pt>
                <c:pt idx="629">
                  <c:v>39962</c:v>
                </c:pt>
                <c:pt idx="630">
                  <c:v>39965</c:v>
                </c:pt>
                <c:pt idx="631">
                  <c:v>39966</c:v>
                </c:pt>
                <c:pt idx="632">
                  <c:v>39967</c:v>
                </c:pt>
                <c:pt idx="633">
                  <c:v>39968</c:v>
                </c:pt>
                <c:pt idx="634">
                  <c:v>39969</c:v>
                </c:pt>
                <c:pt idx="635">
                  <c:v>39972</c:v>
                </c:pt>
                <c:pt idx="636">
                  <c:v>39973</c:v>
                </c:pt>
                <c:pt idx="637">
                  <c:v>39974</c:v>
                </c:pt>
                <c:pt idx="638">
                  <c:v>39975</c:v>
                </c:pt>
                <c:pt idx="639">
                  <c:v>39976</c:v>
                </c:pt>
                <c:pt idx="640">
                  <c:v>39979</c:v>
                </c:pt>
                <c:pt idx="641">
                  <c:v>39980</c:v>
                </c:pt>
                <c:pt idx="642">
                  <c:v>39981</c:v>
                </c:pt>
                <c:pt idx="643">
                  <c:v>39982</c:v>
                </c:pt>
                <c:pt idx="644">
                  <c:v>39983</c:v>
                </c:pt>
                <c:pt idx="645">
                  <c:v>39986</c:v>
                </c:pt>
                <c:pt idx="646">
                  <c:v>39987</c:v>
                </c:pt>
                <c:pt idx="647">
                  <c:v>39988</c:v>
                </c:pt>
                <c:pt idx="648">
                  <c:v>39989</c:v>
                </c:pt>
                <c:pt idx="649">
                  <c:v>39990</c:v>
                </c:pt>
                <c:pt idx="650">
                  <c:v>39993</c:v>
                </c:pt>
                <c:pt idx="651">
                  <c:v>39994</c:v>
                </c:pt>
                <c:pt idx="652">
                  <c:v>39995</c:v>
                </c:pt>
                <c:pt idx="653">
                  <c:v>39996</c:v>
                </c:pt>
                <c:pt idx="654">
                  <c:v>39997</c:v>
                </c:pt>
                <c:pt idx="655">
                  <c:v>40000</c:v>
                </c:pt>
                <c:pt idx="656">
                  <c:v>40001</c:v>
                </c:pt>
                <c:pt idx="657">
                  <c:v>40002</c:v>
                </c:pt>
                <c:pt idx="658">
                  <c:v>40003</c:v>
                </c:pt>
                <c:pt idx="659">
                  <c:v>40004</c:v>
                </c:pt>
                <c:pt idx="660">
                  <c:v>40007</c:v>
                </c:pt>
                <c:pt idx="661">
                  <c:v>40008</c:v>
                </c:pt>
                <c:pt idx="662">
                  <c:v>40009</c:v>
                </c:pt>
                <c:pt idx="663">
                  <c:v>40010</c:v>
                </c:pt>
                <c:pt idx="664">
                  <c:v>40011</c:v>
                </c:pt>
                <c:pt idx="665">
                  <c:v>40014</c:v>
                </c:pt>
                <c:pt idx="666">
                  <c:v>40015</c:v>
                </c:pt>
                <c:pt idx="667">
                  <c:v>40016</c:v>
                </c:pt>
                <c:pt idx="668">
                  <c:v>40017</c:v>
                </c:pt>
                <c:pt idx="669">
                  <c:v>40018</c:v>
                </c:pt>
                <c:pt idx="670">
                  <c:v>40021</c:v>
                </c:pt>
                <c:pt idx="671">
                  <c:v>40022</c:v>
                </c:pt>
                <c:pt idx="672">
                  <c:v>40023</c:v>
                </c:pt>
                <c:pt idx="673">
                  <c:v>40024</c:v>
                </c:pt>
                <c:pt idx="674">
                  <c:v>40025</c:v>
                </c:pt>
                <c:pt idx="675">
                  <c:v>40028</c:v>
                </c:pt>
                <c:pt idx="676">
                  <c:v>40029</c:v>
                </c:pt>
                <c:pt idx="677">
                  <c:v>40030</c:v>
                </c:pt>
                <c:pt idx="678">
                  <c:v>40031</c:v>
                </c:pt>
                <c:pt idx="679">
                  <c:v>40032</c:v>
                </c:pt>
                <c:pt idx="680">
                  <c:v>40035</c:v>
                </c:pt>
                <c:pt idx="681">
                  <c:v>40036</c:v>
                </c:pt>
                <c:pt idx="682">
                  <c:v>40037</c:v>
                </c:pt>
                <c:pt idx="683">
                  <c:v>40038</c:v>
                </c:pt>
                <c:pt idx="684">
                  <c:v>40039</c:v>
                </c:pt>
                <c:pt idx="685">
                  <c:v>40042</c:v>
                </c:pt>
                <c:pt idx="686">
                  <c:v>40043</c:v>
                </c:pt>
                <c:pt idx="687">
                  <c:v>40044</c:v>
                </c:pt>
                <c:pt idx="688">
                  <c:v>40045</c:v>
                </c:pt>
                <c:pt idx="689">
                  <c:v>40046</c:v>
                </c:pt>
                <c:pt idx="690">
                  <c:v>40049</c:v>
                </c:pt>
                <c:pt idx="691">
                  <c:v>40050</c:v>
                </c:pt>
                <c:pt idx="692">
                  <c:v>40051</c:v>
                </c:pt>
                <c:pt idx="693">
                  <c:v>40052</c:v>
                </c:pt>
                <c:pt idx="694">
                  <c:v>40053</c:v>
                </c:pt>
                <c:pt idx="695">
                  <c:v>40056</c:v>
                </c:pt>
                <c:pt idx="696">
                  <c:v>40057</c:v>
                </c:pt>
                <c:pt idx="697">
                  <c:v>40058</c:v>
                </c:pt>
                <c:pt idx="698">
                  <c:v>40059</c:v>
                </c:pt>
                <c:pt idx="699">
                  <c:v>40060</c:v>
                </c:pt>
                <c:pt idx="700">
                  <c:v>40063</c:v>
                </c:pt>
                <c:pt idx="701">
                  <c:v>40064</c:v>
                </c:pt>
                <c:pt idx="702">
                  <c:v>40065</c:v>
                </c:pt>
                <c:pt idx="703">
                  <c:v>40066</c:v>
                </c:pt>
                <c:pt idx="704">
                  <c:v>40067</c:v>
                </c:pt>
                <c:pt idx="705">
                  <c:v>40070</c:v>
                </c:pt>
                <c:pt idx="706">
                  <c:v>40071</c:v>
                </c:pt>
                <c:pt idx="707">
                  <c:v>40072</c:v>
                </c:pt>
                <c:pt idx="708">
                  <c:v>40073</c:v>
                </c:pt>
                <c:pt idx="709">
                  <c:v>40074</c:v>
                </c:pt>
                <c:pt idx="710">
                  <c:v>40077</c:v>
                </c:pt>
                <c:pt idx="711">
                  <c:v>40078</c:v>
                </c:pt>
                <c:pt idx="712">
                  <c:v>40079</c:v>
                </c:pt>
                <c:pt idx="713">
                  <c:v>40080</c:v>
                </c:pt>
                <c:pt idx="714">
                  <c:v>40081</c:v>
                </c:pt>
                <c:pt idx="715">
                  <c:v>40084</c:v>
                </c:pt>
                <c:pt idx="716">
                  <c:v>40085</c:v>
                </c:pt>
                <c:pt idx="717">
                  <c:v>40086</c:v>
                </c:pt>
                <c:pt idx="718">
                  <c:v>40087</c:v>
                </c:pt>
                <c:pt idx="719">
                  <c:v>40088</c:v>
                </c:pt>
                <c:pt idx="720">
                  <c:v>40091</c:v>
                </c:pt>
                <c:pt idx="721">
                  <c:v>40092</c:v>
                </c:pt>
                <c:pt idx="722">
                  <c:v>40093</c:v>
                </c:pt>
                <c:pt idx="723">
                  <c:v>40094</c:v>
                </c:pt>
                <c:pt idx="724">
                  <c:v>40095</c:v>
                </c:pt>
                <c:pt idx="725">
                  <c:v>40098</c:v>
                </c:pt>
                <c:pt idx="726">
                  <c:v>40099</c:v>
                </c:pt>
                <c:pt idx="727">
                  <c:v>40100</c:v>
                </c:pt>
                <c:pt idx="728">
                  <c:v>40101</c:v>
                </c:pt>
                <c:pt idx="729">
                  <c:v>40102</c:v>
                </c:pt>
                <c:pt idx="730">
                  <c:v>40105</c:v>
                </c:pt>
                <c:pt idx="731">
                  <c:v>40106</c:v>
                </c:pt>
                <c:pt idx="732">
                  <c:v>40107</c:v>
                </c:pt>
                <c:pt idx="733">
                  <c:v>40108</c:v>
                </c:pt>
                <c:pt idx="734">
                  <c:v>40109</c:v>
                </c:pt>
                <c:pt idx="735">
                  <c:v>40112</c:v>
                </c:pt>
                <c:pt idx="736">
                  <c:v>40113</c:v>
                </c:pt>
                <c:pt idx="737">
                  <c:v>40114</c:v>
                </c:pt>
                <c:pt idx="738">
                  <c:v>40115</c:v>
                </c:pt>
                <c:pt idx="739">
                  <c:v>40116</c:v>
                </c:pt>
                <c:pt idx="740">
                  <c:v>40119</c:v>
                </c:pt>
                <c:pt idx="741">
                  <c:v>40120</c:v>
                </c:pt>
                <c:pt idx="742">
                  <c:v>40121</c:v>
                </c:pt>
                <c:pt idx="743">
                  <c:v>40122</c:v>
                </c:pt>
                <c:pt idx="744">
                  <c:v>40123</c:v>
                </c:pt>
                <c:pt idx="745">
                  <c:v>40126</c:v>
                </c:pt>
                <c:pt idx="746">
                  <c:v>40127</c:v>
                </c:pt>
                <c:pt idx="747">
                  <c:v>40128</c:v>
                </c:pt>
                <c:pt idx="748">
                  <c:v>40129</c:v>
                </c:pt>
                <c:pt idx="749">
                  <c:v>40130</c:v>
                </c:pt>
                <c:pt idx="750">
                  <c:v>40133</c:v>
                </c:pt>
                <c:pt idx="751">
                  <c:v>40134</c:v>
                </c:pt>
                <c:pt idx="752">
                  <c:v>40135</c:v>
                </c:pt>
                <c:pt idx="753">
                  <c:v>40136</c:v>
                </c:pt>
                <c:pt idx="754">
                  <c:v>40137</c:v>
                </c:pt>
                <c:pt idx="755">
                  <c:v>40140</c:v>
                </c:pt>
                <c:pt idx="756">
                  <c:v>40141</c:v>
                </c:pt>
                <c:pt idx="757">
                  <c:v>40142</c:v>
                </c:pt>
                <c:pt idx="758">
                  <c:v>40143</c:v>
                </c:pt>
                <c:pt idx="759">
                  <c:v>40144</c:v>
                </c:pt>
                <c:pt idx="760">
                  <c:v>40147</c:v>
                </c:pt>
                <c:pt idx="761">
                  <c:v>40148</c:v>
                </c:pt>
                <c:pt idx="762">
                  <c:v>40149</c:v>
                </c:pt>
                <c:pt idx="763">
                  <c:v>40150</c:v>
                </c:pt>
                <c:pt idx="764">
                  <c:v>40151</c:v>
                </c:pt>
                <c:pt idx="765">
                  <c:v>40154</c:v>
                </c:pt>
                <c:pt idx="766">
                  <c:v>40155</c:v>
                </c:pt>
                <c:pt idx="767">
                  <c:v>40156</c:v>
                </c:pt>
                <c:pt idx="768">
                  <c:v>40157</c:v>
                </c:pt>
                <c:pt idx="769">
                  <c:v>40158</c:v>
                </c:pt>
                <c:pt idx="770">
                  <c:v>40161</c:v>
                </c:pt>
                <c:pt idx="771">
                  <c:v>40162</c:v>
                </c:pt>
                <c:pt idx="772">
                  <c:v>40163</c:v>
                </c:pt>
                <c:pt idx="773">
                  <c:v>40164</c:v>
                </c:pt>
                <c:pt idx="774">
                  <c:v>40165</c:v>
                </c:pt>
                <c:pt idx="775">
                  <c:v>40168</c:v>
                </c:pt>
                <c:pt idx="776">
                  <c:v>40169</c:v>
                </c:pt>
                <c:pt idx="777">
                  <c:v>40170</c:v>
                </c:pt>
                <c:pt idx="778">
                  <c:v>40171</c:v>
                </c:pt>
                <c:pt idx="779">
                  <c:v>40172</c:v>
                </c:pt>
                <c:pt idx="780">
                  <c:v>40175</c:v>
                </c:pt>
                <c:pt idx="781">
                  <c:v>40176</c:v>
                </c:pt>
                <c:pt idx="782">
                  <c:v>40177</c:v>
                </c:pt>
                <c:pt idx="783">
                  <c:v>40178</c:v>
                </c:pt>
                <c:pt idx="784">
                  <c:v>40179</c:v>
                </c:pt>
                <c:pt idx="785">
                  <c:v>40182</c:v>
                </c:pt>
                <c:pt idx="786">
                  <c:v>40183</c:v>
                </c:pt>
                <c:pt idx="787">
                  <c:v>40184</c:v>
                </c:pt>
                <c:pt idx="788">
                  <c:v>40185</c:v>
                </c:pt>
                <c:pt idx="789">
                  <c:v>40186</c:v>
                </c:pt>
                <c:pt idx="790">
                  <c:v>40189</c:v>
                </c:pt>
                <c:pt idx="791">
                  <c:v>40190</c:v>
                </c:pt>
                <c:pt idx="792">
                  <c:v>40191</c:v>
                </c:pt>
                <c:pt idx="793">
                  <c:v>40192</c:v>
                </c:pt>
                <c:pt idx="794">
                  <c:v>40193</c:v>
                </c:pt>
                <c:pt idx="795">
                  <c:v>40196</c:v>
                </c:pt>
                <c:pt idx="796">
                  <c:v>40197</c:v>
                </c:pt>
                <c:pt idx="797">
                  <c:v>40198</c:v>
                </c:pt>
                <c:pt idx="798">
                  <c:v>40199</c:v>
                </c:pt>
                <c:pt idx="799">
                  <c:v>40200</c:v>
                </c:pt>
                <c:pt idx="800">
                  <c:v>40203</c:v>
                </c:pt>
                <c:pt idx="801">
                  <c:v>40204</c:v>
                </c:pt>
                <c:pt idx="802">
                  <c:v>40205</c:v>
                </c:pt>
                <c:pt idx="803">
                  <c:v>40206</c:v>
                </c:pt>
                <c:pt idx="804">
                  <c:v>40207</c:v>
                </c:pt>
                <c:pt idx="805">
                  <c:v>40210</c:v>
                </c:pt>
                <c:pt idx="806">
                  <c:v>40211</c:v>
                </c:pt>
                <c:pt idx="807">
                  <c:v>40212</c:v>
                </c:pt>
                <c:pt idx="808">
                  <c:v>40213</c:v>
                </c:pt>
                <c:pt idx="809">
                  <c:v>40214</c:v>
                </c:pt>
                <c:pt idx="810">
                  <c:v>40217</c:v>
                </c:pt>
                <c:pt idx="811">
                  <c:v>40218</c:v>
                </c:pt>
                <c:pt idx="812">
                  <c:v>40219</c:v>
                </c:pt>
                <c:pt idx="813">
                  <c:v>40220</c:v>
                </c:pt>
                <c:pt idx="814">
                  <c:v>40221</c:v>
                </c:pt>
                <c:pt idx="815">
                  <c:v>40224</c:v>
                </c:pt>
                <c:pt idx="816">
                  <c:v>40225</c:v>
                </c:pt>
                <c:pt idx="817">
                  <c:v>40226</c:v>
                </c:pt>
                <c:pt idx="818">
                  <c:v>40227</c:v>
                </c:pt>
                <c:pt idx="819">
                  <c:v>40228</c:v>
                </c:pt>
                <c:pt idx="820">
                  <c:v>40231</c:v>
                </c:pt>
                <c:pt idx="821">
                  <c:v>40232</c:v>
                </c:pt>
                <c:pt idx="822">
                  <c:v>40233</c:v>
                </c:pt>
                <c:pt idx="823">
                  <c:v>40234</c:v>
                </c:pt>
                <c:pt idx="824">
                  <c:v>40235</c:v>
                </c:pt>
                <c:pt idx="825">
                  <c:v>40238</c:v>
                </c:pt>
                <c:pt idx="826">
                  <c:v>40239</c:v>
                </c:pt>
                <c:pt idx="827">
                  <c:v>40240</c:v>
                </c:pt>
                <c:pt idx="828">
                  <c:v>40241</c:v>
                </c:pt>
                <c:pt idx="829">
                  <c:v>40242</c:v>
                </c:pt>
                <c:pt idx="830">
                  <c:v>40245</c:v>
                </c:pt>
                <c:pt idx="831">
                  <c:v>40246</c:v>
                </c:pt>
                <c:pt idx="832">
                  <c:v>40247</c:v>
                </c:pt>
                <c:pt idx="833">
                  <c:v>40248</c:v>
                </c:pt>
                <c:pt idx="834">
                  <c:v>40249</c:v>
                </c:pt>
                <c:pt idx="835">
                  <c:v>40252</c:v>
                </c:pt>
                <c:pt idx="836">
                  <c:v>40253</c:v>
                </c:pt>
                <c:pt idx="837">
                  <c:v>40254</c:v>
                </c:pt>
                <c:pt idx="838">
                  <c:v>40255</c:v>
                </c:pt>
                <c:pt idx="839">
                  <c:v>40256</c:v>
                </c:pt>
                <c:pt idx="840">
                  <c:v>40259</c:v>
                </c:pt>
                <c:pt idx="841">
                  <c:v>40260</c:v>
                </c:pt>
                <c:pt idx="842">
                  <c:v>40261</c:v>
                </c:pt>
                <c:pt idx="843">
                  <c:v>40262</c:v>
                </c:pt>
                <c:pt idx="844">
                  <c:v>40263</c:v>
                </c:pt>
                <c:pt idx="845">
                  <c:v>40266</c:v>
                </c:pt>
                <c:pt idx="846">
                  <c:v>40267</c:v>
                </c:pt>
                <c:pt idx="847">
                  <c:v>40268</c:v>
                </c:pt>
                <c:pt idx="848">
                  <c:v>40269</c:v>
                </c:pt>
                <c:pt idx="849">
                  <c:v>40270</c:v>
                </c:pt>
                <c:pt idx="850">
                  <c:v>40273</c:v>
                </c:pt>
                <c:pt idx="851">
                  <c:v>40274</c:v>
                </c:pt>
                <c:pt idx="852">
                  <c:v>40275</c:v>
                </c:pt>
                <c:pt idx="853">
                  <c:v>40276</c:v>
                </c:pt>
                <c:pt idx="854">
                  <c:v>40277</c:v>
                </c:pt>
                <c:pt idx="855">
                  <c:v>40280</c:v>
                </c:pt>
                <c:pt idx="856">
                  <c:v>40281</c:v>
                </c:pt>
                <c:pt idx="857">
                  <c:v>40282</c:v>
                </c:pt>
                <c:pt idx="858">
                  <c:v>40283</c:v>
                </c:pt>
                <c:pt idx="859">
                  <c:v>40284</c:v>
                </c:pt>
                <c:pt idx="860">
                  <c:v>40287</c:v>
                </c:pt>
                <c:pt idx="861">
                  <c:v>40288</c:v>
                </c:pt>
                <c:pt idx="862">
                  <c:v>40289</c:v>
                </c:pt>
                <c:pt idx="863">
                  <c:v>40290</c:v>
                </c:pt>
                <c:pt idx="864">
                  <c:v>40291</c:v>
                </c:pt>
                <c:pt idx="865">
                  <c:v>40294</c:v>
                </c:pt>
                <c:pt idx="866">
                  <c:v>40295</c:v>
                </c:pt>
                <c:pt idx="867">
                  <c:v>40296</c:v>
                </c:pt>
                <c:pt idx="868">
                  <c:v>40297</c:v>
                </c:pt>
                <c:pt idx="869">
                  <c:v>40298</c:v>
                </c:pt>
                <c:pt idx="870">
                  <c:v>40301</c:v>
                </c:pt>
                <c:pt idx="871">
                  <c:v>40302</c:v>
                </c:pt>
                <c:pt idx="872">
                  <c:v>40303</c:v>
                </c:pt>
                <c:pt idx="873">
                  <c:v>40304</c:v>
                </c:pt>
                <c:pt idx="874">
                  <c:v>40305</c:v>
                </c:pt>
                <c:pt idx="875">
                  <c:v>40308</c:v>
                </c:pt>
                <c:pt idx="876">
                  <c:v>40309</c:v>
                </c:pt>
                <c:pt idx="877">
                  <c:v>40310</c:v>
                </c:pt>
                <c:pt idx="878">
                  <c:v>40311</c:v>
                </c:pt>
                <c:pt idx="879">
                  <c:v>40312</c:v>
                </c:pt>
                <c:pt idx="880">
                  <c:v>40315</c:v>
                </c:pt>
                <c:pt idx="881">
                  <c:v>40316</c:v>
                </c:pt>
                <c:pt idx="882">
                  <c:v>40317</c:v>
                </c:pt>
                <c:pt idx="883">
                  <c:v>40318</c:v>
                </c:pt>
                <c:pt idx="884">
                  <c:v>40319</c:v>
                </c:pt>
                <c:pt idx="885">
                  <c:v>40322</c:v>
                </c:pt>
                <c:pt idx="886">
                  <c:v>40323</c:v>
                </c:pt>
                <c:pt idx="887">
                  <c:v>40324</c:v>
                </c:pt>
                <c:pt idx="888">
                  <c:v>40325</c:v>
                </c:pt>
                <c:pt idx="889">
                  <c:v>40326</c:v>
                </c:pt>
                <c:pt idx="890">
                  <c:v>40329</c:v>
                </c:pt>
                <c:pt idx="891">
                  <c:v>40330</c:v>
                </c:pt>
                <c:pt idx="892">
                  <c:v>40331</c:v>
                </c:pt>
                <c:pt idx="893">
                  <c:v>40332</c:v>
                </c:pt>
                <c:pt idx="894">
                  <c:v>40333</c:v>
                </c:pt>
                <c:pt idx="895">
                  <c:v>40336</c:v>
                </c:pt>
                <c:pt idx="896">
                  <c:v>40337</c:v>
                </c:pt>
                <c:pt idx="897">
                  <c:v>40338</c:v>
                </c:pt>
                <c:pt idx="898">
                  <c:v>40339</c:v>
                </c:pt>
                <c:pt idx="899">
                  <c:v>40340</c:v>
                </c:pt>
                <c:pt idx="900">
                  <c:v>40343</c:v>
                </c:pt>
                <c:pt idx="901">
                  <c:v>40344</c:v>
                </c:pt>
                <c:pt idx="902">
                  <c:v>40345</c:v>
                </c:pt>
                <c:pt idx="903">
                  <c:v>40346</c:v>
                </c:pt>
                <c:pt idx="904">
                  <c:v>40347</c:v>
                </c:pt>
                <c:pt idx="905">
                  <c:v>40350</c:v>
                </c:pt>
                <c:pt idx="906">
                  <c:v>40351</c:v>
                </c:pt>
                <c:pt idx="907">
                  <c:v>40352</c:v>
                </c:pt>
                <c:pt idx="908">
                  <c:v>40353</c:v>
                </c:pt>
                <c:pt idx="909">
                  <c:v>40354</c:v>
                </c:pt>
                <c:pt idx="910">
                  <c:v>40357</c:v>
                </c:pt>
                <c:pt idx="911">
                  <c:v>40358</c:v>
                </c:pt>
                <c:pt idx="912">
                  <c:v>40359</c:v>
                </c:pt>
                <c:pt idx="913">
                  <c:v>40360</c:v>
                </c:pt>
                <c:pt idx="914">
                  <c:v>40361</c:v>
                </c:pt>
                <c:pt idx="915">
                  <c:v>40364</c:v>
                </c:pt>
                <c:pt idx="916">
                  <c:v>40365</c:v>
                </c:pt>
                <c:pt idx="917">
                  <c:v>40366</c:v>
                </c:pt>
                <c:pt idx="918">
                  <c:v>40367</c:v>
                </c:pt>
                <c:pt idx="919">
                  <c:v>40368</c:v>
                </c:pt>
                <c:pt idx="920">
                  <c:v>40371</c:v>
                </c:pt>
                <c:pt idx="921">
                  <c:v>40372</c:v>
                </c:pt>
                <c:pt idx="922">
                  <c:v>40373</c:v>
                </c:pt>
                <c:pt idx="923">
                  <c:v>40374</c:v>
                </c:pt>
                <c:pt idx="924">
                  <c:v>40375</c:v>
                </c:pt>
                <c:pt idx="925">
                  <c:v>40378</c:v>
                </c:pt>
                <c:pt idx="926">
                  <c:v>40379</c:v>
                </c:pt>
                <c:pt idx="927">
                  <c:v>40380</c:v>
                </c:pt>
                <c:pt idx="928">
                  <c:v>40381</c:v>
                </c:pt>
                <c:pt idx="929">
                  <c:v>40382</c:v>
                </c:pt>
                <c:pt idx="930">
                  <c:v>40385</c:v>
                </c:pt>
                <c:pt idx="931">
                  <c:v>40386</c:v>
                </c:pt>
                <c:pt idx="932">
                  <c:v>40387</c:v>
                </c:pt>
                <c:pt idx="933">
                  <c:v>40388</c:v>
                </c:pt>
                <c:pt idx="934">
                  <c:v>40389</c:v>
                </c:pt>
                <c:pt idx="935">
                  <c:v>40392</c:v>
                </c:pt>
                <c:pt idx="936">
                  <c:v>40393</c:v>
                </c:pt>
                <c:pt idx="937">
                  <c:v>40394</c:v>
                </c:pt>
                <c:pt idx="938">
                  <c:v>40395</c:v>
                </c:pt>
                <c:pt idx="939">
                  <c:v>40396</c:v>
                </c:pt>
                <c:pt idx="940">
                  <c:v>40399</c:v>
                </c:pt>
                <c:pt idx="941">
                  <c:v>40400</c:v>
                </c:pt>
                <c:pt idx="942">
                  <c:v>40401</c:v>
                </c:pt>
                <c:pt idx="943">
                  <c:v>40402</c:v>
                </c:pt>
                <c:pt idx="944">
                  <c:v>40403</c:v>
                </c:pt>
                <c:pt idx="945">
                  <c:v>40406</c:v>
                </c:pt>
                <c:pt idx="946">
                  <c:v>40407</c:v>
                </c:pt>
                <c:pt idx="947">
                  <c:v>40408</c:v>
                </c:pt>
                <c:pt idx="948">
                  <c:v>40409</c:v>
                </c:pt>
                <c:pt idx="949">
                  <c:v>40410</c:v>
                </c:pt>
                <c:pt idx="950">
                  <c:v>40413</c:v>
                </c:pt>
                <c:pt idx="951">
                  <c:v>40414</c:v>
                </c:pt>
                <c:pt idx="952">
                  <c:v>40415</c:v>
                </c:pt>
                <c:pt idx="953">
                  <c:v>40416</c:v>
                </c:pt>
                <c:pt idx="954">
                  <c:v>40417</c:v>
                </c:pt>
                <c:pt idx="955">
                  <c:v>40420</c:v>
                </c:pt>
                <c:pt idx="956">
                  <c:v>40421</c:v>
                </c:pt>
                <c:pt idx="957">
                  <c:v>40422</c:v>
                </c:pt>
                <c:pt idx="958">
                  <c:v>40423</c:v>
                </c:pt>
                <c:pt idx="959">
                  <c:v>40424</c:v>
                </c:pt>
                <c:pt idx="960">
                  <c:v>40427</c:v>
                </c:pt>
                <c:pt idx="961">
                  <c:v>40428</c:v>
                </c:pt>
                <c:pt idx="962">
                  <c:v>40429</c:v>
                </c:pt>
                <c:pt idx="963">
                  <c:v>40430</c:v>
                </c:pt>
                <c:pt idx="964">
                  <c:v>40431</c:v>
                </c:pt>
                <c:pt idx="965">
                  <c:v>40434</c:v>
                </c:pt>
                <c:pt idx="966">
                  <c:v>40435</c:v>
                </c:pt>
                <c:pt idx="967">
                  <c:v>40436</c:v>
                </c:pt>
                <c:pt idx="968">
                  <c:v>40437</c:v>
                </c:pt>
                <c:pt idx="969">
                  <c:v>40438</c:v>
                </c:pt>
                <c:pt idx="970">
                  <c:v>40441</c:v>
                </c:pt>
                <c:pt idx="971">
                  <c:v>40442</c:v>
                </c:pt>
                <c:pt idx="972">
                  <c:v>40443</c:v>
                </c:pt>
                <c:pt idx="973">
                  <c:v>40444</c:v>
                </c:pt>
                <c:pt idx="974">
                  <c:v>40445</c:v>
                </c:pt>
                <c:pt idx="975">
                  <c:v>40448</c:v>
                </c:pt>
                <c:pt idx="976">
                  <c:v>40449</c:v>
                </c:pt>
                <c:pt idx="977">
                  <c:v>40450</c:v>
                </c:pt>
                <c:pt idx="978">
                  <c:v>40451</c:v>
                </c:pt>
                <c:pt idx="979">
                  <c:v>40452</c:v>
                </c:pt>
                <c:pt idx="980">
                  <c:v>40455</c:v>
                </c:pt>
                <c:pt idx="981">
                  <c:v>40456</c:v>
                </c:pt>
                <c:pt idx="982">
                  <c:v>40457</c:v>
                </c:pt>
                <c:pt idx="983">
                  <c:v>40458</c:v>
                </c:pt>
                <c:pt idx="984">
                  <c:v>40459</c:v>
                </c:pt>
                <c:pt idx="985">
                  <c:v>40462</c:v>
                </c:pt>
                <c:pt idx="986">
                  <c:v>40463</c:v>
                </c:pt>
                <c:pt idx="987">
                  <c:v>40464</c:v>
                </c:pt>
                <c:pt idx="988">
                  <c:v>40465</c:v>
                </c:pt>
                <c:pt idx="989">
                  <c:v>40466</c:v>
                </c:pt>
                <c:pt idx="990">
                  <c:v>40469</c:v>
                </c:pt>
                <c:pt idx="991">
                  <c:v>40470</c:v>
                </c:pt>
                <c:pt idx="992">
                  <c:v>40471</c:v>
                </c:pt>
                <c:pt idx="993">
                  <c:v>40472</c:v>
                </c:pt>
                <c:pt idx="994">
                  <c:v>40473</c:v>
                </c:pt>
                <c:pt idx="995">
                  <c:v>40476</c:v>
                </c:pt>
                <c:pt idx="996">
                  <c:v>40477</c:v>
                </c:pt>
                <c:pt idx="997">
                  <c:v>40478</c:v>
                </c:pt>
                <c:pt idx="998">
                  <c:v>40479</c:v>
                </c:pt>
                <c:pt idx="999">
                  <c:v>40480</c:v>
                </c:pt>
                <c:pt idx="1000">
                  <c:v>40483</c:v>
                </c:pt>
                <c:pt idx="1001">
                  <c:v>40484</c:v>
                </c:pt>
                <c:pt idx="1002">
                  <c:v>40485</c:v>
                </c:pt>
                <c:pt idx="1003">
                  <c:v>40486</c:v>
                </c:pt>
                <c:pt idx="1004">
                  <c:v>40487</c:v>
                </c:pt>
                <c:pt idx="1005">
                  <c:v>40490</c:v>
                </c:pt>
                <c:pt idx="1006">
                  <c:v>40491</c:v>
                </c:pt>
                <c:pt idx="1007">
                  <c:v>40492</c:v>
                </c:pt>
                <c:pt idx="1008">
                  <c:v>40493</c:v>
                </c:pt>
                <c:pt idx="1009">
                  <c:v>40494</c:v>
                </c:pt>
                <c:pt idx="1010">
                  <c:v>40497</c:v>
                </c:pt>
                <c:pt idx="1011">
                  <c:v>40498</c:v>
                </c:pt>
                <c:pt idx="1012">
                  <c:v>40499</c:v>
                </c:pt>
                <c:pt idx="1013">
                  <c:v>40500</c:v>
                </c:pt>
                <c:pt idx="1014">
                  <c:v>40501</c:v>
                </c:pt>
                <c:pt idx="1015">
                  <c:v>40504</c:v>
                </c:pt>
                <c:pt idx="1016">
                  <c:v>40505</c:v>
                </c:pt>
                <c:pt idx="1017">
                  <c:v>40506</c:v>
                </c:pt>
                <c:pt idx="1018">
                  <c:v>40507</c:v>
                </c:pt>
                <c:pt idx="1019">
                  <c:v>40508</c:v>
                </c:pt>
                <c:pt idx="1020">
                  <c:v>40511</c:v>
                </c:pt>
                <c:pt idx="1021">
                  <c:v>40512</c:v>
                </c:pt>
                <c:pt idx="1022">
                  <c:v>40513</c:v>
                </c:pt>
                <c:pt idx="1023">
                  <c:v>40514</c:v>
                </c:pt>
                <c:pt idx="1024">
                  <c:v>40515</c:v>
                </c:pt>
                <c:pt idx="1025">
                  <c:v>40518</c:v>
                </c:pt>
                <c:pt idx="1026">
                  <c:v>40519</c:v>
                </c:pt>
                <c:pt idx="1027">
                  <c:v>40520</c:v>
                </c:pt>
                <c:pt idx="1028">
                  <c:v>40521</c:v>
                </c:pt>
                <c:pt idx="1029">
                  <c:v>40522</c:v>
                </c:pt>
                <c:pt idx="1030">
                  <c:v>40525</c:v>
                </c:pt>
                <c:pt idx="1031">
                  <c:v>40526</c:v>
                </c:pt>
                <c:pt idx="1032">
                  <c:v>40527</c:v>
                </c:pt>
                <c:pt idx="1033">
                  <c:v>40528</c:v>
                </c:pt>
                <c:pt idx="1034">
                  <c:v>40529</c:v>
                </c:pt>
                <c:pt idx="1035">
                  <c:v>40532</c:v>
                </c:pt>
                <c:pt idx="1036">
                  <c:v>40533</c:v>
                </c:pt>
                <c:pt idx="1037">
                  <c:v>40534</c:v>
                </c:pt>
                <c:pt idx="1038">
                  <c:v>40535</c:v>
                </c:pt>
                <c:pt idx="1039">
                  <c:v>40536</c:v>
                </c:pt>
                <c:pt idx="1040">
                  <c:v>40539</c:v>
                </c:pt>
                <c:pt idx="1041">
                  <c:v>40540</c:v>
                </c:pt>
                <c:pt idx="1042">
                  <c:v>40541</c:v>
                </c:pt>
                <c:pt idx="1043">
                  <c:v>40542</c:v>
                </c:pt>
                <c:pt idx="1044">
                  <c:v>40543</c:v>
                </c:pt>
                <c:pt idx="1045">
                  <c:v>40546</c:v>
                </c:pt>
                <c:pt idx="1046">
                  <c:v>40547</c:v>
                </c:pt>
                <c:pt idx="1047">
                  <c:v>40548</c:v>
                </c:pt>
                <c:pt idx="1048">
                  <c:v>40549</c:v>
                </c:pt>
                <c:pt idx="1049">
                  <c:v>40550</c:v>
                </c:pt>
                <c:pt idx="1050">
                  <c:v>40553</c:v>
                </c:pt>
                <c:pt idx="1051">
                  <c:v>40554</c:v>
                </c:pt>
                <c:pt idx="1052">
                  <c:v>40555</c:v>
                </c:pt>
                <c:pt idx="1053">
                  <c:v>40556</c:v>
                </c:pt>
                <c:pt idx="1054">
                  <c:v>40557</c:v>
                </c:pt>
                <c:pt idx="1055">
                  <c:v>40560</c:v>
                </c:pt>
                <c:pt idx="1056">
                  <c:v>40561</c:v>
                </c:pt>
                <c:pt idx="1057">
                  <c:v>40562</c:v>
                </c:pt>
                <c:pt idx="1058">
                  <c:v>40563</c:v>
                </c:pt>
                <c:pt idx="1059">
                  <c:v>40564</c:v>
                </c:pt>
                <c:pt idx="1060">
                  <c:v>40567</c:v>
                </c:pt>
                <c:pt idx="1061">
                  <c:v>40568</c:v>
                </c:pt>
                <c:pt idx="1062">
                  <c:v>40569</c:v>
                </c:pt>
                <c:pt idx="1063">
                  <c:v>40570</c:v>
                </c:pt>
                <c:pt idx="1064">
                  <c:v>40571</c:v>
                </c:pt>
                <c:pt idx="1065">
                  <c:v>40574</c:v>
                </c:pt>
                <c:pt idx="1066">
                  <c:v>40575</c:v>
                </c:pt>
                <c:pt idx="1067">
                  <c:v>40576</c:v>
                </c:pt>
                <c:pt idx="1068">
                  <c:v>40577</c:v>
                </c:pt>
                <c:pt idx="1069">
                  <c:v>40578</c:v>
                </c:pt>
                <c:pt idx="1070">
                  <c:v>40581</c:v>
                </c:pt>
                <c:pt idx="1071">
                  <c:v>40582</c:v>
                </c:pt>
                <c:pt idx="1072">
                  <c:v>40583</c:v>
                </c:pt>
                <c:pt idx="1073">
                  <c:v>40584</c:v>
                </c:pt>
                <c:pt idx="1074">
                  <c:v>40585</c:v>
                </c:pt>
                <c:pt idx="1075">
                  <c:v>40588</c:v>
                </c:pt>
                <c:pt idx="1076">
                  <c:v>40589</c:v>
                </c:pt>
                <c:pt idx="1077">
                  <c:v>40590</c:v>
                </c:pt>
                <c:pt idx="1078">
                  <c:v>40591</c:v>
                </c:pt>
                <c:pt idx="1079">
                  <c:v>40592</c:v>
                </c:pt>
                <c:pt idx="1080">
                  <c:v>40595</c:v>
                </c:pt>
                <c:pt idx="1081">
                  <c:v>40596</c:v>
                </c:pt>
                <c:pt idx="1082">
                  <c:v>40597</c:v>
                </c:pt>
                <c:pt idx="1083">
                  <c:v>40598</c:v>
                </c:pt>
                <c:pt idx="1084">
                  <c:v>40599</c:v>
                </c:pt>
                <c:pt idx="1085">
                  <c:v>40602</c:v>
                </c:pt>
                <c:pt idx="1086">
                  <c:v>40603</c:v>
                </c:pt>
                <c:pt idx="1087">
                  <c:v>40604</c:v>
                </c:pt>
                <c:pt idx="1088">
                  <c:v>40605</c:v>
                </c:pt>
                <c:pt idx="1089">
                  <c:v>40606</c:v>
                </c:pt>
                <c:pt idx="1090">
                  <c:v>40609</c:v>
                </c:pt>
                <c:pt idx="1091">
                  <c:v>40610</c:v>
                </c:pt>
                <c:pt idx="1092">
                  <c:v>40611</c:v>
                </c:pt>
                <c:pt idx="1093">
                  <c:v>40612</c:v>
                </c:pt>
                <c:pt idx="1094">
                  <c:v>40613</c:v>
                </c:pt>
                <c:pt idx="1095">
                  <c:v>40616</c:v>
                </c:pt>
                <c:pt idx="1096">
                  <c:v>40617</c:v>
                </c:pt>
                <c:pt idx="1097">
                  <c:v>40618</c:v>
                </c:pt>
                <c:pt idx="1098">
                  <c:v>40619</c:v>
                </c:pt>
                <c:pt idx="1099">
                  <c:v>40620</c:v>
                </c:pt>
                <c:pt idx="1100">
                  <c:v>40623</c:v>
                </c:pt>
                <c:pt idx="1101">
                  <c:v>40624</c:v>
                </c:pt>
                <c:pt idx="1102">
                  <c:v>40625</c:v>
                </c:pt>
                <c:pt idx="1103">
                  <c:v>40626</c:v>
                </c:pt>
                <c:pt idx="1104">
                  <c:v>40627</c:v>
                </c:pt>
                <c:pt idx="1105">
                  <c:v>40630</c:v>
                </c:pt>
                <c:pt idx="1106">
                  <c:v>40631</c:v>
                </c:pt>
                <c:pt idx="1107">
                  <c:v>40632</c:v>
                </c:pt>
                <c:pt idx="1108">
                  <c:v>40633</c:v>
                </c:pt>
                <c:pt idx="1109">
                  <c:v>40634</c:v>
                </c:pt>
                <c:pt idx="1110">
                  <c:v>40637</c:v>
                </c:pt>
                <c:pt idx="1111">
                  <c:v>40638</c:v>
                </c:pt>
                <c:pt idx="1112">
                  <c:v>40639</c:v>
                </c:pt>
                <c:pt idx="1113">
                  <c:v>40640</c:v>
                </c:pt>
                <c:pt idx="1114">
                  <c:v>40641</c:v>
                </c:pt>
                <c:pt idx="1115">
                  <c:v>40644</c:v>
                </c:pt>
                <c:pt idx="1116">
                  <c:v>40645</c:v>
                </c:pt>
                <c:pt idx="1117">
                  <c:v>40646</c:v>
                </c:pt>
                <c:pt idx="1118">
                  <c:v>40647</c:v>
                </c:pt>
                <c:pt idx="1119">
                  <c:v>40648</c:v>
                </c:pt>
                <c:pt idx="1120">
                  <c:v>40651</c:v>
                </c:pt>
                <c:pt idx="1121">
                  <c:v>40652</c:v>
                </c:pt>
                <c:pt idx="1122">
                  <c:v>40653</c:v>
                </c:pt>
                <c:pt idx="1123">
                  <c:v>40654</c:v>
                </c:pt>
                <c:pt idx="1124">
                  <c:v>40655</c:v>
                </c:pt>
                <c:pt idx="1125">
                  <c:v>40658</c:v>
                </c:pt>
                <c:pt idx="1126">
                  <c:v>40659</c:v>
                </c:pt>
                <c:pt idx="1127">
                  <c:v>40660</c:v>
                </c:pt>
                <c:pt idx="1128">
                  <c:v>40661</c:v>
                </c:pt>
                <c:pt idx="1129">
                  <c:v>40662</c:v>
                </c:pt>
                <c:pt idx="1130">
                  <c:v>40665</c:v>
                </c:pt>
                <c:pt idx="1131">
                  <c:v>40666</c:v>
                </c:pt>
                <c:pt idx="1132">
                  <c:v>40667</c:v>
                </c:pt>
                <c:pt idx="1133">
                  <c:v>40668</c:v>
                </c:pt>
                <c:pt idx="1134">
                  <c:v>40669</c:v>
                </c:pt>
                <c:pt idx="1135">
                  <c:v>40672</c:v>
                </c:pt>
                <c:pt idx="1136">
                  <c:v>40673</c:v>
                </c:pt>
                <c:pt idx="1137">
                  <c:v>40674</c:v>
                </c:pt>
                <c:pt idx="1138">
                  <c:v>40675</c:v>
                </c:pt>
                <c:pt idx="1139">
                  <c:v>40676</c:v>
                </c:pt>
                <c:pt idx="1140">
                  <c:v>40679</c:v>
                </c:pt>
                <c:pt idx="1141">
                  <c:v>40680</c:v>
                </c:pt>
                <c:pt idx="1142">
                  <c:v>40681</c:v>
                </c:pt>
                <c:pt idx="1143">
                  <c:v>40682</c:v>
                </c:pt>
                <c:pt idx="1144">
                  <c:v>40683</c:v>
                </c:pt>
                <c:pt idx="1145">
                  <c:v>40686</c:v>
                </c:pt>
                <c:pt idx="1146">
                  <c:v>40687</c:v>
                </c:pt>
                <c:pt idx="1147">
                  <c:v>40688</c:v>
                </c:pt>
                <c:pt idx="1148">
                  <c:v>40689</c:v>
                </c:pt>
                <c:pt idx="1149">
                  <c:v>40690</c:v>
                </c:pt>
                <c:pt idx="1150">
                  <c:v>40693</c:v>
                </c:pt>
                <c:pt idx="1151">
                  <c:v>40694</c:v>
                </c:pt>
                <c:pt idx="1152">
                  <c:v>40695</c:v>
                </c:pt>
                <c:pt idx="1153">
                  <c:v>40696</c:v>
                </c:pt>
                <c:pt idx="1154">
                  <c:v>40697</c:v>
                </c:pt>
                <c:pt idx="1155">
                  <c:v>40700</c:v>
                </c:pt>
                <c:pt idx="1156">
                  <c:v>40701</c:v>
                </c:pt>
                <c:pt idx="1157">
                  <c:v>40702</c:v>
                </c:pt>
                <c:pt idx="1158">
                  <c:v>40703</c:v>
                </c:pt>
                <c:pt idx="1159">
                  <c:v>40704</c:v>
                </c:pt>
                <c:pt idx="1160">
                  <c:v>40707</c:v>
                </c:pt>
                <c:pt idx="1161">
                  <c:v>40708</c:v>
                </c:pt>
                <c:pt idx="1162">
                  <c:v>40709</c:v>
                </c:pt>
                <c:pt idx="1163">
                  <c:v>40710</c:v>
                </c:pt>
                <c:pt idx="1164">
                  <c:v>40711</c:v>
                </c:pt>
                <c:pt idx="1165">
                  <c:v>40714</c:v>
                </c:pt>
                <c:pt idx="1166">
                  <c:v>40715</c:v>
                </c:pt>
                <c:pt idx="1167">
                  <c:v>40716</c:v>
                </c:pt>
                <c:pt idx="1168">
                  <c:v>40717</c:v>
                </c:pt>
                <c:pt idx="1169">
                  <c:v>40718</c:v>
                </c:pt>
                <c:pt idx="1170">
                  <c:v>40721</c:v>
                </c:pt>
                <c:pt idx="1171">
                  <c:v>40722</c:v>
                </c:pt>
                <c:pt idx="1172">
                  <c:v>40723</c:v>
                </c:pt>
                <c:pt idx="1173">
                  <c:v>40724</c:v>
                </c:pt>
                <c:pt idx="1174">
                  <c:v>40725</c:v>
                </c:pt>
                <c:pt idx="1175">
                  <c:v>40728</c:v>
                </c:pt>
                <c:pt idx="1176">
                  <c:v>40729</c:v>
                </c:pt>
                <c:pt idx="1177">
                  <c:v>40730</c:v>
                </c:pt>
                <c:pt idx="1178">
                  <c:v>40731</c:v>
                </c:pt>
                <c:pt idx="1179">
                  <c:v>40732</c:v>
                </c:pt>
                <c:pt idx="1180">
                  <c:v>40735</c:v>
                </c:pt>
                <c:pt idx="1181">
                  <c:v>40736</c:v>
                </c:pt>
                <c:pt idx="1182">
                  <c:v>40737</c:v>
                </c:pt>
                <c:pt idx="1183">
                  <c:v>40738</c:v>
                </c:pt>
                <c:pt idx="1184">
                  <c:v>40739</c:v>
                </c:pt>
                <c:pt idx="1185">
                  <c:v>40742</c:v>
                </c:pt>
                <c:pt idx="1186">
                  <c:v>40743</c:v>
                </c:pt>
                <c:pt idx="1187">
                  <c:v>40744</c:v>
                </c:pt>
                <c:pt idx="1188">
                  <c:v>40745</c:v>
                </c:pt>
                <c:pt idx="1189">
                  <c:v>40746</c:v>
                </c:pt>
                <c:pt idx="1190">
                  <c:v>40749</c:v>
                </c:pt>
                <c:pt idx="1191">
                  <c:v>40750</c:v>
                </c:pt>
                <c:pt idx="1192">
                  <c:v>40751</c:v>
                </c:pt>
                <c:pt idx="1193">
                  <c:v>40752</c:v>
                </c:pt>
                <c:pt idx="1194">
                  <c:v>40753</c:v>
                </c:pt>
                <c:pt idx="1195">
                  <c:v>40756</c:v>
                </c:pt>
                <c:pt idx="1196">
                  <c:v>40757</c:v>
                </c:pt>
                <c:pt idx="1197">
                  <c:v>40758</c:v>
                </c:pt>
                <c:pt idx="1198">
                  <c:v>40759</c:v>
                </c:pt>
                <c:pt idx="1199">
                  <c:v>40760</c:v>
                </c:pt>
                <c:pt idx="1200">
                  <c:v>40763</c:v>
                </c:pt>
                <c:pt idx="1201">
                  <c:v>40764</c:v>
                </c:pt>
                <c:pt idx="1202">
                  <c:v>40765</c:v>
                </c:pt>
                <c:pt idx="1203">
                  <c:v>40766</c:v>
                </c:pt>
                <c:pt idx="1204">
                  <c:v>40767</c:v>
                </c:pt>
                <c:pt idx="1205">
                  <c:v>40770</c:v>
                </c:pt>
                <c:pt idx="1206">
                  <c:v>40771</c:v>
                </c:pt>
                <c:pt idx="1207">
                  <c:v>40772</c:v>
                </c:pt>
                <c:pt idx="1208">
                  <c:v>40773</c:v>
                </c:pt>
                <c:pt idx="1209">
                  <c:v>40774</c:v>
                </c:pt>
                <c:pt idx="1210">
                  <c:v>40777</c:v>
                </c:pt>
                <c:pt idx="1211">
                  <c:v>40778</c:v>
                </c:pt>
                <c:pt idx="1212">
                  <c:v>40779</c:v>
                </c:pt>
                <c:pt idx="1213">
                  <c:v>40780</c:v>
                </c:pt>
                <c:pt idx="1214">
                  <c:v>40781</c:v>
                </c:pt>
                <c:pt idx="1215">
                  <c:v>40784</c:v>
                </c:pt>
                <c:pt idx="1216">
                  <c:v>40785</c:v>
                </c:pt>
                <c:pt idx="1217">
                  <c:v>40786</c:v>
                </c:pt>
                <c:pt idx="1218">
                  <c:v>40787</c:v>
                </c:pt>
                <c:pt idx="1219">
                  <c:v>40788</c:v>
                </c:pt>
                <c:pt idx="1220">
                  <c:v>40791</c:v>
                </c:pt>
                <c:pt idx="1221">
                  <c:v>40792</c:v>
                </c:pt>
                <c:pt idx="1222">
                  <c:v>40793</c:v>
                </c:pt>
                <c:pt idx="1223">
                  <c:v>40794</c:v>
                </c:pt>
                <c:pt idx="1224">
                  <c:v>40795</c:v>
                </c:pt>
                <c:pt idx="1225">
                  <c:v>40798</c:v>
                </c:pt>
                <c:pt idx="1226">
                  <c:v>40799</c:v>
                </c:pt>
                <c:pt idx="1227">
                  <c:v>40800</c:v>
                </c:pt>
                <c:pt idx="1228">
                  <c:v>40801</c:v>
                </c:pt>
                <c:pt idx="1229">
                  <c:v>40802</c:v>
                </c:pt>
                <c:pt idx="1230">
                  <c:v>40805</c:v>
                </c:pt>
                <c:pt idx="1231">
                  <c:v>40806</c:v>
                </c:pt>
                <c:pt idx="1232">
                  <c:v>40807</c:v>
                </c:pt>
                <c:pt idx="1233">
                  <c:v>40808</c:v>
                </c:pt>
                <c:pt idx="1234">
                  <c:v>40809</c:v>
                </c:pt>
                <c:pt idx="1235">
                  <c:v>40812</c:v>
                </c:pt>
                <c:pt idx="1236">
                  <c:v>40813</c:v>
                </c:pt>
                <c:pt idx="1237">
                  <c:v>40814</c:v>
                </c:pt>
                <c:pt idx="1238">
                  <c:v>40815</c:v>
                </c:pt>
                <c:pt idx="1239">
                  <c:v>40816</c:v>
                </c:pt>
                <c:pt idx="1240">
                  <c:v>40819</c:v>
                </c:pt>
                <c:pt idx="1241">
                  <c:v>40820</c:v>
                </c:pt>
                <c:pt idx="1242">
                  <c:v>40821</c:v>
                </c:pt>
                <c:pt idx="1243">
                  <c:v>40822</c:v>
                </c:pt>
                <c:pt idx="1244">
                  <c:v>40823</c:v>
                </c:pt>
                <c:pt idx="1245">
                  <c:v>40826</c:v>
                </c:pt>
                <c:pt idx="1246">
                  <c:v>40827</c:v>
                </c:pt>
                <c:pt idx="1247">
                  <c:v>40828</c:v>
                </c:pt>
                <c:pt idx="1248">
                  <c:v>40829</c:v>
                </c:pt>
                <c:pt idx="1249">
                  <c:v>40830</c:v>
                </c:pt>
                <c:pt idx="1250">
                  <c:v>40833</c:v>
                </c:pt>
                <c:pt idx="1251">
                  <c:v>40834</c:v>
                </c:pt>
                <c:pt idx="1252">
                  <c:v>40835</c:v>
                </c:pt>
                <c:pt idx="1253">
                  <c:v>40836</c:v>
                </c:pt>
                <c:pt idx="1254">
                  <c:v>40837</c:v>
                </c:pt>
                <c:pt idx="1255">
                  <c:v>40840</c:v>
                </c:pt>
                <c:pt idx="1256">
                  <c:v>40841</c:v>
                </c:pt>
                <c:pt idx="1257">
                  <c:v>40842</c:v>
                </c:pt>
                <c:pt idx="1258">
                  <c:v>40843</c:v>
                </c:pt>
                <c:pt idx="1259">
                  <c:v>40844</c:v>
                </c:pt>
                <c:pt idx="1260">
                  <c:v>40847</c:v>
                </c:pt>
                <c:pt idx="1261">
                  <c:v>40848</c:v>
                </c:pt>
                <c:pt idx="1262">
                  <c:v>40849</c:v>
                </c:pt>
                <c:pt idx="1263">
                  <c:v>40850</c:v>
                </c:pt>
                <c:pt idx="1264">
                  <c:v>40851</c:v>
                </c:pt>
                <c:pt idx="1265">
                  <c:v>40854</c:v>
                </c:pt>
                <c:pt idx="1266">
                  <c:v>40855</c:v>
                </c:pt>
                <c:pt idx="1267">
                  <c:v>40856</c:v>
                </c:pt>
                <c:pt idx="1268">
                  <c:v>40857</c:v>
                </c:pt>
                <c:pt idx="1269">
                  <c:v>40858</c:v>
                </c:pt>
                <c:pt idx="1270">
                  <c:v>40861</c:v>
                </c:pt>
                <c:pt idx="1271">
                  <c:v>40862</c:v>
                </c:pt>
                <c:pt idx="1272">
                  <c:v>40863</c:v>
                </c:pt>
                <c:pt idx="1273">
                  <c:v>40864</c:v>
                </c:pt>
                <c:pt idx="1274">
                  <c:v>40865</c:v>
                </c:pt>
                <c:pt idx="1275">
                  <c:v>40868</c:v>
                </c:pt>
                <c:pt idx="1276">
                  <c:v>40869</c:v>
                </c:pt>
                <c:pt idx="1277">
                  <c:v>40870</c:v>
                </c:pt>
                <c:pt idx="1278">
                  <c:v>40871</c:v>
                </c:pt>
                <c:pt idx="1279">
                  <c:v>40872</c:v>
                </c:pt>
                <c:pt idx="1280">
                  <c:v>40875</c:v>
                </c:pt>
                <c:pt idx="1281">
                  <c:v>40876</c:v>
                </c:pt>
                <c:pt idx="1282">
                  <c:v>40877</c:v>
                </c:pt>
                <c:pt idx="1283">
                  <c:v>40878</c:v>
                </c:pt>
                <c:pt idx="1284">
                  <c:v>40879</c:v>
                </c:pt>
                <c:pt idx="1285">
                  <c:v>40882</c:v>
                </c:pt>
                <c:pt idx="1286">
                  <c:v>40883</c:v>
                </c:pt>
                <c:pt idx="1287">
                  <c:v>40884</c:v>
                </c:pt>
                <c:pt idx="1288">
                  <c:v>40885</c:v>
                </c:pt>
                <c:pt idx="1289">
                  <c:v>40886</c:v>
                </c:pt>
                <c:pt idx="1290">
                  <c:v>40889</c:v>
                </c:pt>
                <c:pt idx="1291">
                  <c:v>40890</c:v>
                </c:pt>
                <c:pt idx="1292">
                  <c:v>40891</c:v>
                </c:pt>
                <c:pt idx="1293">
                  <c:v>40892</c:v>
                </c:pt>
                <c:pt idx="1294">
                  <c:v>40893</c:v>
                </c:pt>
                <c:pt idx="1295">
                  <c:v>40896</c:v>
                </c:pt>
                <c:pt idx="1296">
                  <c:v>40897</c:v>
                </c:pt>
                <c:pt idx="1297">
                  <c:v>40898</c:v>
                </c:pt>
                <c:pt idx="1298">
                  <c:v>40899</c:v>
                </c:pt>
                <c:pt idx="1299">
                  <c:v>40900</c:v>
                </c:pt>
                <c:pt idx="1300">
                  <c:v>40903</c:v>
                </c:pt>
                <c:pt idx="1301">
                  <c:v>40904</c:v>
                </c:pt>
                <c:pt idx="1302">
                  <c:v>40905</c:v>
                </c:pt>
                <c:pt idx="1303">
                  <c:v>40906</c:v>
                </c:pt>
                <c:pt idx="1304">
                  <c:v>40907</c:v>
                </c:pt>
                <c:pt idx="1305">
                  <c:v>40910</c:v>
                </c:pt>
                <c:pt idx="1306">
                  <c:v>40911</c:v>
                </c:pt>
                <c:pt idx="1307">
                  <c:v>40912</c:v>
                </c:pt>
                <c:pt idx="1308">
                  <c:v>40913</c:v>
                </c:pt>
                <c:pt idx="1309">
                  <c:v>40914</c:v>
                </c:pt>
                <c:pt idx="1310">
                  <c:v>40917</c:v>
                </c:pt>
                <c:pt idx="1311">
                  <c:v>40918</c:v>
                </c:pt>
                <c:pt idx="1312">
                  <c:v>40919</c:v>
                </c:pt>
                <c:pt idx="1313">
                  <c:v>40920</c:v>
                </c:pt>
                <c:pt idx="1314">
                  <c:v>40921</c:v>
                </c:pt>
                <c:pt idx="1315">
                  <c:v>40924</c:v>
                </c:pt>
                <c:pt idx="1316">
                  <c:v>40925</c:v>
                </c:pt>
                <c:pt idx="1317">
                  <c:v>40926</c:v>
                </c:pt>
                <c:pt idx="1318">
                  <c:v>40927</c:v>
                </c:pt>
                <c:pt idx="1319">
                  <c:v>40928</c:v>
                </c:pt>
                <c:pt idx="1320">
                  <c:v>40931</c:v>
                </c:pt>
                <c:pt idx="1321">
                  <c:v>40932</c:v>
                </c:pt>
                <c:pt idx="1322">
                  <c:v>40933</c:v>
                </c:pt>
                <c:pt idx="1323">
                  <c:v>40934</c:v>
                </c:pt>
                <c:pt idx="1324">
                  <c:v>40935</c:v>
                </c:pt>
                <c:pt idx="1325">
                  <c:v>40938</c:v>
                </c:pt>
                <c:pt idx="1326">
                  <c:v>40939</c:v>
                </c:pt>
                <c:pt idx="1327">
                  <c:v>40940</c:v>
                </c:pt>
                <c:pt idx="1328">
                  <c:v>40941</c:v>
                </c:pt>
                <c:pt idx="1329">
                  <c:v>40942</c:v>
                </c:pt>
                <c:pt idx="1330">
                  <c:v>40945</c:v>
                </c:pt>
                <c:pt idx="1331">
                  <c:v>40946</c:v>
                </c:pt>
                <c:pt idx="1332">
                  <c:v>40947</c:v>
                </c:pt>
                <c:pt idx="1333">
                  <c:v>40948</c:v>
                </c:pt>
                <c:pt idx="1334">
                  <c:v>40949</c:v>
                </c:pt>
                <c:pt idx="1335">
                  <c:v>40952</c:v>
                </c:pt>
                <c:pt idx="1336">
                  <c:v>40953</c:v>
                </c:pt>
                <c:pt idx="1337">
                  <c:v>40954</c:v>
                </c:pt>
                <c:pt idx="1338">
                  <c:v>40955</c:v>
                </c:pt>
                <c:pt idx="1339">
                  <c:v>40956</c:v>
                </c:pt>
                <c:pt idx="1340">
                  <c:v>40959</c:v>
                </c:pt>
                <c:pt idx="1341">
                  <c:v>40960</c:v>
                </c:pt>
                <c:pt idx="1342">
                  <c:v>40961</c:v>
                </c:pt>
                <c:pt idx="1343">
                  <c:v>40962</c:v>
                </c:pt>
                <c:pt idx="1344">
                  <c:v>40963</c:v>
                </c:pt>
                <c:pt idx="1345">
                  <c:v>40966</c:v>
                </c:pt>
                <c:pt idx="1346">
                  <c:v>40967</c:v>
                </c:pt>
                <c:pt idx="1347">
                  <c:v>40968</c:v>
                </c:pt>
                <c:pt idx="1348">
                  <c:v>40969</c:v>
                </c:pt>
                <c:pt idx="1349">
                  <c:v>40970</c:v>
                </c:pt>
                <c:pt idx="1350">
                  <c:v>40973</c:v>
                </c:pt>
                <c:pt idx="1351">
                  <c:v>40974</c:v>
                </c:pt>
                <c:pt idx="1352">
                  <c:v>40975</c:v>
                </c:pt>
                <c:pt idx="1353">
                  <c:v>40976</c:v>
                </c:pt>
                <c:pt idx="1354">
                  <c:v>40977</c:v>
                </c:pt>
                <c:pt idx="1355">
                  <c:v>40980</c:v>
                </c:pt>
                <c:pt idx="1356">
                  <c:v>40981</c:v>
                </c:pt>
                <c:pt idx="1357">
                  <c:v>40982</c:v>
                </c:pt>
                <c:pt idx="1358">
                  <c:v>40983</c:v>
                </c:pt>
                <c:pt idx="1359">
                  <c:v>40984</c:v>
                </c:pt>
                <c:pt idx="1360">
                  <c:v>40987</c:v>
                </c:pt>
                <c:pt idx="1361">
                  <c:v>40988</c:v>
                </c:pt>
                <c:pt idx="1362">
                  <c:v>40989</c:v>
                </c:pt>
                <c:pt idx="1363">
                  <c:v>40990</c:v>
                </c:pt>
                <c:pt idx="1364">
                  <c:v>40991</c:v>
                </c:pt>
                <c:pt idx="1365">
                  <c:v>40994</c:v>
                </c:pt>
                <c:pt idx="1366">
                  <c:v>40995</c:v>
                </c:pt>
                <c:pt idx="1367">
                  <c:v>40996</c:v>
                </c:pt>
                <c:pt idx="1368">
                  <c:v>40997</c:v>
                </c:pt>
                <c:pt idx="1369">
                  <c:v>40998</c:v>
                </c:pt>
                <c:pt idx="1370">
                  <c:v>41001</c:v>
                </c:pt>
                <c:pt idx="1371">
                  <c:v>41002</c:v>
                </c:pt>
                <c:pt idx="1372">
                  <c:v>41003</c:v>
                </c:pt>
                <c:pt idx="1373">
                  <c:v>41004</c:v>
                </c:pt>
                <c:pt idx="1374">
                  <c:v>41005</c:v>
                </c:pt>
                <c:pt idx="1375">
                  <c:v>41008</c:v>
                </c:pt>
                <c:pt idx="1376">
                  <c:v>41009</c:v>
                </c:pt>
                <c:pt idx="1377">
                  <c:v>41010</c:v>
                </c:pt>
                <c:pt idx="1378">
                  <c:v>41011</c:v>
                </c:pt>
                <c:pt idx="1379">
                  <c:v>41012</c:v>
                </c:pt>
                <c:pt idx="1380">
                  <c:v>41015</c:v>
                </c:pt>
                <c:pt idx="1381">
                  <c:v>41016</c:v>
                </c:pt>
                <c:pt idx="1382">
                  <c:v>41017</c:v>
                </c:pt>
                <c:pt idx="1383">
                  <c:v>41018</c:v>
                </c:pt>
                <c:pt idx="1384">
                  <c:v>41019</c:v>
                </c:pt>
                <c:pt idx="1385">
                  <c:v>41022</c:v>
                </c:pt>
                <c:pt idx="1386">
                  <c:v>41023</c:v>
                </c:pt>
                <c:pt idx="1387">
                  <c:v>41024</c:v>
                </c:pt>
                <c:pt idx="1388">
                  <c:v>41025</c:v>
                </c:pt>
                <c:pt idx="1389">
                  <c:v>41026</c:v>
                </c:pt>
                <c:pt idx="1390">
                  <c:v>41029</c:v>
                </c:pt>
                <c:pt idx="1391">
                  <c:v>41030</c:v>
                </c:pt>
                <c:pt idx="1392">
                  <c:v>41031</c:v>
                </c:pt>
                <c:pt idx="1393">
                  <c:v>41032</c:v>
                </c:pt>
                <c:pt idx="1394">
                  <c:v>41033</c:v>
                </c:pt>
                <c:pt idx="1395">
                  <c:v>41036</c:v>
                </c:pt>
                <c:pt idx="1396">
                  <c:v>41037</c:v>
                </c:pt>
                <c:pt idx="1397">
                  <c:v>41038</c:v>
                </c:pt>
                <c:pt idx="1398">
                  <c:v>41039</c:v>
                </c:pt>
                <c:pt idx="1399">
                  <c:v>41040</c:v>
                </c:pt>
                <c:pt idx="1400">
                  <c:v>41043</c:v>
                </c:pt>
                <c:pt idx="1401">
                  <c:v>41044</c:v>
                </c:pt>
                <c:pt idx="1402">
                  <c:v>41045</c:v>
                </c:pt>
                <c:pt idx="1403">
                  <c:v>41046</c:v>
                </c:pt>
                <c:pt idx="1404">
                  <c:v>41047</c:v>
                </c:pt>
                <c:pt idx="1405">
                  <c:v>41050</c:v>
                </c:pt>
                <c:pt idx="1406">
                  <c:v>41051</c:v>
                </c:pt>
                <c:pt idx="1407">
                  <c:v>41052</c:v>
                </c:pt>
                <c:pt idx="1408">
                  <c:v>41053</c:v>
                </c:pt>
                <c:pt idx="1409">
                  <c:v>41054</c:v>
                </c:pt>
                <c:pt idx="1410">
                  <c:v>41057</c:v>
                </c:pt>
                <c:pt idx="1411">
                  <c:v>41058</c:v>
                </c:pt>
                <c:pt idx="1412">
                  <c:v>41059</c:v>
                </c:pt>
                <c:pt idx="1413">
                  <c:v>41060</c:v>
                </c:pt>
                <c:pt idx="1414">
                  <c:v>41061</c:v>
                </c:pt>
                <c:pt idx="1415">
                  <c:v>41064</c:v>
                </c:pt>
                <c:pt idx="1416">
                  <c:v>41065</c:v>
                </c:pt>
                <c:pt idx="1417">
                  <c:v>41066</c:v>
                </c:pt>
                <c:pt idx="1418">
                  <c:v>41067</c:v>
                </c:pt>
                <c:pt idx="1419">
                  <c:v>41068</c:v>
                </c:pt>
                <c:pt idx="1420">
                  <c:v>41071</c:v>
                </c:pt>
                <c:pt idx="1421">
                  <c:v>41072</c:v>
                </c:pt>
                <c:pt idx="1422">
                  <c:v>41073</c:v>
                </c:pt>
                <c:pt idx="1423">
                  <c:v>41074</c:v>
                </c:pt>
                <c:pt idx="1424">
                  <c:v>41075</c:v>
                </c:pt>
                <c:pt idx="1425">
                  <c:v>41078</c:v>
                </c:pt>
                <c:pt idx="1426">
                  <c:v>41079</c:v>
                </c:pt>
                <c:pt idx="1427">
                  <c:v>41080</c:v>
                </c:pt>
                <c:pt idx="1428">
                  <c:v>41081</c:v>
                </c:pt>
                <c:pt idx="1429">
                  <c:v>41082</c:v>
                </c:pt>
                <c:pt idx="1430">
                  <c:v>41085</c:v>
                </c:pt>
                <c:pt idx="1431">
                  <c:v>41086</c:v>
                </c:pt>
                <c:pt idx="1432">
                  <c:v>41087</c:v>
                </c:pt>
                <c:pt idx="1433">
                  <c:v>41088</c:v>
                </c:pt>
                <c:pt idx="1434">
                  <c:v>41089</c:v>
                </c:pt>
                <c:pt idx="1435">
                  <c:v>41092</c:v>
                </c:pt>
                <c:pt idx="1436">
                  <c:v>41093</c:v>
                </c:pt>
                <c:pt idx="1437">
                  <c:v>41094</c:v>
                </c:pt>
                <c:pt idx="1438">
                  <c:v>41095</c:v>
                </c:pt>
                <c:pt idx="1439">
                  <c:v>41096</c:v>
                </c:pt>
                <c:pt idx="1440">
                  <c:v>41099</c:v>
                </c:pt>
                <c:pt idx="1441">
                  <c:v>41100</c:v>
                </c:pt>
                <c:pt idx="1442">
                  <c:v>41101</c:v>
                </c:pt>
                <c:pt idx="1443">
                  <c:v>41102</c:v>
                </c:pt>
                <c:pt idx="1444">
                  <c:v>41103</c:v>
                </c:pt>
                <c:pt idx="1445">
                  <c:v>41106</c:v>
                </c:pt>
                <c:pt idx="1446">
                  <c:v>41107</c:v>
                </c:pt>
                <c:pt idx="1447">
                  <c:v>41108</c:v>
                </c:pt>
                <c:pt idx="1448">
                  <c:v>41109</c:v>
                </c:pt>
                <c:pt idx="1449">
                  <c:v>41110</c:v>
                </c:pt>
                <c:pt idx="1450">
                  <c:v>41113</c:v>
                </c:pt>
                <c:pt idx="1451">
                  <c:v>41114</c:v>
                </c:pt>
                <c:pt idx="1452">
                  <c:v>41115</c:v>
                </c:pt>
                <c:pt idx="1453">
                  <c:v>41116</c:v>
                </c:pt>
                <c:pt idx="1454">
                  <c:v>41117</c:v>
                </c:pt>
                <c:pt idx="1455">
                  <c:v>41120</c:v>
                </c:pt>
                <c:pt idx="1456">
                  <c:v>41121</c:v>
                </c:pt>
                <c:pt idx="1457">
                  <c:v>41122</c:v>
                </c:pt>
                <c:pt idx="1458">
                  <c:v>41123</c:v>
                </c:pt>
                <c:pt idx="1459">
                  <c:v>41124</c:v>
                </c:pt>
                <c:pt idx="1460">
                  <c:v>41127</c:v>
                </c:pt>
                <c:pt idx="1461">
                  <c:v>41128</c:v>
                </c:pt>
                <c:pt idx="1462">
                  <c:v>41129</c:v>
                </c:pt>
                <c:pt idx="1463">
                  <c:v>41130</c:v>
                </c:pt>
                <c:pt idx="1464">
                  <c:v>41131</c:v>
                </c:pt>
                <c:pt idx="1465">
                  <c:v>41134</c:v>
                </c:pt>
                <c:pt idx="1466">
                  <c:v>41135</c:v>
                </c:pt>
                <c:pt idx="1467">
                  <c:v>41136</c:v>
                </c:pt>
                <c:pt idx="1468">
                  <c:v>41137</c:v>
                </c:pt>
                <c:pt idx="1469">
                  <c:v>41138</c:v>
                </c:pt>
                <c:pt idx="1470">
                  <c:v>41141</c:v>
                </c:pt>
                <c:pt idx="1471">
                  <c:v>41142</c:v>
                </c:pt>
                <c:pt idx="1472">
                  <c:v>41143</c:v>
                </c:pt>
                <c:pt idx="1473">
                  <c:v>41144</c:v>
                </c:pt>
                <c:pt idx="1474">
                  <c:v>41145</c:v>
                </c:pt>
                <c:pt idx="1475">
                  <c:v>41148</c:v>
                </c:pt>
                <c:pt idx="1476">
                  <c:v>41149</c:v>
                </c:pt>
                <c:pt idx="1477">
                  <c:v>41150</c:v>
                </c:pt>
                <c:pt idx="1478">
                  <c:v>41151</c:v>
                </c:pt>
                <c:pt idx="1479">
                  <c:v>41152</c:v>
                </c:pt>
                <c:pt idx="1480">
                  <c:v>41155</c:v>
                </c:pt>
                <c:pt idx="1481">
                  <c:v>41156</c:v>
                </c:pt>
                <c:pt idx="1482">
                  <c:v>41157</c:v>
                </c:pt>
                <c:pt idx="1483">
                  <c:v>41158</c:v>
                </c:pt>
                <c:pt idx="1484">
                  <c:v>41159</c:v>
                </c:pt>
                <c:pt idx="1485">
                  <c:v>41162</c:v>
                </c:pt>
                <c:pt idx="1486">
                  <c:v>41163</c:v>
                </c:pt>
                <c:pt idx="1487">
                  <c:v>41164</c:v>
                </c:pt>
                <c:pt idx="1488">
                  <c:v>41165</c:v>
                </c:pt>
                <c:pt idx="1489">
                  <c:v>41166</c:v>
                </c:pt>
                <c:pt idx="1490">
                  <c:v>41169</c:v>
                </c:pt>
                <c:pt idx="1491">
                  <c:v>41170</c:v>
                </c:pt>
                <c:pt idx="1492">
                  <c:v>41171</c:v>
                </c:pt>
                <c:pt idx="1493">
                  <c:v>41172</c:v>
                </c:pt>
                <c:pt idx="1494">
                  <c:v>41173</c:v>
                </c:pt>
                <c:pt idx="1495">
                  <c:v>41176</c:v>
                </c:pt>
                <c:pt idx="1496">
                  <c:v>41177</c:v>
                </c:pt>
                <c:pt idx="1497">
                  <c:v>41178</c:v>
                </c:pt>
                <c:pt idx="1498">
                  <c:v>41179</c:v>
                </c:pt>
                <c:pt idx="1499">
                  <c:v>41180</c:v>
                </c:pt>
                <c:pt idx="1500">
                  <c:v>41183</c:v>
                </c:pt>
                <c:pt idx="1501">
                  <c:v>41184</c:v>
                </c:pt>
                <c:pt idx="1502">
                  <c:v>41185</c:v>
                </c:pt>
                <c:pt idx="1503">
                  <c:v>41186</c:v>
                </c:pt>
                <c:pt idx="1504">
                  <c:v>41187</c:v>
                </c:pt>
                <c:pt idx="1505">
                  <c:v>41190</c:v>
                </c:pt>
                <c:pt idx="1506">
                  <c:v>41191</c:v>
                </c:pt>
                <c:pt idx="1507">
                  <c:v>41192</c:v>
                </c:pt>
                <c:pt idx="1508">
                  <c:v>41193</c:v>
                </c:pt>
                <c:pt idx="1509">
                  <c:v>41194</c:v>
                </c:pt>
                <c:pt idx="1510">
                  <c:v>41197</c:v>
                </c:pt>
                <c:pt idx="1511">
                  <c:v>41198</c:v>
                </c:pt>
                <c:pt idx="1512">
                  <c:v>41199</c:v>
                </c:pt>
                <c:pt idx="1513">
                  <c:v>41200</c:v>
                </c:pt>
                <c:pt idx="1514">
                  <c:v>41201</c:v>
                </c:pt>
                <c:pt idx="1515">
                  <c:v>41204</c:v>
                </c:pt>
                <c:pt idx="1516">
                  <c:v>41205</c:v>
                </c:pt>
                <c:pt idx="1517">
                  <c:v>41206</c:v>
                </c:pt>
                <c:pt idx="1518">
                  <c:v>41207</c:v>
                </c:pt>
                <c:pt idx="1519">
                  <c:v>41208</c:v>
                </c:pt>
                <c:pt idx="1520">
                  <c:v>41211</c:v>
                </c:pt>
                <c:pt idx="1521">
                  <c:v>41212</c:v>
                </c:pt>
                <c:pt idx="1522">
                  <c:v>41213</c:v>
                </c:pt>
                <c:pt idx="1523">
                  <c:v>41214</c:v>
                </c:pt>
                <c:pt idx="1524">
                  <c:v>41215</c:v>
                </c:pt>
                <c:pt idx="1525">
                  <c:v>41218</c:v>
                </c:pt>
                <c:pt idx="1526">
                  <c:v>41219</c:v>
                </c:pt>
                <c:pt idx="1527">
                  <c:v>41220</c:v>
                </c:pt>
                <c:pt idx="1528">
                  <c:v>41221</c:v>
                </c:pt>
                <c:pt idx="1529">
                  <c:v>41222</c:v>
                </c:pt>
                <c:pt idx="1530">
                  <c:v>41225</c:v>
                </c:pt>
                <c:pt idx="1531">
                  <c:v>41226</c:v>
                </c:pt>
                <c:pt idx="1532">
                  <c:v>41227</c:v>
                </c:pt>
                <c:pt idx="1533">
                  <c:v>41228</c:v>
                </c:pt>
                <c:pt idx="1534">
                  <c:v>41229</c:v>
                </c:pt>
                <c:pt idx="1535">
                  <c:v>41232</c:v>
                </c:pt>
                <c:pt idx="1536">
                  <c:v>41233</c:v>
                </c:pt>
                <c:pt idx="1537">
                  <c:v>41234</c:v>
                </c:pt>
                <c:pt idx="1538">
                  <c:v>41235</c:v>
                </c:pt>
                <c:pt idx="1539">
                  <c:v>41236</c:v>
                </c:pt>
                <c:pt idx="1540">
                  <c:v>41239</c:v>
                </c:pt>
                <c:pt idx="1541">
                  <c:v>41240</c:v>
                </c:pt>
                <c:pt idx="1542">
                  <c:v>41241</c:v>
                </c:pt>
                <c:pt idx="1543">
                  <c:v>41242</c:v>
                </c:pt>
                <c:pt idx="1544">
                  <c:v>41243</c:v>
                </c:pt>
                <c:pt idx="1545">
                  <c:v>41246</c:v>
                </c:pt>
                <c:pt idx="1546">
                  <c:v>41247</c:v>
                </c:pt>
                <c:pt idx="1547">
                  <c:v>41248</c:v>
                </c:pt>
                <c:pt idx="1548">
                  <c:v>41249</c:v>
                </c:pt>
                <c:pt idx="1549">
                  <c:v>41250</c:v>
                </c:pt>
                <c:pt idx="1550">
                  <c:v>41253</c:v>
                </c:pt>
                <c:pt idx="1551">
                  <c:v>41254</c:v>
                </c:pt>
                <c:pt idx="1552">
                  <c:v>41255</c:v>
                </c:pt>
                <c:pt idx="1553">
                  <c:v>41256</c:v>
                </c:pt>
                <c:pt idx="1554">
                  <c:v>41257</c:v>
                </c:pt>
                <c:pt idx="1555">
                  <c:v>41260</c:v>
                </c:pt>
                <c:pt idx="1556">
                  <c:v>41261</c:v>
                </c:pt>
                <c:pt idx="1557">
                  <c:v>41262</c:v>
                </c:pt>
                <c:pt idx="1558">
                  <c:v>41263</c:v>
                </c:pt>
                <c:pt idx="1559">
                  <c:v>41264</c:v>
                </c:pt>
                <c:pt idx="1560">
                  <c:v>41267</c:v>
                </c:pt>
                <c:pt idx="1561">
                  <c:v>41268</c:v>
                </c:pt>
                <c:pt idx="1562">
                  <c:v>41269</c:v>
                </c:pt>
                <c:pt idx="1563">
                  <c:v>41270</c:v>
                </c:pt>
                <c:pt idx="1564">
                  <c:v>41271</c:v>
                </c:pt>
                <c:pt idx="1565">
                  <c:v>41274</c:v>
                </c:pt>
                <c:pt idx="1566">
                  <c:v>41275</c:v>
                </c:pt>
                <c:pt idx="1567">
                  <c:v>41276</c:v>
                </c:pt>
                <c:pt idx="1568">
                  <c:v>41277</c:v>
                </c:pt>
                <c:pt idx="1569">
                  <c:v>41278</c:v>
                </c:pt>
                <c:pt idx="1570">
                  <c:v>41281</c:v>
                </c:pt>
                <c:pt idx="1571">
                  <c:v>41282</c:v>
                </c:pt>
                <c:pt idx="1572">
                  <c:v>41283</c:v>
                </c:pt>
                <c:pt idx="1573">
                  <c:v>41284</c:v>
                </c:pt>
                <c:pt idx="1574">
                  <c:v>41285</c:v>
                </c:pt>
                <c:pt idx="1575">
                  <c:v>41288</c:v>
                </c:pt>
                <c:pt idx="1576">
                  <c:v>41289</c:v>
                </c:pt>
                <c:pt idx="1577">
                  <c:v>41290</c:v>
                </c:pt>
                <c:pt idx="1578">
                  <c:v>41291</c:v>
                </c:pt>
                <c:pt idx="1579">
                  <c:v>41292</c:v>
                </c:pt>
                <c:pt idx="1580">
                  <c:v>41295</c:v>
                </c:pt>
                <c:pt idx="1581">
                  <c:v>41296</c:v>
                </c:pt>
                <c:pt idx="1582">
                  <c:v>41297</c:v>
                </c:pt>
                <c:pt idx="1583">
                  <c:v>41298</c:v>
                </c:pt>
                <c:pt idx="1584">
                  <c:v>41299</c:v>
                </c:pt>
                <c:pt idx="1585">
                  <c:v>41302</c:v>
                </c:pt>
                <c:pt idx="1586">
                  <c:v>41303</c:v>
                </c:pt>
                <c:pt idx="1587">
                  <c:v>41304</c:v>
                </c:pt>
                <c:pt idx="1588">
                  <c:v>41305</c:v>
                </c:pt>
                <c:pt idx="1589">
                  <c:v>41306</c:v>
                </c:pt>
                <c:pt idx="1590">
                  <c:v>41309</c:v>
                </c:pt>
                <c:pt idx="1591">
                  <c:v>41310</c:v>
                </c:pt>
                <c:pt idx="1592">
                  <c:v>41311</c:v>
                </c:pt>
                <c:pt idx="1593">
                  <c:v>41312</c:v>
                </c:pt>
                <c:pt idx="1594">
                  <c:v>41313</c:v>
                </c:pt>
                <c:pt idx="1595">
                  <c:v>41316</c:v>
                </c:pt>
                <c:pt idx="1596">
                  <c:v>41317</c:v>
                </c:pt>
                <c:pt idx="1597">
                  <c:v>41318</c:v>
                </c:pt>
                <c:pt idx="1598">
                  <c:v>41319</c:v>
                </c:pt>
                <c:pt idx="1599">
                  <c:v>41320</c:v>
                </c:pt>
                <c:pt idx="1600">
                  <c:v>41323</c:v>
                </c:pt>
                <c:pt idx="1601">
                  <c:v>41324</c:v>
                </c:pt>
                <c:pt idx="1602">
                  <c:v>41325</c:v>
                </c:pt>
                <c:pt idx="1603">
                  <c:v>41326</c:v>
                </c:pt>
                <c:pt idx="1604">
                  <c:v>41327</c:v>
                </c:pt>
                <c:pt idx="1605">
                  <c:v>41330</c:v>
                </c:pt>
                <c:pt idx="1606">
                  <c:v>41331</c:v>
                </c:pt>
                <c:pt idx="1607">
                  <c:v>41332</c:v>
                </c:pt>
                <c:pt idx="1608">
                  <c:v>41333</c:v>
                </c:pt>
                <c:pt idx="1609">
                  <c:v>41334</c:v>
                </c:pt>
                <c:pt idx="1610">
                  <c:v>41337</c:v>
                </c:pt>
                <c:pt idx="1611">
                  <c:v>41338</c:v>
                </c:pt>
                <c:pt idx="1612">
                  <c:v>41339</c:v>
                </c:pt>
                <c:pt idx="1613">
                  <c:v>41340</c:v>
                </c:pt>
                <c:pt idx="1614">
                  <c:v>41341</c:v>
                </c:pt>
                <c:pt idx="1615">
                  <c:v>41344</c:v>
                </c:pt>
                <c:pt idx="1616">
                  <c:v>41345</c:v>
                </c:pt>
                <c:pt idx="1617">
                  <c:v>41346</c:v>
                </c:pt>
                <c:pt idx="1618">
                  <c:v>41347</c:v>
                </c:pt>
                <c:pt idx="1619">
                  <c:v>41348</c:v>
                </c:pt>
                <c:pt idx="1620">
                  <c:v>41351</c:v>
                </c:pt>
                <c:pt idx="1621">
                  <c:v>41352</c:v>
                </c:pt>
                <c:pt idx="1622">
                  <c:v>41353</c:v>
                </c:pt>
                <c:pt idx="1623">
                  <c:v>41354</c:v>
                </c:pt>
                <c:pt idx="1624">
                  <c:v>41355</c:v>
                </c:pt>
                <c:pt idx="1625">
                  <c:v>41358</c:v>
                </c:pt>
                <c:pt idx="1626">
                  <c:v>41359</c:v>
                </c:pt>
                <c:pt idx="1627">
                  <c:v>41360</c:v>
                </c:pt>
                <c:pt idx="1628">
                  <c:v>41361</c:v>
                </c:pt>
                <c:pt idx="1629">
                  <c:v>41362</c:v>
                </c:pt>
                <c:pt idx="1630">
                  <c:v>41365</c:v>
                </c:pt>
                <c:pt idx="1631">
                  <c:v>41366</c:v>
                </c:pt>
                <c:pt idx="1632">
                  <c:v>41367</c:v>
                </c:pt>
                <c:pt idx="1633">
                  <c:v>41368</c:v>
                </c:pt>
                <c:pt idx="1634">
                  <c:v>41369</c:v>
                </c:pt>
                <c:pt idx="1635">
                  <c:v>41372</c:v>
                </c:pt>
                <c:pt idx="1636">
                  <c:v>41373</c:v>
                </c:pt>
                <c:pt idx="1637">
                  <c:v>41374</c:v>
                </c:pt>
                <c:pt idx="1638">
                  <c:v>41375</c:v>
                </c:pt>
                <c:pt idx="1639">
                  <c:v>41376</c:v>
                </c:pt>
                <c:pt idx="1640">
                  <c:v>41379</c:v>
                </c:pt>
                <c:pt idx="1641">
                  <c:v>41380</c:v>
                </c:pt>
                <c:pt idx="1642">
                  <c:v>41381</c:v>
                </c:pt>
                <c:pt idx="1643">
                  <c:v>41382</c:v>
                </c:pt>
                <c:pt idx="1644">
                  <c:v>41383</c:v>
                </c:pt>
                <c:pt idx="1645">
                  <c:v>41386</c:v>
                </c:pt>
                <c:pt idx="1646">
                  <c:v>41387</c:v>
                </c:pt>
                <c:pt idx="1647">
                  <c:v>41388</c:v>
                </c:pt>
                <c:pt idx="1648">
                  <c:v>41389</c:v>
                </c:pt>
                <c:pt idx="1649">
                  <c:v>41390</c:v>
                </c:pt>
                <c:pt idx="1650">
                  <c:v>41393</c:v>
                </c:pt>
                <c:pt idx="1651">
                  <c:v>41394</c:v>
                </c:pt>
                <c:pt idx="1652">
                  <c:v>41395</c:v>
                </c:pt>
                <c:pt idx="1653">
                  <c:v>41396</c:v>
                </c:pt>
                <c:pt idx="1654">
                  <c:v>41397</c:v>
                </c:pt>
                <c:pt idx="1655">
                  <c:v>41400</c:v>
                </c:pt>
                <c:pt idx="1656">
                  <c:v>41401</c:v>
                </c:pt>
                <c:pt idx="1657">
                  <c:v>41402</c:v>
                </c:pt>
                <c:pt idx="1658">
                  <c:v>41403</c:v>
                </c:pt>
                <c:pt idx="1659">
                  <c:v>41404</c:v>
                </c:pt>
                <c:pt idx="1660">
                  <c:v>41407</c:v>
                </c:pt>
                <c:pt idx="1661">
                  <c:v>41408</c:v>
                </c:pt>
                <c:pt idx="1662">
                  <c:v>41409</c:v>
                </c:pt>
                <c:pt idx="1663">
                  <c:v>41410</c:v>
                </c:pt>
                <c:pt idx="1664">
                  <c:v>41411</c:v>
                </c:pt>
                <c:pt idx="1665">
                  <c:v>41414</c:v>
                </c:pt>
                <c:pt idx="1666">
                  <c:v>41415</c:v>
                </c:pt>
                <c:pt idx="1667">
                  <c:v>41416</c:v>
                </c:pt>
                <c:pt idx="1668">
                  <c:v>41417</c:v>
                </c:pt>
                <c:pt idx="1669">
                  <c:v>41418</c:v>
                </c:pt>
                <c:pt idx="1670">
                  <c:v>41421</c:v>
                </c:pt>
                <c:pt idx="1671">
                  <c:v>41422</c:v>
                </c:pt>
                <c:pt idx="1672">
                  <c:v>41423</c:v>
                </c:pt>
                <c:pt idx="1673">
                  <c:v>41424</c:v>
                </c:pt>
                <c:pt idx="1674">
                  <c:v>41425</c:v>
                </c:pt>
                <c:pt idx="1675">
                  <c:v>41428</c:v>
                </c:pt>
                <c:pt idx="1676">
                  <c:v>41429</c:v>
                </c:pt>
                <c:pt idx="1677">
                  <c:v>41430</c:v>
                </c:pt>
                <c:pt idx="1678">
                  <c:v>41431</c:v>
                </c:pt>
                <c:pt idx="1679">
                  <c:v>41432</c:v>
                </c:pt>
                <c:pt idx="1680">
                  <c:v>41435</c:v>
                </c:pt>
                <c:pt idx="1681">
                  <c:v>41436</c:v>
                </c:pt>
                <c:pt idx="1682">
                  <c:v>41437</c:v>
                </c:pt>
                <c:pt idx="1683">
                  <c:v>41438</c:v>
                </c:pt>
                <c:pt idx="1684">
                  <c:v>41439</c:v>
                </c:pt>
                <c:pt idx="1685">
                  <c:v>41442</c:v>
                </c:pt>
                <c:pt idx="1686">
                  <c:v>41443</c:v>
                </c:pt>
                <c:pt idx="1687">
                  <c:v>41444</c:v>
                </c:pt>
                <c:pt idx="1688">
                  <c:v>41445</c:v>
                </c:pt>
                <c:pt idx="1689">
                  <c:v>41446</c:v>
                </c:pt>
                <c:pt idx="1690">
                  <c:v>41449</c:v>
                </c:pt>
                <c:pt idx="1691">
                  <c:v>41450</c:v>
                </c:pt>
                <c:pt idx="1692">
                  <c:v>41451</c:v>
                </c:pt>
                <c:pt idx="1693">
                  <c:v>41452</c:v>
                </c:pt>
                <c:pt idx="1694">
                  <c:v>41453</c:v>
                </c:pt>
                <c:pt idx="1695">
                  <c:v>41456</c:v>
                </c:pt>
                <c:pt idx="1696">
                  <c:v>41457</c:v>
                </c:pt>
                <c:pt idx="1697">
                  <c:v>41458</c:v>
                </c:pt>
                <c:pt idx="1698">
                  <c:v>41459</c:v>
                </c:pt>
                <c:pt idx="1699">
                  <c:v>41460</c:v>
                </c:pt>
                <c:pt idx="1700">
                  <c:v>41463</c:v>
                </c:pt>
                <c:pt idx="1701">
                  <c:v>41464</c:v>
                </c:pt>
                <c:pt idx="1702">
                  <c:v>41465</c:v>
                </c:pt>
                <c:pt idx="1703">
                  <c:v>41466</c:v>
                </c:pt>
                <c:pt idx="1704">
                  <c:v>41467</c:v>
                </c:pt>
                <c:pt idx="1705">
                  <c:v>41470</c:v>
                </c:pt>
                <c:pt idx="1706">
                  <c:v>41471</c:v>
                </c:pt>
                <c:pt idx="1707">
                  <c:v>41472</c:v>
                </c:pt>
                <c:pt idx="1708">
                  <c:v>41473</c:v>
                </c:pt>
                <c:pt idx="1709">
                  <c:v>41474</c:v>
                </c:pt>
                <c:pt idx="1710">
                  <c:v>41477</c:v>
                </c:pt>
                <c:pt idx="1711">
                  <c:v>41478</c:v>
                </c:pt>
                <c:pt idx="1712">
                  <c:v>41479</c:v>
                </c:pt>
                <c:pt idx="1713">
                  <c:v>41480</c:v>
                </c:pt>
                <c:pt idx="1714">
                  <c:v>41481</c:v>
                </c:pt>
                <c:pt idx="1715">
                  <c:v>41484</c:v>
                </c:pt>
                <c:pt idx="1716">
                  <c:v>41485</c:v>
                </c:pt>
                <c:pt idx="1717">
                  <c:v>41486</c:v>
                </c:pt>
                <c:pt idx="1718">
                  <c:v>41487</c:v>
                </c:pt>
                <c:pt idx="1719">
                  <c:v>41488</c:v>
                </c:pt>
                <c:pt idx="1720">
                  <c:v>41491</c:v>
                </c:pt>
                <c:pt idx="1721">
                  <c:v>41492</c:v>
                </c:pt>
                <c:pt idx="1722">
                  <c:v>41493</c:v>
                </c:pt>
                <c:pt idx="1723">
                  <c:v>41494</c:v>
                </c:pt>
                <c:pt idx="1724">
                  <c:v>41495</c:v>
                </c:pt>
                <c:pt idx="1725">
                  <c:v>41498</c:v>
                </c:pt>
                <c:pt idx="1726">
                  <c:v>41499</c:v>
                </c:pt>
                <c:pt idx="1727">
                  <c:v>41500</c:v>
                </c:pt>
                <c:pt idx="1728">
                  <c:v>41501</c:v>
                </c:pt>
                <c:pt idx="1729">
                  <c:v>41502</c:v>
                </c:pt>
                <c:pt idx="1730">
                  <c:v>41505</c:v>
                </c:pt>
                <c:pt idx="1731">
                  <c:v>41506</c:v>
                </c:pt>
                <c:pt idx="1732">
                  <c:v>41507</c:v>
                </c:pt>
                <c:pt idx="1733">
                  <c:v>41508</c:v>
                </c:pt>
                <c:pt idx="1734">
                  <c:v>41509</c:v>
                </c:pt>
                <c:pt idx="1735">
                  <c:v>41512</c:v>
                </c:pt>
                <c:pt idx="1736">
                  <c:v>41513</c:v>
                </c:pt>
                <c:pt idx="1737">
                  <c:v>41514</c:v>
                </c:pt>
                <c:pt idx="1738">
                  <c:v>41515</c:v>
                </c:pt>
                <c:pt idx="1739">
                  <c:v>41516</c:v>
                </c:pt>
                <c:pt idx="1740">
                  <c:v>41519</c:v>
                </c:pt>
                <c:pt idx="1741">
                  <c:v>41520</c:v>
                </c:pt>
                <c:pt idx="1742">
                  <c:v>41521</c:v>
                </c:pt>
                <c:pt idx="1743">
                  <c:v>41522</c:v>
                </c:pt>
                <c:pt idx="1744">
                  <c:v>41523</c:v>
                </c:pt>
                <c:pt idx="1745">
                  <c:v>41526</c:v>
                </c:pt>
                <c:pt idx="1746">
                  <c:v>41527</c:v>
                </c:pt>
                <c:pt idx="1747">
                  <c:v>41528</c:v>
                </c:pt>
                <c:pt idx="1748">
                  <c:v>41529</c:v>
                </c:pt>
                <c:pt idx="1749">
                  <c:v>41530</c:v>
                </c:pt>
                <c:pt idx="1750">
                  <c:v>41533</c:v>
                </c:pt>
                <c:pt idx="1751">
                  <c:v>41534</c:v>
                </c:pt>
                <c:pt idx="1752">
                  <c:v>41535</c:v>
                </c:pt>
                <c:pt idx="1753">
                  <c:v>41536</c:v>
                </c:pt>
                <c:pt idx="1754">
                  <c:v>41537</c:v>
                </c:pt>
                <c:pt idx="1755">
                  <c:v>41540</c:v>
                </c:pt>
                <c:pt idx="1756">
                  <c:v>41541</c:v>
                </c:pt>
                <c:pt idx="1757">
                  <c:v>41542</c:v>
                </c:pt>
                <c:pt idx="1758">
                  <c:v>41543</c:v>
                </c:pt>
                <c:pt idx="1759">
                  <c:v>41544</c:v>
                </c:pt>
                <c:pt idx="1760">
                  <c:v>41547</c:v>
                </c:pt>
                <c:pt idx="1761">
                  <c:v>41548</c:v>
                </c:pt>
                <c:pt idx="1762">
                  <c:v>41549</c:v>
                </c:pt>
                <c:pt idx="1763">
                  <c:v>41550</c:v>
                </c:pt>
                <c:pt idx="1764">
                  <c:v>41551</c:v>
                </c:pt>
                <c:pt idx="1765">
                  <c:v>41554</c:v>
                </c:pt>
                <c:pt idx="1766">
                  <c:v>41555</c:v>
                </c:pt>
                <c:pt idx="1767">
                  <c:v>41556</c:v>
                </c:pt>
                <c:pt idx="1768">
                  <c:v>41557</c:v>
                </c:pt>
                <c:pt idx="1769">
                  <c:v>41558</c:v>
                </c:pt>
                <c:pt idx="1770">
                  <c:v>41561</c:v>
                </c:pt>
                <c:pt idx="1771">
                  <c:v>41562</c:v>
                </c:pt>
                <c:pt idx="1772">
                  <c:v>41563</c:v>
                </c:pt>
                <c:pt idx="1773">
                  <c:v>41564</c:v>
                </c:pt>
                <c:pt idx="1774">
                  <c:v>41565</c:v>
                </c:pt>
                <c:pt idx="1775">
                  <c:v>41568</c:v>
                </c:pt>
                <c:pt idx="1776">
                  <c:v>41569</c:v>
                </c:pt>
                <c:pt idx="1777">
                  <c:v>41570</c:v>
                </c:pt>
                <c:pt idx="1778">
                  <c:v>41571</c:v>
                </c:pt>
                <c:pt idx="1779">
                  <c:v>41572</c:v>
                </c:pt>
                <c:pt idx="1780">
                  <c:v>41575</c:v>
                </c:pt>
                <c:pt idx="1781">
                  <c:v>41576</c:v>
                </c:pt>
                <c:pt idx="1782">
                  <c:v>41577</c:v>
                </c:pt>
                <c:pt idx="1783">
                  <c:v>41578</c:v>
                </c:pt>
                <c:pt idx="1784">
                  <c:v>41579</c:v>
                </c:pt>
                <c:pt idx="1785">
                  <c:v>41582</c:v>
                </c:pt>
                <c:pt idx="1786">
                  <c:v>41583</c:v>
                </c:pt>
                <c:pt idx="1787">
                  <c:v>41584</c:v>
                </c:pt>
                <c:pt idx="1788">
                  <c:v>41585</c:v>
                </c:pt>
                <c:pt idx="1789">
                  <c:v>41586</c:v>
                </c:pt>
                <c:pt idx="1790">
                  <c:v>41589</c:v>
                </c:pt>
                <c:pt idx="1791">
                  <c:v>41590</c:v>
                </c:pt>
                <c:pt idx="1792">
                  <c:v>41591</c:v>
                </c:pt>
                <c:pt idx="1793">
                  <c:v>41592</c:v>
                </c:pt>
                <c:pt idx="1794">
                  <c:v>41593</c:v>
                </c:pt>
                <c:pt idx="1795">
                  <c:v>41596</c:v>
                </c:pt>
                <c:pt idx="1796">
                  <c:v>41597</c:v>
                </c:pt>
                <c:pt idx="1797">
                  <c:v>41598</c:v>
                </c:pt>
                <c:pt idx="1798">
                  <c:v>41599</c:v>
                </c:pt>
                <c:pt idx="1799">
                  <c:v>41600</c:v>
                </c:pt>
                <c:pt idx="1800">
                  <c:v>41603</c:v>
                </c:pt>
                <c:pt idx="1801">
                  <c:v>41604</c:v>
                </c:pt>
                <c:pt idx="1802">
                  <c:v>41605</c:v>
                </c:pt>
                <c:pt idx="1803">
                  <c:v>41606</c:v>
                </c:pt>
                <c:pt idx="1804">
                  <c:v>41607</c:v>
                </c:pt>
                <c:pt idx="1805">
                  <c:v>41610</c:v>
                </c:pt>
                <c:pt idx="1806">
                  <c:v>41611</c:v>
                </c:pt>
                <c:pt idx="1807">
                  <c:v>41612</c:v>
                </c:pt>
                <c:pt idx="1808">
                  <c:v>41613</c:v>
                </c:pt>
                <c:pt idx="1809">
                  <c:v>41614</c:v>
                </c:pt>
                <c:pt idx="1810">
                  <c:v>41617</c:v>
                </c:pt>
                <c:pt idx="1811">
                  <c:v>41618</c:v>
                </c:pt>
                <c:pt idx="1812">
                  <c:v>41619</c:v>
                </c:pt>
                <c:pt idx="1813">
                  <c:v>41620</c:v>
                </c:pt>
                <c:pt idx="1814">
                  <c:v>41621</c:v>
                </c:pt>
                <c:pt idx="1815">
                  <c:v>41624</c:v>
                </c:pt>
                <c:pt idx="1816">
                  <c:v>41625</c:v>
                </c:pt>
                <c:pt idx="1817">
                  <c:v>41626</c:v>
                </c:pt>
                <c:pt idx="1818">
                  <c:v>41627</c:v>
                </c:pt>
                <c:pt idx="1819">
                  <c:v>41628</c:v>
                </c:pt>
                <c:pt idx="1820">
                  <c:v>41631</c:v>
                </c:pt>
                <c:pt idx="1821">
                  <c:v>41632</c:v>
                </c:pt>
                <c:pt idx="1822">
                  <c:v>41633</c:v>
                </c:pt>
                <c:pt idx="1823">
                  <c:v>41634</c:v>
                </c:pt>
                <c:pt idx="1824">
                  <c:v>41635</c:v>
                </c:pt>
                <c:pt idx="1825">
                  <c:v>41638</c:v>
                </c:pt>
                <c:pt idx="1826">
                  <c:v>41639</c:v>
                </c:pt>
                <c:pt idx="1827">
                  <c:v>41640</c:v>
                </c:pt>
                <c:pt idx="1828">
                  <c:v>41641</c:v>
                </c:pt>
                <c:pt idx="1829">
                  <c:v>41642</c:v>
                </c:pt>
                <c:pt idx="1830">
                  <c:v>41645</c:v>
                </c:pt>
                <c:pt idx="1831">
                  <c:v>41646</c:v>
                </c:pt>
                <c:pt idx="1832">
                  <c:v>41647</c:v>
                </c:pt>
                <c:pt idx="1833">
                  <c:v>41648</c:v>
                </c:pt>
                <c:pt idx="1834">
                  <c:v>41649</c:v>
                </c:pt>
                <c:pt idx="1835">
                  <c:v>41652</c:v>
                </c:pt>
                <c:pt idx="1836">
                  <c:v>41653</c:v>
                </c:pt>
                <c:pt idx="1837">
                  <c:v>41654</c:v>
                </c:pt>
                <c:pt idx="1838">
                  <c:v>41655</c:v>
                </c:pt>
                <c:pt idx="1839">
                  <c:v>41656</c:v>
                </c:pt>
                <c:pt idx="1840">
                  <c:v>41659</c:v>
                </c:pt>
                <c:pt idx="1841">
                  <c:v>41660</c:v>
                </c:pt>
                <c:pt idx="1842">
                  <c:v>41661</c:v>
                </c:pt>
                <c:pt idx="1843">
                  <c:v>41662</c:v>
                </c:pt>
                <c:pt idx="1844">
                  <c:v>41663</c:v>
                </c:pt>
                <c:pt idx="1845">
                  <c:v>41666</c:v>
                </c:pt>
                <c:pt idx="1846">
                  <c:v>41667</c:v>
                </c:pt>
                <c:pt idx="1847">
                  <c:v>41668</c:v>
                </c:pt>
                <c:pt idx="1848">
                  <c:v>41669</c:v>
                </c:pt>
                <c:pt idx="1849">
                  <c:v>41670</c:v>
                </c:pt>
                <c:pt idx="1850">
                  <c:v>41673</c:v>
                </c:pt>
                <c:pt idx="1851">
                  <c:v>41674</c:v>
                </c:pt>
                <c:pt idx="1852">
                  <c:v>41675</c:v>
                </c:pt>
                <c:pt idx="1853">
                  <c:v>41676</c:v>
                </c:pt>
                <c:pt idx="1854">
                  <c:v>41677</c:v>
                </c:pt>
                <c:pt idx="1855">
                  <c:v>41680</c:v>
                </c:pt>
                <c:pt idx="1856">
                  <c:v>41681</c:v>
                </c:pt>
                <c:pt idx="1857">
                  <c:v>41682</c:v>
                </c:pt>
                <c:pt idx="1858">
                  <c:v>41683</c:v>
                </c:pt>
                <c:pt idx="1859">
                  <c:v>41684</c:v>
                </c:pt>
                <c:pt idx="1860">
                  <c:v>41687</c:v>
                </c:pt>
                <c:pt idx="1861">
                  <c:v>41688</c:v>
                </c:pt>
                <c:pt idx="1862">
                  <c:v>41689</c:v>
                </c:pt>
                <c:pt idx="1863">
                  <c:v>41690</c:v>
                </c:pt>
                <c:pt idx="1864">
                  <c:v>41691</c:v>
                </c:pt>
                <c:pt idx="1865">
                  <c:v>41694</c:v>
                </c:pt>
                <c:pt idx="1866">
                  <c:v>41695</c:v>
                </c:pt>
                <c:pt idx="1867">
                  <c:v>41696</c:v>
                </c:pt>
                <c:pt idx="1868">
                  <c:v>41697</c:v>
                </c:pt>
                <c:pt idx="1869">
                  <c:v>41698</c:v>
                </c:pt>
                <c:pt idx="1870">
                  <c:v>41701</c:v>
                </c:pt>
                <c:pt idx="1871">
                  <c:v>41702</c:v>
                </c:pt>
                <c:pt idx="1872">
                  <c:v>41703</c:v>
                </c:pt>
                <c:pt idx="1873">
                  <c:v>41704</c:v>
                </c:pt>
                <c:pt idx="1874">
                  <c:v>41705</c:v>
                </c:pt>
                <c:pt idx="1875">
                  <c:v>41708</c:v>
                </c:pt>
                <c:pt idx="1876">
                  <c:v>41709</c:v>
                </c:pt>
                <c:pt idx="1877">
                  <c:v>41710</c:v>
                </c:pt>
                <c:pt idx="1878">
                  <c:v>41711</c:v>
                </c:pt>
                <c:pt idx="1879">
                  <c:v>41712</c:v>
                </c:pt>
                <c:pt idx="1880">
                  <c:v>41715</c:v>
                </c:pt>
                <c:pt idx="1881">
                  <c:v>41716</c:v>
                </c:pt>
                <c:pt idx="1882">
                  <c:v>41717</c:v>
                </c:pt>
                <c:pt idx="1883">
                  <c:v>41718</c:v>
                </c:pt>
                <c:pt idx="1884">
                  <c:v>41719</c:v>
                </c:pt>
                <c:pt idx="1885">
                  <c:v>41722</c:v>
                </c:pt>
                <c:pt idx="1886">
                  <c:v>41723</c:v>
                </c:pt>
                <c:pt idx="1887">
                  <c:v>41724</c:v>
                </c:pt>
                <c:pt idx="1888">
                  <c:v>41725</c:v>
                </c:pt>
                <c:pt idx="1889">
                  <c:v>41726</c:v>
                </c:pt>
                <c:pt idx="1890">
                  <c:v>41729</c:v>
                </c:pt>
                <c:pt idx="1891">
                  <c:v>41730</c:v>
                </c:pt>
                <c:pt idx="1892">
                  <c:v>41731</c:v>
                </c:pt>
                <c:pt idx="1893">
                  <c:v>41732</c:v>
                </c:pt>
                <c:pt idx="1894">
                  <c:v>41733</c:v>
                </c:pt>
                <c:pt idx="1895">
                  <c:v>41736</c:v>
                </c:pt>
                <c:pt idx="1896">
                  <c:v>41737</c:v>
                </c:pt>
                <c:pt idx="1897">
                  <c:v>41738</c:v>
                </c:pt>
                <c:pt idx="1898">
                  <c:v>41739</c:v>
                </c:pt>
                <c:pt idx="1899">
                  <c:v>41740</c:v>
                </c:pt>
                <c:pt idx="1900">
                  <c:v>41743</c:v>
                </c:pt>
                <c:pt idx="1901">
                  <c:v>41744</c:v>
                </c:pt>
                <c:pt idx="1902">
                  <c:v>41745</c:v>
                </c:pt>
                <c:pt idx="1903">
                  <c:v>41746</c:v>
                </c:pt>
                <c:pt idx="1904">
                  <c:v>41747</c:v>
                </c:pt>
                <c:pt idx="1905">
                  <c:v>41750</c:v>
                </c:pt>
                <c:pt idx="1906">
                  <c:v>41751</c:v>
                </c:pt>
                <c:pt idx="1907">
                  <c:v>41752</c:v>
                </c:pt>
                <c:pt idx="1908">
                  <c:v>41753</c:v>
                </c:pt>
                <c:pt idx="1909">
                  <c:v>41754</c:v>
                </c:pt>
                <c:pt idx="1910">
                  <c:v>41757</c:v>
                </c:pt>
                <c:pt idx="1911">
                  <c:v>41758</c:v>
                </c:pt>
                <c:pt idx="1912">
                  <c:v>41759</c:v>
                </c:pt>
                <c:pt idx="1913">
                  <c:v>41760</c:v>
                </c:pt>
                <c:pt idx="1914">
                  <c:v>41761</c:v>
                </c:pt>
                <c:pt idx="1915">
                  <c:v>41764</c:v>
                </c:pt>
                <c:pt idx="1916">
                  <c:v>41765</c:v>
                </c:pt>
                <c:pt idx="1917">
                  <c:v>41766</c:v>
                </c:pt>
                <c:pt idx="1918">
                  <c:v>41767</c:v>
                </c:pt>
                <c:pt idx="1919">
                  <c:v>41768</c:v>
                </c:pt>
                <c:pt idx="1920">
                  <c:v>41771</c:v>
                </c:pt>
                <c:pt idx="1921">
                  <c:v>41772</c:v>
                </c:pt>
                <c:pt idx="1922">
                  <c:v>41773</c:v>
                </c:pt>
                <c:pt idx="1923">
                  <c:v>41774</c:v>
                </c:pt>
                <c:pt idx="1924">
                  <c:v>41775</c:v>
                </c:pt>
                <c:pt idx="1925">
                  <c:v>41778</c:v>
                </c:pt>
                <c:pt idx="1926">
                  <c:v>41779</c:v>
                </c:pt>
                <c:pt idx="1927">
                  <c:v>41780</c:v>
                </c:pt>
                <c:pt idx="1928">
                  <c:v>41781</c:v>
                </c:pt>
                <c:pt idx="1929">
                  <c:v>41782</c:v>
                </c:pt>
                <c:pt idx="1930">
                  <c:v>41785</c:v>
                </c:pt>
                <c:pt idx="1931">
                  <c:v>41786</c:v>
                </c:pt>
                <c:pt idx="1932">
                  <c:v>41787</c:v>
                </c:pt>
                <c:pt idx="1933">
                  <c:v>41788</c:v>
                </c:pt>
                <c:pt idx="1934">
                  <c:v>41789</c:v>
                </c:pt>
                <c:pt idx="1935">
                  <c:v>41792</c:v>
                </c:pt>
                <c:pt idx="1936">
                  <c:v>41793</c:v>
                </c:pt>
                <c:pt idx="1937">
                  <c:v>41794</c:v>
                </c:pt>
                <c:pt idx="1938">
                  <c:v>41795</c:v>
                </c:pt>
                <c:pt idx="1939">
                  <c:v>41796</c:v>
                </c:pt>
                <c:pt idx="1940">
                  <c:v>41799</c:v>
                </c:pt>
                <c:pt idx="1941">
                  <c:v>41800</c:v>
                </c:pt>
                <c:pt idx="1942">
                  <c:v>41801</c:v>
                </c:pt>
                <c:pt idx="1943">
                  <c:v>41802</c:v>
                </c:pt>
                <c:pt idx="1944">
                  <c:v>41803</c:v>
                </c:pt>
                <c:pt idx="1945">
                  <c:v>41806</c:v>
                </c:pt>
                <c:pt idx="1946">
                  <c:v>41807</c:v>
                </c:pt>
                <c:pt idx="1947">
                  <c:v>41808</c:v>
                </c:pt>
                <c:pt idx="1948">
                  <c:v>41809</c:v>
                </c:pt>
                <c:pt idx="1949">
                  <c:v>41810</c:v>
                </c:pt>
                <c:pt idx="1950">
                  <c:v>41813</c:v>
                </c:pt>
                <c:pt idx="1951">
                  <c:v>41814</c:v>
                </c:pt>
                <c:pt idx="1952">
                  <c:v>41815</c:v>
                </c:pt>
                <c:pt idx="1953">
                  <c:v>41816</c:v>
                </c:pt>
                <c:pt idx="1954">
                  <c:v>41817</c:v>
                </c:pt>
                <c:pt idx="1955">
                  <c:v>41820</c:v>
                </c:pt>
                <c:pt idx="1956">
                  <c:v>41821</c:v>
                </c:pt>
                <c:pt idx="1957">
                  <c:v>41822</c:v>
                </c:pt>
                <c:pt idx="1958">
                  <c:v>41823</c:v>
                </c:pt>
                <c:pt idx="1959">
                  <c:v>41824</c:v>
                </c:pt>
                <c:pt idx="1960">
                  <c:v>41827</c:v>
                </c:pt>
                <c:pt idx="1961">
                  <c:v>41828</c:v>
                </c:pt>
                <c:pt idx="1962">
                  <c:v>41829</c:v>
                </c:pt>
                <c:pt idx="1963">
                  <c:v>41830</c:v>
                </c:pt>
                <c:pt idx="1964">
                  <c:v>41831</c:v>
                </c:pt>
                <c:pt idx="1965">
                  <c:v>41834</c:v>
                </c:pt>
                <c:pt idx="1966">
                  <c:v>41835</c:v>
                </c:pt>
                <c:pt idx="1967">
                  <c:v>41836</c:v>
                </c:pt>
                <c:pt idx="1968">
                  <c:v>41837</c:v>
                </c:pt>
                <c:pt idx="1969">
                  <c:v>41838</c:v>
                </c:pt>
                <c:pt idx="1970">
                  <c:v>41841</c:v>
                </c:pt>
                <c:pt idx="1971">
                  <c:v>41842</c:v>
                </c:pt>
                <c:pt idx="1972">
                  <c:v>41843</c:v>
                </c:pt>
                <c:pt idx="1973">
                  <c:v>41844</c:v>
                </c:pt>
                <c:pt idx="1974">
                  <c:v>41845</c:v>
                </c:pt>
                <c:pt idx="1975">
                  <c:v>41848</c:v>
                </c:pt>
                <c:pt idx="1976">
                  <c:v>41849</c:v>
                </c:pt>
                <c:pt idx="1977">
                  <c:v>41850</c:v>
                </c:pt>
                <c:pt idx="1978">
                  <c:v>41851</c:v>
                </c:pt>
                <c:pt idx="1979">
                  <c:v>41852</c:v>
                </c:pt>
                <c:pt idx="1980">
                  <c:v>41855</c:v>
                </c:pt>
                <c:pt idx="1981">
                  <c:v>41856</c:v>
                </c:pt>
                <c:pt idx="1982">
                  <c:v>41857</c:v>
                </c:pt>
                <c:pt idx="1983">
                  <c:v>41858</c:v>
                </c:pt>
                <c:pt idx="1984">
                  <c:v>41859</c:v>
                </c:pt>
                <c:pt idx="1985">
                  <c:v>41862</c:v>
                </c:pt>
                <c:pt idx="1986">
                  <c:v>41863</c:v>
                </c:pt>
                <c:pt idx="1987">
                  <c:v>41864</c:v>
                </c:pt>
                <c:pt idx="1988">
                  <c:v>41865</c:v>
                </c:pt>
                <c:pt idx="1989">
                  <c:v>41866</c:v>
                </c:pt>
                <c:pt idx="1990">
                  <c:v>41869</c:v>
                </c:pt>
                <c:pt idx="1991">
                  <c:v>41870</c:v>
                </c:pt>
                <c:pt idx="1992">
                  <c:v>41871</c:v>
                </c:pt>
                <c:pt idx="1993">
                  <c:v>41872</c:v>
                </c:pt>
                <c:pt idx="1994">
                  <c:v>41873</c:v>
                </c:pt>
                <c:pt idx="1995">
                  <c:v>41876</c:v>
                </c:pt>
                <c:pt idx="1996">
                  <c:v>41877</c:v>
                </c:pt>
                <c:pt idx="1997">
                  <c:v>41878</c:v>
                </c:pt>
                <c:pt idx="1998">
                  <c:v>41879</c:v>
                </c:pt>
                <c:pt idx="1999">
                  <c:v>41880</c:v>
                </c:pt>
                <c:pt idx="2000">
                  <c:v>41883</c:v>
                </c:pt>
                <c:pt idx="2001">
                  <c:v>41884</c:v>
                </c:pt>
                <c:pt idx="2002">
                  <c:v>41885</c:v>
                </c:pt>
                <c:pt idx="2003">
                  <c:v>41886</c:v>
                </c:pt>
                <c:pt idx="2004">
                  <c:v>41887</c:v>
                </c:pt>
                <c:pt idx="2005">
                  <c:v>41890</c:v>
                </c:pt>
                <c:pt idx="2006">
                  <c:v>41891</c:v>
                </c:pt>
                <c:pt idx="2007">
                  <c:v>41892</c:v>
                </c:pt>
                <c:pt idx="2008">
                  <c:v>41893</c:v>
                </c:pt>
                <c:pt idx="2009">
                  <c:v>41894</c:v>
                </c:pt>
                <c:pt idx="2010">
                  <c:v>41897</c:v>
                </c:pt>
                <c:pt idx="2011">
                  <c:v>41898</c:v>
                </c:pt>
                <c:pt idx="2012">
                  <c:v>41899</c:v>
                </c:pt>
                <c:pt idx="2013">
                  <c:v>41900</c:v>
                </c:pt>
                <c:pt idx="2014">
                  <c:v>41901</c:v>
                </c:pt>
                <c:pt idx="2015">
                  <c:v>41904</c:v>
                </c:pt>
                <c:pt idx="2016">
                  <c:v>41905</c:v>
                </c:pt>
                <c:pt idx="2017">
                  <c:v>41906</c:v>
                </c:pt>
                <c:pt idx="2018">
                  <c:v>41907</c:v>
                </c:pt>
                <c:pt idx="2019">
                  <c:v>41908</c:v>
                </c:pt>
                <c:pt idx="2020">
                  <c:v>41911</c:v>
                </c:pt>
                <c:pt idx="2021">
                  <c:v>41912</c:v>
                </c:pt>
                <c:pt idx="2022">
                  <c:v>41913</c:v>
                </c:pt>
                <c:pt idx="2023">
                  <c:v>41914</c:v>
                </c:pt>
                <c:pt idx="2024">
                  <c:v>41915</c:v>
                </c:pt>
                <c:pt idx="2025">
                  <c:v>41918</c:v>
                </c:pt>
                <c:pt idx="2026">
                  <c:v>41919</c:v>
                </c:pt>
                <c:pt idx="2027">
                  <c:v>41920</c:v>
                </c:pt>
                <c:pt idx="2028">
                  <c:v>41921</c:v>
                </c:pt>
                <c:pt idx="2029">
                  <c:v>41922</c:v>
                </c:pt>
                <c:pt idx="2030">
                  <c:v>41925</c:v>
                </c:pt>
                <c:pt idx="2031">
                  <c:v>41926</c:v>
                </c:pt>
                <c:pt idx="2032">
                  <c:v>41927</c:v>
                </c:pt>
                <c:pt idx="2033">
                  <c:v>41928</c:v>
                </c:pt>
                <c:pt idx="2034">
                  <c:v>41929</c:v>
                </c:pt>
                <c:pt idx="2035">
                  <c:v>41932</c:v>
                </c:pt>
                <c:pt idx="2036">
                  <c:v>41933</c:v>
                </c:pt>
                <c:pt idx="2037">
                  <c:v>41934</c:v>
                </c:pt>
                <c:pt idx="2038">
                  <c:v>41935</c:v>
                </c:pt>
                <c:pt idx="2039">
                  <c:v>41936</c:v>
                </c:pt>
                <c:pt idx="2040">
                  <c:v>41939</c:v>
                </c:pt>
                <c:pt idx="2041">
                  <c:v>41940</c:v>
                </c:pt>
                <c:pt idx="2042">
                  <c:v>41941</c:v>
                </c:pt>
                <c:pt idx="2043">
                  <c:v>41942</c:v>
                </c:pt>
                <c:pt idx="2044">
                  <c:v>41943</c:v>
                </c:pt>
                <c:pt idx="2045">
                  <c:v>41946</c:v>
                </c:pt>
                <c:pt idx="2046">
                  <c:v>41947</c:v>
                </c:pt>
                <c:pt idx="2047">
                  <c:v>41948</c:v>
                </c:pt>
                <c:pt idx="2048">
                  <c:v>41949</c:v>
                </c:pt>
                <c:pt idx="2049">
                  <c:v>41950</c:v>
                </c:pt>
                <c:pt idx="2050">
                  <c:v>41953</c:v>
                </c:pt>
                <c:pt idx="2051">
                  <c:v>41954</c:v>
                </c:pt>
                <c:pt idx="2052">
                  <c:v>41955</c:v>
                </c:pt>
                <c:pt idx="2053">
                  <c:v>41956</c:v>
                </c:pt>
                <c:pt idx="2054">
                  <c:v>41957</c:v>
                </c:pt>
                <c:pt idx="2055">
                  <c:v>41960</c:v>
                </c:pt>
                <c:pt idx="2056">
                  <c:v>41961</c:v>
                </c:pt>
                <c:pt idx="2057">
                  <c:v>41962</c:v>
                </c:pt>
                <c:pt idx="2058">
                  <c:v>41963</c:v>
                </c:pt>
                <c:pt idx="2059">
                  <c:v>41964</c:v>
                </c:pt>
                <c:pt idx="2060">
                  <c:v>41967</c:v>
                </c:pt>
                <c:pt idx="2061">
                  <c:v>41968</c:v>
                </c:pt>
                <c:pt idx="2062">
                  <c:v>41969</c:v>
                </c:pt>
                <c:pt idx="2063">
                  <c:v>41970</c:v>
                </c:pt>
                <c:pt idx="2064">
                  <c:v>41971</c:v>
                </c:pt>
                <c:pt idx="2065">
                  <c:v>41974</c:v>
                </c:pt>
                <c:pt idx="2066">
                  <c:v>41975</c:v>
                </c:pt>
                <c:pt idx="2067">
                  <c:v>41976</c:v>
                </c:pt>
                <c:pt idx="2068">
                  <c:v>41977</c:v>
                </c:pt>
                <c:pt idx="2069">
                  <c:v>41978</c:v>
                </c:pt>
                <c:pt idx="2070">
                  <c:v>41981</c:v>
                </c:pt>
                <c:pt idx="2071">
                  <c:v>41982</c:v>
                </c:pt>
                <c:pt idx="2072">
                  <c:v>41983</c:v>
                </c:pt>
                <c:pt idx="2073">
                  <c:v>41984</c:v>
                </c:pt>
                <c:pt idx="2074">
                  <c:v>41985</c:v>
                </c:pt>
                <c:pt idx="2075">
                  <c:v>41988</c:v>
                </c:pt>
                <c:pt idx="2076">
                  <c:v>41989</c:v>
                </c:pt>
                <c:pt idx="2077">
                  <c:v>41990</c:v>
                </c:pt>
                <c:pt idx="2078">
                  <c:v>41991</c:v>
                </c:pt>
                <c:pt idx="2079">
                  <c:v>41992</c:v>
                </c:pt>
                <c:pt idx="2080">
                  <c:v>41995</c:v>
                </c:pt>
                <c:pt idx="2081">
                  <c:v>41996</c:v>
                </c:pt>
                <c:pt idx="2082">
                  <c:v>41997</c:v>
                </c:pt>
                <c:pt idx="2083">
                  <c:v>41998</c:v>
                </c:pt>
                <c:pt idx="2084">
                  <c:v>41999</c:v>
                </c:pt>
                <c:pt idx="2085">
                  <c:v>42002</c:v>
                </c:pt>
                <c:pt idx="2086">
                  <c:v>42003</c:v>
                </c:pt>
                <c:pt idx="2087">
                  <c:v>42004</c:v>
                </c:pt>
                <c:pt idx="2088">
                  <c:v>42005</c:v>
                </c:pt>
                <c:pt idx="2089">
                  <c:v>42006</c:v>
                </c:pt>
                <c:pt idx="2090">
                  <c:v>42009</c:v>
                </c:pt>
                <c:pt idx="2091">
                  <c:v>42010</c:v>
                </c:pt>
                <c:pt idx="2092">
                  <c:v>42011</c:v>
                </c:pt>
                <c:pt idx="2093">
                  <c:v>42012</c:v>
                </c:pt>
                <c:pt idx="2094">
                  <c:v>42013</c:v>
                </c:pt>
                <c:pt idx="2095">
                  <c:v>42016</c:v>
                </c:pt>
                <c:pt idx="2096">
                  <c:v>42017</c:v>
                </c:pt>
                <c:pt idx="2097">
                  <c:v>42018</c:v>
                </c:pt>
                <c:pt idx="2098">
                  <c:v>42019</c:v>
                </c:pt>
                <c:pt idx="2099">
                  <c:v>42020</c:v>
                </c:pt>
                <c:pt idx="2100">
                  <c:v>42023</c:v>
                </c:pt>
                <c:pt idx="2101">
                  <c:v>42024</c:v>
                </c:pt>
                <c:pt idx="2102">
                  <c:v>42025</c:v>
                </c:pt>
                <c:pt idx="2103">
                  <c:v>42026</c:v>
                </c:pt>
                <c:pt idx="2104">
                  <c:v>42027</c:v>
                </c:pt>
                <c:pt idx="2105">
                  <c:v>42030</c:v>
                </c:pt>
                <c:pt idx="2106">
                  <c:v>42031</c:v>
                </c:pt>
                <c:pt idx="2107">
                  <c:v>42032</c:v>
                </c:pt>
                <c:pt idx="2108">
                  <c:v>42033</c:v>
                </c:pt>
                <c:pt idx="2109">
                  <c:v>42034</c:v>
                </c:pt>
                <c:pt idx="2110">
                  <c:v>42037</c:v>
                </c:pt>
                <c:pt idx="2111">
                  <c:v>42038</c:v>
                </c:pt>
                <c:pt idx="2112">
                  <c:v>42039</c:v>
                </c:pt>
                <c:pt idx="2113">
                  <c:v>42040</c:v>
                </c:pt>
                <c:pt idx="2114">
                  <c:v>42041</c:v>
                </c:pt>
                <c:pt idx="2115">
                  <c:v>42044</c:v>
                </c:pt>
                <c:pt idx="2116">
                  <c:v>42045</c:v>
                </c:pt>
                <c:pt idx="2117">
                  <c:v>42046</c:v>
                </c:pt>
                <c:pt idx="2118">
                  <c:v>42047</c:v>
                </c:pt>
                <c:pt idx="2119">
                  <c:v>42048</c:v>
                </c:pt>
                <c:pt idx="2120">
                  <c:v>42051</c:v>
                </c:pt>
                <c:pt idx="2121">
                  <c:v>42052</c:v>
                </c:pt>
                <c:pt idx="2122">
                  <c:v>42053</c:v>
                </c:pt>
                <c:pt idx="2123">
                  <c:v>42054</c:v>
                </c:pt>
                <c:pt idx="2124">
                  <c:v>42055</c:v>
                </c:pt>
                <c:pt idx="2125">
                  <c:v>42058</c:v>
                </c:pt>
                <c:pt idx="2126">
                  <c:v>42059</c:v>
                </c:pt>
                <c:pt idx="2127">
                  <c:v>42060</c:v>
                </c:pt>
                <c:pt idx="2128">
                  <c:v>42061</c:v>
                </c:pt>
                <c:pt idx="2129">
                  <c:v>42062</c:v>
                </c:pt>
                <c:pt idx="2130">
                  <c:v>42065</c:v>
                </c:pt>
                <c:pt idx="2131">
                  <c:v>42066</c:v>
                </c:pt>
                <c:pt idx="2132">
                  <c:v>42067</c:v>
                </c:pt>
                <c:pt idx="2133">
                  <c:v>42068</c:v>
                </c:pt>
                <c:pt idx="2134">
                  <c:v>42069</c:v>
                </c:pt>
                <c:pt idx="2135">
                  <c:v>42072</c:v>
                </c:pt>
                <c:pt idx="2136">
                  <c:v>42073</c:v>
                </c:pt>
                <c:pt idx="2137">
                  <c:v>42074</c:v>
                </c:pt>
                <c:pt idx="2138">
                  <c:v>42075</c:v>
                </c:pt>
                <c:pt idx="2139">
                  <c:v>42076</c:v>
                </c:pt>
                <c:pt idx="2140">
                  <c:v>42079</c:v>
                </c:pt>
                <c:pt idx="2141">
                  <c:v>42080</c:v>
                </c:pt>
                <c:pt idx="2142">
                  <c:v>42081</c:v>
                </c:pt>
                <c:pt idx="2143">
                  <c:v>42082</c:v>
                </c:pt>
                <c:pt idx="2144">
                  <c:v>42083</c:v>
                </c:pt>
                <c:pt idx="2145">
                  <c:v>42086</c:v>
                </c:pt>
                <c:pt idx="2146">
                  <c:v>42087</c:v>
                </c:pt>
                <c:pt idx="2147">
                  <c:v>42088</c:v>
                </c:pt>
                <c:pt idx="2148">
                  <c:v>42089</c:v>
                </c:pt>
                <c:pt idx="2149">
                  <c:v>42090</c:v>
                </c:pt>
                <c:pt idx="2150">
                  <c:v>42093</c:v>
                </c:pt>
                <c:pt idx="2151">
                  <c:v>42094</c:v>
                </c:pt>
                <c:pt idx="2152">
                  <c:v>42095</c:v>
                </c:pt>
                <c:pt idx="2153">
                  <c:v>42096</c:v>
                </c:pt>
                <c:pt idx="2154">
                  <c:v>42097</c:v>
                </c:pt>
                <c:pt idx="2155">
                  <c:v>42100</c:v>
                </c:pt>
                <c:pt idx="2156">
                  <c:v>42101</c:v>
                </c:pt>
                <c:pt idx="2157">
                  <c:v>42102</c:v>
                </c:pt>
                <c:pt idx="2158">
                  <c:v>42103</c:v>
                </c:pt>
                <c:pt idx="2159">
                  <c:v>42104</c:v>
                </c:pt>
                <c:pt idx="2160">
                  <c:v>42107</c:v>
                </c:pt>
                <c:pt idx="2161">
                  <c:v>42108</c:v>
                </c:pt>
                <c:pt idx="2162">
                  <c:v>42109</c:v>
                </c:pt>
                <c:pt idx="2163">
                  <c:v>42110</c:v>
                </c:pt>
                <c:pt idx="2164">
                  <c:v>42111</c:v>
                </c:pt>
                <c:pt idx="2165">
                  <c:v>42114</c:v>
                </c:pt>
                <c:pt idx="2166">
                  <c:v>42115</c:v>
                </c:pt>
                <c:pt idx="2167">
                  <c:v>42116</c:v>
                </c:pt>
                <c:pt idx="2168">
                  <c:v>42117</c:v>
                </c:pt>
                <c:pt idx="2169">
                  <c:v>42118</c:v>
                </c:pt>
                <c:pt idx="2170">
                  <c:v>42121</c:v>
                </c:pt>
                <c:pt idx="2171">
                  <c:v>42122</c:v>
                </c:pt>
                <c:pt idx="2172">
                  <c:v>42123</c:v>
                </c:pt>
                <c:pt idx="2173">
                  <c:v>42124</c:v>
                </c:pt>
                <c:pt idx="2174">
                  <c:v>42125</c:v>
                </c:pt>
                <c:pt idx="2175">
                  <c:v>42128</c:v>
                </c:pt>
                <c:pt idx="2176">
                  <c:v>42129</c:v>
                </c:pt>
                <c:pt idx="2177">
                  <c:v>42130</c:v>
                </c:pt>
                <c:pt idx="2178">
                  <c:v>42131</c:v>
                </c:pt>
                <c:pt idx="2179">
                  <c:v>42132</c:v>
                </c:pt>
                <c:pt idx="2180">
                  <c:v>42135</c:v>
                </c:pt>
                <c:pt idx="2181">
                  <c:v>42136</c:v>
                </c:pt>
                <c:pt idx="2182">
                  <c:v>42137</c:v>
                </c:pt>
                <c:pt idx="2183">
                  <c:v>42138</c:v>
                </c:pt>
                <c:pt idx="2184">
                  <c:v>42139</c:v>
                </c:pt>
                <c:pt idx="2185">
                  <c:v>42142</c:v>
                </c:pt>
                <c:pt idx="2186">
                  <c:v>42143</c:v>
                </c:pt>
                <c:pt idx="2187">
                  <c:v>42144</c:v>
                </c:pt>
                <c:pt idx="2188">
                  <c:v>42145</c:v>
                </c:pt>
                <c:pt idx="2189">
                  <c:v>42146</c:v>
                </c:pt>
                <c:pt idx="2190">
                  <c:v>42149</c:v>
                </c:pt>
                <c:pt idx="2191">
                  <c:v>42150</c:v>
                </c:pt>
                <c:pt idx="2192">
                  <c:v>42151</c:v>
                </c:pt>
                <c:pt idx="2193">
                  <c:v>42152</c:v>
                </c:pt>
                <c:pt idx="2194">
                  <c:v>42153</c:v>
                </c:pt>
                <c:pt idx="2195">
                  <c:v>42156</c:v>
                </c:pt>
                <c:pt idx="2196">
                  <c:v>42157</c:v>
                </c:pt>
                <c:pt idx="2197">
                  <c:v>42158</c:v>
                </c:pt>
                <c:pt idx="2198">
                  <c:v>42159</c:v>
                </c:pt>
                <c:pt idx="2199">
                  <c:v>42160</c:v>
                </c:pt>
                <c:pt idx="2200">
                  <c:v>42163</c:v>
                </c:pt>
                <c:pt idx="2201">
                  <c:v>42164</c:v>
                </c:pt>
                <c:pt idx="2202">
                  <c:v>42165</c:v>
                </c:pt>
                <c:pt idx="2203">
                  <c:v>42166</c:v>
                </c:pt>
                <c:pt idx="2204">
                  <c:v>42167</c:v>
                </c:pt>
                <c:pt idx="2205">
                  <c:v>42170</c:v>
                </c:pt>
                <c:pt idx="2206">
                  <c:v>42171</c:v>
                </c:pt>
                <c:pt idx="2207">
                  <c:v>42172</c:v>
                </c:pt>
                <c:pt idx="2208">
                  <c:v>42173</c:v>
                </c:pt>
                <c:pt idx="2209">
                  <c:v>42174</c:v>
                </c:pt>
                <c:pt idx="2210">
                  <c:v>42177</c:v>
                </c:pt>
                <c:pt idx="2211">
                  <c:v>42178</c:v>
                </c:pt>
                <c:pt idx="2212">
                  <c:v>42179</c:v>
                </c:pt>
                <c:pt idx="2213">
                  <c:v>42180</c:v>
                </c:pt>
                <c:pt idx="2214">
                  <c:v>42181</c:v>
                </c:pt>
                <c:pt idx="2215">
                  <c:v>42184</c:v>
                </c:pt>
                <c:pt idx="2216">
                  <c:v>42185</c:v>
                </c:pt>
                <c:pt idx="2217">
                  <c:v>42186</c:v>
                </c:pt>
                <c:pt idx="2218">
                  <c:v>42187</c:v>
                </c:pt>
                <c:pt idx="2219">
                  <c:v>42188</c:v>
                </c:pt>
                <c:pt idx="2220">
                  <c:v>42191</c:v>
                </c:pt>
                <c:pt idx="2221">
                  <c:v>42192</c:v>
                </c:pt>
                <c:pt idx="2222">
                  <c:v>42193</c:v>
                </c:pt>
                <c:pt idx="2223">
                  <c:v>42194</c:v>
                </c:pt>
                <c:pt idx="2224">
                  <c:v>42195</c:v>
                </c:pt>
                <c:pt idx="2225">
                  <c:v>42198</c:v>
                </c:pt>
                <c:pt idx="2226">
                  <c:v>42199</c:v>
                </c:pt>
                <c:pt idx="2227">
                  <c:v>42200</c:v>
                </c:pt>
                <c:pt idx="2228">
                  <c:v>42201</c:v>
                </c:pt>
                <c:pt idx="2229">
                  <c:v>42202</c:v>
                </c:pt>
                <c:pt idx="2230">
                  <c:v>42205</c:v>
                </c:pt>
                <c:pt idx="2231">
                  <c:v>42206</c:v>
                </c:pt>
                <c:pt idx="2232">
                  <c:v>42207</c:v>
                </c:pt>
                <c:pt idx="2233">
                  <c:v>42208</c:v>
                </c:pt>
                <c:pt idx="2234">
                  <c:v>42209</c:v>
                </c:pt>
                <c:pt idx="2235">
                  <c:v>42212</c:v>
                </c:pt>
                <c:pt idx="2236">
                  <c:v>42213</c:v>
                </c:pt>
                <c:pt idx="2237">
                  <c:v>42214</c:v>
                </c:pt>
                <c:pt idx="2238">
                  <c:v>42215</c:v>
                </c:pt>
                <c:pt idx="2239">
                  <c:v>42216</c:v>
                </c:pt>
                <c:pt idx="2240">
                  <c:v>42219</c:v>
                </c:pt>
                <c:pt idx="2241">
                  <c:v>42220</c:v>
                </c:pt>
                <c:pt idx="2242">
                  <c:v>42221</c:v>
                </c:pt>
                <c:pt idx="2243">
                  <c:v>42222</c:v>
                </c:pt>
                <c:pt idx="2244">
                  <c:v>42223</c:v>
                </c:pt>
                <c:pt idx="2245">
                  <c:v>42226</c:v>
                </c:pt>
                <c:pt idx="2246">
                  <c:v>42227</c:v>
                </c:pt>
                <c:pt idx="2247">
                  <c:v>42228</c:v>
                </c:pt>
                <c:pt idx="2248">
                  <c:v>42229</c:v>
                </c:pt>
                <c:pt idx="2249">
                  <c:v>42230</c:v>
                </c:pt>
                <c:pt idx="2250">
                  <c:v>42233</c:v>
                </c:pt>
                <c:pt idx="2251">
                  <c:v>42234</c:v>
                </c:pt>
                <c:pt idx="2252">
                  <c:v>42235</c:v>
                </c:pt>
                <c:pt idx="2253">
                  <c:v>42236</c:v>
                </c:pt>
                <c:pt idx="2254">
                  <c:v>42237</c:v>
                </c:pt>
                <c:pt idx="2255">
                  <c:v>42240</c:v>
                </c:pt>
                <c:pt idx="2256">
                  <c:v>42241</c:v>
                </c:pt>
                <c:pt idx="2257">
                  <c:v>42242</c:v>
                </c:pt>
                <c:pt idx="2258">
                  <c:v>42243</c:v>
                </c:pt>
                <c:pt idx="2259">
                  <c:v>42244</c:v>
                </c:pt>
                <c:pt idx="2260">
                  <c:v>42247</c:v>
                </c:pt>
                <c:pt idx="2261">
                  <c:v>42248</c:v>
                </c:pt>
                <c:pt idx="2262">
                  <c:v>42249</c:v>
                </c:pt>
                <c:pt idx="2263">
                  <c:v>42250</c:v>
                </c:pt>
                <c:pt idx="2264">
                  <c:v>42251</c:v>
                </c:pt>
                <c:pt idx="2265">
                  <c:v>42254</c:v>
                </c:pt>
                <c:pt idx="2266">
                  <c:v>42255</c:v>
                </c:pt>
                <c:pt idx="2267">
                  <c:v>42256</c:v>
                </c:pt>
                <c:pt idx="2268">
                  <c:v>42257</c:v>
                </c:pt>
                <c:pt idx="2269">
                  <c:v>42258</c:v>
                </c:pt>
                <c:pt idx="2270">
                  <c:v>42261</c:v>
                </c:pt>
                <c:pt idx="2271">
                  <c:v>42262</c:v>
                </c:pt>
                <c:pt idx="2272">
                  <c:v>42263</c:v>
                </c:pt>
                <c:pt idx="2273">
                  <c:v>42264</c:v>
                </c:pt>
                <c:pt idx="2274">
                  <c:v>42265</c:v>
                </c:pt>
                <c:pt idx="2275">
                  <c:v>42268</c:v>
                </c:pt>
                <c:pt idx="2276">
                  <c:v>42269</c:v>
                </c:pt>
                <c:pt idx="2277">
                  <c:v>42270</c:v>
                </c:pt>
                <c:pt idx="2278">
                  <c:v>42271</c:v>
                </c:pt>
                <c:pt idx="2279">
                  <c:v>42272</c:v>
                </c:pt>
                <c:pt idx="2280">
                  <c:v>42275</c:v>
                </c:pt>
                <c:pt idx="2281">
                  <c:v>42276</c:v>
                </c:pt>
                <c:pt idx="2282">
                  <c:v>42277</c:v>
                </c:pt>
                <c:pt idx="2283">
                  <c:v>42278</c:v>
                </c:pt>
                <c:pt idx="2284">
                  <c:v>42279</c:v>
                </c:pt>
                <c:pt idx="2285">
                  <c:v>42282</c:v>
                </c:pt>
                <c:pt idx="2286">
                  <c:v>42283</c:v>
                </c:pt>
                <c:pt idx="2287">
                  <c:v>42284</c:v>
                </c:pt>
                <c:pt idx="2288">
                  <c:v>42285</c:v>
                </c:pt>
                <c:pt idx="2289">
                  <c:v>42286</c:v>
                </c:pt>
                <c:pt idx="2290">
                  <c:v>42289</c:v>
                </c:pt>
                <c:pt idx="2291">
                  <c:v>42290</c:v>
                </c:pt>
                <c:pt idx="2292">
                  <c:v>42291</c:v>
                </c:pt>
                <c:pt idx="2293">
                  <c:v>42292</c:v>
                </c:pt>
                <c:pt idx="2294">
                  <c:v>42293</c:v>
                </c:pt>
                <c:pt idx="2295">
                  <c:v>42296</c:v>
                </c:pt>
                <c:pt idx="2296">
                  <c:v>42297</c:v>
                </c:pt>
                <c:pt idx="2297">
                  <c:v>42298</c:v>
                </c:pt>
                <c:pt idx="2298">
                  <c:v>42299</c:v>
                </c:pt>
                <c:pt idx="2299">
                  <c:v>42300</c:v>
                </c:pt>
                <c:pt idx="2300">
                  <c:v>42303</c:v>
                </c:pt>
                <c:pt idx="2301">
                  <c:v>42304</c:v>
                </c:pt>
                <c:pt idx="2302">
                  <c:v>42305</c:v>
                </c:pt>
                <c:pt idx="2303">
                  <c:v>42306</c:v>
                </c:pt>
                <c:pt idx="2304">
                  <c:v>42307</c:v>
                </c:pt>
                <c:pt idx="2305">
                  <c:v>42310</c:v>
                </c:pt>
                <c:pt idx="2306">
                  <c:v>42311</c:v>
                </c:pt>
                <c:pt idx="2307">
                  <c:v>42312</c:v>
                </c:pt>
                <c:pt idx="2308">
                  <c:v>42313</c:v>
                </c:pt>
                <c:pt idx="2309">
                  <c:v>42314</c:v>
                </c:pt>
                <c:pt idx="2310">
                  <c:v>42317</c:v>
                </c:pt>
                <c:pt idx="2311">
                  <c:v>42318</c:v>
                </c:pt>
                <c:pt idx="2312">
                  <c:v>42319</c:v>
                </c:pt>
                <c:pt idx="2313">
                  <c:v>42320</c:v>
                </c:pt>
                <c:pt idx="2314">
                  <c:v>42321</c:v>
                </c:pt>
                <c:pt idx="2315">
                  <c:v>42324</c:v>
                </c:pt>
                <c:pt idx="2316">
                  <c:v>42325</c:v>
                </c:pt>
                <c:pt idx="2317">
                  <c:v>42326</c:v>
                </c:pt>
                <c:pt idx="2318">
                  <c:v>42327</c:v>
                </c:pt>
                <c:pt idx="2319">
                  <c:v>42328</c:v>
                </c:pt>
                <c:pt idx="2320">
                  <c:v>42331</c:v>
                </c:pt>
                <c:pt idx="2321">
                  <c:v>42332</c:v>
                </c:pt>
                <c:pt idx="2322">
                  <c:v>42333</c:v>
                </c:pt>
                <c:pt idx="2323">
                  <c:v>42334</c:v>
                </c:pt>
                <c:pt idx="2324">
                  <c:v>42335</c:v>
                </c:pt>
                <c:pt idx="2325">
                  <c:v>42338</c:v>
                </c:pt>
                <c:pt idx="2326">
                  <c:v>42339</c:v>
                </c:pt>
                <c:pt idx="2327">
                  <c:v>42340</c:v>
                </c:pt>
                <c:pt idx="2328">
                  <c:v>42341</c:v>
                </c:pt>
                <c:pt idx="2329">
                  <c:v>42342</c:v>
                </c:pt>
                <c:pt idx="2330">
                  <c:v>42345</c:v>
                </c:pt>
                <c:pt idx="2331">
                  <c:v>42346</c:v>
                </c:pt>
                <c:pt idx="2332">
                  <c:v>42347</c:v>
                </c:pt>
                <c:pt idx="2333">
                  <c:v>42348</c:v>
                </c:pt>
                <c:pt idx="2334">
                  <c:v>42349</c:v>
                </c:pt>
                <c:pt idx="2335">
                  <c:v>42352</c:v>
                </c:pt>
                <c:pt idx="2336">
                  <c:v>42353</c:v>
                </c:pt>
                <c:pt idx="2337">
                  <c:v>42354</c:v>
                </c:pt>
                <c:pt idx="2338">
                  <c:v>42355</c:v>
                </c:pt>
                <c:pt idx="2339">
                  <c:v>42356</c:v>
                </c:pt>
                <c:pt idx="2340">
                  <c:v>42359</c:v>
                </c:pt>
                <c:pt idx="2341">
                  <c:v>42360</c:v>
                </c:pt>
                <c:pt idx="2342">
                  <c:v>42361</c:v>
                </c:pt>
                <c:pt idx="2343">
                  <c:v>42362</c:v>
                </c:pt>
                <c:pt idx="2344">
                  <c:v>42363</c:v>
                </c:pt>
                <c:pt idx="2345">
                  <c:v>42366</c:v>
                </c:pt>
                <c:pt idx="2346">
                  <c:v>42367</c:v>
                </c:pt>
                <c:pt idx="2347">
                  <c:v>42368</c:v>
                </c:pt>
                <c:pt idx="2348">
                  <c:v>42369</c:v>
                </c:pt>
                <c:pt idx="2349">
                  <c:v>42370</c:v>
                </c:pt>
                <c:pt idx="2350">
                  <c:v>42373</c:v>
                </c:pt>
                <c:pt idx="2351">
                  <c:v>42374</c:v>
                </c:pt>
                <c:pt idx="2352">
                  <c:v>42375</c:v>
                </c:pt>
                <c:pt idx="2353">
                  <c:v>42376</c:v>
                </c:pt>
                <c:pt idx="2354">
                  <c:v>42377</c:v>
                </c:pt>
                <c:pt idx="2355">
                  <c:v>42380</c:v>
                </c:pt>
                <c:pt idx="2356">
                  <c:v>42381</c:v>
                </c:pt>
                <c:pt idx="2357">
                  <c:v>42382</c:v>
                </c:pt>
                <c:pt idx="2358">
                  <c:v>42383</c:v>
                </c:pt>
                <c:pt idx="2359">
                  <c:v>42384</c:v>
                </c:pt>
                <c:pt idx="2360">
                  <c:v>42387</c:v>
                </c:pt>
                <c:pt idx="2361">
                  <c:v>42388</c:v>
                </c:pt>
                <c:pt idx="2362">
                  <c:v>42389</c:v>
                </c:pt>
                <c:pt idx="2363">
                  <c:v>42390</c:v>
                </c:pt>
                <c:pt idx="2364">
                  <c:v>42391</c:v>
                </c:pt>
                <c:pt idx="2365">
                  <c:v>42394</c:v>
                </c:pt>
                <c:pt idx="2366">
                  <c:v>42395</c:v>
                </c:pt>
                <c:pt idx="2367">
                  <c:v>42396</c:v>
                </c:pt>
                <c:pt idx="2368">
                  <c:v>42397</c:v>
                </c:pt>
                <c:pt idx="2369">
                  <c:v>42398</c:v>
                </c:pt>
                <c:pt idx="2370">
                  <c:v>42401</c:v>
                </c:pt>
                <c:pt idx="2371">
                  <c:v>42402</c:v>
                </c:pt>
                <c:pt idx="2372">
                  <c:v>42403</c:v>
                </c:pt>
                <c:pt idx="2373">
                  <c:v>42404</c:v>
                </c:pt>
                <c:pt idx="2374">
                  <c:v>42405</c:v>
                </c:pt>
                <c:pt idx="2375">
                  <c:v>42408</c:v>
                </c:pt>
                <c:pt idx="2376">
                  <c:v>42409</c:v>
                </c:pt>
                <c:pt idx="2377">
                  <c:v>42410</c:v>
                </c:pt>
                <c:pt idx="2378">
                  <c:v>42411</c:v>
                </c:pt>
                <c:pt idx="2379">
                  <c:v>42412</c:v>
                </c:pt>
                <c:pt idx="2380">
                  <c:v>42415</c:v>
                </c:pt>
                <c:pt idx="2381">
                  <c:v>42416</c:v>
                </c:pt>
                <c:pt idx="2382">
                  <c:v>42417</c:v>
                </c:pt>
                <c:pt idx="2383">
                  <c:v>42418</c:v>
                </c:pt>
                <c:pt idx="2384">
                  <c:v>42419</c:v>
                </c:pt>
                <c:pt idx="2385">
                  <c:v>42422</c:v>
                </c:pt>
                <c:pt idx="2386">
                  <c:v>42423</c:v>
                </c:pt>
                <c:pt idx="2387">
                  <c:v>42424</c:v>
                </c:pt>
                <c:pt idx="2388">
                  <c:v>42425</c:v>
                </c:pt>
                <c:pt idx="2389">
                  <c:v>42426</c:v>
                </c:pt>
                <c:pt idx="2390">
                  <c:v>42429</c:v>
                </c:pt>
                <c:pt idx="2391">
                  <c:v>42430</c:v>
                </c:pt>
                <c:pt idx="2392">
                  <c:v>42431</c:v>
                </c:pt>
                <c:pt idx="2393">
                  <c:v>42432</c:v>
                </c:pt>
                <c:pt idx="2394">
                  <c:v>42433</c:v>
                </c:pt>
                <c:pt idx="2395">
                  <c:v>42436</c:v>
                </c:pt>
                <c:pt idx="2396">
                  <c:v>42437</c:v>
                </c:pt>
                <c:pt idx="2397">
                  <c:v>42438</c:v>
                </c:pt>
                <c:pt idx="2398">
                  <c:v>42439</c:v>
                </c:pt>
                <c:pt idx="2399">
                  <c:v>42440</c:v>
                </c:pt>
                <c:pt idx="2400">
                  <c:v>42443</c:v>
                </c:pt>
                <c:pt idx="2401">
                  <c:v>42444</c:v>
                </c:pt>
                <c:pt idx="2402">
                  <c:v>42445</c:v>
                </c:pt>
                <c:pt idx="2403">
                  <c:v>42446</c:v>
                </c:pt>
                <c:pt idx="2404">
                  <c:v>42447</c:v>
                </c:pt>
                <c:pt idx="2405">
                  <c:v>42450</c:v>
                </c:pt>
                <c:pt idx="2406">
                  <c:v>42451</c:v>
                </c:pt>
                <c:pt idx="2407">
                  <c:v>42452</c:v>
                </c:pt>
                <c:pt idx="2408">
                  <c:v>42453</c:v>
                </c:pt>
                <c:pt idx="2409">
                  <c:v>42454</c:v>
                </c:pt>
                <c:pt idx="2410">
                  <c:v>42457</c:v>
                </c:pt>
                <c:pt idx="2411">
                  <c:v>42458</c:v>
                </c:pt>
                <c:pt idx="2412">
                  <c:v>42459</c:v>
                </c:pt>
                <c:pt idx="2413">
                  <c:v>42460</c:v>
                </c:pt>
                <c:pt idx="2414">
                  <c:v>42461</c:v>
                </c:pt>
                <c:pt idx="2415">
                  <c:v>42464</c:v>
                </c:pt>
                <c:pt idx="2416">
                  <c:v>42465</c:v>
                </c:pt>
                <c:pt idx="2417">
                  <c:v>42466</c:v>
                </c:pt>
                <c:pt idx="2418">
                  <c:v>42467</c:v>
                </c:pt>
                <c:pt idx="2419">
                  <c:v>42468</c:v>
                </c:pt>
                <c:pt idx="2420">
                  <c:v>42471</c:v>
                </c:pt>
                <c:pt idx="2421">
                  <c:v>42472</c:v>
                </c:pt>
                <c:pt idx="2422">
                  <c:v>42473</c:v>
                </c:pt>
                <c:pt idx="2423">
                  <c:v>42474</c:v>
                </c:pt>
                <c:pt idx="2424">
                  <c:v>42475</c:v>
                </c:pt>
                <c:pt idx="2425">
                  <c:v>42478</c:v>
                </c:pt>
                <c:pt idx="2426">
                  <c:v>42479</c:v>
                </c:pt>
                <c:pt idx="2427">
                  <c:v>42480</c:v>
                </c:pt>
                <c:pt idx="2428">
                  <c:v>42481</c:v>
                </c:pt>
                <c:pt idx="2429">
                  <c:v>42482</c:v>
                </c:pt>
                <c:pt idx="2430">
                  <c:v>42485</c:v>
                </c:pt>
                <c:pt idx="2431">
                  <c:v>42486</c:v>
                </c:pt>
                <c:pt idx="2432">
                  <c:v>42487</c:v>
                </c:pt>
                <c:pt idx="2433">
                  <c:v>42488</c:v>
                </c:pt>
                <c:pt idx="2434">
                  <c:v>42489</c:v>
                </c:pt>
                <c:pt idx="2435">
                  <c:v>42492</c:v>
                </c:pt>
                <c:pt idx="2436">
                  <c:v>42493</c:v>
                </c:pt>
                <c:pt idx="2437">
                  <c:v>42494</c:v>
                </c:pt>
                <c:pt idx="2438">
                  <c:v>42495</c:v>
                </c:pt>
                <c:pt idx="2439">
                  <c:v>42496</c:v>
                </c:pt>
                <c:pt idx="2440">
                  <c:v>42499</c:v>
                </c:pt>
                <c:pt idx="2441">
                  <c:v>42500</c:v>
                </c:pt>
                <c:pt idx="2442">
                  <c:v>42501</c:v>
                </c:pt>
                <c:pt idx="2443">
                  <c:v>42502</c:v>
                </c:pt>
                <c:pt idx="2444">
                  <c:v>42503</c:v>
                </c:pt>
                <c:pt idx="2445">
                  <c:v>42506</c:v>
                </c:pt>
                <c:pt idx="2446">
                  <c:v>42507</c:v>
                </c:pt>
                <c:pt idx="2447">
                  <c:v>42508</c:v>
                </c:pt>
                <c:pt idx="2448">
                  <c:v>42509</c:v>
                </c:pt>
                <c:pt idx="2449">
                  <c:v>42510</c:v>
                </c:pt>
                <c:pt idx="2450">
                  <c:v>42513</c:v>
                </c:pt>
                <c:pt idx="2451">
                  <c:v>42514</c:v>
                </c:pt>
                <c:pt idx="2452">
                  <c:v>42515</c:v>
                </c:pt>
                <c:pt idx="2453">
                  <c:v>42516</c:v>
                </c:pt>
                <c:pt idx="2454">
                  <c:v>42517</c:v>
                </c:pt>
                <c:pt idx="2455">
                  <c:v>42520</c:v>
                </c:pt>
                <c:pt idx="2456">
                  <c:v>42521</c:v>
                </c:pt>
                <c:pt idx="2457">
                  <c:v>42522</c:v>
                </c:pt>
                <c:pt idx="2458">
                  <c:v>42523</c:v>
                </c:pt>
                <c:pt idx="2459">
                  <c:v>42524</c:v>
                </c:pt>
                <c:pt idx="2460">
                  <c:v>42527</c:v>
                </c:pt>
                <c:pt idx="2461">
                  <c:v>42528</c:v>
                </c:pt>
                <c:pt idx="2462">
                  <c:v>42529</c:v>
                </c:pt>
                <c:pt idx="2463">
                  <c:v>42530</c:v>
                </c:pt>
                <c:pt idx="2464">
                  <c:v>42531</c:v>
                </c:pt>
                <c:pt idx="2465">
                  <c:v>42534</c:v>
                </c:pt>
                <c:pt idx="2466">
                  <c:v>42535</c:v>
                </c:pt>
                <c:pt idx="2467">
                  <c:v>42536</c:v>
                </c:pt>
                <c:pt idx="2468">
                  <c:v>42537</c:v>
                </c:pt>
                <c:pt idx="2469">
                  <c:v>42538</c:v>
                </c:pt>
                <c:pt idx="2470">
                  <c:v>42541</c:v>
                </c:pt>
                <c:pt idx="2471">
                  <c:v>42542</c:v>
                </c:pt>
                <c:pt idx="2472">
                  <c:v>42543</c:v>
                </c:pt>
                <c:pt idx="2473">
                  <c:v>42544</c:v>
                </c:pt>
                <c:pt idx="2474">
                  <c:v>42545</c:v>
                </c:pt>
                <c:pt idx="2475">
                  <c:v>42548</c:v>
                </c:pt>
                <c:pt idx="2476">
                  <c:v>42549</c:v>
                </c:pt>
                <c:pt idx="2477">
                  <c:v>42550</c:v>
                </c:pt>
                <c:pt idx="2478">
                  <c:v>42551</c:v>
                </c:pt>
                <c:pt idx="2479">
                  <c:v>42552</c:v>
                </c:pt>
                <c:pt idx="2480">
                  <c:v>42555</c:v>
                </c:pt>
                <c:pt idx="2481">
                  <c:v>42556</c:v>
                </c:pt>
                <c:pt idx="2482">
                  <c:v>42557</c:v>
                </c:pt>
                <c:pt idx="2483">
                  <c:v>42558</c:v>
                </c:pt>
                <c:pt idx="2484">
                  <c:v>42559</c:v>
                </c:pt>
                <c:pt idx="2485">
                  <c:v>42562</c:v>
                </c:pt>
                <c:pt idx="2486">
                  <c:v>42563</c:v>
                </c:pt>
                <c:pt idx="2487">
                  <c:v>42564</c:v>
                </c:pt>
                <c:pt idx="2488">
                  <c:v>42565</c:v>
                </c:pt>
                <c:pt idx="2489">
                  <c:v>42566</c:v>
                </c:pt>
                <c:pt idx="2490">
                  <c:v>42569</c:v>
                </c:pt>
                <c:pt idx="2491">
                  <c:v>42570</c:v>
                </c:pt>
                <c:pt idx="2492">
                  <c:v>42571</c:v>
                </c:pt>
                <c:pt idx="2493">
                  <c:v>42572</c:v>
                </c:pt>
                <c:pt idx="2494">
                  <c:v>42573</c:v>
                </c:pt>
                <c:pt idx="2495">
                  <c:v>42576</c:v>
                </c:pt>
                <c:pt idx="2496">
                  <c:v>42577</c:v>
                </c:pt>
                <c:pt idx="2497">
                  <c:v>42578</c:v>
                </c:pt>
                <c:pt idx="2498">
                  <c:v>42579</c:v>
                </c:pt>
                <c:pt idx="2499">
                  <c:v>42580</c:v>
                </c:pt>
                <c:pt idx="2500">
                  <c:v>42583</c:v>
                </c:pt>
                <c:pt idx="2501">
                  <c:v>42584</c:v>
                </c:pt>
                <c:pt idx="2502">
                  <c:v>42585</c:v>
                </c:pt>
                <c:pt idx="2503">
                  <c:v>42586</c:v>
                </c:pt>
                <c:pt idx="2504">
                  <c:v>42587</c:v>
                </c:pt>
                <c:pt idx="2505">
                  <c:v>42590</c:v>
                </c:pt>
                <c:pt idx="2506">
                  <c:v>42591</c:v>
                </c:pt>
                <c:pt idx="2507">
                  <c:v>42592</c:v>
                </c:pt>
                <c:pt idx="2508">
                  <c:v>42593</c:v>
                </c:pt>
                <c:pt idx="2509">
                  <c:v>42594</c:v>
                </c:pt>
                <c:pt idx="2510">
                  <c:v>42597</c:v>
                </c:pt>
                <c:pt idx="2511">
                  <c:v>42598</c:v>
                </c:pt>
                <c:pt idx="2512">
                  <c:v>42599</c:v>
                </c:pt>
                <c:pt idx="2513">
                  <c:v>42600</c:v>
                </c:pt>
                <c:pt idx="2514">
                  <c:v>42601</c:v>
                </c:pt>
                <c:pt idx="2515">
                  <c:v>42604</c:v>
                </c:pt>
                <c:pt idx="2516">
                  <c:v>42605</c:v>
                </c:pt>
                <c:pt idx="2517">
                  <c:v>42606</c:v>
                </c:pt>
                <c:pt idx="2518">
                  <c:v>42607</c:v>
                </c:pt>
                <c:pt idx="2519">
                  <c:v>42608</c:v>
                </c:pt>
                <c:pt idx="2520">
                  <c:v>42611</c:v>
                </c:pt>
                <c:pt idx="2521">
                  <c:v>42612</c:v>
                </c:pt>
                <c:pt idx="2522">
                  <c:v>42613</c:v>
                </c:pt>
                <c:pt idx="2523">
                  <c:v>42614</c:v>
                </c:pt>
                <c:pt idx="2524">
                  <c:v>42615</c:v>
                </c:pt>
                <c:pt idx="2525">
                  <c:v>42618</c:v>
                </c:pt>
                <c:pt idx="2526">
                  <c:v>42619</c:v>
                </c:pt>
                <c:pt idx="2527">
                  <c:v>42620</c:v>
                </c:pt>
                <c:pt idx="2528">
                  <c:v>42621</c:v>
                </c:pt>
                <c:pt idx="2529">
                  <c:v>42622</c:v>
                </c:pt>
                <c:pt idx="2530">
                  <c:v>42625</c:v>
                </c:pt>
                <c:pt idx="2531">
                  <c:v>42626</c:v>
                </c:pt>
                <c:pt idx="2532">
                  <c:v>42627</c:v>
                </c:pt>
                <c:pt idx="2533">
                  <c:v>42628</c:v>
                </c:pt>
                <c:pt idx="2534">
                  <c:v>42629</c:v>
                </c:pt>
                <c:pt idx="2535">
                  <c:v>42632</c:v>
                </c:pt>
                <c:pt idx="2536">
                  <c:v>42633</c:v>
                </c:pt>
                <c:pt idx="2537">
                  <c:v>42634</c:v>
                </c:pt>
                <c:pt idx="2538">
                  <c:v>42635</c:v>
                </c:pt>
                <c:pt idx="2539">
                  <c:v>42636</c:v>
                </c:pt>
                <c:pt idx="2540">
                  <c:v>42639</c:v>
                </c:pt>
                <c:pt idx="2541">
                  <c:v>42640</c:v>
                </c:pt>
                <c:pt idx="2542">
                  <c:v>42641</c:v>
                </c:pt>
                <c:pt idx="2543">
                  <c:v>42642</c:v>
                </c:pt>
                <c:pt idx="2544">
                  <c:v>42643</c:v>
                </c:pt>
                <c:pt idx="2545">
                  <c:v>42646</c:v>
                </c:pt>
                <c:pt idx="2546">
                  <c:v>42647</c:v>
                </c:pt>
                <c:pt idx="2547">
                  <c:v>42648</c:v>
                </c:pt>
                <c:pt idx="2548">
                  <c:v>42649</c:v>
                </c:pt>
                <c:pt idx="2549">
                  <c:v>42650</c:v>
                </c:pt>
                <c:pt idx="2550">
                  <c:v>42653</c:v>
                </c:pt>
                <c:pt idx="2551">
                  <c:v>42654</c:v>
                </c:pt>
                <c:pt idx="2552">
                  <c:v>42655</c:v>
                </c:pt>
                <c:pt idx="2553">
                  <c:v>42656</c:v>
                </c:pt>
                <c:pt idx="2554">
                  <c:v>42657</c:v>
                </c:pt>
                <c:pt idx="2555">
                  <c:v>42660</c:v>
                </c:pt>
                <c:pt idx="2556">
                  <c:v>42661</c:v>
                </c:pt>
                <c:pt idx="2557">
                  <c:v>42662</c:v>
                </c:pt>
                <c:pt idx="2558">
                  <c:v>42663</c:v>
                </c:pt>
                <c:pt idx="2559">
                  <c:v>42664</c:v>
                </c:pt>
                <c:pt idx="2560">
                  <c:v>42667</c:v>
                </c:pt>
                <c:pt idx="2561">
                  <c:v>42668</c:v>
                </c:pt>
                <c:pt idx="2562">
                  <c:v>42669</c:v>
                </c:pt>
                <c:pt idx="2563">
                  <c:v>42670</c:v>
                </c:pt>
                <c:pt idx="2564">
                  <c:v>42671</c:v>
                </c:pt>
                <c:pt idx="2565">
                  <c:v>42674</c:v>
                </c:pt>
                <c:pt idx="2566">
                  <c:v>42675</c:v>
                </c:pt>
                <c:pt idx="2567">
                  <c:v>42676</c:v>
                </c:pt>
                <c:pt idx="2568">
                  <c:v>42677</c:v>
                </c:pt>
                <c:pt idx="2569">
                  <c:v>42678</c:v>
                </c:pt>
                <c:pt idx="2570">
                  <c:v>42681</c:v>
                </c:pt>
                <c:pt idx="2571">
                  <c:v>42682</c:v>
                </c:pt>
                <c:pt idx="2572">
                  <c:v>42683</c:v>
                </c:pt>
                <c:pt idx="2573">
                  <c:v>42684</c:v>
                </c:pt>
                <c:pt idx="2574">
                  <c:v>42685</c:v>
                </c:pt>
                <c:pt idx="2575">
                  <c:v>42688</c:v>
                </c:pt>
                <c:pt idx="2576">
                  <c:v>42689</c:v>
                </c:pt>
                <c:pt idx="2577">
                  <c:v>42690</c:v>
                </c:pt>
                <c:pt idx="2578">
                  <c:v>42691</c:v>
                </c:pt>
                <c:pt idx="2579">
                  <c:v>42692</c:v>
                </c:pt>
                <c:pt idx="2580">
                  <c:v>42695</c:v>
                </c:pt>
                <c:pt idx="2581">
                  <c:v>42696</c:v>
                </c:pt>
                <c:pt idx="2582">
                  <c:v>42697</c:v>
                </c:pt>
                <c:pt idx="2583">
                  <c:v>42698</c:v>
                </c:pt>
                <c:pt idx="2584">
                  <c:v>42699</c:v>
                </c:pt>
                <c:pt idx="2585">
                  <c:v>42702</c:v>
                </c:pt>
                <c:pt idx="2586">
                  <c:v>42703</c:v>
                </c:pt>
                <c:pt idx="2587">
                  <c:v>42704</c:v>
                </c:pt>
                <c:pt idx="2588">
                  <c:v>42705</c:v>
                </c:pt>
                <c:pt idx="2589">
                  <c:v>42706</c:v>
                </c:pt>
                <c:pt idx="2590">
                  <c:v>42709</c:v>
                </c:pt>
                <c:pt idx="2591">
                  <c:v>42710</c:v>
                </c:pt>
                <c:pt idx="2592">
                  <c:v>42711</c:v>
                </c:pt>
                <c:pt idx="2593">
                  <c:v>42712</c:v>
                </c:pt>
                <c:pt idx="2594">
                  <c:v>42713</c:v>
                </c:pt>
                <c:pt idx="2595">
                  <c:v>42716</c:v>
                </c:pt>
                <c:pt idx="2596">
                  <c:v>42717</c:v>
                </c:pt>
                <c:pt idx="2597">
                  <c:v>42718</c:v>
                </c:pt>
                <c:pt idx="2598">
                  <c:v>42719</c:v>
                </c:pt>
                <c:pt idx="2599">
                  <c:v>42720</c:v>
                </c:pt>
                <c:pt idx="2600">
                  <c:v>42723</c:v>
                </c:pt>
                <c:pt idx="2601">
                  <c:v>42724</c:v>
                </c:pt>
                <c:pt idx="2602">
                  <c:v>42725</c:v>
                </c:pt>
                <c:pt idx="2603">
                  <c:v>42726</c:v>
                </c:pt>
                <c:pt idx="2604">
                  <c:v>42727</c:v>
                </c:pt>
                <c:pt idx="2605">
                  <c:v>42730</c:v>
                </c:pt>
                <c:pt idx="2606">
                  <c:v>42731</c:v>
                </c:pt>
                <c:pt idx="2607">
                  <c:v>42732</c:v>
                </c:pt>
                <c:pt idx="2608">
                  <c:v>42733</c:v>
                </c:pt>
                <c:pt idx="2609">
                  <c:v>42734</c:v>
                </c:pt>
                <c:pt idx="2610">
                  <c:v>42737</c:v>
                </c:pt>
                <c:pt idx="2611">
                  <c:v>42738</c:v>
                </c:pt>
                <c:pt idx="2612">
                  <c:v>42739</c:v>
                </c:pt>
                <c:pt idx="2613">
                  <c:v>42740</c:v>
                </c:pt>
                <c:pt idx="2614">
                  <c:v>42741</c:v>
                </c:pt>
                <c:pt idx="2615">
                  <c:v>42744</c:v>
                </c:pt>
                <c:pt idx="2616">
                  <c:v>42745</c:v>
                </c:pt>
                <c:pt idx="2617">
                  <c:v>42746</c:v>
                </c:pt>
                <c:pt idx="2618">
                  <c:v>42747</c:v>
                </c:pt>
                <c:pt idx="2619">
                  <c:v>42748</c:v>
                </c:pt>
                <c:pt idx="2620">
                  <c:v>42751</c:v>
                </c:pt>
                <c:pt idx="2621">
                  <c:v>42752</c:v>
                </c:pt>
                <c:pt idx="2622">
                  <c:v>42753</c:v>
                </c:pt>
                <c:pt idx="2623">
                  <c:v>42754</c:v>
                </c:pt>
                <c:pt idx="2624">
                  <c:v>42755</c:v>
                </c:pt>
                <c:pt idx="2625">
                  <c:v>42758</c:v>
                </c:pt>
                <c:pt idx="2626">
                  <c:v>42759</c:v>
                </c:pt>
                <c:pt idx="2627">
                  <c:v>42760</c:v>
                </c:pt>
                <c:pt idx="2628">
                  <c:v>42761</c:v>
                </c:pt>
                <c:pt idx="2629">
                  <c:v>42762</c:v>
                </c:pt>
                <c:pt idx="2630">
                  <c:v>42765</c:v>
                </c:pt>
                <c:pt idx="2631">
                  <c:v>42766</c:v>
                </c:pt>
                <c:pt idx="2632">
                  <c:v>42767</c:v>
                </c:pt>
                <c:pt idx="2633">
                  <c:v>42768</c:v>
                </c:pt>
                <c:pt idx="2634">
                  <c:v>42769</c:v>
                </c:pt>
                <c:pt idx="2635">
                  <c:v>42772</c:v>
                </c:pt>
                <c:pt idx="2636">
                  <c:v>42773</c:v>
                </c:pt>
                <c:pt idx="2637">
                  <c:v>42774</c:v>
                </c:pt>
                <c:pt idx="2638">
                  <c:v>42775</c:v>
                </c:pt>
                <c:pt idx="2639">
                  <c:v>42776</c:v>
                </c:pt>
                <c:pt idx="2640">
                  <c:v>42779</c:v>
                </c:pt>
                <c:pt idx="2641">
                  <c:v>42780</c:v>
                </c:pt>
                <c:pt idx="2642">
                  <c:v>42781</c:v>
                </c:pt>
                <c:pt idx="2643">
                  <c:v>42782</c:v>
                </c:pt>
                <c:pt idx="2644">
                  <c:v>42783</c:v>
                </c:pt>
                <c:pt idx="2645">
                  <c:v>42786</c:v>
                </c:pt>
                <c:pt idx="2646">
                  <c:v>42787</c:v>
                </c:pt>
                <c:pt idx="2647">
                  <c:v>42788</c:v>
                </c:pt>
                <c:pt idx="2648">
                  <c:v>42789</c:v>
                </c:pt>
                <c:pt idx="2649">
                  <c:v>42790</c:v>
                </c:pt>
                <c:pt idx="2650">
                  <c:v>42793</c:v>
                </c:pt>
                <c:pt idx="2651">
                  <c:v>42794</c:v>
                </c:pt>
                <c:pt idx="2652">
                  <c:v>42795</c:v>
                </c:pt>
                <c:pt idx="2653">
                  <c:v>42796</c:v>
                </c:pt>
                <c:pt idx="2654">
                  <c:v>42797</c:v>
                </c:pt>
                <c:pt idx="2655">
                  <c:v>42800</c:v>
                </c:pt>
                <c:pt idx="2656">
                  <c:v>42801</c:v>
                </c:pt>
                <c:pt idx="2657">
                  <c:v>42802</c:v>
                </c:pt>
                <c:pt idx="2658">
                  <c:v>42803</c:v>
                </c:pt>
                <c:pt idx="2659">
                  <c:v>42804</c:v>
                </c:pt>
                <c:pt idx="2660">
                  <c:v>42807</c:v>
                </c:pt>
                <c:pt idx="2661">
                  <c:v>42808</c:v>
                </c:pt>
                <c:pt idx="2662">
                  <c:v>42809</c:v>
                </c:pt>
                <c:pt idx="2663">
                  <c:v>42810</c:v>
                </c:pt>
                <c:pt idx="2664">
                  <c:v>42811</c:v>
                </c:pt>
                <c:pt idx="2665">
                  <c:v>42814</c:v>
                </c:pt>
                <c:pt idx="2666">
                  <c:v>42815</c:v>
                </c:pt>
                <c:pt idx="2667">
                  <c:v>42816</c:v>
                </c:pt>
                <c:pt idx="2668">
                  <c:v>42817</c:v>
                </c:pt>
                <c:pt idx="2669">
                  <c:v>42818</c:v>
                </c:pt>
                <c:pt idx="2670">
                  <c:v>42821</c:v>
                </c:pt>
                <c:pt idx="2671">
                  <c:v>42822</c:v>
                </c:pt>
                <c:pt idx="2672">
                  <c:v>42823</c:v>
                </c:pt>
                <c:pt idx="2673">
                  <c:v>42824</c:v>
                </c:pt>
                <c:pt idx="2674">
                  <c:v>42825</c:v>
                </c:pt>
                <c:pt idx="2675">
                  <c:v>42828</c:v>
                </c:pt>
                <c:pt idx="2676">
                  <c:v>42829</c:v>
                </c:pt>
                <c:pt idx="2677">
                  <c:v>42830</c:v>
                </c:pt>
                <c:pt idx="2678">
                  <c:v>42831</c:v>
                </c:pt>
                <c:pt idx="2679">
                  <c:v>42832</c:v>
                </c:pt>
                <c:pt idx="2680">
                  <c:v>42835</c:v>
                </c:pt>
                <c:pt idx="2681">
                  <c:v>42836</c:v>
                </c:pt>
                <c:pt idx="2682">
                  <c:v>42837</c:v>
                </c:pt>
                <c:pt idx="2683">
                  <c:v>42838</c:v>
                </c:pt>
                <c:pt idx="2684">
                  <c:v>42839</c:v>
                </c:pt>
                <c:pt idx="2685">
                  <c:v>42842</c:v>
                </c:pt>
                <c:pt idx="2686">
                  <c:v>42843</c:v>
                </c:pt>
                <c:pt idx="2687">
                  <c:v>42844</c:v>
                </c:pt>
                <c:pt idx="2688">
                  <c:v>42845</c:v>
                </c:pt>
                <c:pt idx="2689">
                  <c:v>42846</c:v>
                </c:pt>
                <c:pt idx="2690">
                  <c:v>42849</c:v>
                </c:pt>
                <c:pt idx="2691">
                  <c:v>42850</c:v>
                </c:pt>
                <c:pt idx="2692">
                  <c:v>42851</c:v>
                </c:pt>
                <c:pt idx="2693">
                  <c:v>42852</c:v>
                </c:pt>
                <c:pt idx="2694">
                  <c:v>42853</c:v>
                </c:pt>
                <c:pt idx="2695">
                  <c:v>42856</c:v>
                </c:pt>
                <c:pt idx="2696">
                  <c:v>42857</c:v>
                </c:pt>
                <c:pt idx="2697">
                  <c:v>42858</c:v>
                </c:pt>
                <c:pt idx="2698">
                  <c:v>42859</c:v>
                </c:pt>
                <c:pt idx="2699">
                  <c:v>42860</c:v>
                </c:pt>
                <c:pt idx="2700">
                  <c:v>42863</c:v>
                </c:pt>
                <c:pt idx="2701">
                  <c:v>42864</c:v>
                </c:pt>
                <c:pt idx="2702">
                  <c:v>42865</c:v>
                </c:pt>
                <c:pt idx="2703">
                  <c:v>42866</c:v>
                </c:pt>
                <c:pt idx="2704">
                  <c:v>42867</c:v>
                </c:pt>
                <c:pt idx="2705">
                  <c:v>42870</c:v>
                </c:pt>
                <c:pt idx="2706">
                  <c:v>42871</c:v>
                </c:pt>
                <c:pt idx="2707">
                  <c:v>42872</c:v>
                </c:pt>
                <c:pt idx="2708">
                  <c:v>42873</c:v>
                </c:pt>
                <c:pt idx="2709">
                  <c:v>42874</c:v>
                </c:pt>
                <c:pt idx="2710">
                  <c:v>42877</c:v>
                </c:pt>
                <c:pt idx="2711">
                  <c:v>42878</c:v>
                </c:pt>
                <c:pt idx="2712">
                  <c:v>42879</c:v>
                </c:pt>
                <c:pt idx="2713">
                  <c:v>42880</c:v>
                </c:pt>
                <c:pt idx="2714">
                  <c:v>42881</c:v>
                </c:pt>
                <c:pt idx="2715">
                  <c:v>42884</c:v>
                </c:pt>
                <c:pt idx="2716">
                  <c:v>42885</c:v>
                </c:pt>
                <c:pt idx="2717">
                  <c:v>42886</c:v>
                </c:pt>
                <c:pt idx="2718">
                  <c:v>42887</c:v>
                </c:pt>
                <c:pt idx="2719">
                  <c:v>42888</c:v>
                </c:pt>
                <c:pt idx="2720">
                  <c:v>42891</c:v>
                </c:pt>
                <c:pt idx="2721">
                  <c:v>42892</c:v>
                </c:pt>
                <c:pt idx="2722">
                  <c:v>42893</c:v>
                </c:pt>
                <c:pt idx="2723">
                  <c:v>42894</c:v>
                </c:pt>
                <c:pt idx="2724">
                  <c:v>42895</c:v>
                </c:pt>
                <c:pt idx="2725">
                  <c:v>42898</c:v>
                </c:pt>
                <c:pt idx="2726">
                  <c:v>42899</c:v>
                </c:pt>
                <c:pt idx="2727">
                  <c:v>42900</c:v>
                </c:pt>
                <c:pt idx="2728">
                  <c:v>42901</c:v>
                </c:pt>
                <c:pt idx="2729">
                  <c:v>42902</c:v>
                </c:pt>
                <c:pt idx="2730">
                  <c:v>42905</c:v>
                </c:pt>
                <c:pt idx="2731">
                  <c:v>42906</c:v>
                </c:pt>
                <c:pt idx="2732">
                  <c:v>42907</c:v>
                </c:pt>
                <c:pt idx="2733">
                  <c:v>42908</c:v>
                </c:pt>
                <c:pt idx="2734">
                  <c:v>42909</c:v>
                </c:pt>
                <c:pt idx="2735">
                  <c:v>42912</c:v>
                </c:pt>
                <c:pt idx="2736">
                  <c:v>42913</c:v>
                </c:pt>
                <c:pt idx="2737">
                  <c:v>42914</c:v>
                </c:pt>
                <c:pt idx="2738">
                  <c:v>42915</c:v>
                </c:pt>
                <c:pt idx="2739">
                  <c:v>42916</c:v>
                </c:pt>
                <c:pt idx="2740">
                  <c:v>42919</c:v>
                </c:pt>
                <c:pt idx="2741">
                  <c:v>42920</c:v>
                </c:pt>
                <c:pt idx="2742">
                  <c:v>42921</c:v>
                </c:pt>
                <c:pt idx="2743">
                  <c:v>42922</c:v>
                </c:pt>
                <c:pt idx="2744">
                  <c:v>42923</c:v>
                </c:pt>
                <c:pt idx="2745">
                  <c:v>42926</c:v>
                </c:pt>
                <c:pt idx="2746">
                  <c:v>42927</c:v>
                </c:pt>
                <c:pt idx="2747">
                  <c:v>42928</c:v>
                </c:pt>
                <c:pt idx="2748">
                  <c:v>42929</c:v>
                </c:pt>
                <c:pt idx="2749">
                  <c:v>42930</c:v>
                </c:pt>
                <c:pt idx="2750">
                  <c:v>42933</c:v>
                </c:pt>
                <c:pt idx="2751">
                  <c:v>42934</c:v>
                </c:pt>
                <c:pt idx="2752">
                  <c:v>42935</c:v>
                </c:pt>
                <c:pt idx="2753">
                  <c:v>42936</c:v>
                </c:pt>
                <c:pt idx="2754">
                  <c:v>42937</c:v>
                </c:pt>
                <c:pt idx="2755">
                  <c:v>42940</c:v>
                </c:pt>
                <c:pt idx="2756">
                  <c:v>42941</c:v>
                </c:pt>
                <c:pt idx="2757">
                  <c:v>42942</c:v>
                </c:pt>
                <c:pt idx="2758">
                  <c:v>42943</c:v>
                </c:pt>
                <c:pt idx="2759">
                  <c:v>42944</c:v>
                </c:pt>
                <c:pt idx="2760">
                  <c:v>42947</c:v>
                </c:pt>
                <c:pt idx="2761">
                  <c:v>42948</c:v>
                </c:pt>
                <c:pt idx="2762">
                  <c:v>42949</c:v>
                </c:pt>
                <c:pt idx="2763">
                  <c:v>42950</c:v>
                </c:pt>
                <c:pt idx="2764">
                  <c:v>42951</c:v>
                </c:pt>
                <c:pt idx="2765">
                  <c:v>42954</c:v>
                </c:pt>
                <c:pt idx="2766">
                  <c:v>42955</c:v>
                </c:pt>
                <c:pt idx="2767">
                  <c:v>42956</c:v>
                </c:pt>
                <c:pt idx="2768">
                  <c:v>42957</c:v>
                </c:pt>
                <c:pt idx="2769">
                  <c:v>42958</c:v>
                </c:pt>
                <c:pt idx="2770">
                  <c:v>42961</c:v>
                </c:pt>
                <c:pt idx="2771">
                  <c:v>42962</c:v>
                </c:pt>
                <c:pt idx="2772">
                  <c:v>42963</c:v>
                </c:pt>
                <c:pt idx="2773">
                  <c:v>42964</c:v>
                </c:pt>
                <c:pt idx="2774">
                  <c:v>42965</c:v>
                </c:pt>
                <c:pt idx="2775">
                  <c:v>42968</c:v>
                </c:pt>
                <c:pt idx="2776">
                  <c:v>42969</c:v>
                </c:pt>
                <c:pt idx="2777">
                  <c:v>42970</c:v>
                </c:pt>
                <c:pt idx="2778">
                  <c:v>42971</c:v>
                </c:pt>
                <c:pt idx="2779">
                  <c:v>42972</c:v>
                </c:pt>
                <c:pt idx="2780">
                  <c:v>42975</c:v>
                </c:pt>
                <c:pt idx="2781">
                  <c:v>42976</c:v>
                </c:pt>
                <c:pt idx="2782">
                  <c:v>42977</c:v>
                </c:pt>
                <c:pt idx="2783">
                  <c:v>42978</c:v>
                </c:pt>
                <c:pt idx="2784">
                  <c:v>42979</c:v>
                </c:pt>
                <c:pt idx="2785">
                  <c:v>42982</c:v>
                </c:pt>
                <c:pt idx="2786">
                  <c:v>42983</c:v>
                </c:pt>
                <c:pt idx="2787">
                  <c:v>42984</c:v>
                </c:pt>
                <c:pt idx="2788">
                  <c:v>42985</c:v>
                </c:pt>
                <c:pt idx="2789">
                  <c:v>42986</c:v>
                </c:pt>
                <c:pt idx="2790">
                  <c:v>42989</c:v>
                </c:pt>
                <c:pt idx="2791">
                  <c:v>42990</c:v>
                </c:pt>
                <c:pt idx="2792">
                  <c:v>42991</c:v>
                </c:pt>
                <c:pt idx="2793">
                  <c:v>42992</c:v>
                </c:pt>
                <c:pt idx="2794">
                  <c:v>42993</c:v>
                </c:pt>
                <c:pt idx="2795">
                  <c:v>42996</c:v>
                </c:pt>
                <c:pt idx="2796">
                  <c:v>42997</c:v>
                </c:pt>
                <c:pt idx="2797">
                  <c:v>42998</c:v>
                </c:pt>
                <c:pt idx="2798">
                  <c:v>42999</c:v>
                </c:pt>
                <c:pt idx="2799">
                  <c:v>43000</c:v>
                </c:pt>
                <c:pt idx="2800">
                  <c:v>43003</c:v>
                </c:pt>
                <c:pt idx="2801">
                  <c:v>43004</c:v>
                </c:pt>
                <c:pt idx="2802">
                  <c:v>43005</c:v>
                </c:pt>
                <c:pt idx="2803">
                  <c:v>43006</c:v>
                </c:pt>
                <c:pt idx="2804">
                  <c:v>43007</c:v>
                </c:pt>
                <c:pt idx="2805">
                  <c:v>43010</c:v>
                </c:pt>
                <c:pt idx="2806">
                  <c:v>43011</c:v>
                </c:pt>
                <c:pt idx="2807">
                  <c:v>43012</c:v>
                </c:pt>
                <c:pt idx="2808">
                  <c:v>43013</c:v>
                </c:pt>
                <c:pt idx="2809">
                  <c:v>43014</c:v>
                </c:pt>
                <c:pt idx="2810">
                  <c:v>43017</c:v>
                </c:pt>
                <c:pt idx="2811">
                  <c:v>43018</c:v>
                </c:pt>
                <c:pt idx="2812">
                  <c:v>43019</c:v>
                </c:pt>
                <c:pt idx="2813">
                  <c:v>43020</c:v>
                </c:pt>
                <c:pt idx="2814">
                  <c:v>43021</c:v>
                </c:pt>
                <c:pt idx="2815">
                  <c:v>43024</c:v>
                </c:pt>
                <c:pt idx="2816">
                  <c:v>43025</c:v>
                </c:pt>
                <c:pt idx="2817">
                  <c:v>43026</c:v>
                </c:pt>
                <c:pt idx="2818">
                  <c:v>43027</c:v>
                </c:pt>
                <c:pt idx="2819">
                  <c:v>43028</c:v>
                </c:pt>
                <c:pt idx="2820">
                  <c:v>43031</c:v>
                </c:pt>
                <c:pt idx="2821">
                  <c:v>43032</c:v>
                </c:pt>
                <c:pt idx="2822">
                  <c:v>43033</c:v>
                </c:pt>
                <c:pt idx="2823">
                  <c:v>43034</c:v>
                </c:pt>
                <c:pt idx="2824">
                  <c:v>43035</c:v>
                </c:pt>
                <c:pt idx="2825">
                  <c:v>43038</c:v>
                </c:pt>
                <c:pt idx="2826">
                  <c:v>43039</c:v>
                </c:pt>
                <c:pt idx="2827">
                  <c:v>43040</c:v>
                </c:pt>
                <c:pt idx="2828">
                  <c:v>43041</c:v>
                </c:pt>
                <c:pt idx="2829">
                  <c:v>43042</c:v>
                </c:pt>
                <c:pt idx="2830">
                  <c:v>43045</c:v>
                </c:pt>
                <c:pt idx="2831">
                  <c:v>43046</c:v>
                </c:pt>
                <c:pt idx="2832">
                  <c:v>43047</c:v>
                </c:pt>
                <c:pt idx="2833">
                  <c:v>43048</c:v>
                </c:pt>
                <c:pt idx="2834">
                  <c:v>43049</c:v>
                </c:pt>
                <c:pt idx="2835">
                  <c:v>43052</c:v>
                </c:pt>
                <c:pt idx="2836">
                  <c:v>43053</c:v>
                </c:pt>
                <c:pt idx="2837">
                  <c:v>43054</c:v>
                </c:pt>
                <c:pt idx="2838">
                  <c:v>43055</c:v>
                </c:pt>
                <c:pt idx="2839">
                  <c:v>43056</c:v>
                </c:pt>
                <c:pt idx="2840">
                  <c:v>43059</c:v>
                </c:pt>
                <c:pt idx="2841">
                  <c:v>43060</c:v>
                </c:pt>
                <c:pt idx="2842">
                  <c:v>43061</c:v>
                </c:pt>
                <c:pt idx="2843">
                  <c:v>43062</c:v>
                </c:pt>
                <c:pt idx="2844">
                  <c:v>43063</c:v>
                </c:pt>
                <c:pt idx="2845">
                  <c:v>43066</c:v>
                </c:pt>
                <c:pt idx="2846">
                  <c:v>43067</c:v>
                </c:pt>
                <c:pt idx="2847">
                  <c:v>43068</c:v>
                </c:pt>
                <c:pt idx="2848">
                  <c:v>43069</c:v>
                </c:pt>
                <c:pt idx="2849">
                  <c:v>43070</c:v>
                </c:pt>
                <c:pt idx="2850">
                  <c:v>43073</c:v>
                </c:pt>
                <c:pt idx="2851">
                  <c:v>43074</c:v>
                </c:pt>
                <c:pt idx="2852">
                  <c:v>43075</c:v>
                </c:pt>
                <c:pt idx="2853">
                  <c:v>43076</c:v>
                </c:pt>
                <c:pt idx="2854">
                  <c:v>43077</c:v>
                </c:pt>
                <c:pt idx="2855">
                  <c:v>43080</c:v>
                </c:pt>
                <c:pt idx="2856">
                  <c:v>43081</c:v>
                </c:pt>
                <c:pt idx="2857">
                  <c:v>43082</c:v>
                </c:pt>
                <c:pt idx="2858">
                  <c:v>43083</c:v>
                </c:pt>
                <c:pt idx="2859">
                  <c:v>43084</c:v>
                </c:pt>
                <c:pt idx="2860">
                  <c:v>43087</c:v>
                </c:pt>
                <c:pt idx="2861">
                  <c:v>43088</c:v>
                </c:pt>
                <c:pt idx="2862">
                  <c:v>43089</c:v>
                </c:pt>
                <c:pt idx="2863">
                  <c:v>43090</c:v>
                </c:pt>
                <c:pt idx="2864">
                  <c:v>43091</c:v>
                </c:pt>
                <c:pt idx="2865">
                  <c:v>43094</c:v>
                </c:pt>
                <c:pt idx="2866">
                  <c:v>43095</c:v>
                </c:pt>
                <c:pt idx="2867">
                  <c:v>43096</c:v>
                </c:pt>
                <c:pt idx="2868">
                  <c:v>43097</c:v>
                </c:pt>
                <c:pt idx="2869">
                  <c:v>43098</c:v>
                </c:pt>
                <c:pt idx="2870">
                  <c:v>43101</c:v>
                </c:pt>
                <c:pt idx="2871">
                  <c:v>43102</c:v>
                </c:pt>
                <c:pt idx="2872">
                  <c:v>43103</c:v>
                </c:pt>
                <c:pt idx="2873">
                  <c:v>43104</c:v>
                </c:pt>
                <c:pt idx="2874">
                  <c:v>43105</c:v>
                </c:pt>
                <c:pt idx="2875">
                  <c:v>43108</c:v>
                </c:pt>
                <c:pt idx="2876">
                  <c:v>43109</c:v>
                </c:pt>
                <c:pt idx="2877">
                  <c:v>43110</c:v>
                </c:pt>
                <c:pt idx="2878">
                  <c:v>43111</c:v>
                </c:pt>
                <c:pt idx="2879">
                  <c:v>43112</c:v>
                </c:pt>
                <c:pt idx="2880">
                  <c:v>43115</c:v>
                </c:pt>
                <c:pt idx="2881">
                  <c:v>43116</c:v>
                </c:pt>
                <c:pt idx="2882">
                  <c:v>43117</c:v>
                </c:pt>
                <c:pt idx="2883">
                  <c:v>43118</c:v>
                </c:pt>
                <c:pt idx="2884">
                  <c:v>43119</c:v>
                </c:pt>
                <c:pt idx="2885">
                  <c:v>43122</c:v>
                </c:pt>
                <c:pt idx="2886">
                  <c:v>43123</c:v>
                </c:pt>
                <c:pt idx="2887">
                  <c:v>43124</c:v>
                </c:pt>
                <c:pt idx="2888">
                  <c:v>43125</c:v>
                </c:pt>
                <c:pt idx="2889">
                  <c:v>43126</c:v>
                </c:pt>
                <c:pt idx="2890">
                  <c:v>43129</c:v>
                </c:pt>
                <c:pt idx="2891">
                  <c:v>43130</c:v>
                </c:pt>
                <c:pt idx="2892">
                  <c:v>43131</c:v>
                </c:pt>
                <c:pt idx="2893">
                  <c:v>43132</c:v>
                </c:pt>
                <c:pt idx="2894">
                  <c:v>43133</c:v>
                </c:pt>
                <c:pt idx="2895">
                  <c:v>43136</c:v>
                </c:pt>
                <c:pt idx="2896">
                  <c:v>43137</c:v>
                </c:pt>
                <c:pt idx="2897">
                  <c:v>43138</c:v>
                </c:pt>
                <c:pt idx="2898">
                  <c:v>43139</c:v>
                </c:pt>
                <c:pt idx="2899">
                  <c:v>43140</c:v>
                </c:pt>
                <c:pt idx="2900">
                  <c:v>43143</c:v>
                </c:pt>
                <c:pt idx="2901">
                  <c:v>43144</c:v>
                </c:pt>
                <c:pt idx="2902">
                  <c:v>43145</c:v>
                </c:pt>
                <c:pt idx="2903">
                  <c:v>43146</c:v>
                </c:pt>
                <c:pt idx="2904">
                  <c:v>43147</c:v>
                </c:pt>
                <c:pt idx="2905">
                  <c:v>43150</c:v>
                </c:pt>
                <c:pt idx="2906">
                  <c:v>43151</c:v>
                </c:pt>
                <c:pt idx="2907">
                  <c:v>43152</c:v>
                </c:pt>
                <c:pt idx="2908">
                  <c:v>43153</c:v>
                </c:pt>
                <c:pt idx="2909">
                  <c:v>43154</c:v>
                </c:pt>
                <c:pt idx="2910">
                  <c:v>43157</c:v>
                </c:pt>
                <c:pt idx="2911">
                  <c:v>43158</c:v>
                </c:pt>
                <c:pt idx="2912">
                  <c:v>43159</c:v>
                </c:pt>
                <c:pt idx="2913">
                  <c:v>43160</c:v>
                </c:pt>
                <c:pt idx="2914">
                  <c:v>43161</c:v>
                </c:pt>
                <c:pt idx="2915">
                  <c:v>43164</c:v>
                </c:pt>
                <c:pt idx="2916">
                  <c:v>43165</c:v>
                </c:pt>
                <c:pt idx="2917">
                  <c:v>43166</c:v>
                </c:pt>
                <c:pt idx="2918">
                  <c:v>43167</c:v>
                </c:pt>
                <c:pt idx="2919">
                  <c:v>43168</c:v>
                </c:pt>
                <c:pt idx="2920">
                  <c:v>43171</c:v>
                </c:pt>
                <c:pt idx="2921">
                  <c:v>43172</c:v>
                </c:pt>
                <c:pt idx="2922">
                  <c:v>43173</c:v>
                </c:pt>
                <c:pt idx="2923">
                  <c:v>43174</c:v>
                </c:pt>
                <c:pt idx="2924">
                  <c:v>43175</c:v>
                </c:pt>
                <c:pt idx="2925">
                  <c:v>43178</c:v>
                </c:pt>
                <c:pt idx="2926">
                  <c:v>43179</c:v>
                </c:pt>
                <c:pt idx="2927">
                  <c:v>43180</c:v>
                </c:pt>
                <c:pt idx="2928">
                  <c:v>43181</c:v>
                </c:pt>
                <c:pt idx="2929">
                  <c:v>43182</c:v>
                </c:pt>
                <c:pt idx="2930">
                  <c:v>43185</c:v>
                </c:pt>
                <c:pt idx="2931">
                  <c:v>43186</c:v>
                </c:pt>
                <c:pt idx="2932">
                  <c:v>43187</c:v>
                </c:pt>
                <c:pt idx="2933">
                  <c:v>43188</c:v>
                </c:pt>
                <c:pt idx="2934">
                  <c:v>43189</c:v>
                </c:pt>
                <c:pt idx="2935">
                  <c:v>43192</c:v>
                </c:pt>
                <c:pt idx="2936">
                  <c:v>43193</c:v>
                </c:pt>
                <c:pt idx="2937">
                  <c:v>43194</c:v>
                </c:pt>
                <c:pt idx="2938">
                  <c:v>43195</c:v>
                </c:pt>
                <c:pt idx="2939">
                  <c:v>43196</c:v>
                </c:pt>
                <c:pt idx="2940">
                  <c:v>43199</c:v>
                </c:pt>
                <c:pt idx="2941">
                  <c:v>43200</c:v>
                </c:pt>
                <c:pt idx="2942">
                  <c:v>43201</c:v>
                </c:pt>
                <c:pt idx="2943">
                  <c:v>43202</c:v>
                </c:pt>
                <c:pt idx="2944">
                  <c:v>43203</c:v>
                </c:pt>
                <c:pt idx="2945">
                  <c:v>43206</c:v>
                </c:pt>
                <c:pt idx="2946">
                  <c:v>43207</c:v>
                </c:pt>
                <c:pt idx="2947">
                  <c:v>43208</c:v>
                </c:pt>
                <c:pt idx="2948">
                  <c:v>43209</c:v>
                </c:pt>
                <c:pt idx="2949">
                  <c:v>43210</c:v>
                </c:pt>
                <c:pt idx="2950">
                  <c:v>43213</c:v>
                </c:pt>
                <c:pt idx="2951">
                  <c:v>43214</c:v>
                </c:pt>
                <c:pt idx="2952">
                  <c:v>43215</c:v>
                </c:pt>
                <c:pt idx="2953">
                  <c:v>43216</c:v>
                </c:pt>
                <c:pt idx="2954">
                  <c:v>43217</c:v>
                </c:pt>
                <c:pt idx="2955">
                  <c:v>43220</c:v>
                </c:pt>
                <c:pt idx="2956">
                  <c:v>43221</c:v>
                </c:pt>
                <c:pt idx="2957">
                  <c:v>43222</c:v>
                </c:pt>
                <c:pt idx="2958">
                  <c:v>43223</c:v>
                </c:pt>
                <c:pt idx="2959">
                  <c:v>43224</c:v>
                </c:pt>
                <c:pt idx="2960">
                  <c:v>43227</c:v>
                </c:pt>
                <c:pt idx="2961">
                  <c:v>43228</c:v>
                </c:pt>
                <c:pt idx="2962">
                  <c:v>43229</c:v>
                </c:pt>
                <c:pt idx="2963">
                  <c:v>43230</c:v>
                </c:pt>
                <c:pt idx="2964">
                  <c:v>43231</c:v>
                </c:pt>
                <c:pt idx="2965">
                  <c:v>43234</c:v>
                </c:pt>
                <c:pt idx="2966">
                  <c:v>43235</c:v>
                </c:pt>
                <c:pt idx="2967">
                  <c:v>43236</c:v>
                </c:pt>
                <c:pt idx="2968">
                  <c:v>43237</c:v>
                </c:pt>
                <c:pt idx="2969">
                  <c:v>43238</c:v>
                </c:pt>
                <c:pt idx="2970">
                  <c:v>43241</c:v>
                </c:pt>
                <c:pt idx="2971">
                  <c:v>43242</c:v>
                </c:pt>
                <c:pt idx="2972">
                  <c:v>43243</c:v>
                </c:pt>
                <c:pt idx="2973">
                  <c:v>43244</c:v>
                </c:pt>
                <c:pt idx="2974">
                  <c:v>43245</c:v>
                </c:pt>
                <c:pt idx="2975">
                  <c:v>43248</c:v>
                </c:pt>
                <c:pt idx="2976">
                  <c:v>43249</c:v>
                </c:pt>
                <c:pt idx="2977">
                  <c:v>43250</c:v>
                </c:pt>
                <c:pt idx="2978">
                  <c:v>43251</c:v>
                </c:pt>
                <c:pt idx="2979">
                  <c:v>43252</c:v>
                </c:pt>
                <c:pt idx="2980">
                  <c:v>43255</c:v>
                </c:pt>
                <c:pt idx="2981">
                  <c:v>43256</c:v>
                </c:pt>
                <c:pt idx="2982">
                  <c:v>43257</c:v>
                </c:pt>
                <c:pt idx="2983">
                  <c:v>43258</c:v>
                </c:pt>
                <c:pt idx="2984">
                  <c:v>43259</c:v>
                </c:pt>
                <c:pt idx="2985">
                  <c:v>43262</c:v>
                </c:pt>
                <c:pt idx="2986">
                  <c:v>43263</c:v>
                </c:pt>
                <c:pt idx="2987">
                  <c:v>43264</c:v>
                </c:pt>
                <c:pt idx="2988">
                  <c:v>43265</c:v>
                </c:pt>
                <c:pt idx="2989">
                  <c:v>43266</c:v>
                </c:pt>
                <c:pt idx="2990">
                  <c:v>43269</c:v>
                </c:pt>
                <c:pt idx="2991">
                  <c:v>43270</c:v>
                </c:pt>
                <c:pt idx="2992">
                  <c:v>43271</c:v>
                </c:pt>
                <c:pt idx="2993">
                  <c:v>43272</c:v>
                </c:pt>
                <c:pt idx="2994">
                  <c:v>43273</c:v>
                </c:pt>
                <c:pt idx="2995">
                  <c:v>43276</c:v>
                </c:pt>
                <c:pt idx="2996">
                  <c:v>43277</c:v>
                </c:pt>
                <c:pt idx="2997">
                  <c:v>43278</c:v>
                </c:pt>
                <c:pt idx="2998">
                  <c:v>43279</c:v>
                </c:pt>
                <c:pt idx="2999">
                  <c:v>43280</c:v>
                </c:pt>
                <c:pt idx="3000">
                  <c:v>43283</c:v>
                </c:pt>
                <c:pt idx="3001">
                  <c:v>43284</c:v>
                </c:pt>
                <c:pt idx="3002">
                  <c:v>43285</c:v>
                </c:pt>
                <c:pt idx="3003">
                  <c:v>43286</c:v>
                </c:pt>
                <c:pt idx="3004">
                  <c:v>43287</c:v>
                </c:pt>
                <c:pt idx="3005">
                  <c:v>43290</c:v>
                </c:pt>
                <c:pt idx="3006">
                  <c:v>43291</c:v>
                </c:pt>
                <c:pt idx="3007">
                  <c:v>43292</c:v>
                </c:pt>
                <c:pt idx="3008">
                  <c:v>43293</c:v>
                </c:pt>
                <c:pt idx="3009">
                  <c:v>43294</c:v>
                </c:pt>
                <c:pt idx="3010">
                  <c:v>43297</c:v>
                </c:pt>
                <c:pt idx="3011">
                  <c:v>43298</c:v>
                </c:pt>
                <c:pt idx="3012">
                  <c:v>43299</c:v>
                </c:pt>
                <c:pt idx="3013">
                  <c:v>43300</c:v>
                </c:pt>
                <c:pt idx="3014">
                  <c:v>43301</c:v>
                </c:pt>
                <c:pt idx="3015">
                  <c:v>43304</c:v>
                </c:pt>
                <c:pt idx="3016">
                  <c:v>43305</c:v>
                </c:pt>
                <c:pt idx="3017">
                  <c:v>43306</c:v>
                </c:pt>
                <c:pt idx="3018">
                  <c:v>43307</c:v>
                </c:pt>
                <c:pt idx="3019">
                  <c:v>43308</c:v>
                </c:pt>
                <c:pt idx="3020">
                  <c:v>43311</c:v>
                </c:pt>
                <c:pt idx="3021">
                  <c:v>43312</c:v>
                </c:pt>
                <c:pt idx="3022">
                  <c:v>43313</c:v>
                </c:pt>
                <c:pt idx="3023">
                  <c:v>43314</c:v>
                </c:pt>
                <c:pt idx="3024">
                  <c:v>43315</c:v>
                </c:pt>
                <c:pt idx="3025">
                  <c:v>43318</c:v>
                </c:pt>
                <c:pt idx="3026">
                  <c:v>43319</c:v>
                </c:pt>
                <c:pt idx="3027">
                  <c:v>43320</c:v>
                </c:pt>
                <c:pt idx="3028">
                  <c:v>43321</c:v>
                </c:pt>
                <c:pt idx="3029">
                  <c:v>43322</c:v>
                </c:pt>
                <c:pt idx="3030">
                  <c:v>43325</c:v>
                </c:pt>
                <c:pt idx="3031">
                  <c:v>43326</c:v>
                </c:pt>
                <c:pt idx="3032">
                  <c:v>43327</c:v>
                </c:pt>
                <c:pt idx="3033">
                  <c:v>43328</c:v>
                </c:pt>
                <c:pt idx="3034">
                  <c:v>43329</c:v>
                </c:pt>
                <c:pt idx="3035">
                  <c:v>43332</c:v>
                </c:pt>
                <c:pt idx="3036">
                  <c:v>43333</c:v>
                </c:pt>
                <c:pt idx="3037">
                  <c:v>43334</c:v>
                </c:pt>
                <c:pt idx="3038">
                  <c:v>43335</c:v>
                </c:pt>
                <c:pt idx="3039">
                  <c:v>43336</c:v>
                </c:pt>
                <c:pt idx="3040">
                  <c:v>43339</c:v>
                </c:pt>
                <c:pt idx="3041">
                  <c:v>43340</c:v>
                </c:pt>
                <c:pt idx="3042">
                  <c:v>43341</c:v>
                </c:pt>
                <c:pt idx="3043">
                  <c:v>43342</c:v>
                </c:pt>
                <c:pt idx="3044">
                  <c:v>43343</c:v>
                </c:pt>
                <c:pt idx="3045">
                  <c:v>43346</c:v>
                </c:pt>
                <c:pt idx="3046">
                  <c:v>43347</c:v>
                </c:pt>
                <c:pt idx="3047">
                  <c:v>43348</c:v>
                </c:pt>
                <c:pt idx="3048">
                  <c:v>43349</c:v>
                </c:pt>
                <c:pt idx="3049">
                  <c:v>43350</c:v>
                </c:pt>
                <c:pt idx="3050">
                  <c:v>43353</c:v>
                </c:pt>
                <c:pt idx="3051">
                  <c:v>43354</c:v>
                </c:pt>
                <c:pt idx="3052">
                  <c:v>43355</c:v>
                </c:pt>
                <c:pt idx="3053">
                  <c:v>43356</c:v>
                </c:pt>
                <c:pt idx="3054">
                  <c:v>43357</c:v>
                </c:pt>
                <c:pt idx="3055">
                  <c:v>43360</c:v>
                </c:pt>
                <c:pt idx="3056">
                  <c:v>43361</c:v>
                </c:pt>
                <c:pt idx="3057">
                  <c:v>43362</c:v>
                </c:pt>
                <c:pt idx="3058">
                  <c:v>43363</c:v>
                </c:pt>
                <c:pt idx="3059">
                  <c:v>43364</c:v>
                </c:pt>
                <c:pt idx="3060">
                  <c:v>43367</c:v>
                </c:pt>
                <c:pt idx="3061">
                  <c:v>43368</c:v>
                </c:pt>
                <c:pt idx="3062">
                  <c:v>43369</c:v>
                </c:pt>
                <c:pt idx="3063">
                  <c:v>43370</c:v>
                </c:pt>
                <c:pt idx="3064">
                  <c:v>43371</c:v>
                </c:pt>
                <c:pt idx="3065">
                  <c:v>43374</c:v>
                </c:pt>
                <c:pt idx="3066">
                  <c:v>43375</c:v>
                </c:pt>
                <c:pt idx="3067">
                  <c:v>43376</c:v>
                </c:pt>
                <c:pt idx="3068">
                  <c:v>43377</c:v>
                </c:pt>
                <c:pt idx="3069">
                  <c:v>43378</c:v>
                </c:pt>
                <c:pt idx="3070">
                  <c:v>43381</c:v>
                </c:pt>
                <c:pt idx="3071">
                  <c:v>43382</c:v>
                </c:pt>
                <c:pt idx="3072">
                  <c:v>43383</c:v>
                </c:pt>
                <c:pt idx="3073">
                  <c:v>43384</c:v>
                </c:pt>
                <c:pt idx="3074">
                  <c:v>43385</c:v>
                </c:pt>
                <c:pt idx="3075">
                  <c:v>43388</c:v>
                </c:pt>
                <c:pt idx="3076">
                  <c:v>43389</c:v>
                </c:pt>
                <c:pt idx="3077">
                  <c:v>43390</c:v>
                </c:pt>
                <c:pt idx="3078">
                  <c:v>43391</c:v>
                </c:pt>
                <c:pt idx="3079">
                  <c:v>43392</c:v>
                </c:pt>
                <c:pt idx="3080">
                  <c:v>43395</c:v>
                </c:pt>
                <c:pt idx="3081">
                  <c:v>43396</c:v>
                </c:pt>
                <c:pt idx="3082">
                  <c:v>43397</c:v>
                </c:pt>
                <c:pt idx="3083">
                  <c:v>43398</c:v>
                </c:pt>
                <c:pt idx="3084">
                  <c:v>43399</c:v>
                </c:pt>
                <c:pt idx="3085">
                  <c:v>43402</c:v>
                </c:pt>
                <c:pt idx="3086">
                  <c:v>43403</c:v>
                </c:pt>
                <c:pt idx="3087">
                  <c:v>43404</c:v>
                </c:pt>
                <c:pt idx="3088">
                  <c:v>43405</c:v>
                </c:pt>
                <c:pt idx="3089">
                  <c:v>43406</c:v>
                </c:pt>
                <c:pt idx="3090">
                  <c:v>43409</c:v>
                </c:pt>
                <c:pt idx="3091">
                  <c:v>43410</c:v>
                </c:pt>
                <c:pt idx="3092">
                  <c:v>43411</c:v>
                </c:pt>
                <c:pt idx="3093">
                  <c:v>43412</c:v>
                </c:pt>
                <c:pt idx="3094">
                  <c:v>43413</c:v>
                </c:pt>
                <c:pt idx="3095">
                  <c:v>43416</c:v>
                </c:pt>
                <c:pt idx="3096">
                  <c:v>43417</c:v>
                </c:pt>
                <c:pt idx="3097">
                  <c:v>43418</c:v>
                </c:pt>
                <c:pt idx="3098">
                  <c:v>43419</c:v>
                </c:pt>
                <c:pt idx="3099">
                  <c:v>43420</c:v>
                </c:pt>
                <c:pt idx="3100">
                  <c:v>43423</c:v>
                </c:pt>
                <c:pt idx="3101">
                  <c:v>43424</c:v>
                </c:pt>
                <c:pt idx="3102">
                  <c:v>43425</c:v>
                </c:pt>
                <c:pt idx="3103">
                  <c:v>43426</c:v>
                </c:pt>
                <c:pt idx="3104">
                  <c:v>43427</c:v>
                </c:pt>
                <c:pt idx="3105">
                  <c:v>43430</c:v>
                </c:pt>
                <c:pt idx="3106">
                  <c:v>43431</c:v>
                </c:pt>
                <c:pt idx="3107">
                  <c:v>43432</c:v>
                </c:pt>
                <c:pt idx="3108">
                  <c:v>43433</c:v>
                </c:pt>
                <c:pt idx="3109">
                  <c:v>43434</c:v>
                </c:pt>
                <c:pt idx="3110">
                  <c:v>43437</c:v>
                </c:pt>
                <c:pt idx="3111">
                  <c:v>43438</c:v>
                </c:pt>
                <c:pt idx="3112">
                  <c:v>43439</c:v>
                </c:pt>
                <c:pt idx="3113">
                  <c:v>43440</c:v>
                </c:pt>
                <c:pt idx="3114">
                  <c:v>43441</c:v>
                </c:pt>
                <c:pt idx="3115">
                  <c:v>43444</c:v>
                </c:pt>
                <c:pt idx="3116">
                  <c:v>43445</c:v>
                </c:pt>
                <c:pt idx="3117">
                  <c:v>43446</c:v>
                </c:pt>
                <c:pt idx="3118">
                  <c:v>43447</c:v>
                </c:pt>
                <c:pt idx="3119">
                  <c:v>43448</c:v>
                </c:pt>
                <c:pt idx="3120">
                  <c:v>43451</c:v>
                </c:pt>
                <c:pt idx="3121">
                  <c:v>43452</c:v>
                </c:pt>
                <c:pt idx="3122">
                  <c:v>43453</c:v>
                </c:pt>
                <c:pt idx="3123">
                  <c:v>43454</c:v>
                </c:pt>
                <c:pt idx="3124">
                  <c:v>43455</c:v>
                </c:pt>
                <c:pt idx="3125">
                  <c:v>43458</c:v>
                </c:pt>
                <c:pt idx="3126">
                  <c:v>43459</c:v>
                </c:pt>
                <c:pt idx="3127">
                  <c:v>43460</c:v>
                </c:pt>
                <c:pt idx="3128">
                  <c:v>43461</c:v>
                </c:pt>
                <c:pt idx="3129">
                  <c:v>43462</c:v>
                </c:pt>
                <c:pt idx="3130">
                  <c:v>43465</c:v>
                </c:pt>
                <c:pt idx="3131">
                  <c:v>43466</c:v>
                </c:pt>
                <c:pt idx="3132">
                  <c:v>43467</c:v>
                </c:pt>
                <c:pt idx="3133">
                  <c:v>43468</c:v>
                </c:pt>
                <c:pt idx="3134">
                  <c:v>43469</c:v>
                </c:pt>
                <c:pt idx="3135">
                  <c:v>43472</c:v>
                </c:pt>
                <c:pt idx="3136">
                  <c:v>43473</c:v>
                </c:pt>
                <c:pt idx="3137">
                  <c:v>43474</c:v>
                </c:pt>
                <c:pt idx="3138">
                  <c:v>43475</c:v>
                </c:pt>
                <c:pt idx="3139">
                  <c:v>43476</c:v>
                </c:pt>
                <c:pt idx="3140">
                  <c:v>43479</c:v>
                </c:pt>
                <c:pt idx="3141">
                  <c:v>43480</c:v>
                </c:pt>
                <c:pt idx="3142">
                  <c:v>43481</c:v>
                </c:pt>
                <c:pt idx="3143">
                  <c:v>43482</c:v>
                </c:pt>
                <c:pt idx="3144">
                  <c:v>43483</c:v>
                </c:pt>
                <c:pt idx="3145">
                  <c:v>43486</c:v>
                </c:pt>
                <c:pt idx="3146">
                  <c:v>43487</c:v>
                </c:pt>
                <c:pt idx="3147">
                  <c:v>43488</c:v>
                </c:pt>
                <c:pt idx="3148">
                  <c:v>43489</c:v>
                </c:pt>
                <c:pt idx="3149">
                  <c:v>43490</c:v>
                </c:pt>
                <c:pt idx="3150">
                  <c:v>43493</c:v>
                </c:pt>
                <c:pt idx="3151">
                  <c:v>43494</c:v>
                </c:pt>
                <c:pt idx="3152">
                  <c:v>43495</c:v>
                </c:pt>
                <c:pt idx="3153">
                  <c:v>43496</c:v>
                </c:pt>
                <c:pt idx="3154">
                  <c:v>43497</c:v>
                </c:pt>
                <c:pt idx="3155">
                  <c:v>43500</c:v>
                </c:pt>
                <c:pt idx="3156">
                  <c:v>43501</c:v>
                </c:pt>
                <c:pt idx="3157">
                  <c:v>43502</c:v>
                </c:pt>
                <c:pt idx="3158">
                  <c:v>43503</c:v>
                </c:pt>
                <c:pt idx="3159">
                  <c:v>43504</c:v>
                </c:pt>
                <c:pt idx="3160">
                  <c:v>43507</c:v>
                </c:pt>
                <c:pt idx="3161">
                  <c:v>43508</c:v>
                </c:pt>
                <c:pt idx="3162">
                  <c:v>43509</c:v>
                </c:pt>
                <c:pt idx="3163">
                  <c:v>43510</c:v>
                </c:pt>
                <c:pt idx="3164">
                  <c:v>43511</c:v>
                </c:pt>
                <c:pt idx="3165">
                  <c:v>43514</c:v>
                </c:pt>
                <c:pt idx="3166">
                  <c:v>43515</c:v>
                </c:pt>
                <c:pt idx="3167">
                  <c:v>43516</c:v>
                </c:pt>
                <c:pt idx="3168">
                  <c:v>43517</c:v>
                </c:pt>
                <c:pt idx="3169">
                  <c:v>43518</c:v>
                </c:pt>
                <c:pt idx="3170">
                  <c:v>43521</c:v>
                </c:pt>
                <c:pt idx="3171">
                  <c:v>43522</c:v>
                </c:pt>
                <c:pt idx="3172">
                  <c:v>43523</c:v>
                </c:pt>
                <c:pt idx="3173">
                  <c:v>43524</c:v>
                </c:pt>
                <c:pt idx="3174">
                  <c:v>43525</c:v>
                </c:pt>
                <c:pt idx="3175">
                  <c:v>43528</c:v>
                </c:pt>
                <c:pt idx="3176">
                  <c:v>43529</c:v>
                </c:pt>
                <c:pt idx="3177">
                  <c:v>43530</c:v>
                </c:pt>
                <c:pt idx="3178">
                  <c:v>43531</c:v>
                </c:pt>
                <c:pt idx="3179">
                  <c:v>43532</c:v>
                </c:pt>
                <c:pt idx="3180">
                  <c:v>43535</c:v>
                </c:pt>
                <c:pt idx="3181">
                  <c:v>43536</c:v>
                </c:pt>
                <c:pt idx="3182">
                  <c:v>43537</c:v>
                </c:pt>
                <c:pt idx="3183">
                  <c:v>43538</c:v>
                </c:pt>
                <c:pt idx="3184">
                  <c:v>43539</c:v>
                </c:pt>
                <c:pt idx="3185">
                  <c:v>43542</c:v>
                </c:pt>
                <c:pt idx="3186">
                  <c:v>43543</c:v>
                </c:pt>
                <c:pt idx="3187">
                  <c:v>43544</c:v>
                </c:pt>
                <c:pt idx="3188">
                  <c:v>43545</c:v>
                </c:pt>
                <c:pt idx="3189">
                  <c:v>43546</c:v>
                </c:pt>
                <c:pt idx="3190">
                  <c:v>43549</c:v>
                </c:pt>
                <c:pt idx="3191">
                  <c:v>43550</c:v>
                </c:pt>
                <c:pt idx="3192">
                  <c:v>43551</c:v>
                </c:pt>
                <c:pt idx="3193">
                  <c:v>43552</c:v>
                </c:pt>
                <c:pt idx="3194">
                  <c:v>43553</c:v>
                </c:pt>
                <c:pt idx="3195">
                  <c:v>43556</c:v>
                </c:pt>
                <c:pt idx="3196">
                  <c:v>43557</c:v>
                </c:pt>
                <c:pt idx="3197">
                  <c:v>43558</c:v>
                </c:pt>
                <c:pt idx="3198">
                  <c:v>43559</c:v>
                </c:pt>
                <c:pt idx="3199">
                  <c:v>43560</c:v>
                </c:pt>
                <c:pt idx="3200">
                  <c:v>43563</c:v>
                </c:pt>
                <c:pt idx="3201">
                  <c:v>43564</c:v>
                </c:pt>
                <c:pt idx="3202">
                  <c:v>43565</c:v>
                </c:pt>
                <c:pt idx="3203">
                  <c:v>43566</c:v>
                </c:pt>
                <c:pt idx="3204">
                  <c:v>43567</c:v>
                </c:pt>
                <c:pt idx="3205">
                  <c:v>43570</c:v>
                </c:pt>
                <c:pt idx="3206">
                  <c:v>43571</c:v>
                </c:pt>
                <c:pt idx="3207">
                  <c:v>43572</c:v>
                </c:pt>
                <c:pt idx="3208">
                  <c:v>43573</c:v>
                </c:pt>
                <c:pt idx="3209">
                  <c:v>43574</c:v>
                </c:pt>
                <c:pt idx="3210">
                  <c:v>43577</c:v>
                </c:pt>
                <c:pt idx="3211">
                  <c:v>43578</c:v>
                </c:pt>
                <c:pt idx="3212">
                  <c:v>43579</c:v>
                </c:pt>
                <c:pt idx="3213">
                  <c:v>43580</c:v>
                </c:pt>
                <c:pt idx="3214">
                  <c:v>43581</c:v>
                </c:pt>
                <c:pt idx="3215">
                  <c:v>43584</c:v>
                </c:pt>
                <c:pt idx="3216">
                  <c:v>43585</c:v>
                </c:pt>
                <c:pt idx="3217">
                  <c:v>43586</c:v>
                </c:pt>
                <c:pt idx="3218">
                  <c:v>43587</c:v>
                </c:pt>
                <c:pt idx="3219">
                  <c:v>43588</c:v>
                </c:pt>
                <c:pt idx="3220">
                  <c:v>43591</c:v>
                </c:pt>
                <c:pt idx="3221">
                  <c:v>43592</c:v>
                </c:pt>
                <c:pt idx="3222">
                  <c:v>43593</c:v>
                </c:pt>
                <c:pt idx="3223">
                  <c:v>43594</c:v>
                </c:pt>
                <c:pt idx="3224">
                  <c:v>43595</c:v>
                </c:pt>
                <c:pt idx="3225">
                  <c:v>43598</c:v>
                </c:pt>
                <c:pt idx="3226">
                  <c:v>43599</c:v>
                </c:pt>
                <c:pt idx="3227">
                  <c:v>43600</c:v>
                </c:pt>
                <c:pt idx="3228">
                  <c:v>43601</c:v>
                </c:pt>
                <c:pt idx="3229">
                  <c:v>43602</c:v>
                </c:pt>
                <c:pt idx="3230">
                  <c:v>43605</c:v>
                </c:pt>
                <c:pt idx="3231">
                  <c:v>43606</c:v>
                </c:pt>
                <c:pt idx="3232">
                  <c:v>43607</c:v>
                </c:pt>
                <c:pt idx="3233">
                  <c:v>43608</c:v>
                </c:pt>
                <c:pt idx="3234">
                  <c:v>43609</c:v>
                </c:pt>
                <c:pt idx="3235">
                  <c:v>43612</c:v>
                </c:pt>
                <c:pt idx="3236">
                  <c:v>43613</c:v>
                </c:pt>
                <c:pt idx="3237">
                  <c:v>43614</c:v>
                </c:pt>
                <c:pt idx="3238">
                  <c:v>43615</c:v>
                </c:pt>
                <c:pt idx="3239">
                  <c:v>43616</c:v>
                </c:pt>
                <c:pt idx="3240">
                  <c:v>43619</c:v>
                </c:pt>
                <c:pt idx="3241">
                  <c:v>43620</c:v>
                </c:pt>
                <c:pt idx="3242">
                  <c:v>43621</c:v>
                </c:pt>
                <c:pt idx="3243">
                  <c:v>43622</c:v>
                </c:pt>
                <c:pt idx="3244">
                  <c:v>43623</c:v>
                </c:pt>
                <c:pt idx="3245">
                  <c:v>43626</c:v>
                </c:pt>
                <c:pt idx="3246">
                  <c:v>43627</c:v>
                </c:pt>
                <c:pt idx="3247">
                  <c:v>43628</c:v>
                </c:pt>
                <c:pt idx="3248">
                  <c:v>43629</c:v>
                </c:pt>
                <c:pt idx="3249">
                  <c:v>43630</c:v>
                </c:pt>
                <c:pt idx="3250">
                  <c:v>43633</c:v>
                </c:pt>
                <c:pt idx="3251">
                  <c:v>43634</c:v>
                </c:pt>
                <c:pt idx="3252">
                  <c:v>43635</c:v>
                </c:pt>
                <c:pt idx="3253">
                  <c:v>43636</c:v>
                </c:pt>
                <c:pt idx="3254">
                  <c:v>43637</c:v>
                </c:pt>
                <c:pt idx="3255">
                  <c:v>43640</c:v>
                </c:pt>
                <c:pt idx="3256">
                  <c:v>43641</c:v>
                </c:pt>
                <c:pt idx="3257">
                  <c:v>43642</c:v>
                </c:pt>
                <c:pt idx="3258">
                  <c:v>43643</c:v>
                </c:pt>
                <c:pt idx="3259">
                  <c:v>43644</c:v>
                </c:pt>
                <c:pt idx="3260">
                  <c:v>43647</c:v>
                </c:pt>
                <c:pt idx="3261">
                  <c:v>43648</c:v>
                </c:pt>
                <c:pt idx="3262">
                  <c:v>43649</c:v>
                </c:pt>
                <c:pt idx="3263">
                  <c:v>43650</c:v>
                </c:pt>
                <c:pt idx="3264">
                  <c:v>43651</c:v>
                </c:pt>
                <c:pt idx="3265">
                  <c:v>43654</c:v>
                </c:pt>
                <c:pt idx="3266">
                  <c:v>43655</c:v>
                </c:pt>
                <c:pt idx="3267">
                  <c:v>43656</c:v>
                </c:pt>
                <c:pt idx="3268">
                  <c:v>43657</c:v>
                </c:pt>
                <c:pt idx="3269">
                  <c:v>43658</c:v>
                </c:pt>
                <c:pt idx="3270">
                  <c:v>43661</c:v>
                </c:pt>
                <c:pt idx="3271">
                  <c:v>43662</c:v>
                </c:pt>
                <c:pt idx="3272">
                  <c:v>43663</c:v>
                </c:pt>
                <c:pt idx="3273">
                  <c:v>43664</c:v>
                </c:pt>
                <c:pt idx="3274">
                  <c:v>43665</c:v>
                </c:pt>
                <c:pt idx="3275">
                  <c:v>43668</c:v>
                </c:pt>
                <c:pt idx="3276">
                  <c:v>43669</c:v>
                </c:pt>
                <c:pt idx="3277">
                  <c:v>43670</c:v>
                </c:pt>
                <c:pt idx="3278">
                  <c:v>43671</c:v>
                </c:pt>
                <c:pt idx="3279">
                  <c:v>43672</c:v>
                </c:pt>
                <c:pt idx="3280">
                  <c:v>43675</c:v>
                </c:pt>
                <c:pt idx="3281">
                  <c:v>43676</c:v>
                </c:pt>
                <c:pt idx="3282">
                  <c:v>43677</c:v>
                </c:pt>
                <c:pt idx="3283">
                  <c:v>43678</c:v>
                </c:pt>
                <c:pt idx="3284">
                  <c:v>43679</c:v>
                </c:pt>
                <c:pt idx="3285">
                  <c:v>43682</c:v>
                </c:pt>
                <c:pt idx="3286">
                  <c:v>43683</c:v>
                </c:pt>
                <c:pt idx="3287">
                  <c:v>43684</c:v>
                </c:pt>
                <c:pt idx="3288">
                  <c:v>43685</c:v>
                </c:pt>
                <c:pt idx="3289">
                  <c:v>43686</c:v>
                </c:pt>
                <c:pt idx="3290">
                  <c:v>43689</c:v>
                </c:pt>
                <c:pt idx="3291">
                  <c:v>43690</c:v>
                </c:pt>
                <c:pt idx="3292">
                  <c:v>43691</c:v>
                </c:pt>
                <c:pt idx="3293">
                  <c:v>43692</c:v>
                </c:pt>
                <c:pt idx="3294">
                  <c:v>43693</c:v>
                </c:pt>
                <c:pt idx="3295">
                  <c:v>43696</c:v>
                </c:pt>
                <c:pt idx="3296">
                  <c:v>43697</c:v>
                </c:pt>
                <c:pt idx="3297">
                  <c:v>43698</c:v>
                </c:pt>
                <c:pt idx="3298">
                  <c:v>43699</c:v>
                </c:pt>
                <c:pt idx="3299">
                  <c:v>43700</c:v>
                </c:pt>
                <c:pt idx="3300">
                  <c:v>43703</c:v>
                </c:pt>
                <c:pt idx="3301">
                  <c:v>43704</c:v>
                </c:pt>
                <c:pt idx="3302">
                  <c:v>43705</c:v>
                </c:pt>
                <c:pt idx="3303">
                  <c:v>43706</c:v>
                </c:pt>
                <c:pt idx="3304">
                  <c:v>43707</c:v>
                </c:pt>
                <c:pt idx="3305">
                  <c:v>43710</c:v>
                </c:pt>
                <c:pt idx="3306">
                  <c:v>43711</c:v>
                </c:pt>
                <c:pt idx="3307">
                  <c:v>43712</c:v>
                </c:pt>
                <c:pt idx="3308">
                  <c:v>43713</c:v>
                </c:pt>
                <c:pt idx="3309">
                  <c:v>43714</c:v>
                </c:pt>
                <c:pt idx="3310">
                  <c:v>43717</c:v>
                </c:pt>
                <c:pt idx="3311">
                  <c:v>43718</c:v>
                </c:pt>
                <c:pt idx="3312">
                  <c:v>43719</c:v>
                </c:pt>
                <c:pt idx="3313">
                  <c:v>43720</c:v>
                </c:pt>
                <c:pt idx="3314">
                  <c:v>43721</c:v>
                </c:pt>
                <c:pt idx="3315">
                  <c:v>43724</c:v>
                </c:pt>
                <c:pt idx="3316">
                  <c:v>43725</c:v>
                </c:pt>
                <c:pt idx="3317">
                  <c:v>43726</c:v>
                </c:pt>
                <c:pt idx="3318">
                  <c:v>43727</c:v>
                </c:pt>
                <c:pt idx="3319">
                  <c:v>43728</c:v>
                </c:pt>
                <c:pt idx="3320">
                  <c:v>43731</c:v>
                </c:pt>
                <c:pt idx="3321">
                  <c:v>43732</c:v>
                </c:pt>
                <c:pt idx="3322">
                  <c:v>43733</c:v>
                </c:pt>
                <c:pt idx="3323">
                  <c:v>43734</c:v>
                </c:pt>
                <c:pt idx="3324">
                  <c:v>43735</c:v>
                </c:pt>
                <c:pt idx="3325">
                  <c:v>43738</c:v>
                </c:pt>
                <c:pt idx="3326">
                  <c:v>43739</c:v>
                </c:pt>
                <c:pt idx="3327">
                  <c:v>43740</c:v>
                </c:pt>
                <c:pt idx="3328">
                  <c:v>43741</c:v>
                </c:pt>
                <c:pt idx="3329">
                  <c:v>43742</c:v>
                </c:pt>
                <c:pt idx="3330">
                  <c:v>43745</c:v>
                </c:pt>
                <c:pt idx="3331">
                  <c:v>43746</c:v>
                </c:pt>
                <c:pt idx="3332">
                  <c:v>43747</c:v>
                </c:pt>
                <c:pt idx="3333">
                  <c:v>43748</c:v>
                </c:pt>
                <c:pt idx="3334">
                  <c:v>43749</c:v>
                </c:pt>
                <c:pt idx="3335">
                  <c:v>43752</c:v>
                </c:pt>
                <c:pt idx="3336">
                  <c:v>43753</c:v>
                </c:pt>
                <c:pt idx="3337">
                  <c:v>43754</c:v>
                </c:pt>
                <c:pt idx="3338">
                  <c:v>43755</c:v>
                </c:pt>
                <c:pt idx="3339">
                  <c:v>43756</c:v>
                </c:pt>
                <c:pt idx="3340">
                  <c:v>43759</c:v>
                </c:pt>
                <c:pt idx="3341">
                  <c:v>43760</c:v>
                </c:pt>
                <c:pt idx="3342">
                  <c:v>43761</c:v>
                </c:pt>
                <c:pt idx="3343">
                  <c:v>43762</c:v>
                </c:pt>
                <c:pt idx="3344">
                  <c:v>43763</c:v>
                </c:pt>
                <c:pt idx="3345">
                  <c:v>43766</c:v>
                </c:pt>
                <c:pt idx="3346">
                  <c:v>43767</c:v>
                </c:pt>
                <c:pt idx="3347">
                  <c:v>43768</c:v>
                </c:pt>
                <c:pt idx="3348">
                  <c:v>43769</c:v>
                </c:pt>
                <c:pt idx="3349">
                  <c:v>43770</c:v>
                </c:pt>
                <c:pt idx="3350">
                  <c:v>43773</c:v>
                </c:pt>
                <c:pt idx="3351">
                  <c:v>43774</c:v>
                </c:pt>
                <c:pt idx="3352">
                  <c:v>43775</c:v>
                </c:pt>
                <c:pt idx="3353">
                  <c:v>43776</c:v>
                </c:pt>
                <c:pt idx="3354">
                  <c:v>43777</c:v>
                </c:pt>
                <c:pt idx="3355">
                  <c:v>43780</c:v>
                </c:pt>
                <c:pt idx="3356">
                  <c:v>43781</c:v>
                </c:pt>
                <c:pt idx="3357">
                  <c:v>43782</c:v>
                </c:pt>
                <c:pt idx="3358">
                  <c:v>43783</c:v>
                </c:pt>
                <c:pt idx="3359">
                  <c:v>43784</c:v>
                </c:pt>
                <c:pt idx="3360">
                  <c:v>43787</c:v>
                </c:pt>
                <c:pt idx="3361">
                  <c:v>43788</c:v>
                </c:pt>
                <c:pt idx="3362">
                  <c:v>43789</c:v>
                </c:pt>
                <c:pt idx="3363">
                  <c:v>43790</c:v>
                </c:pt>
                <c:pt idx="3364">
                  <c:v>43791</c:v>
                </c:pt>
                <c:pt idx="3365">
                  <c:v>43794</c:v>
                </c:pt>
                <c:pt idx="3366">
                  <c:v>43795</c:v>
                </c:pt>
                <c:pt idx="3367">
                  <c:v>43796</c:v>
                </c:pt>
                <c:pt idx="3368">
                  <c:v>43797</c:v>
                </c:pt>
                <c:pt idx="3369">
                  <c:v>43798</c:v>
                </c:pt>
                <c:pt idx="3370">
                  <c:v>43801</c:v>
                </c:pt>
                <c:pt idx="3371">
                  <c:v>43802</c:v>
                </c:pt>
                <c:pt idx="3372">
                  <c:v>43803</c:v>
                </c:pt>
                <c:pt idx="3373">
                  <c:v>43804</c:v>
                </c:pt>
                <c:pt idx="3374">
                  <c:v>43805</c:v>
                </c:pt>
                <c:pt idx="3375">
                  <c:v>43808</c:v>
                </c:pt>
                <c:pt idx="3376">
                  <c:v>43809</c:v>
                </c:pt>
                <c:pt idx="3377">
                  <c:v>43810</c:v>
                </c:pt>
                <c:pt idx="3378">
                  <c:v>43811</c:v>
                </c:pt>
                <c:pt idx="3379">
                  <c:v>43812</c:v>
                </c:pt>
                <c:pt idx="3380">
                  <c:v>43815</c:v>
                </c:pt>
                <c:pt idx="3381">
                  <c:v>43816</c:v>
                </c:pt>
                <c:pt idx="3382">
                  <c:v>43817</c:v>
                </c:pt>
                <c:pt idx="3383">
                  <c:v>43818</c:v>
                </c:pt>
                <c:pt idx="3384">
                  <c:v>43819</c:v>
                </c:pt>
                <c:pt idx="3385">
                  <c:v>43822</c:v>
                </c:pt>
                <c:pt idx="3386">
                  <c:v>43823</c:v>
                </c:pt>
                <c:pt idx="3387">
                  <c:v>43824</c:v>
                </c:pt>
                <c:pt idx="3388">
                  <c:v>43825</c:v>
                </c:pt>
                <c:pt idx="3389">
                  <c:v>43826</c:v>
                </c:pt>
                <c:pt idx="3390">
                  <c:v>43829</c:v>
                </c:pt>
                <c:pt idx="3391">
                  <c:v>43830</c:v>
                </c:pt>
                <c:pt idx="3392">
                  <c:v>43831</c:v>
                </c:pt>
                <c:pt idx="3393">
                  <c:v>43832</c:v>
                </c:pt>
                <c:pt idx="3394">
                  <c:v>43833</c:v>
                </c:pt>
                <c:pt idx="3395">
                  <c:v>43836</c:v>
                </c:pt>
                <c:pt idx="3396">
                  <c:v>43837</c:v>
                </c:pt>
                <c:pt idx="3397">
                  <c:v>43838</c:v>
                </c:pt>
                <c:pt idx="3398">
                  <c:v>43839</c:v>
                </c:pt>
                <c:pt idx="3399">
                  <c:v>43840</c:v>
                </c:pt>
                <c:pt idx="3400">
                  <c:v>43843</c:v>
                </c:pt>
                <c:pt idx="3401">
                  <c:v>43844</c:v>
                </c:pt>
                <c:pt idx="3402">
                  <c:v>43845</c:v>
                </c:pt>
                <c:pt idx="3403">
                  <c:v>43846</c:v>
                </c:pt>
                <c:pt idx="3404">
                  <c:v>43847</c:v>
                </c:pt>
                <c:pt idx="3405">
                  <c:v>43850</c:v>
                </c:pt>
                <c:pt idx="3406">
                  <c:v>43851</c:v>
                </c:pt>
                <c:pt idx="3407">
                  <c:v>43852</c:v>
                </c:pt>
                <c:pt idx="3408">
                  <c:v>43853</c:v>
                </c:pt>
                <c:pt idx="3409">
                  <c:v>43854</c:v>
                </c:pt>
                <c:pt idx="3410">
                  <c:v>43857</c:v>
                </c:pt>
                <c:pt idx="3411">
                  <c:v>43858</c:v>
                </c:pt>
                <c:pt idx="3412">
                  <c:v>43859</c:v>
                </c:pt>
                <c:pt idx="3413">
                  <c:v>43860</c:v>
                </c:pt>
                <c:pt idx="3414">
                  <c:v>43861</c:v>
                </c:pt>
                <c:pt idx="3415">
                  <c:v>43864</c:v>
                </c:pt>
                <c:pt idx="3416">
                  <c:v>43865</c:v>
                </c:pt>
                <c:pt idx="3417">
                  <c:v>43866</c:v>
                </c:pt>
                <c:pt idx="3418">
                  <c:v>43867</c:v>
                </c:pt>
                <c:pt idx="3419">
                  <c:v>43868</c:v>
                </c:pt>
                <c:pt idx="3420">
                  <c:v>43871</c:v>
                </c:pt>
                <c:pt idx="3421">
                  <c:v>43872</c:v>
                </c:pt>
                <c:pt idx="3422">
                  <c:v>43873</c:v>
                </c:pt>
                <c:pt idx="3423">
                  <c:v>43874</c:v>
                </c:pt>
                <c:pt idx="3424">
                  <c:v>43875</c:v>
                </c:pt>
                <c:pt idx="3425">
                  <c:v>43878</c:v>
                </c:pt>
                <c:pt idx="3426">
                  <c:v>43879</c:v>
                </c:pt>
                <c:pt idx="3427">
                  <c:v>43880</c:v>
                </c:pt>
                <c:pt idx="3428">
                  <c:v>43881</c:v>
                </c:pt>
                <c:pt idx="3429">
                  <c:v>43882</c:v>
                </c:pt>
                <c:pt idx="3430">
                  <c:v>43885</c:v>
                </c:pt>
                <c:pt idx="3431">
                  <c:v>43886</c:v>
                </c:pt>
                <c:pt idx="3432">
                  <c:v>43887</c:v>
                </c:pt>
                <c:pt idx="3433">
                  <c:v>43888</c:v>
                </c:pt>
                <c:pt idx="3434">
                  <c:v>43889</c:v>
                </c:pt>
                <c:pt idx="3435">
                  <c:v>43892</c:v>
                </c:pt>
                <c:pt idx="3436">
                  <c:v>43893</c:v>
                </c:pt>
                <c:pt idx="3437">
                  <c:v>43894</c:v>
                </c:pt>
                <c:pt idx="3438">
                  <c:v>43895</c:v>
                </c:pt>
                <c:pt idx="3439">
                  <c:v>43896</c:v>
                </c:pt>
                <c:pt idx="3440">
                  <c:v>43899</c:v>
                </c:pt>
                <c:pt idx="3441">
                  <c:v>43900</c:v>
                </c:pt>
                <c:pt idx="3442">
                  <c:v>43901</c:v>
                </c:pt>
                <c:pt idx="3443">
                  <c:v>43902</c:v>
                </c:pt>
                <c:pt idx="3444">
                  <c:v>43903</c:v>
                </c:pt>
                <c:pt idx="3445">
                  <c:v>43906</c:v>
                </c:pt>
                <c:pt idx="3446">
                  <c:v>43907</c:v>
                </c:pt>
                <c:pt idx="3447">
                  <c:v>43908</c:v>
                </c:pt>
                <c:pt idx="3448">
                  <c:v>43909</c:v>
                </c:pt>
                <c:pt idx="3449">
                  <c:v>43910</c:v>
                </c:pt>
                <c:pt idx="3450">
                  <c:v>43913</c:v>
                </c:pt>
                <c:pt idx="3451">
                  <c:v>43914</c:v>
                </c:pt>
                <c:pt idx="3452">
                  <c:v>43915</c:v>
                </c:pt>
                <c:pt idx="3453">
                  <c:v>43916</c:v>
                </c:pt>
                <c:pt idx="3454">
                  <c:v>43917</c:v>
                </c:pt>
                <c:pt idx="3455">
                  <c:v>43920</c:v>
                </c:pt>
                <c:pt idx="3456">
                  <c:v>43921</c:v>
                </c:pt>
                <c:pt idx="3457">
                  <c:v>43922</c:v>
                </c:pt>
                <c:pt idx="3458">
                  <c:v>43923</c:v>
                </c:pt>
                <c:pt idx="3459">
                  <c:v>43924</c:v>
                </c:pt>
                <c:pt idx="3460">
                  <c:v>43927</c:v>
                </c:pt>
                <c:pt idx="3461">
                  <c:v>43928</c:v>
                </c:pt>
                <c:pt idx="3462">
                  <c:v>43929</c:v>
                </c:pt>
                <c:pt idx="3463">
                  <c:v>43930</c:v>
                </c:pt>
                <c:pt idx="3464">
                  <c:v>43931</c:v>
                </c:pt>
                <c:pt idx="3465">
                  <c:v>43934</c:v>
                </c:pt>
                <c:pt idx="3466">
                  <c:v>43935</c:v>
                </c:pt>
                <c:pt idx="3467">
                  <c:v>43936</c:v>
                </c:pt>
                <c:pt idx="3468">
                  <c:v>43937</c:v>
                </c:pt>
                <c:pt idx="3469">
                  <c:v>43938</c:v>
                </c:pt>
                <c:pt idx="3470">
                  <c:v>43941</c:v>
                </c:pt>
                <c:pt idx="3471">
                  <c:v>43942</c:v>
                </c:pt>
                <c:pt idx="3472">
                  <c:v>43943</c:v>
                </c:pt>
                <c:pt idx="3473">
                  <c:v>43944</c:v>
                </c:pt>
                <c:pt idx="3474">
                  <c:v>43945</c:v>
                </c:pt>
                <c:pt idx="3475">
                  <c:v>43948</c:v>
                </c:pt>
                <c:pt idx="3476">
                  <c:v>43949</c:v>
                </c:pt>
                <c:pt idx="3477">
                  <c:v>43950</c:v>
                </c:pt>
                <c:pt idx="3478">
                  <c:v>43951</c:v>
                </c:pt>
                <c:pt idx="3479">
                  <c:v>43952</c:v>
                </c:pt>
                <c:pt idx="3480">
                  <c:v>43955</c:v>
                </c:pt>
                <c:pt idx="3481">
                  <c:v>43956</c:v>
                </c:pt>
                <c:pt idx="3482">
                  <c:v>43957</c:v>
                </c:pt>
                <c:pt idx="3483">
                  <c:v>43958</c:v>
                </c:pt>
                <c:pt idx="3484">
                  <c:v>43959</c:v>
                </c:pt>
                <c:pt idx="3485">
                  <c:v>43962</c:v>
                </c:pt>
                <c:pt idx="3486">
                  <c:v>43963</c:v>
                </c:pt>
                <c:pt idx="3487">
                  <c:v>43964</c:v>
                </c:pt>
                <c:pt idx="3488">
                  <c:v>43965</c:v>
                </c:pt>
                <c:pt idx="3489">
                  <c:v>43966</c:v>
                </c:pt>
                <c:pt idx="3490">
                  <c:v>43969</c:v>
                </c:pt>
                <c:pt idx="3491">
                  <c:v>43970</c:v>
                </c:pt>
                <c:pt idx="3492">
                  <c:v>43971</c:v>
                </c:pt>
                <c:pt idx="3493">
                  <c:v>43972</c:v>
                </c:pt>
                <c:pt idx="3494">
                  <c:v>43973</c:v>
                </c:pt>
                <c:pt idx="3495">
                  <c:v>43976</c:v>
                </c:pt>
                <c:pt idx="3496">
                  <c:v>43977</c:v>
                </c:pt>
                <c:pt idx="3497">
                  <c:v>43978</c:v>
                </c:pt>
                <c:pt idx="3498">
                  <c:v>43979</c:v>
                </c:pt>
                <c:pt idx="3499">
                  <c:v>43980</c:v>
                </c:pt>
                <c:pt idx="3500">
                  <c:v>43983</c:v>
                </c:pt>
                <c:pt idx="3501">
                  <c:v>43984</c:v>
                </c:pt>
                <c:pt idx="3502">
                  <c:v>43985</c:v>
                </c:pt>
                <c:pt idx="3503">
                  <c:v>43986</c:v>
                </c:pt>
                <c:pt idx="3504">
                  <c:v>43987</c:v>
                </c:pt>
                <c:pt idx="3505">
                  <c:v>43990</c:v>
                </c:pt>
                <c:pt idx="3506">
                  <c:v>43991</c:v>
                </c:pt>
                <c:pt idx="3507">
                  <c:v>43992</c:v>
                </c:pt>
                <c:pt idx="3508">
                  <c:v>43993</c:v>
                </c:pt>
                <c:pt idx="3509">
                  <c:v>43994</c:v>
                </c:pt>
                <c:pt idx="3510">
                  <c:v>43997</c:v>
                </c:pt>
                <c:pt idx="3511">
                  <c:v>43998</c:v>
                </c:pt>
                <c:pt idx="3512">
                  <c:v>43999</c:v>
                </c:pt>
                <c:pt idx="3513">
                  <c:v>44000</c:v>
                </c:pt>
                <c:pt idx="3514">
                  <c:v>44001</c:v>
                </c:pt>
                <c:pt idx="3515">
                  <c:v>44004</c:v>
                </c:pt>
                <c:pt idx="3516">
                  <c:v>44005</c:v>
                </c:pt>
                <c:pt idx="3517">
                  <c:v>44006</c:v>
                </c:pt>
                <c:pt idx="3518">
                  <c:v>44007</c:v>
                </c:pt>
                <c:pt idx="3519">
                  <c:v>44008</c:v>
                </c:pt>
                <c:pt idx="3520">
                  <c:v>44011</c:v>
                </c:pt>
                <c:pt idx="3521">
                  <c:v>44012</c:v>
                </c:pt>
                <c:pt idx="3522">
                  <c:v>44013</c:v>
                </c:pt>
                <c:pt idx="3523">
                  <c:v>44014</c:v>
                </c:pt>
                <c:pt idx="3524">
                  <c:v>44015</c:v>
                </c:pt>
                <c:pt idx="3525">
                  <c:v>44018</c:v>
                </c:pt>
                <c:pt idx="3526">
                  <c:v>44019</c:v>
                </c:pt>
                <c:pt idx="3527">
                  <c:v>44020</c:v>
                </c:pt>
                <c:pt idx="3528">
                  <c:v>44021</c:v>
                </c:pt>
                <c:pt idx="3529">
                  <c:v>44022</c:v>
                </c:pt>
                <c:pt idx="3530">
                  <c:v>44025</c:v>
                </c:pt>
                <c:pt idx="3531">
                  <c:v>44026</c:v>
                </c:pt>
                <c:pt idx="3532">
                  <c:v>44027</c:v>
                </c:pt>
                <c:pt idx="3533">
                  <c:v>44028</c:v>
                </c:pt>
                <c:pt idx="3534">
                  <c:v>44029</c:v>
                </c:pt>
                <c:pt idx="3535">
                  <c:v>44032</c:v>
                </c:pt>
                <c:pt idx="3536">
                  <c:v>44033</c:v>
                </c:pt>
                <c:pt idx="3537">
                  <c:v>44034</c:v>
                </c:pt>
                <c:pt idx="3538">
                  <c:v>44035</c:v>
                </c:pt>
                <c:pt idx="3539">
                  <c:v>44036</c:v>
                </c:pt>
                <c:pt idx="3540">
                  <c:v>44039</c:v>
                </c:pt>
                <c:pt idx="3541">
                  <c:v>44040</c:v>
                </c:pt>
                <c:pt idx="3542">
                  <c:v>44041</c:v>
                </c:pt>
                <c:pt idx="3543">
                  <c:v>44042</c:v>
                </c:pt>
                <c:pt idx="3544">
                  <c:v>44043</c:v>
                </c:pt>
                <c:pt idx="3545">
                  <c:v>44046</c:v>
                </c:pt>
                <c:pt idx="3546">
                  <c:v>44047</c:v>
                </c:pt>
                <c:pt idx="3547">
                  <c:v>44048</c:v>
                </c:pt>
                <c:pt idx="3548">
                  <c:v>44049</c:v>
                </c:pt>
                <c:pt idx="3549">
                  <c:v>44050</c:v>
                </c:pt>
                <c:pt idx="3550">
                  <c:v>44053</c:v>
                </c:pt>
                <c:pt idx="3551">
                  <c:v>44054</c:v>
                </c:pt>
                <c:pt idx="3552">
                  <c:v>44055</c:v>
                </c:pt>
                <c:pt idx="3553">
                  <c:v>44056</c:v>
                </c:pt>
                <c:pt idx="3554">
                  <c:v>44057</c:v>
                </c:pt>
                <c:pt idx="3555">
                  <c:v>44060</c:v>
                </c:pt>
                <c:pt idx="3556">
                  <c:v>44061</c:v>
                </c:pt>
                <c:pt idx="3557">
                  <c:v>44062</c:v>
                </c:pt>
                <c:pt idx="3558">
                  <c:v>44063</c:v>
                </c:pt>
                <c:pt idx="3559">
                  <c:v>44064</c:v>
                </c:pt>
                <c:pt idx="3560">
                  <c:v>44067</c:v>
                </c:pt>
                <c:pt idx="3561">
                  <c:v>44068</c:v>
                </c:pt>
                <c:pt idx="3562">
                  <c:v>44069</c:v>
                </c:pt>
                <c:pt idx="3563">
                  <c:v>44070</c:v>
                </c:pt>
                <c:pt idx="3564">
                  <c:v>44071</c:v>
                </c:pt>
                <c:pt idx="3565">
                  <c:v>44074</c:v>
                </c:pt>
                <c:pt idx="3566">
                  <c:v>44075</c:v>
                </c:pt>
                <c:pt idx="3567">
                  <c:v>44076</c:v>
                </c:pt>
                <c:pt idx="3568">
                  <c:v>44077</c:v>
                </c:pt>
                <c:pt idx="3569">
                  <c:v>44078</c:v>
                </c:pt>
                <c:pt idx="3570">
                  <c:v>44081</c:v>
                </c:pt>
                <c:pt idx="3571">
                  <c:v>44082</c:v>
                </c:pt>
                <c:pt idx="3572">
                  <c:v>44083</c:v>
                </c:pt>
                <c:pt idx="3573">
                  <c:v>44084</c:v>
                </c:pt>
                <c:pt idx="3574">
                  <c:v>44085</c:v>
                </c:pt>
                <c:pt idx="3575">
                  <c:v>44088</c:v>
                </c:pt>
                <c:pt idx="3576">
                  <c:v>44089</c:v>
                </c:pt>
                <c:pt idx="3577">
                  <c:v>44090</c:v>
                </c:pt>
                <c:pt idx="3578">
                  <c:v>44091</c:v>
                </c:pt>
                <c:pt idx="3579">
                  <c:v>44092</c:v>
                </c:pt>
                <c:pt idx="3580">
                  <c:v>44095</c:v>
                </c:pt>
                <c:pt idx="3581">
                  <c:v>44096</c:v>
                </c:pt>
                <c:pt idx="3582">
                  <c:v>44097</c:v>
                </c:pt>
                <c:pt idx="3583">
                  <c:v>44098</c:v>
                </c:pt>
                <c:pt idx="3584">
                  <c:v>44099</c:v>
                </c:pt>
                <c:pt idx="3585">
                  <c:v>44102</c:v>
                </c:pt>
                <c:pt idx="3586">
                  <c:v>44103</c:v>
                </c:pt>
                <c:pt idx="3587">
                  <c:v>44104</c:v>
                </c:pt>
                <c:pt idx="3588">
                  <c:v>44105</c:v>
                </c:pt>
                <c:pt idx="3589">
                  <c:v>44106</c:v>
                </c:pt>
                <c:pt idx="3590">
                  <c:v>44109</c:v>
                </c:pt>
                <c:pt idx="3591">
                  <c:v>44110</c:v>
                </c:pt>
                <c:pt idx="3592">
                  <c:v>44111</c:v>
                </c:pt>
                <c:pt idx="3593">
                  <c:v>44112</c:v>
                </c:pt>
                <c:pt idx="3594">
                  <c:v>44113</c:v>
                </c:pt>
                <c:pt idx="3595">
                  <c:v>44116</c:v>
                </c:pt>
                <c:pt idx="3596">
                  <c:v>44117</c:v>
                </c:pt>
                <c:pt idx="3597">
                  <c:v>44118</c:v>
                </c:pt>
                <c:pt idx="3598">
                  <c:v>44119</c:v>
                </c:pt>
                <c:pt idx="3599">
                  <c:v>44120</c:v>
                </c:pt>
                <c:pt idx="3600">
                  <c:v>44123</c:v>
                </c:pt>
                <c:pt idx="3601">
                  <c:v>44124</c:v>
                </c:pt>
                <c:pt idx="3602">
                  <c:v>44125</c:v>
                </c:pt>
                <c:pt idx="3603">
                  <c:v>44126</c:v>
                </c:pt>
                <c:pt idx="3604">
                  <c:v>44127</c:v>
                </c:pt>
                <c:pt idx="3605">
                  <c:v>44130</c:v>
                </c:pt>
                <c:pt idx="3606">
                  <c:v>44131</c:v>
                </c:pt>
                <c:pt idx="3607">
                  <c:v>44132</c:v>
                </c:pt>
                <c:pt idx="3608">
                  <c:v>44133</c:v>
                </c:pt>
                <c:pt idx="3609">
                  <c:v>44134</c:v>
                </c:pt>
                <c:pt idx="3610">
                  <c:v>44137</c:v>
                </c:pt>
                <c:pt idx="3611">
                  <c:v>44138</c:v>
                </c:pt>
                <c:pt idx="3612">
                  <c:v>44139</c:v>
                </c:pt>
                <c:pt idx="3613">
                  <c:v>44140</c:v>
                </c:pt>
                <c:pt idx="3614">
                  <c:v>44141</c:v>
                </c:pt>
                <c:pt idx="3615">
                  <c:v>44144</c:v>
                </c:pt>
                <c:pt idx="3616">
                  <c:v>44145</c:v>
                </c:pt>
                <c:pt idx="3617">
                  <c:v>44146</c:v>
                </c:pt>
                <c:pt idx="3618">
                  <c:v>44147</c:v>
                </c:pt>
                <c:pt idx="3619">
                  <c:v>44148</c:v>
                </c:pt>
                <c:pt idx="3620">
                  <c:v>44151</c:v>
                </c:pt>
                <c:pt idx="3621">
                  <c:v>44152</c:v>
                </c:pt>
                <c:pt idx="3622">
                  <c:v>44153</c:v>
                </c:pt>
                <c:pt idx="3623">
                  <c:v>44154</c:v>
                </c:pt>
                <c:pt idx="3624">
                  <c:v>44155</c:v>
                </c:pt>
                <c:pt idx="3625">
                  <c:v>44158</c:v>
                </c:pt>
                <c:pt idx="3626">
                  <c:v>44159</c:v>
                </c:pt>
                <c:pt idx="3627">
                  <c:v>44160</c:v>
                </c:pt>
                <c:pt idx="3628">
                  <c:v>44161</c:v>
                </c:pt>
                <c:pt idx="3629">
                  <c:v>44162</c:v>
                </c:pt>
                <c:pt idx="3630">
                  <c:v>44165</c:v>
                </c:pt>
                <c:pt idx="3631">
                  <c:v>44166</c:v>
                </c:pt>
                <c:pt idx="3632">
                  <c:v>44167</c:v>
                </c:pt>
                <c:pt idx="3633">
                  <c:v>44168</c:v>
                </c:pt>
                <c:pt idx="3634">
                  <c:v>44169</c:v>
                </c:pt>
                <c:pt idx="3635">
                  <c:v>44172</c:v>
                </c:pt>
                <c:pt idx="3636">
                  <c:v>44173</c:v>
                </c:pt>
                <c:pt idx="3637">
                  <c:v>44174</c:v>
                </c:pt>
                <c:pt idx="3638">
                  <c:v>44175</c:v>
                </c:pt>
                <c:pt idx="3639">
                  <c:v>44176</c:v>
                </c:pt>
                <c:pt idx="3640">
                  <c:v>44179</c:v>
                </c:pt>
                <c:pt idx="3641">
                  <c:v>44180</c:v>
                </c:pt>
                <c:pt idx="3642">
                  <c:v>44181</c:v>
                </c:pt>
                <c:pt idx="3643">
                  <c:v>44182</c:v>
                </c:pt>
                <c:pt idx="3644">
                  <c:v>44183</c:v>
                </c:pt>
                <c:pt idx="3645">
                  <c:v>44186</c:v>
                </c:pt>
                <c:pt idx="3646">
                  <c:v>44187</c:v>
                </c:pt>
                <c:pt idx="3647">
                  <c:v>44188</c:v>
                </c:pt>
                <c:pt idx="3648">
                  <c:v>44189</c:v>
                </c:pt>
                <c:pt idx="3649">
                  <c:v>44190</c:v>
                </c:pt>
                <c:pt idx="3650">
                  <c:v>44193</c:v>
                </c:pt>
                <c:pt idx="3651">
                  <c:v>44194</c:v>
                </c:pt>
                <c:pt idx="3652">
                  <c:v>44195</c:v>
                </c:pt>
                <c:pt idx="3653">
                  <c:v>44196</c:v>
                </c:pt>
                <c:pt idx="3654">
                  <c:v>44197</c:v>
                </c:pt>
                <c:pt idx="3655">
                  <c:v>44200</c:v>
                </c:pt>
                <c:pt idx="3656">
                  <c:v>44201</c:v>
                </c:pt>
                <c:pt idx="3657">
                  <c:v>44202</c:v>
                </c:pt>
                <c:pt idx="3658">
                  <c:v>44203</c:v>
                </c:pt>
                <c:pt idx="3659">
                  <c:v>44204</c:v>
                </c:pt>
                <c:pt idx="3660">
                  <c:v>44207</c:v>
                </c:pt>
                <c:pt idx="3661">
                  <c:v>44208</c:v>
                </c:pt>
                <c:pt idx="3662">
                  <c:v>44209</c:v>
                </c:pt>
                <c:pt idx="3663">
                  <c:v>44210</c:v>
                </c:pt>
                <c:pt idx="3664">
                  <c:v>44211</c:v>
                </c:pt>
                <c:pt idx="3665">
                  <c:v>44214</c:v>
                </c:pt>
                <c:pt idx="3666">
                  <c:v>44215</c:v>
                </c:pt>
                <c:pt idx="3667">
                  <c:v>44216</c:v>
                </c:pt>
                <c:pt idx="3668">
                  <c:v>44217</c:v>
                </c:pt>
                <c:pt idx="3669">
                  <c:v>44218</c:v>
                </c:pt>
                <c:pt idx="3670">
                  <c:v>44221</c:v>
                </c:pt>
                <c:pt idx="3671">
                  <c:v>44222</c:v>
                </c:pt>
                <c:pt idx="3672">
                  <c:v>44223</c:v>
                </c:pt>
                <c:pt idx="3673">
                  <c:v>44224</c:v>
                </c:pt>
                <c:pt idx="3674">
                  <c:v>44225</c:v>
                </c:pt>
                <c:pt idx="3675">
                  <c:v>44228</c:v>
                </c:pt>
                <c:pt idx="3676">
                  <c:v>44229</c:v>
                </c:pt>
                <c:pt idx="3677">
                  <c:v>44230</c:v>
                </c:pt>
                <c:pt idx="3678">
                  <c:v>44231</c:v>
                </c:pt>
                <c:pt idx="3679">
                  <c:v>44232</c:v>
                </c:pt>
                <c:pt idx="3680">
                  <c:v>44235</c:v>
                </c:pt>
                <c:pt idx="3681">
                  <c:v>44236</c:v>
                </c:pt>
                <c:pt idx="3682">
                  <c:v>44237</c:v>
                </c:pt>
                <c:pt idx="3683">
                  <c:v>44238</c:v>
                </c:pt>
                <c:pt idx="3684">
                  <c:v>44239</c:v>
                </c:pt>
                <c:pt idx="3685">
                  <c:v>44242</c:v>
                </c:pt>
                <c:pt idx="3686">
                  <c:v>44243</c:v>
                </c:pt>
                <c:pt idx="3687">
                  <c:v>44244</c:v>
                </c:pt>
                <c:pt idx="3688">
                  <c:v>44245</c:v>
                </c:pt>
                <c:pt idx="3689">
                  <c:v>44246</c:v>
                </c:pt>
                <c:pt idx="3690">
                  <c:v>44249</c:v>
                </c:pt>
                <c:pt idx="3691">
                  <c:v>44250</c:v>
                </c:pt>
                <c:pt idx="3692">
                  <c:v>44251</c:v>
                </c:pt>
                <c:pt idx="3693">
                  <c:v>44252</c:v>
                </c:pt>
                <c:pt idx="3694">
                  <c:v>44253</c:v>
                </c:pt>
                <c:pt idx="3695">
                  <c:v>44256</c:v>
                </c:pt>
                <c:pt idx="3696">
                  <c:v>44257</c:v>
                </c:pt>
                <c:pt idx="3697">
                  <c:v>44258</c:v>
                </c:pt>
                <c:pt idx="3698">
                  <c:v>44259</c:v>
                </c:pt>
                <c:pt idx="3699">
                  <c:v>44260</c:v>
                </c:pt>
                <c:pt idx="3700">
                  <c:v>44263</c:v>
                </c:pt>
                <c:pt idx="3701">
                  <c:v>44264</c:v>
                </c:pt>
                <c:pt idx="3702">
                  <c:v>44265</c:v>
                </c:pt>
                <c:pt idx="3703">
                  <c:v>44266</c:v>
                </c:pt>
                <c:pt idx="3704">
                  <c:v>44267</c:v>
                </c:pt>
                <c:pt idx="3705">
                  <c:v>44270</c:v>
                </c:pt>
                <c:pt idx="3706">
                  <c:v>44271</c:v>
                </c:pt>
                <c:pt idx="3707">
                  <c:v>44272</c:v>
                </c:pt>
                <c:pt idx="3708">
                  <c:v>44273</c:v>
                </c:pt>
                <c:pt idx="3709">
                  <c:v>44274</c:v>
                </c:pt>
                <c:pt idx="3710">
                  <c:v>44277</c:v>
                </c:pt>
                <c:pt idx="3711">
                  <c:v>44278</c:v>
                </c:pt>
                <c:pt idx="3712">
                  <c:v>44279</c:v>
                </c:pt>
                <c:pt idx="3713">
                  <c:v>44280</c:v>
                </c:pt>
                <c:pt idx="3714">
                  <c:v>44281</c:v>
                </c:pt>
                <c:pt idx="3715">
                  <c:v>44284</c:v>
                </c:pt>
                <c:pt idx="3716">
                  <c:v>44285</c:v>
                </c:pt>
                <c:pt idx="3717">
                  <c:v>44286</c:v>
                </c:pt>
                <c:pt idx="3718">
                  <c:v>44287</c:v>
                </c:pt>
                <c:pt idx="3719">
                  <c:v>44288</c:v>
                </c:pt>
                <c:pt idx="3720">
                  <c:v>44291</c:v>
                </c:pt>
                <c:pt idx="3721">
                  <c:v>44292</c:v>
                </c:pt>
                <c:pt idx="3722">
                  <c:v>44293</c:v>
                </c:pt>
                <c:pt idx="3723">
                  <c:v>44294</c:v>
                </c:pt>
                <c:pt idx="3724">
                  <c:v>44295</c:v>
                </c:pt>
                <c:pt idx="3725">
                  <c:v>44298</c:v>
                </c:pt>
                <c:pt idx="3726">
                  <c:v>44299</c:v>
                </c:pt>
                <c:pt idx="3727">
                  <c:v>44300</c:v>
                </c:pt>
                <c:pt idx="3728">
                  <c:v>44301</c:v>
                </c:pt>
                <c:pt idx="3729">
                  <c:v>44302</c:v>
                </c:pt>
                <c:pt idx="3730">
                  <c:v>44305</c:v>
                </c:pt>
                <c:pt idx="3731">
                  <c:v>44306</c:v>
                </c:pt>
                <c:pt idx="3732">
                  <c:v>44307</c:v>
                </c:pt>
                <c:pt idx="3733">
                  <c:v>44308</c:v>
                </c:pt>
                <c:pt idx="3734">
                  <c:v>44309</c:v>
                </c:pt>
                <c:pt idx="3735">
                  <c:v>44312</c:v>
                </c:pt>
                <c:pt idx="3736">
                  <c:v>44313</c:v>
                </c:pt>
                <c:pt idx="3737">
                  <c:v>44314</c:v>
                </c:pt>
                <c:pt idx="3738">
                  <c:v>44315</c:v>
                </c:pt>
                <c:pt idx="3739">
                  <c:v>44316</c:v>
                </c:pt>
                <c:pt idx="3740">
                  <c:v>44319</c:v>
                </c:pt>
                <c:pt idx="3741">
                  <c:v>44320</c:v>
                </c:pt>
                <c:pt idx="3742">
                  <c:v>44321</c:v>
                </c:pt>
                <c:pt idx="3743">
                  <c:v>44322</c:v>
                </c:pt>
                <c:pt idx="3744">
                  <c:v>44323</c:v>
                </c:pt>
                <c:pt idx="3745">
                  <c:v>44326</c:v>
                </c:pt>
                <c:pt idx="3746">
                  <c:v>44327</c:v>
                </c:pt>
                <c:pt idx="3747">
                  <c:v>44328</c:v>
                </c:pt>
                <c:pt idx="3748">
                  <c:v>44329</c:v>
                </c:pt>
                <c:pt idx="3749">
                  <c:v>44330</c:v>
                </c:pt>
                <c:pt idx="3750">
                  <c:v>44333</c:v>
                </c:pt>
                <c:pt idx="3751">
                  <c:v>44334</c:v>
                </c:pt>
                <c:pt idx="3752">
                  <c:v>44335</c:v>
                </c:pt>
                <c:pt idx="3753">
                  <c:v>44336</c:v>
                </c:pt>
                <c:pt idx="3754">
                  <c:v>44337</c:v>
                </c:pt>
                <c:pt idx="3755">
                  <c:v>44340</c:v>
                </c:pt>
                <c:pt idx="3756">
                  <c:v>44341</c:v>
                </c:pt>
                <c:pt idx="3757">
                  <c:v>44342</c:v>
                </c:pt>
                <c:pt idx="3758">
                  <c:v>44343</c:v>
                </c:pt>
                <c:pt idx="3759">
                  <c:v>44344</c:v>
                </c:pt>
                <c:pt idx="3760">
                  <c:v>44347</c:v>
                </c:pt>
                <c:pt idx="3761">
                  <c:v>44348</c:v>
                </c:pt>
                <c:pt idx="3762">
                  <c:v>44349</c:v>
                </c:pt>
                <c:pt idx="3763">
                  <c:v>44350</c:v>
                </c:pt>
                <c:pt idx="3764">
                  <c:v>44351</c:v>
                </c:pt>
                <c:pt idx="3765">
                  <c:v>44354</c:v>
                </c:pt>
                <c:pt idx="3766">
                  <c:v>44355</c:v>
                </c:pt>
                <c:pt idx="3767">
                  <c:v>44356</c:v>
                </c:pt>
                <c:pt idx="3768">
                  <c:v>44357</c:v>
                </c:pt>
                <c:pt idx="3769">
                  <c:v>44358</c:v>
                </c:pt>
                <c:pt idx="3770">
                  <c:v>44361</c:v>
                </c:pt>
                <c:pt idx="3771">
                  <c:v>44362</c:v>
                </c:pt>
                <c:pt idx="3772">
                  <c:v>44363</c:v>
                </c:pt>
                <c:pt idx="3773">
                  <c:v>44364</c:v>
                </c:pt>
                <c:pt idx="3774">
                  <c:v>44365</c:v>
                </c:pt>
                <c:pt idx="3775">
                  <c:v>44368</c:v>
                </c:pt>
                <c:pt idx="3776">
                  <c:v>44369</c:v>
                </c:pt>
                <c:pt idx="3777">
                  <c:v>44370</c:v>
                </c:pt>
                <c:pt idx="3778">
                  <c:v>44371</c:v>
                </c:pt>
                <c:pt idx="3779">
                  <c:v>44372</c:v>
                </c:pt>
                <c:pt idx="3780">
                  <c:v>44375</c:v>
                </c:pt>
                <c:pt idx="3781">
                  <c:v>44376</c:v>
                </c:pt>
                <c:pt idx="3782">
                  <c:v>44377</c:v>
                </c:pt>
                <c:pt idx="3783">
                  <c:v>44378</c:v>
                </c:pt>
                <c:pt idx="3784">
                  <c:v>44379</c:v>
                </c:pt>
                <c:pt idx="3785">
                  <c:v>44382</c:v>
                </c:pt>
                <c:pt idx="3786">
                  <c:v>44383</c:v>
                </c:pt>
                <c:pt idx="3787">
                  <c:v>44384</c:v>
                </c:pt>
                <c:pt idx="3788">
                  <c:v>44385</c:v>
                </c:pt>
                <c:pt idx="3789">
                  <c:v>44386</c:v>
                </c:pt>
                <c:pt idx="3790">
                  <c:v>44389</c:v>
                </c:pt>
                <c:pt idx="3791">
                  <c:v>44390</c:v>
                </c:pt>
                <c:pt idx="3792">
                  <c:v>44391</c:v>
                </c:pt>
                <c:pt idx="3793">
                  <c:v>44392</c:v>
                </c:pt>
                <c:pt idx="3794">
                  <c:v>44393</c:v>
                </c:pt>
                <c:pt idx="3795">
                  <c:v>44396</c:v>
                </c:pt>
                <c:pt idx="3796">
                  <c:v>44397</c:v>
                </c:pt>
                <c:pt idx="3797">
                  <c:v>44398</c:v>
                </c:pt>
                <c:pt idx="3798">
                  <c:v>44399</c:v>
                </c:pt>
                <c:pt idx="3799">
                  <c:v>44400</c:v>
                </c:pt>
                <c:pt idx="3800">
                  <c:v>44403</c:v>
                </c:pt>
                <c:pt idx="3801">
                  <c:v>44404</c:v>
                </c:pt>
                <c:pt idx="3802">
                  <c:v>44405</c:v>
                </c:pt>
                <c:pt idx="3803">
                  <c:v>44406</c:v>
                </c:pt>
                <c:pt idx="3804">
                  <c:v>44407</c:v>
                </c:pt>
                <c:pt idx="3805">
                  <c:v>44410</c:v>
                </c:pt>
                <c:pt idx="3806">
                  <c:v>44411</c:v>
                </c:pt>
                <c:pt idx="3807">
                  <c:v>44412</c:v>
                </c:pt>
                <c:pt idx="3808">
                  <c:v>44413</c:v>
                </c:pt>
                <c:pt idx="3809">
                  <c:v>44414</c:v>
                </c:pt>
                <c:pt idx="3810">
                  <c:v>44417</c:v>
                </c:pt>
                <c:pt idx="3811">
                  <c:v>44418</c:v>
                </c:pt>
                <c:pt idx="3812">
                  <c:v>44419</c:v>
                </c:pt>
                <c:pt idx="3813">
                  <c:v>44420</c:v>
                </c:pt>
                <c:pt idx="3814">
                  <c:v>44421</c:v>
                </c:pt>
                <c:pt idx="3815">
                  <c:v>44424</c:v>
                </c:pt>
                <c:pt idx="3816">
                  <c:v>44425</c:v>
                </c:pt>
                <c:pt idx="3817">
                  <c:v>44426</c:v>
                </c:pt>
                <c:pt idx="3818">
                  <c:v>44427</c:v>
                </c:pt>
                <c:pt idx="3819">
                  <c:v>44428</c:v>
                </c:pt>
                <c:pt idx="3820">
                  <c:v>44431</c:v>
                </c:pt>
                <c:pt idx="3821">
                  <c:v>44432</c:v>
                </c:pt>
                <c:pt idx="3822">
                  <c:v>44433</c:v>
                </c:pt>
                <c:pt idx="3823">
                  <c:v>44434</c:v>
                </c:pt>
                <c:pt idx="3824">
                  <c:v>44435</c:v>
                </c:pt>
                <c:pt idx="3825">
                  <c:v>44438</c:v>
                </c:pt>
                <c:pt idx="3826">
                  <c:v>44439</c:v>
                </c:pt>
                <c:pt idx="3827">
                  <c:v>44440</c:v>
                </c:pt>
                <c:pt idx="3828">
                  <c:v>44441</c:v>
                </c:pt>
                <c:pt idx="3829">
                  <c:v>44442</c:v>
                </c:pt>
                <c:pt idx="3830">
                  <c:v>44445</c:v>
                </c:pt>
                <c:pt idx="3831">
                  <c:v>44446</c:v>
                </c:pt>
                <c:pt idx="3832">
                  <c:v>44447</c:v>
                </c:pt>
                <c:pt idx="3833">
                  <c:v>44448</c:v>
                </c:pt>
                <c:pt idx="3834">
                  <c:v>44449</c:v>
                </c:pt>
                <c:pt idx="3835">
                  <c:v>44452</c:v>
                </c:pt>
                <c:pt idx="3836">
                  <c:v>44453</c:v>
                </c:pt>
                <c:pt idx="3837">
                  <c:v>44454</c:v>
                </c:pt>
                <c:pt idx="3838">
                  <c:v>44455</c:v>
                </c:pt>
                <c:pt idx="3839">
                  <c:v>44456</c:v>
                </c:pt>
                <c:pt idx="3840">
                  <c:v>44459</c:v>
                </c:pt>
                <c:pt idx="3841">
                  <c:v>44460</c:v>
                </c:pt>
                <c:pt idx="3842">
                  <c:v>44461</c:v>
                </c:pt>
                <c:pt idx="3843">
                  <c:v>44462</c:v>
                </c:pt>
                <c:pt idx="3844">
                  <c:v>44463</c:v>
                </c:pt>
                <c:pt idx="3845">
                  <c:v>44466</c:v>
                </c:pt>
                <c:pt idx="3846">
                  <c:v>44467</c:v>
                </c:pt>
                <c:pt idx="3847">
                  <c:v>44468</c:v>
                </c:pt>
                <c:pt idx="3848">
                  <c:v>44469</c:v>
                </c:pt>
                <c:pt idx="3849">
                  <c:v>44470</c:v>
                </c:pt>
                <c:pt idx="3850">
                  <c:v>44473</c:v>
                </c:pt>
                <c:pt idx="3851">
                  <c:v>44474</c:v>
                </c:pt>
                <c:pt idx="3852">
                  <c:v>44475</c:v>
                </c:pt>
                <c:pt idx="3853">
                  <c:v>44476</c:v>
                </c:pt>
                <c:pt idx="3854">
                  <c:v>44477</c:v>
                </c:pt>
                <c:pt idx="3855">
                  <c:v>44480</c:v>
                </c:pt>
                <c:pt idx="3856">
                  <c:v>44481</c:v>
                </c:pt>
                <c:pt idx="3857">
                  <c:v>44482</c:v>
                </c:pt>
                <c:pt idx="3858">
                  <c:v>44483</c:v>
                </c:pt>
                <c:pt idx="3859">
                  <c:v>44484</c:v>
                </c:pt>
                <c:pt idx="3860">
                  <c:v>44487</c:v>
                </c:pt>
                <c:pt idx="3861">
                  <c:v>44488</c:v>
                </c:pt>
                <c:pt idx="3862">
                  <c:v>44489</c:v>
                </c:pt>
                <c:pt idx="3863">
                  <c:v>44490</c:v>
                </c:pt>
                <c:pt idx="3864">
                  <c:v>44491</c:v>
                </c:pt>
                <c:pt idx="3865">
                  <c:v>44494</c:v>
                </c:pt>
                <c:pt idx="3866">
                  <c:v>44495</c:v>
                </c:pt>
                <c:pt idx="3867">
                  <c:v>44496</c:v>
                </c:pt>
                <c:pt idx="3868">
                  <c:v>44497</c:v>
                </c:pt>
                <c:pt idx="3869">
                  <c:v>44498</c:v>
                </c:pt>
                <c:pt idx="3870">
                  <c:v>44501</c:v>
                </c:pt>
                <c:pt idx="3871">
                  <c:v>44502</c:v>
                </c:pt>
                <c:pt idx="3872">
                  <c:v>44503</c:v>
                </c:pt>
                <c:pt idx="3873">
                  <c:v>44504</c:v>
                </c:pt>
                <c:pt idx="3874">
                  <c:v>44505</c:v>
                </c:pt>
                <c:pt idx="3875">
                  <c:v>44508</c:v>
                </c:pt>
                <c:pt idx="3876">
                  <c:v>44509</c:v>
                </c:pt>
                <c:pt idx="3877">
                  <c:v>44510</c:v>
                </c:pt>
                <c:pt idx="3878">
                  <c:v>44511</c:v>
                </c:pt>
                <c:pt idx="3879">
                  <c:v>44512</c:v>
                </c:pt>
                <c:pt idx="3880">
                  <c:v>44515</c:v>
                </c:pt>
                <c:pt idx="3881">
                  <c:v>44516</c:v>
                </c:pt>
                <c:pt idx="3882">
                  <c:v>44517</c:v>
                </c:pt>
                <c:pt idx="3883">
                  <c:v>44518</c:v>
                </c:pt>
                <c:pt idx="3884">
                  <c:v>44519</c:v>
                </c:pt>
                <c:pt idx="3885">
                  <c:v>44522</c:v>
                </c:pt>
                <c:pt idx="3886">
                  <c:v>44523</c:v>
                </c:pt>
                <c:pt idx="3887">
                  <c:v>44524</c:v>
                </c:pt>
                <c:pt idx="3888">
                  <c:v>44525</c:v>
                </c:pt>
                <c:pt idx="3889">
                  <c:v>44526</c:v>
                </c:pt>
                <c:pt idx="3890">
                  <c:v>44529</c:v>
                </c:pt>
                <c:pt idx="3891">
                  <c:v>44530</c:v>
                </c:pt>
                <c:pt idx="3892">
                  <c:v>44531</c:v>
                </c:pt>
                <c:pt idx="3893">
                  <c:v>44532</c:v>
                </c:pt>
                <c:pt idx="3894">
                  <c:v>44533</c:v>
                </c:pt>
                <c:pt idx="3895">
                  <c:v>44536</c:v>
                </c:pt>
                <c:pt idx="3896">
                  <c:v>44537</c:v>
                </c:pt>
                <c:pt idx="3897">
                  <c:v>44538</c:v>
                </c:pt>
                <c:pt idx="3898">
                  <c:v>44539</c:v>
                </c:pt>
                <c:pt idx="3899">
                  <c:v>44540</c:v>
                </c:pt>
                <c:pt idx="3900">
                  <c:v>44543</c:v>
                </c:pt>
                <c:pt idx="3901">
                  <c:v>44544</c:v>
                </c:pt>
                <c:pt idx="3902">
                  <c:v>44545</c:v>
                </c:pt>
                <c:pt idx="3903">
                  <c:v>44546</c:v>
                </c:pt>
                <c:pt idx="3904">
                  <c:v>44547</c:v>
                </c:pt>
                <c:pt idx="3905">
                  <c:v>44550</c:v>
                </c:pt>
                <c:pt idx="3906">
                  <c:v>44551</c:v>
                </c:pt>
                <c:pt idx="3907">
                  <c:v>44552</c:v>
                </c:pt>
                <c:pt idx="3908">
                  <c:v>44553</c:v>
                </c:pt>
                <c:pt idx="3909">
                  <c:v>44554</c:v>
                </c:pt>
                <c:pt idx="3910">
                  <c:v>44557</c:v>
                </c:pt>
                <c:pt idx="3911">
                  <c:v>44558</c:v>
                </c:pt>
                <c:pt idx="3912">
                  <c:v>44559</c:v>
                </c:pt>
                <c:pt idx="3913">
                  <c:v>44560</c:v>
                </c:pt>
                <c:pt idx="3914">
                  <c:v>44561</c:v>
                </c:pt>
                <c:pt idx="3915">
                  <c:v>44564</c:v>
                </c:pt>
                <c:pt idx="3916">
                  <c:v>44565</c:v>
                </c:pt>
                <c:pt idx="3917">
                  <c:v>44566</c:v>
                </c:pt>
                <c:pt idx="3918">
                  <c:v>44567</c:v>
                </c:pt>
                <c:pt idx="3919">
                  <c:v>44568</c:v>
                </c:pt>
                <c:pt idx="3920">
                  <c:v>44571</c:v>
                </c:pt>
                <c:pt idx="3921">
                  <c:v>44572</c:v>
                </c:pt>
                <c:pt idx="3922">
                  <c:v>44573</c:v>
                </c:pt>
                <c:pt idx="3923">
                  <c:v>44574</c:v>
                </c:pt>
                <c:pt idx="3924">
                  <c:v>44575</c:v>
                </c:pt>
                <c:pt idx="3925">
                  <c:v>44578</c:v>
                </c:pt>
                <c:pt idx="3926">
                  <c:v>44579</c:v>
                </c:pt>
                <c:pt idx="3927">
                  <c:v>44580</c:v>
                </c:pt>
                <c:pt idx="3928">
                  <c:v>44581</c:v>
                </c:pt>
                <c:pt idx="3929">
                  <c:v>44582</c:v>
                </c:pt>
                <c:pt idx="3930">
                  <c:v>44585</c:v>
                </c:pt>
                <c:pt idx="3931">
                  <c:v>44586</c:v>
                </c:pt>
                <c:pt idx="3932">
                  <c:v>44587</c:v>
                </c:pt>
                <c:pt idx="3933">
                  <c:v>44588</c:v>
                </c:pt>
                <c:pt idx="3934">
                  <c:v>44589</c:v>
                </c:pt>
                <c:pt idx="3935">
                  <c:v>44592</c:v>
                </c:pt>
                <c:pt idx="3936">
                  <c:v>44593</c:v>
                </c:pt>
                <c:pt idx="3937">
                  <c:v>44594</c:v>
                </c:pt>
                <c:pt idx="3938">
                  <c:v>44595</c:v>
                </c:pt>
                <c:pt idx="3939">
                  <c:v>44596</c:v>
                </c:pt>
                <c:pt idx="3940">
                  <c:v>44599</c:v>
                </c:pt>
                <c:pt idx="3941">
                  <c:v>44600</c:v>
                </c:pt>
                <c:pt idx="3942">
                  <c:v>44601</c:v>
                </c:pt>
                <c:pt idx="3943">
                  <c:v>44602</c:v>
                </c:pt>
                <c:pt idx="3944">
                  <c:v>44603</c:v>
                </c:pt>
                <c:pt idx="3945">
                  <c:v>44606</c:v>
                </c:pt>
                <c:pt idx="3946">
                  <c:v>44607</c:v>
                </c:pt>
                <c:pt idx="3947">
                  <c:v>44608</c:v>
                </c:pt>
                <c:pt idx="3948">
                  <c:v>44609</c:v>
                </c:pt>
                <c:pt idx="3949">
                  <c:v>44610</c:v>
                </c:pt>
                <c:pt idx="3950">
                  <c:v>44613</c:v>
                </c:pt>
                <c:pt idx="3951">
                  <c:v>44614</c:v>
                </c:pt>
                <c:pt idx="3952">
                  <c:v>44615</c:v>
                </c:pt>
                <c:pt idx="3953">
                  <c:v>44616</c:v>
                </c:pt>
                <c:pt idx="3954">
                  <c:v>44617</c:v>
                </c:pt>
                <c:pt idx="3955">
                  <c:v>44620</c:v>
                </c:pt>
                <c:pt idx="3956">
                  <c:v>44621</c:v>
                </c:pt>
                <c:pt idx="3957">
                  <c:v>44622</c:v>
                </c:pt>
                <c:pt idx="3958">
                  <c:v>44623</c:v>
                </c:pt>
                <c:pt idx="3959">
                  <c:v>44624</c:v>
                </c:pt>
                <c:pt idx="3960">
                  <c:v>44627</c:v>
                </c:pt>
                <c:pt idx="3961">
                  <c:v>44628</c:v>
                </c:pt>
                <c:pt idx="3962">
                  <c:v>44629</c:v>
                </c:pt>
                <c:pt idx="3963">
                  <c:v>44630</c:v>
                </c:pt>
                <c:pt idx="3964">
                  <c:v>44631</c:v>
                </c:pt>
                <c:pt idx="3965">
                  <c:v>44634</c:v>
                </c:pt>
                <c:pt idx="3966">
                  <c:v>44635</c:v>
                </c:pt>
                <c:pt idx="3967">
                  <c:v>44636</c:v>
                </c:pt>
                <c:pt idx="3968">
                  <c:v>44637</c:v>
                </c:pt>
                <c:pt idx="3969">
                  <c:v>44638</c:v>
                </c:pt>
                <c:pt idx="3970">
                  <c:v>44641</c:v>
                </c:pt>
                <c:pt idx="3971">
                  <c:v>44642</c:v>
                </c:pt>
                <c:pt idx="3972">
                  <c:v>44643</c:v>
                </c:pt>
                <c:pt idx="3973">
                  <c:v>44644</c:v>
                </c:pt>
                <c:pt idx="3974">
                  <c:v>44645</c:v>
                </c:pt>
                <c:pt idx="3975">
                  <c:v>44648</c:v>
                </c:pt>
                <c:pt idx="3976">
                  <c:v>44649</c:v>
                </c:pt>
                <c:pt idx="3977">
                  <c:v>44650</c:v>
                </c:pt>
                <c:pt idx="3978">
                  <c:v>44651</c:v>
                </c:pt>
                <c:pt idx="3979">
                  <c:v>44652</c:v>
                </c:pt>
                <c:pt idx="3980">
                  <c:v>44655</c:v>
                </c:pt>
                <c:pt idx="3981">
                  <c:v>44656</c:v>
                </c:pt>
                <c:pt idx="3982">
                  <c:v>44657</c:v>
                </c:pt>
                <c:pt idx="3983">
                  <c:v>44658</c:v>
                </c:pt>
                <c:pt idx="3984">
                  <c:v>44659</c:v>
                </c:pt>
                <c:pt idx="3985">
                  <c:v>44662</c:v>
                </c:pt>
                <c:pt idx="3986">
                  <c:v>44663</c:v>
                </c:pt>
                <c:pt idx="3987">
                  <c:v>44664</c:v>
                </c:pt>
                <c:pt idx="3988">
                  <c:v>44665</c:v>
                </c:pt>
                <c:pt idx="3989">
                  <c:v>44666</c:v>
                </c:pt>
                <c:pt idx="3990">
                  <c:v>44669</c:v>
                </c:pt>
                <c:pt idx="3991">
                  <c:v>44670</c:v>
                </c:pt>
                <c:pt idx="3992">
                  <c:v>44671</c:v>
                </c:pt>
                <c:pt idx="3993">
                  <c:v>44672</c:v>
                </c:pt>
                <c:pt idx="3994">
                  <c:v>44673</c:v>
                </c:pt>
                <c:pt idx="3995">
                  <c:v>44676</c:v>
                </c:pt>
                <c:pt idx="3996">
                  <c:v>44677</c:v>
                </c:pt>
                <c:pt idx="3997">
                  <c:v>44678</c:v>
                </c:pt>
                <c:pt idx="3998">
                  <c:v>44679</c:v>
                </c:pt>
                <c:pt idx="3999">
                  <c:v>44680</c:v>
                </c:pt>
                <c:pt idx="4000">
                  <c:v>44683</c:v>
                </c:pt>
                <c:pt idx="4001">
                  <c:v>44684</c:v>
                </c:pt>
                <c:pt idx="4002">
                  <c:v>44685</c:v>
                </c:pt>
                <c:pt idx="4003">
                  <c:v>44686</c:v>
                </c:pt>
                <c:pt idx="4004">
                  <c:v>44687</c:v>
                </c:pt>
                <c:pt idx="4005">
                  <c:v>44690</c:v>
                </c:pt>
                <c:pt idx="4006">
                  <c:v>44691</c:v>
                </c:pt>
                <c:pt idx="4007">
                  <c:v>44692</c:v>
                </c:pt>
                <c:pt idx="4008">
                  <c:v>44693</c:v>
                </c:pt>
                <c:pt idx="4009">
                  <c:v>44694</c:v>
                </c:pt>
                <c:pt idx="4010">
                  <c:v>44697</c:v>
                </c:pt>
                <c:pt idx="4011">
                  <c:v>44698</c:v>
                </c:pt>
                <c:pt idx="4012">
                  <c:v>44699</c:v>
                </c:pt>
                <c:pt idx="4013">
                  <c:v>44700</c:v>
                </c:pt>
                <c:pt idx="4014">
                  <c:v>44701</c:v>
                </c:pt>
                <c:pt idx="4015">
                  <c:v>44704</c:v>
                </c:pt>
                <c:pt idx="4016">
                  <c:v>44705</c:v>
                </c:pt>
                <c:pt idx="4017">
                  <c:v>44706</c:v>
                </c:pt>
                <c:pt idx="4018">
                  <c:v>44707</c:v>
                </c:pt>
                <c:pt idx="4019">
                  <c:v>44708</c:v>
                </c:pt>
                <c:pt idx="4020">
                  <c:v>44711</c:v>
                </c:pt>
                <c:pt idx="4021">
                  <c:v>44712</c:v>
                </c:pt>
                <c:pt idx="4022">
                  <c:v>44713</c:v>
                </c:pt>
                <c:pt idx="4023">
                  <c:v>44714</c:v>
                </c:pt>
                <c:pt idx="4024">
                  <c:v>44715</c:v>
                </c:pt>
                <c:pt idx="4025">
                  <c:v>44718</c:v>
                </c:pt>
                <c:pt idx="4026">
                  <c:v>44719</c:v>
                </c:pt>
                <c:pt idx="4027">
                  <c:v>44720</c:v>
                </c:pt>
                <c:pt idx="4028">
                  <c:v>44721</c:v>
                </c:pt>
                <c:pt idx="4029">
                  <c:v>44722</c:v>
                </c:pt>
                <c:pt idx="4030">
                  <c:v>44725</c:v>
                </c:pt>
                <c:pt idx="4031">
                  <c:v>44726</c:v>
                </c:pt>
                <c:pt idx="4032">
                  <c:v>44727</c:v>
                </c:pt>
                <c:pt idx="4033">
                  <c:v>44728</c:v>
                </c:pt>
                <c:pt idx="4034">
                  <c:v>44729</c:v>
                </c:pt>
                <c:pt idx="4035">
                  <c:v>44732</c:v>
                </c:pt>
                <c:pt idx="4036">
                  <c:v>44733</c:v>
                </c:pt>
                <c:pt idx="4037">
                  <c:v>44734</c:v>
                </c:pt>
                <c:pt idx="4038">
                  <c:v>44735</c:v>
                </c:pt>
                <c:pt idx="4039">
                  <c:v>44736</c:v>
                </c:pt>
                <c:pt idx="4040">
                  <c:v>44739</c:v>
                </c:pt>
                <c:pt idx="4041">
                  <c:v>44740</c:v>
                </c:pt>
                <c:pt idx="4042">
                  <c:v>44741</c:v>
                </c:pt>
                <c:pt idx="4043">
                  <c:v>44742</c:v>
                </c:pt>
                <c:pt idx="4044">
                  <c:v>44743</c:v>
                </c:pt>
                <c:pt idx="4045">
                  <c:v>44746</c:v>
                </c:pt>
                <c:pt idx="4046">
                  <c:v>44747</c:v>
                </c:pt>
                <c:pt idx="4047">
                  <c:v>44748</c:v>
                </c:pt>
                <c:pt idx="4048">
                  <c:v>44749</c:v>
                </c:pt>
                <c:pt idx="4049">
                  <c:v>44750</c:v>
                </c:pt>
                <c:pt idx="4050">
                  <c:v>44753</c:v>
                </c:pt>
                <c:pt idx="4051">
                  <c:v>44754</c:v>
                </c:pt>
                <c:pt idx="4052">
                  <c:v>44755</c:v>
                </c:pt>
                <c:pt idx="4053">
                  <c:v>44756</c:v>
                </c:pt>
                <c:pt idx="4054">
                  <c:v>44757</c:v>
                </c:pt>
                <c:pt idx="4055">
                  <c:v>44760</c:v>
                </c:pt>
                <c:pt idx="4056">
                  <c:v>44761</c:v>
                </c:pt>
                <c:pt idx="4057">
                  <c:v>44762</c:v>
                </c:pt>
                <c:pt idx="4058">
                  <c:v>44763</c:v>
                </c:pt>
                <c:pt idx="4059">
                  <c:v>44764</c:v>
                </c:pt>
                <c:pt idx="4060">
                  <c:v>44767</c:v>
                </c:pt>
                <c:pt idx="4061">
                  <c:v>44768</c:v>
                </c:pt>
                <c:pt idx="4062">
                  <c:v>44769</c:v>
                </c:pt>
                <c:pt idx="4063">
                  <c:v>44770</c:v>
                </c:pt>
                <c:pt idx="4064">
                  <c:v>44771</c:v>
                </c:pt>
                <c:pt idx="4065">
                  <c:v>44774</c:v>
                </c:pt>
                <c:pt idx="4066">
                  <c:v>44775</c:v>
                </c:pt>
                <c:pt idx="4067">
                  <c:v>44776</c:v>
                </c:pt>
                <c:pt idx="4068">
                  <c:v>44777</c:v>
                </c:pt>
                <c:pt idx="4069">
                  <c:v>44778</c:v>
                </c:pt>
                <c:pt idx="4070">
                  <c:v>44781</c:v>
                </c:pt>
                <c:pt idx="4071">
                  <c:v>44782</c:v>
                </c:pt>
                <c:pt idx="4072">
                  <c:v>44783</c:v>
                </c:pt>
                <c:pt idx="4073">
                  <c:v>44784</c:v>
                </c:pt>
                <c:pt idx="4074">
                  <c:v>44785</c:v>
                </c:pt>
                <c:pt idx="4075">
                  <c:v>44788</c:v>
                </c:pt>
                <c:pt idx="4076">
                  <c:v>44789</c:v>
                </c:pt>
                <c:pt idx="4077">
                  <c:v>44790</c:v>
                </c:pt>
                <c:pt idx="4078">
                  <c:v>44791</c:v>
                </c:pt>
                <c:pt idx="4079">
                  <c:v>44792</c:v>
                </c:pt>
                <c:pt idx="4080">
                  <c:v>44795</c:v>
                </c:pt>
                <c:pt idx="4081">
                  <c:v>44796</c:v>
                </c:pt>
                <c:pt idx="4082">
                  <c:v>44797</c:v>
                </c:pt>
                <c:pt idx="4083">
                  <c:v>44798</c:v>
                </c:pt>
                <c:pt idx="4084">
                  <c:v>44799</c:v>
                </c:pt>
                <c:pt idx="4085">
                  <c:v>44802</c:v>
                </c:pt>
                <c:pt idx="4086">
                  <c:v>44803</c:v>
                </c:pt>
                <c:pt idx="4087">
                  <c:v>44804</c:v>
                </c:pt>
                <c:pt idx="4088">
                  <c:v>44805</c:v>
                </c:pt>
                <c:pt idx="4089">
                  <c:v>44806</c:v>
                </c:pt>
                <c:pt idx="4090">
                  <c:v>44809</c:v>
                </c:pt>
                <c:pt idx="4091">
                  <c:v>44810</c:v>
                </c:pt>
                <c:pt idx="4092">
                  <c:v>44811</c:v>
                </c:pt>
                <c:pt idx="4093">
                  <c:v>44812</c:v>
                </c:pt>
                <c:pt idx="4094">
                  <c:v>44813</c:v>
                </c:pt>
                <c:pt idx="4095">
                  <c:v>44816</c:v>
                </c:pt>
                <c:pt idx="4096">
                  <c:v>44817</c:v>
                </c:pt>
                <c:pt idx="4097">
                  <c:v>44818</c:v>
                </c:pt>
                <c:pt idx="4098">
                  <c:v>44819</c:v>
                </c:pt>
                <c:pt idx="4099">
                  <c:v>44820</c:v>
                </c:pt>
                <c:pt idx="4100">
                  <c:v>44823</c:v>
                </c:pt>
                <c:pt idx="4101">
                  <c:v>44824</c:v>
                </c:pt>
                <c:pt idx="4102">
                  <c:v>44825</c:v>
                </c:pt>
                <c:pt idx="4103">
                  <c:v>44826</c:v>
                </c:pt>
                <c:pt idx="4104">
                  <c:v>44827</c:v>
                </c:pt>
                <c:pt idx="4105">
                  <c:v>44830</c:v>
                </c:pt>
                <c:pt idx="4106">
                  <c:v>44831</c:v>
                </c:pt>
                <c:pt idx="4107">
                  <c:v>44832</c:v>
                </c:pt>
                <c:pt idx="4108">
                  <c:v>44833</c:v>
                </c:pt>
                <c:pt idx="4109">
                  <c:v>44834</c:v>
                </c:pt>
                <c:pt idx="4110">
                  <c:v>44837</c:v>
                </c:pt>
                <c:pt idx="4111">
                  <c:v>44838</c:v>
                </c:pt>
                <c:pt idx="4112">
                  <c:v>44839</c:v>
                </c:pt>
                <c:pt idx="4113">
                  <c:v>44840</c:v>
                </c:pt>
                <c:pt idx="4114">
                  <c:v>44841</c:v>
                </c:pt>
                <c:pt idx="4115">
                  <c:v>44844</c:v>
                </c:pt>
                <c:pt idx="4116">
                  <c:v>44845</c:v>
                </c:pt>
                <c:pt idx="4117">
                  <c:v>44846</c:v>
                </c:pt>
                <c:pt idx="4118">
                  <c:v>44847</c:v>
                </c:pt>
                <c:pt idx="4119">
                  <c:v>44848</c:v>
                </c:pt>
                <c:pt idx="4120">
                  <c:v>44851</c:v>
                </c:pt>
                <c:pt idx="4121">
                  <c:v>44852</c:v>
                </c:pt>
                <c:pt idx="4122">
                  <c:v>44853</c:v>
                </c:pt>
                <c:pt idx="4123">
                  <c:v>44854</c:v>
                </c:pt>
                <c:pt idx="4124">
                  <c:v>44855</c:v>
                </c:pt>
                <c:pt idx="4125">
                  <c:v>44858</c:v>
                </c:pt>
                <c:pt idx="4126">
                  <c:v>44859</c:v>
                </c:pt>
                <c:pt idx="4127">
                  <c:v>44860</c:v>
                </c:pt>
                <c:pt idx="4128">
                  <c:v>44861</c:v>
                </c:pt>
                <c:pt idx="4129">
                  <c:v>44862</c:v>
                </c:pt>
                <c:pt idx="4130">
                  <c:v>44865</c:v>
                </c:pt>
                <c:pt idx="4131">
                  <c:v>44866</c:v>
                </c:pt>
                <c:pt idx="4132">
                  <c:v>44867</c:v>
                </c:pt>
                <c:pt idx="4133">
                  <c:v>44868</c:v>
                </c:pt>
                <c:pt idx="4134">
                  <c:v>44869</c:v>
                </c:pt>
                <c:pt idx="4135">
                  <c:v>44872</c:v>
                </c:pt>
                <c:pt idx="4136">
                  <c:v>44873</c:v>
                </c:pt>
                <c:pt idx="4137">
                  <c:v>44874</c:v>
                </c:pt>
                <c:pt idx="4138">
                  <c:v>44875</c:v>
                </c:pt>
                <c:pt idx="4139">
                  <c:v>44876</c:v>
                </c:pt>
                <c:pt idx="4140">
                  <c:v>44879</c:v>
                </c:pt>
                <c:pt idx="4141">
                  <c:v>44880</c:v>
                </c:pt>
                <c:pt idx="4142">
                  <c:v>44881</c:v>
                </c:pt>
                <c:pt idx="4143">
                  <c:v>44882</c:v>
                </c:pt>
                <c:pt idx="4144">
                  <c:v>44883</c:v>
                </c:pt>
                <c:pt idx="4145">
                  <c:v>44886</c:v>
                </c:pt>
                <c:pt idx="4146">
                  <c:v>44887</c:v>
                </c:pt>
                <c:pt idx="4147">
                  <c:v>44888</c:v>
                </c:pt>
                <c:pt idx="4148">
                  <c:v>44889</c:v>
                </c:pt>
                <c:pt idx="4149">
                  <c:v>44890</c:v>
                </c:pt>
                <c:pt idx="4150">
                  <c:v>44893</c:v>
                </c:pt>
                <c:pt idx="4151">
                  <c:v>44894</c:v>
                </c:pt>
                <c:pt idx="4152">
                  <c:v>44895</c:v>
                </c:pt>
                <c:pt idx="4153">
                  <c:v>44896</c:v>
                </c:pt>
                <c:pt idx="4154">
                  <c:v>44897</c:v>
                </c:pt>
                <c:pt idx="4155">
                  <c:v>44900</c:v>
                </c:pt>
                <c:pt idx="4156">
                  <c:v>44901</c:v>
                </c:pt>
                <c:pt idx="4157">
                  <c:v>44902</c:v>
                </c:pt>
                <c:pt idx="4158">
                  <c:v>44903</c:v>
                </c:pt>
                <c:pt idx="4159">
                  <c:v>44904</c:v>
                </c:pt>
                <c:pt idx="4160">
                  <c:v>44907</c:v>
                </c:pt>
                <c:pt idx="4161">
                  <c:v>44908</c:v>
                </c:pt>
                <c:pt idx="4162">
                  <c:v>44909</c:v>
                </c:pt>
                <c:pt idx="4163">
                  <c:v>44910</c:v>
                </c:pt>
                <c:pt idx="4164">
                  <c:v>44911</c:v>
                </c:pt>
                <c:pt idx="4165">
                  <c:v>44914</c:v>
                </c:pt>
                <c:pt idx="4166">
                  <c:v>44915</c:v>
                </c:pt>
                <c:pt idx="4167">
                  <c:v>44916</c:v>
                </c:pt>
                <c:pt idx="4168">
                  <c:v>44917</c:v>
                </c:pt>
                <c:pt idx="4169">
                  <c:v>44918</c:v>
                </c:pt>
                <c:pt idx="4170">
                  <c:v>44921</c:v>
                </c:pt>
                <c:pt idx="4171">
                  <c:v>44922</c:v>
                </c:pt>
                <c:pt idx="4172">
                  <c:v>44923</c:v>
                </c:pt>
                <c:pt idx="4173">
                  <c:v>44924</c:v>
                </c:pt>
                <c:pt idx="4174">
                  <c:v>44925</c:v>
                </c:pt>
                <c:pt idx="4175">
                  <c:v>44928</c:v>
                </c:pt>
                <c:pt idx="4176">
                  <c:v>44929</c:v>
                </c:pt>
                <c:pt idx="4177">
                  <c:v>44930</c:v>
                </c:pt>
                <c:pt idx="4178">
                  <c:v>44931</c:v>
                </c:pt>
                <c:pt idx="4179">
                  <c:v>44932</c:v>
                </c:pt>
                <c:pt idx="4180">
                  <c:v>44935</c:v>
                </c:pt>
                <c:pt idx="4181">
                  <c:v>44936</c:v>
                </c:pt>
                <c:pt idx="4182">
                  <c:v>44937</c:v>
                </c:pt>
                <c:pt idx="4183">
                  <c:v>44938</c:v>
                </c:pt>
                <c:pt idx="4184">
                  <c:v>44939</c:v>
                </c:pt>
                <c:pt idx="4185">
                  <c:v>44942</c:v>
                </c:pt>
                <c:pt idx="4186">
                  <c:v>44943</c:v>
                </c:pt>
                <c:pt idx="4187">
                  <c:v>44944</c:v>
                </c:pt>
                <c:pt idx="4188">
                  <c:v>44945</c:v>
                </c:pt>
                <c:pt idx="4189">
                  <c:v>44946</c:v>
                </c:pt>
                <c:pt idx="4190">
                  <c:v>44949</c:v>
                </c:pt>
                <c:pt idx="4191">
                  <c:v>44950</c:v>
                </c:pt>
                <c:pt idx="4192">
                  <c:v>44951</c:v>
                </c:pt>
                <c:pt idx="4193">
                  <c:v>44952</c:v>
                </c:pt>
                <c:pt idx="4194">
                  <c:v>44953</c:v>
                </c:pt>
                <c:pt idx="4195">
                  <c:v>44956</c:v>
                </c:pt>
                <c:pt idx="4196">
                  <c:v>44957</c:v>
                </c:pt>
                <c:pt idx="4197">
                  <c:v>44958</c:v>
                </c:pt>
                <c:pt idx="4198">
                  <c:v>44959</c:v>
                </c:pt>
                <c:pt idx="4199">
                  <c:v>44960</c:v>
                </c:pt>
                <c:pt idx="4200">
                  <c:v>44963</c:v>
                </c:pt>
                <c:pt idx="4201">
                  <c:v>44964</c:v>
                </c:pt>
                <c:pt idx="4202">
                  <c:v>44965</c:v>
                </c:pt>
                <c:pt idx="4203">
                  <c:v>44966</c:v>
                </c:pt>
                <c:pt idx="4204">
                  <c:v>44967</c:v>
                </c:pt>
                <c:pt idx="4205">
                  <c:v>44970</c:v>
                </c:pt>
                <c:pt idx="4206">
                  <c:v>44971</c:v>
                </c:pt>
                <c:pt idx="4207">
                  <c:v>44972</c:v>
                </c:pt>
                <c:pt idx="4208">
                  <c:v>44973</c:v>
                </c:pt>
                <c:pt idx="4209">
                  <c:v>44974</c:v>
                </c:pt>
                <c:pt idx="4210">
                  <c:v>44977</c:v>
                </c:pt>
                <c:pt idx="4211">
                  <c:v>44978</c:v>
                </c:pt>
                <c:pt idx="4212">
                  <c:v>44979</c:v>
                </c:pt>
                <c:pt idx="4213">
                  <c:v>44980</c:v>
                </c:pt>
                <c:pt idx="4214">
                  <c:v>44981</c:v>
                </c:pt>
                <c:pt idx="4215">
                  <c:v>44984</c:v>
                </c:pt>
                <c:pt idx="4216">
                  <c:v>44985</c:v>
                </c:pt>
                <c:pt idx="4217">
                  <c:v>44986</c:v>
                </c:pt>
                <c:pt idx="4218">
                  <c:v>44987</c:v>
                </c:pt>
                <c:pt idx="4219">
                  <c:v>44988</c:v>
                </c:pt>
                <c:pt idx="4220">
                  <c:v>44991</c:v>
                </c:pt>
                <c:pt idx="4221">
                  <c:v>44992</c:v>
                </c:pt>
                <c:pt idx="4222">
                  <c:v>44993</c:v>
                </c:pt>
                <c:pt idx="4223">
                  <c:v>44994</c:v>
                </c:pt>
                <c:pt idx="4224">
                  <c:v>44995</c:v>
                </c:pt>
                <c:pt idx="4225">
                  <c:v>44998</c:v>
                </c:pt>
                <c:pt idx="4226">
                  <c:v>44999</c:v>
                </c:pt>
                <c:pt idx="4227">
                  <c:v>45000</c:v>
                </c:pt>
                <c:pt idx="4228">
                  <c:v>45001</c:v>
                </c:pt>
                <c:pt idx="4229">
                  <c:v>45002</c:v>
                </c:pt>
                <c:pt idx="4230">
                  <c:v>45005</c:v>
                </c:pt>
                <c:pt idx="4231">
                  <c:v>45006</c:v>
                </c:pt>
                <c:pt idx="4232">
                  <c:v>45007</c:v>
                </c:pt>
                <c:pt idx="4233">
                  <c:v>45008</c:v>
                </c:pt>
                <c:pt idx="4234">
                  <c:v>45009</c:v>
                </c:pt>
                <c:pt idx="4235">
                  <c:v>45012</c:v>
                </c:pt>
                <c:pt idx="4236">
                  <c:v>45013</c:v>
                </c:pt>
                <c:pt idx="4237">
                  <c:v>45014</c:v>
                </c:pt>
                <c:pt idx="4238">
                  <c:v>45015</c:v>
                </c:pt>
                <c:pt idx="4239">
                  <c:v>45016</c:v>
                </c:pt>
                <c:pt idx="4240">
                  <c:v>45019</c:v>
                </c:pt>
                <c:pt idx="4241">
                  <c:v>45020</c:v>
                </c:pt>
                <c:pt idx="4242">
                  <c:v>45021</c:v>
                </c:pt>
                <c:pt idx="4243">
                  <c:v>45022</c:v>
                </c:pt>
                <c:pt idx="4244">
                  <c:v>45023</c:v>
                </c:pt>
                <c:pt idx="4245">
                  <c:v>45026</c:v>
                </c:pt>
                <c:pt idx="4246">
                  <c:v>45027</c:v>
                </c:pt>
                <c:pt idx="4247">
                  <c:v>45028</c:v>
                </c:pt>
                <c:pt idx="4248">
                  <c:v>45029</c:v>
                </c:pt>
                <c:pt idx="4249">
                  <c:v>45030</c:v>
                </c:pt>
                <c:pt idx="4250">
                  <c:v>45033</c:v>
                </c:pt>
                <c:pt idx="4251">
                  <c:v>45034</c:v>
                </c:pt>
                <c:pt idx="4252">
                  <c:v>45035</c:v>
                </c:pt>
                <c:pt idx="4253">
                  <c:v>45036</c:v>
                </c:pt>
                <c:pt idx="4254">
                  <c:v>45037</c:v>
                </c:pt>
                <c:pt idx="4255">
                  <c:v>45040</c:v>
                </c:pt>
                <c:pt idx="4256">
                  <c:v>45041</c:v>
                </c:pt>
                <c:pt idx="4257">
                  <c:v>45042</c:v>
                </c:pt>
                <c:pt idx="4258">
                  <c:v>45043</c:v>
                </c:pt>
                <c:pt idx="4259">
                  <c:v>45044</c:v>
                </c:pt>
                <c:pt idx="4260">
                  <c:v>45047</c:v>
                </c:pt>
                <c:pt idx="4261">
                  <c:v>45048</c:v>
                </c:pt>
                <c:pt idx="4262">
                  <c:v>45049</c:v>
                </c:pt>
                <c:pt idx="4263">
                  <c:v>45050</c:v>
                </c:pt>
                <c:pt idx="4264">
                  <c:v>45051</c:v>
                </c:pt>
                <c:pt idx="4265">
                  <c:v>45054</c:v>
                </c:pt>
                <c:pt idx="4266">
                  <c:v>45055</c:v>
                </c:pt>
                <c:pt idx="4267">
                  <c:v>45056</c:v>
                </c:pt>
                <c:pt idx="4268">
                  <c:v>45057</c:v>
                </c:pt>
                <c:pt idx="4269">
                  <c:v>45058</c:v>
                </c:pt>
                <c:pt idx="4270">
                  <c:v>45061</c:v>
                </c:pt>
                <c:pt idx="4271">
                  <c:v>45062</c:v>
                </c:pt>
                <c:pt idx="4272">
                  <c:v>45063</c:v>
                </c:pt>
                <c:pt idx="4273">
                  <c:v>45064</c:v>
                </c:pt>
                <c:pt idx="4274">
                  <c:v>45065</c:v>
                </c:pt>
                <c:pt idx="4275">
                  <c:v>45068</c:v>
                </c:pt>
                <c:pt idx="4276">
                  <c:v>45069</c:v>
                </c:pt>
                <c:pt idx="4277">
                  <c:v>45070</c:v>
                </c:pt>
                <c:pt idx="4278">
                  <c:v>45071</c:v>
                </c:pt>
                <c:pt idx="4279">
                  <c:v>45072</c:v>
                </c:pt>
                <c:pt idx="4280">
                  <c:v>45075</c:v>
                </c:pt>
                <c:pt idx="4281">
                  <c:v>45076</c:v>
                </c:pt>
                <c:pt idx="4282">
                  <c:v>45077</c:v>
                </c:pt>
                <c:pt idx="4283">
                  <c:v>45078</c:v>
                </c:pt>
                <c:pt idx="4284">
                  <c:v>45079</c:v>
                </c:pt>
                <c:pt idx="4285">
                  <c:v>45082</c:v>
                </c:pt>
                <c:pt idx="4286">
                  <c:v>45083</c:v>
                </c:pt>
                <c:pt idx="4287">
                  <c:v>45084</c:v>
                </c:pt>
                <c:pt idx="4288">
                  <c:v>45085</c:v>
                </c:pt>
                <c:pt idx="4289">
                  <c:v>45086</c:v>
                </c:pt>
                <c:pt idx="4290">
                  <c:v>45089</c:v>
                </c:pt>
                <c:pt idx="4291">
                  <c:v>45090</c:v>
                </c:pt>
                <c:pt idx="4292">
                  <c:v>45091</c:v>
                </c:pt>
                <c:pt idx="4293">
                  <c:v>45092</c:v>
                </c:pt>
                <c:pt idx="4294">
                  <c:v>45093</c:v>
                </c:pt>
                <c:pt idx="4295">
                  <c:v>45096</c:v>
                </c:pt>
                <c:pt idx="4296">
                  <c:v>45097</c:v>
                </c:pt>
                <c:pt idx="4297">
                  <c:v>45098</c:v>
                </c:pt>
                <c:pt idx="4298">
                  <c:v>45099</c:v>
                </c:pt>
                <c:pt idx="4299">
                  <c:v>45100</c:v>
                </c:pt>
                <c:pt idx="4300">
                  <c:v>45103</c:v>
                </c:pt>
                <c:pt idx="4301">
                  <c:v>45104</c:v>
                </c:pt>
                <c:pt idx="4302">
                  <c:v>45105</c:v>
                </c:pt>
                <c:pt idx="4303">
                  <c:v>45106</c:v>
                </c:pt>
                <c:pt idx="4304">
                  <c:v>45107</c:v>
                </c:pt>
                <c:pt idx="4305">
                  <c:v>45110</c:v>
                </c:pt>
                <c:pt idx="4306">
                  <c:v>45111</c:v>
                </c:pt>
                <c:pt idx="4307">
                  <c:v>45112</c:v>
                </c:pt>
                <c:pt idx="4308">
                  <c:v>45113</c:v>
                </c:pt>
                <c:pt idx="4309">
                  <c:v>45114</c:v>
                </c:pt>
                <c:pt idx="4310">
                  <c:v>45117</c:v>
                </c:pt>
                <c:pt idx="4311">
                  <c:v>45118</c:v>
                </c:pt>
                <c:pt idx="4312">
                  <c:v>45119</c:v>
                </c:pt>
                <c:pt idx="4313">
                  <c:v>45120</c:v>
                </c:pt>
                <c:pt idx="4314">
                  <c:v>45121</c:v>
                </c:pt>
                <c:pt idx="4315">
                  <c:v>45124</c:v>
                </c:pt>
                <c:pt idx="4316">
                  <c:v>45125</c:v>
                </c:pt>
                <c:pt idx="4317">
                  <c:v>45126</c:v>
                </c:pt>
                <c:pt idx="4318">
                  <c:v>45127</c:v>
                </c:pt>
                <c:pt idx="4319">
                  <c:v>45128</c:v>
                </c:pt>
                <c:pt idx="4320">
                  <c:v>45131</c:v>
                </c:pt>
                <c:pt idx="4321">
                  <c:v>45132</c:v>
                </c:pt>
                <c:pt idx="4322">
                  <c:v>45133</c:v>
                </c:pt>
                <c:pt idx="4323">
                  <c:v>45134</c:v>
                </c:pt>
                <c:pt idx="4324">
                  <c:v>45135</c:v>
                </c:pt>
                <c:pt idx="4325">
                  <c:v>45138</c:v>
                </c:pt>
                <c:pt idx="4326">
                  <c:v>45139</c:v>
                </c:pt>
                <c:pt idx="4327">
                  <c:v>45140</c:v>
                </c:pt>
                <c:pt idx="4328">
                  <c:v>45141</c:v>
                </c:pt>
                <c:pt idx="4329">
                  <c:v>45142</c:v>
                </c:pt>
                <c:pt idx="4330">
                  <c:v>45145</c:v>
                </c:pt>
                <c:pt idx="4331">
                  <c:v>45146</c:v>
                </c:pt>
                <c:pt idx="4332">
                  <c:v>45147</c:v>
                </c:pt>
                <c:pt idx="4333">
                  <c:v>45148</c:v>
                </c:pt>
                <c:pt idx="4334">
                  <c:v>45149</c:v>
                </c:pt>
                <c:pt idx="4335">
                  <c:v>45152</c:v>
                </c:pt>
                <c:pt idx="4336">
                  <c:v>45153</c:v>
                </c:pt>
                <c:pt idx="4337">
                  <c:v>45154</c:v>
                </c:pt>
                <c:pt idx="4338">
                  <c:v>45155</c:v>
                </c:pt>
                <c:pt idx="4339">
                  <c:v>45156</c:v>
                </c:pt>
                <c:pt idx="4340">
                  <c:v>45159</c:v>
                </c:pt>
                <c:pt idx="4341">
                  <c:v>45160</c:v>
                </c:pt>
                <c:pt idx="4342">
                  <c:v>45161</c:v>
                </c:pt>
                <c:pt idx="4343">
                  <c:v>45162</c:v>
                </c:pt>
                <c:pt idx="4344">
                  <c:v>45163</c:v>
                </c:pt>
                <c:pt idx="4345">
                  <c:v>45166</c:v>
                </c:pt>
                <c:pt idx="4346">
                  <c:v>45167</c:v>
                </c:pt>
                <c:pt idx="4347">
                  <c:v>45168</c:v>
                </c:pt>
                <c:pt idx="4348">
                  <c:v>45169</c:v>
                </c:pt>
                <c:pt idx="4349">
                  <c:v>45170</c:v>
                </c:pt>
                <c:pt idx="4350">
                  <c:v>45173</c:v>
                </c:pt>
                <c:pt idx="4351">
                  <c:v>45174</c:v>
                </c:pt>
                <c:pt idx="4352">
                  <c:v>45175</c:v>
                </c:pt>
                <c:pt idx="4353">
                  <c:v>45176</c:v>
                </c:pt>
                <c:pt idx="4354">
                  <c:v>45177</c:v>
                </c:pt>
                <c:pt idx="4355">
                  <c:v>45180</c:v>
                </c:pt>
                <c:pt idx="4356">
                  <c:v>45181</c:v>
                </c:pt>
                <c:pt idx="4357">
                  <c:v>45182</c:v>
                </c:pt>
                <c:pt idx="4358">
                  <c:v>45183</c:v>
                </c:pt>
                <c:pt idx="4359">
                  <c:v>45184</c:v>
                </c:pt>
                <c:pt idx="4360">
                  <c:v>45187</c:v>
                </c:pt>
                <c:pt idx="4361">
                  <c:v>45188</c:v>
                </c:pt>
                <c:pt idx="4362">
                  <c:v>45189</c:v>
                </c:pt>
                <c:pt idx="4363">
                  <c:v>45190</c:v>
                </c:pt>
                <c:pt idx="4364">
                  <c:v>45191</c:v>
                </c:pt>
                <c:pt idx="4365">
                  <c:v>45194</c:v>
                </c:pt>
                <c:pt idx="4366">
                  <c:v>45195</c:v>
                </c:pt>
                <c:pt idx="4367">
                  <c:v>45196</c:v>
                </c:pt>
                <c:pt idx="4368">
                  <c:v>45197</c:v>
                </c:pt>
                <c:pt idx="4369">
                  <c:v>45198</c:v>
                </c:pt>
                <c:pt idx="4370">
                  <c:v>45201</c:v>
                </c:pt>
                <c:pt idx="4371">
                  <c:v>45202</c:v>
                </c:pt>
                <c:pt idx="4372">
                  <c:v>45203</c:v>
                </c:pt>
                <c:pt idx="4373">
                  <c:v>45204</c:v>
                </c:pt>
                <c:pt idx="4374">
                  <c:v>45205</c:v>
                </c:pt>
                <c:pt idx="4375">
                  <c:v>45208</c:v>
                </c:pt>
                <c:pt idx="4376">
                  <c:v>45209</c:v>
                </c:pt>
                <c:pt idx="4377">
                  <c:v>45210</c:v>
                </c:pt>
                <c:pt idx="4378">
                  <c:v>45211</c:v>
                </c:pt>
                <c:pt idx="4379">
                  <c:v>45212</c:v>
                </c:pt>
                <c:pt idx="4380">
                  <c:v>45215</c:v>
                </c:pt>
                <c:pt idx="4381">
                  <c:v>45216</c:v>
                </c:pt>
                <c:pt idx="4382">
                  <c:v>45217</c:v>
                </c:pt>
                <c:pt idx="4383">
                  <c:v>45218</c:v>
                </c:pt>
                <c:pt idx="4384">
                  <c:v>45219</c:v>
                </c:pt>
                <c:pt idx="4385">
                  <c:v>45222</c:v>
                </c:pt>
                <c:pt idx="4386">
                  <c:v>45223</c:v>
                </c:pt>
                <c:pt idx="4387">
                  <c:v>45224</c:v>
                </c:pt>
                <c:pt idx="4388">
                  <c:v>45225</c:v>
                </c:pt>
                <c:pt idx="4389">
                  <c:v>45226</c:v>
                </c:pt>
                <c:pt idx="4390">
                  <c:v>45229</c:v>
                </c:pt>
                <c:pt idx="4391">
                  <c:v>45230</c:v>
                </c:pt>
                <c:pt idx="4392">
                  <c:v>45231</c:v>
                </c:pt>
                <c:pt idx="4393">
                  <c:v>45232</c:v>
                </c:pt>
                <c:pt idx="4394">
                  <c:v>45233</c:v>
                </c:pt>
                <c:pt idx="4395">
                  <c:v>45236</c:v>
                </c:pt>
                <c:pt idx="4396">
                  <c:v>45237</c:v>
                </c:pt>
                <c:pt idx="4397">
                  <c:v>45238</c:v>
                </c:pt>
                <c:pt idx="4398">
                  <c:v>45239</c:v>
                </c:pt>
                <c:pt idx="4399">
                  <c:v>45240</c:v>
                </c:pt>
                <c:pt idx="4400">
                  <c:v>45243</c:v>
                </c:pt>
                <c:pt idx="4401">
                  <c:v>45244</c:v>
                </c:pt>
                <c:pt idx="4402">
                  <c:v>45245</c:v>
                </c:pt>
                <c:pt idx="4403">
                  <c:v>45246</c:v>
                </c:pt>
                <c:pt idx="4404">
                  <c:v>45247</c:v>
                </c:pt>
                <c:pt idx="4405">
                  <c:v>45250</c:v>
                </c:pt>
                <c:pt idx="4406">
                  <c:v>45251</c:v>
                </c:pt>
                <c:pt idx="4407">
                  <c:v>45252</c:v>
                </c:pt>
                <c:pt idx="4408">
                  <c:v>45253</c:v>
                </c:pt>
                <c:pt idx="4409">
                  <c:v>45254</c:v>
                </c:pt>
                <c:pt idx="4410">
                  <c:v>45257</c:v>
                </c:pt>
                <c:pt idx="4411">
                  <c:v>45258</c:v>
                </c:pt>
                <c:pt idx="4412">
                  <c:v>45259</c:v>
                </c:pt>
                <c:pt idx="4413">
                  <c:v>45260</c:v>
                </c:pt>
                <c:pt idx="4414">
                  <c:v>45261</c:v>
                </c:pt>
                <c:pt idx="4415">
                  <c:v>45264</c:v>
                </c:pt>
                <c:pt idx="4416">
                  <c:v>45265</c:v>
                </c:pt>
                <c:pt idx="4417">
                  <c:v>45266</c:v>
                </c:pt>
                <c:pt idx="4418">
                  <c:v>45267</c:v>
                </c:pt>
                <c:pt idx="4419">
                  <c:v>45268</c:v>
                </c:pt>
                <c:pt idx="4420">
                  <c:v>45271</c:v>
                </c:pt>
                <c:pt idx="4421">
                  <c:v>45272</c:v>
                </c:pt>
                <c:pt idx="4422">
                  <c:v>45273</c:v>
                </c:pt>
                <c:pt idx="4423">
                  <c:v>45274</c:v>
                </c:pt>
                <c:pt idx="4424">
                  <c:v>45275</c:v>
                </c:pt>
                <c:pt idx="4425">
                  <c:v>45278</c:v>
                </c:pt>
                <c:pt idx="4426">
                  <c:v>45279</c:v>
                </c:pt>
                <c:pt idx="4427">
                  <c:v>45280</c:v>
                </c:pt>
                <c:pt idx="4428">
                  <c:v>45281</c:v>
                </c:pt>
                <c:pt idx="4429">
                  <c:v>45282</c:v>
                </c:pt>
                <c:pt idx="4430">
                  <c:v>45285</c:v>
                </c:pt>
                <c:pt idx="4431">
                  <c:v>45286</c:v>
                </c:pt>
                <c:pt idx="4432">
                  <c:v>45287</c:v>
                </c:pt>
                <c:pt idx="4433">
                  <c:v>45288</c:v>
                </c:pt>
                <c:pt idx="4434">
                  <c:v>45289</c:v>
                </c:pt>
                <c:pt idx="4435">
                  <c:v>45292</c:v>
                </c:pt>
                <c:pt idx="4436">
                  <c:v>45293</c:v>
                </c:pt>
                <c:pt idx="4437">
                  <c:v>45294</c:v>
                </c:pt>
                <c:pt idx="4438">
                  <c:v>45295</c:v>
                </c:pt>
                <c:pt idx="4439">
                  <c:v>45296</c:v>
                </c:pt>
                <c:pt idx="4440">
                  <c:v>45299</c:v>
                </c:pt>
                <c:pt idx="4441">
                  <c:v>45300</c:v>
                </c:pt>
                <c:pt idx="4442">
                  <c:v>45301</c:v>
                </c:pt>
                <c:pt idx="4443">
                  <c:v>45302</c:v>
                </c:pt>
                <c:pt idx="4444">
                  <c:v>45303</c:v>
                </c:pt>
                <c:pt idx="4445">
                  <c:v>45306</c:v>
                </c:pt>
                <c:pt idx="4446">
                  <c:v>45307</c:v>
                </c:pt>
                <c:pt idx="4447">
                  <c:v>45308</c:v>
                </c:pt>
                <c:pt idx="4448">
                  <c:v>45309</c:v>
                </c:pt>
                <c:pt idx="4449">
                  <c:v>45310</c:v>
                </c:pt>
                <c:pt idx="4450">
                  <c:v>45313</c:v>
                </c:pt>
                <c:pt idx="4451">
                  <c:v>45314</c:v>
                </c:pt>
                <c:pt idx="4452">
                  <c:v>45315</c:v>
                </c:pt>
                <c:pt idx="4453">
                  <c:v>45316</c:v>
                </c:pt>
                <c:pt idx="4454">
                  <c:v>45317</c:v>
                </c:pt>
                <c:pt idx="4455">
                  <c:v>45320</c:v>
                </c:pt>
                <c:pt idx="4456">
                  <c:v>45321</c:v>
                </c:pt>
                <c:pt idx="4457">
                  <c:v>45322</c:v>
                </c:pt>
                <c:pt idx="4458">
                  <c:v>45323</c:v>
                </c:pt>
                <c:pt idx="4459">
                  <c:v>45324</c:v>
                </c:pt>
                <c:pt idx="4460">
                  <c:v>45327</c:v>
                </c:pt>
                <c:pt idx="4461">
                  <c:v>45328</c:v>
                </c:pt>
                <c:pt idx="4462">
                  <c:v>45329</c:v>
                </c:pt>
                <c:pt idx="4463">
                  <c:v>45330</c:v>
                </c:pt>
                <c:pt idx="4464">
                  <c:v>45331</c:v>
                </c:pt>
                <c:pt idx="4465">
                  <c:v>45334</c:v>
                </c:pt>
                <c:pt idx="4466">
                  <c:v>45335</c:v>
                </c:pt>
                <c:pt idx="4467">
                  <c:v>45336</c:v>
                </c:pt>
                <c:pt idx="4468">
                  <c:v>45337</c:v>
                </c:pt>
                <c:pt idx="4469">
                  <c:v>45338</c:v>
                </c:pt>
                <c:pt idx="4470">
                  <c:v>45341</c:v>
                </c:pt>
                <c:pt idx="4471">
                  <c:v>45342</c:v>
                </c:pt>
                <c:pt idx="4472">
                  <c:v>45343</c:v>
                </c:pt>
                <c:pt idx="4473">
                  <c:v>45344</c:v>
                </c:pt>
                <c:pt idx="4474">
                  <c:v>45345</c:v>
                </c:pt>
                <c:pt idx="4475">
                  <c:v>45348</c:v>
                </c:pt>
                <c:pt idx="4476">
                  <c:v>45349</c:v>
                </c:pt>
                <c:pt idx="4477">
                  <c:v>45350</c:v>
                </c:pt>
                <c:pt idx="4478">
                  <c:v>45351</c:v>
                </c:pt>
                <c:pt idx="4479">
                  <c:v>45352</c:v>
                </c:pt>
                <c:pt idx="4480">
                  <c:v>45355</c:v>
                </c:pt>
                <c:pt idx="4481">
                  <c:v>45356</c:v>
                </c:pt>
                <c:pt idx="4482">
                  <c:v>45357</c:v>
                </c:pt>
                <c:pt idx="4483">
                  <c:v>45358</c:v>
                </c:pt>
                <c:pt idx="4484">
                  <c:v>45359</c:v>
                </c:pt>
                <c:pt idx="4485">
                  <c:v>45362</c:v>
                </c:pt>
                <c:pt idx="4486">
                  <c:v>45363</c:v>
                </c:pt>
                <c:pt idx="4487">
                  <c:v>45364</c:v>
                </c:pt>
                <c:pt idx="4488">
                  <c:v>45365</c:v>
                </c:pt>
                <c:pt idx="4489">
                  <c:v>45366</c:v>
                </c:pt>
                <c:pt idx="4490">
                  <c:v>45369</c:v>
                </c:pt>
                <c:pt idx="4491">
                  <c:v>45370</c:v>
                </c:pt>
                <c:pt idx="4492">
                  <c:v>45371</c:v>
                </c:pt>
                <c:pt idx="4493">
                  <c:v>45372</c:v>
                </c:pt>
                <c:pt idx="4494">
                  <c:v>45373</c:v>
                </c:pt>
                <c:pt idx="4495">
                  <c:v>45376</c:v>
                </c:pt>
                <c:pt idx="4496">
                  <c:v>45377</c:v>
                </c:pt>
                <c:pt idx="4497">
                  <c:v>45378</c:v>
                </c:pt>
                <c:pt idx="4498">
                  <c:v>45379</c:v>
                </c:pt>
                <c:pt idx="4499">
                  <c:v>45380</c:v>
                </c:pt>
                <c:pt idx="4500">
                  <c:v>45383</c:v>
                </c:pt>
                <c:pt idx="4501">
                  <c:v>45384</c:v>
                </c:pt>
                <c:pt idx="4502">
                  <c:v>45385</c:v>
                </c:pt>
                <c:pt idx="4503">
                  <c:v>45386</c:v>
                </c:pt>
                <c:pt idx="4504">
                  <c:v>45387</c:v>
                </c:pt>
                <c:pt idx="4505">
                  <c:v>45390</c:v>
                </c:pt>
                <c:pt idx="4506">
                  <c:v>45391</c:v>
                </c:pt>
                <c:pt idx="4507">
                  <c:v>45392</c:v>
                </c:pt>
                <c:pt idx="4508">
                  <c:v>45393</c:v>
                </c:pt>
                <c:pt idx="4509">
                  <c:v>45394</c:v>
                </c:pt>
                <c:pt idx="4510">
                  <c:v>45397</c:v>
                </c:pt>
                <c:pt idx="4511">
                  <c:v>45398</c:v>
                </c:pt>
                <c:pt idx="4512">
                  <c:v>45399</c:v>
                </c:pt>
                <c:pt idx="4513">
                  <c:v>45400</c:v>
                </c:pt>
                <c:pt idx="4514">
                  <c:v>45401</c:v>
                </c:pt>
                <c:pt idx="4515">
                  <c:v>45404</c:v>
                </c:pt>
                <c:pt idx="4516">
                  <c:v>45405</c:v>
                </c:pt>
                <c:pt idx="4517">
                  <c:v>45406</c:v>
                </c:pt>
                <c:pt idx="4518">
                  <c:v>45407</c:v>
                </c:pt>
                <c:pt idx="4519">
                  <c:v>45408</c:v>
                </c:pt>
                <c:pt idx="4520">
                  <c:v>45411</c:v>
                </c:pt>
                <c:pt idx="4521">
                  <c:v>45412</c:v>
                </c:pt>
                <c:pt idx="4522">
                  <c:v>45413</c:v>
                </c:pt>
                <c:pt idx="4523">
                  <c:v>45414</c:v>
                </c:pt>
                <c:pt idx="4524">
                  <c:v>45415</c:v>
                </c:pt>
                <c:pt idx="4525">
                  <c:v>45418</c:v>
                </c:pt>
                <c:pt idx="4526">
                  <c:v>45419</c:v>
                </c:pt>
                <c:pt idx="4527">
                  <c:v>45420</c:v>
                </c:pt>
                <c:pt idx="4528">
                  <c:v>45421</c:v>
                </c:pt>
                <c:pt idx="4529">
                  <c:v>45422</c:v>
                </c:pt>
                <c:pt idx="4530">
                  <c:v>45425</c:v>
                </c:pt>
                <c:pt idx="4531">
                  <c:v>45426</c:v>
                </c:pt>
                <c:pt idx="4532">
                  <c:v>45427</c:v>
                </c:pt>
                <c:pt idx="4533">
                  <c:v>45428</c:v>
                </c:pt>
                <c:pt idx="4534">
                  <c:v>45429</c:v>
                </c:pt>
                <c:pt idx="4535">
                  <c:v>45432</c:v>
                </c:pt>
                <c:pt idx="4536">
                  <c:v>45433</c:v>
                </c:pt>
                <c:pt idx="4537">
                  <c:v>45434</c:v>
                </c:pt>
                <c:pt idx="4538">
                  <c:v>45435</c:v>
                </c:pt>
                <c:pt idx="4539">
                  <c:v>45436</c:v>
                </c:pt>
                <c:pt idx="4540">
                  <c:v>45439</c:v>
                </c:pt>
                <c:pt idx="4541">
                  <c:v>45440</c:v>
                </c:pt>
                <c:pt idx="4542">
                  <c:v>45441</c:v>
                </c:pt>
                <c:pt idx="4543">
                  <c:v>45442</c:v>
                </c:pt>
                <c:pt idx="4544">
                  <c:v>45443</c:v>
                </c:pt>
                <c:pt idx="4545">
                  <c:v>45446</c:v>
                </c:pt>
                <c:pt idx="4546">
                  <c:v>45447</c:v>
                </c:pt>
                <c:pt idx="4547">
                  <c:v>45448</c:v>
                </c:pt>
                <c:pt idx="4548">
                  <c:v>45449</c:v>
                </c:pt>
                <c:pt idx="4549">
                  <c:v>45450</c:v>
                </c:pt>
                <c:pt idx="4550">
                  <c:v>45453</c:v>
                </c:pt>
                <c:pt idx="4551">
                  <c:v>45454</c:v>
                </c:pt>
                <c:pt idx="4552">
                  <c:v>45455</c:v>
                </c:pt>
                <c:pt idx="4553">
                  <c:v>45456</c:v>
                </c:pt>
                <c:pt idx="4554">
                  <c:v>45457</c:v>
                </c:pt>
                <c:pt idx="4555">
                  <c:v>45460</c:v>
                </c:pt>
                <c:pt idx="4556">
                  <c:v>45461</c:v>
                </c:pt>
                <c:pt idx="4557">
                  <c:v>45462</c:v>
                </c:pt>
                <c:pt idx="4558">
                  <c:v>45463</c:v>
                </c:pt>
                <c:pt idx="4559">
                  <c:v>45464</c:v>
                </c:pt>
                <c:pt idx="4560">
                  <c:v>45467</c:v>
                </c:pt>
                <c:pt idx="4561">
                  <c:v>45468</c:v>
                </c:pt>
                <c:pt idx="4562">
                  <c:v>45469</c:v>
                </c:pt>
                <c:pt idx="4563">
                  <c:v>45470</c:v>
                </c:pt>
                <c:pt idx="4564">
                  <c:v>45471</c:v>
                </c:pt>
                <c:pt idx="4565">
                  <c:v>45474</c:v>
                </c:pt>
                <c:pt idx="4566">
                  <c:v>45475</c:v>
                </c:pt>
                <c:pt idx="4567">
                  <c:v>45476</c:v>
                </c:pt>
                <c:pt idx="4568">
                  <c:v>45477</c:v>
                </c:pt>
                <c:pt idx="4569">
                  <c:v>45478</c:v>
                </c:pt>
                <c:pt idx="4570">
                  <c:v>45481</c:v>
                </c:pt>
                <c:pt idx="4571">
                  <c:v>45482</c:v>
                </c:pt>
                <c:pt idx="4572">
                  <c:v>45483</c:v>
                </c:pt>
                <c:pt idx="4573">
                  <c:v>45484</c:v>
                </c:pt>
                <c:pt idx="4574">
                  <c:v>45485</c:v>
                </c:pt>
                <c:pt idx="4575">
                  <c:v>45488</c:v>
                </c:pt>
                <c:pt idx="4576">
                  <c:v>45489</c:v>
                </c:pt>
                <c:pt idx="4577">
                  <c:v>45490</c:v>
                </c:pt>
                <c:pt idx="4578">
                  <c:v>45491</c:v>
                </c:pt>
                <c:pt idx="4579">
                  <c:v>45492</c:v>
                </c:pt>
                <c:pt idx="4580">
                  <c:v>45495</c:v>
                </c:pt>
                <c:pt idx="4581">
                  <c:v>45496</c:v>
                </c:pt>
                <c:pt idx="4582">
                  <c:v>45497</c:v>
                </c:pt>
                <c:pt idx="4583">
                  <c:v>45498</c:v>
                </c:pt>
                <c:pt idx="4584">
                  <c:v>45499</c:v>
                </c:pt>
                <c:pt idx="4585">
                  <c:v>45502</c:v>
                </c:pt>
                <c:pt idx="4586">
                  <c:v>45503</c:v>
                </c:pt>
                <c:pt idx="4587">
                  <c:v>45504</c:v>
                </c:pt>
              </c:numCache>
            </c:numRef>
          </c:cat>
          <c:val>
            <c:numRef>
              <c:f>Worksheet!$C$8:$C$6089</c:f>
              <c:numCache>
                <c:formatCode>General</c:formatCode>
                <c:ptCount val="6082"/>
                <c:pt idx="0">
                  <c:v>16.1631</c:v>
                </c:pt>
                <c:pt idx="1">
                  <c:v>16.157800000000002</c:v>
                </c:pt>
                <c:pt idx="2">
                  <c:v>16.128900000000002</c:v>
                </c:pt>
                <c:pt idx="3">
                  <c:v>16.153400000000001</c:v>
                </c:pt>
                <c:pt idx="4">
                  <c:v>16.052299999999999</c:v>
                </c:pt>
                <c:pt idx="5">
                  <c:v>16.090800000000002</c:v>
                </c:pt>
                <c:pt idx="6">
                  <c:v>16.0946</c:v>
                </c:pt>
                <c:pt idx="7">
                  <c:v>16.124400000000001</c:v>
                </c:pt>
                <c:pt idx="8">
                  <c:v>16.227599999999999</c:v>
                </c:pt>
                <c:pt idx="9">
                  <c:v>16.300599999999999</c:v>
                </c:pt>
                <c:pt idx="10">
                  <c:v>16.302800000000001</c:v>
                </c:pt>
                <c:pt idx="11">
                  <c:v>16.315000000000001</c:v>
                </c:pt>
                <c:pt idx="12">
                  <c:v>16.293600000000001</c:v>
                </c:pt>
                <c:pt idx="13">
                  <c:v>16.225300000000001</c:v>
                </c:pt>
                <c:pt idx="14">
                  <c:v>16.2867</c:v>
                </c:pt>
                <c:pt idx="15">
                  <c:v>16.212800000000001</c:v>
                </c:pt>
                <c:pt idx="16">
                  <c:v>16.2562</c:v>
                </c:pt>
                <c:pt idx="17">
                  <c:v>16.409700000000001</c:v>
                </c:pt>
                <c:pt idx="18">
                  <c:v>16.210599999999999</c:v>
                </c:pt>
                <c:pt idx="19">
                  <c:v>16.192699999999999</c:v>
                </c:pt>
                <c:pt idx="20">
                  <c:v>16.196200000000001</c:v>
                </c:pt>
                <c:pt idx="21">
                  <c:v>16.2727</c:v>
                </c:pt>
                <c:pt idx="22">
                  <c:v>16.363499999999998</c:v>
                </c:pt>
                <c:pt idx="23">
                  <c:v>16.412600000000001</c:v>
                </c:pt>
                <c:pt idx="24">
                  <c:v>16.4404</c:v>
                </c:pt>
                <c:pt idx="25">
                  <c:v>16.422999999999998</c:v>
                </c:pt>
                <c:pt idx="26">
                  <c:v>16.4178</c:v>
                </c:pt>
                <c:pt idx="27">
                  <c:v>16.4192</c:v>
                </c:pt>
                <c:pt idx="28">
                  <c:v>16.395</c:v>
                </c:pt>
                <c:pt idx="29">
                  <c:v>16.2668</c:v>
                </c:pt>
                <c:pt idx="30">
                  <c:v>16.215699999999998</c:v>
                </c:pt>
                <c:pt idx="31">
                  <c:v>16.330100000000002</c:v>
                </c:pt>
                <c:pt idx="32">
                  <c:v>16.460899999999999</c:v>
                </c:pt>
                <c:pt idx="33">
                  <c:v>15.417199999999999</c:v>
                </c:pt>
                <c:pt idx="34">
                  <c:v>15.395300000000001</c:v>
                </c:pt>
                <c:pt idx="35">
                  <c:v>15.4003</c:v>
                </c:pt>
                <c:pt idx="36">
                  <c:v>15.456099999999999</c:v>
                </c:pt>
                <c:pt idx="37">
                  <c:v>15.430099999999999</c:v>
                </c:pt>
                <c:pt idx="38">
                  <c:v>15.413</c:v>
                </c:pt>
                <c:pt idx="39">
                  <c:v>15.360799999999999</c:v>
                </c:pt>
                <c:pt idx="40">
                  <c:v>15.3398</c:v>
                </c:pt>
                <c:pt idx="41">
                  <c:v>14.8047</c:v>
                </c:pt>
                <c:pt idx="42">
                  <c:v>14.9041</c:v>
                </c:pt>
                <c:pt idx="43">
                  <c:v>14.860900000000001</c:v>
                </c:pt>
                <c:pt idx="44">
                  <c:v>14.705399999999999</c:v>
                </c:pt>
                <c:pt idx="45">
                  <c:v>14.573399999999999</c:v>
                </c:pt>
                <c:pt idx="46">
                  <c:v>14.797499999999999</c:v>
                </c:pt>
                <c:pt idx="47">
                  <c:v>14.7707</c:v>
                </c:pt>
                <c:pt idx="48">
                  <c:v>14.870200000000001</c:v>
                </c:pt>
                <c:pt idx="49">
                  <c:v>14.8842</c:v>
                </c:pt>
                <c:pt idx="50">
                  <c:v>14.930400000000001</c:v>
                </c:pt>
                <c:pt idx="51">
                  <c:v>14.6187</c:v>
                </c:pt>
                <c:pt idx="52">
                  <c:v>14.722300000000001</c:v>
                </c:pt>
                <c:pt idx="53">
                  <c:v>14.779500000000001</c:v>
                </c:pt>
                <c:pt idx="54">
                  <c:v>14.7448</c:v>
                </c:pt>
                <c:pt idx="55">
                  <c:v>14.8489</c:v>
                </c:pt>
                <c:pt idx="56">
                  <c:v>14.9625</c:v>
                </c:pt>
                <c:pt idx="57">
                  <c:v>15.1989</c:v>
                </c:pt>
                <c:pt idx="58">
                  <c:v>15.214</c:v>
                </c:pt>
                <c:pt idx="59">
                  <c:v>15.219099999999999</c:v>
                </c:pt>
                <c:pt idx="60">
                  <c:v>15.2661</c:v>
                </c:pt>
                <c:pt idx="61">
                  <c:v>15.1721</c:v>
                </c:pt>
                <c:pt idx="62">
                  <c:v>15.0505</c:v>
                </c:pt>
                <c:pt idx="63">
                  <c:v>15.109500000000001</c:v>
                </c:pt>
                <c:pt idx="64">
                  <c:v>15.0854</c:v>
                </c:pt>
                <c:pt idx="65">
                  <c:v>15.069900000000001</c:v>
                </c:pt>
                <c:pt idx="66">
                  <c:v>15.252599999999999</c:v>
                </c:pt>
                <c:pt idx="67">
                  <c:v>15.2798</c:v>
                </c:pt>
                <c:pt idx="68">
                  <c:v>15.3063</c:v>
                </c:pt>
                <c:pt idx="69">
                  <c:v>15.3078</c:v>
                </c:pt>
                <c:pt idx="70">
                  <c:v>15.2933</c:v>
                </c:pt>
                <c:pt idx="71">
                  <c:v>15.331899999999999</c:v>
                </c:pt>
                <c:pt idx="72">
                  <c:v>15.226800000000001</c:v>
                </c:pt>
                <c:pt idx="73">
                  <c:v>15.3409</c:v>
                </c:pt>
                <c:pt idx="74">
                  <c:v>15.389900000000001</c:v>
                </c:pt>
                <c:pt idx="75">
                  <c:v>15.542</c:v>
                </c:pt>
                <c:pt idx="76">
                  <c:v>15.571899999999999</c:v>
                </c:pt>
                <c:pt idx="77">
                  <c:v>15.5901</c:v>
                </c:pt>
                <c:pt idx="78">
                  <c:v>15.5593</c:v>
                </c:pt>
                <c:pt idx="79">
                  <c:v>15.7037</c:v>
                </c:pt>
                <c:pt idx="80">
                  <c:v>15.661300000000001</c:v>
                </c:pt>
                <c:pt idx="81">
                  <c:v>15.655900000000001</c:v>
                </c:pt>
                <c:pt idx="82">
                  <c:v>15.809900000000001</c:v>
                </c:pt>
                <c:pt idx="83">
                  <c:v>15.790699999999999</c:v>
                </c:pt>
                <c:pt idx="84">
                  <c:v>15.7692</c:v>
                </c:pt>
                <c:pt idx="85">
                  <c:v>15.6295</c:v>
                </c:pt>
                <c:pt idx="86">
                  <c:v>15.666600000000001</c:v>
                </c:pt>
                <c:pt idx="87">
                  <c:v>15.7691</c:v>
                </c:pt>
                <c:pt idx="88">
                  <c:v>15.8325</c:v>
                </c:pt>
                <c:pt idx="89">
                  <c:v>15.873100000000001</c:v>
                </c:pt>
                <c:pt idx="90">
                  <c:v>15.907299999999999</c:v>
                </c:pt>
                <c:pt idx="91">
                  <c:v>15.888999999999999</c:v>
                </c:pt>
                <c:pt idx="92">
                  <c:v>15.9404</c:v>
                </c:pt>
                <c:pt idx="93">
                  <c:v>15.7197</c:v>
                </c:pt>
                <c:pt idx="94">
                  <c:v>15.8672</c:v>
                </c:pt>
                <c:pt idx="95">
                  <c:v>15.8278</c:v>
                </c:pt>
                <c:pt idx="96">
                  <c:v>15.815</c:v>
                </c:pt>
                <c:pt idx="97">
                  <c:v>15.942399999999999</c:v>
                </c:pt>
                <c:pt idx="98">
                  <c:v>15.942500000000001</c:v>
                </c:pt>
                <c:pt idx="99">
                  <c:v>16.051200000000001</c:v>
                </c:pt>
                <c:pt idx="100">
                  <c:v>16.0656</c:v>
                </c:pt>
                <c:pt idx="101">
                  <c:v>16.048100000000002</c:v>
                </c:pt>
                <c:pt idx="102">
                  <c:v>16.027899999999999</c:v>
                </c:pt>
                <c:pt idx="103">
                  <c:v>15.8589</c:v>
                </c:pt>
                <c:pt idx="104">
                  <c:v>15.948399999999999</c:v>
                </c:pt>
                <c:pt idx="105">
                  <c:v>15.9458</c:v>
                </c:pt>
                <c:pt idx="106">
                  <c:v>15.9529</c:v>
                </c:pt>
                <c:pt idx="107">
                  <c:v>16.077300000000001</c:v>
                </c:pt>
                <c:pt idx="108">
                  <c:v>16.070900000000002</c:v>
                </c:pt>
                <c:pt idx="109">
                  <c:v>16.121700000000001</c:v>
                </c:pt>
                <c:pt idx="110">
                  <c:v>16.142600000000002</c:v>
                </c:pt>
                <c:pt idx="111">
                  <c:v>16.056000000000001</c:v>
                </c:pt>
                <c:pt idx="112">
                  <c:v>15.9115</c:v>
                </c:pt>
                <c:pt idx="113">
                  <c:v>15.6241</c:v>
                </c:pt>
                <c:pt idx="114">
                  <c:v>15.817600000000001</c:v>
                </c:pt>
                <c:pt idx="115">
                  <c:v>15.837899999999999</c:v>
                </c:pt>
                <c:pt idx="116">
                  <c:v>15.6683</c:v>
                </c:pt>
                <c:pt idx="117">
                  <c:v>15.9069</c:v>
                </c:pt>
                <c:pt idx="118">
                  <c:v>15.984400000000001</c:v>
                </c:pt>
                <c:pt idx="119">
                  <c:v>16.082999999999998</c:v>
                </c:pt>
                <c:pt idx="120">
                  <c:v>16.024100000000001</c:v>
                </c:pt>
                <c:pt idx="121">
                  <c:v>16.054099999999998</c:v>
                </c:pt>
                <c:pt idx="122">
                  <c:v>15.8187</c:v>
                </c:pt>
                <c:pt idx="123">
                  <c:v>15.945399999999999</c:v>
                </c:pt>
                <c:pt idx="124">
                  <c:v>15.722300000000001</c:v>
                </c:pt>
                <c:pt idx="125">
                  <c:v>15.672800000000001</c:v>
                </c:pt>
                <c:pt idx="126">
                  <c:v>15.629799999999999</c:v>
                </c:pt>
                <c:pt idx="127">
                  <c:v>15.7567</c:v>
                </c:pt>
                <c:pt idx="128">
                  <c:v>15.7339</c:v>
                </c:pt>
                <c:pt idx="129">
                  <c:v>15.702199999999999</c:v>
                </c:pt>
                <c:pt idx="130">
                  <c:v>15.824199999999999</c:v>
                </c:pt>
                <c:pt idx="131">
                  <c:v>15.881500000000001</c:v>
                </c:pt>
                <c:pt idx="132">
                  <c:v>15.884</c:v>
                </c:pt>
                <c:pt idx="133">
                  <c:v>15.880800000000001</c:v>
                </c:pt>
                <c:pt idx="134">
                  <c:v>15.933999999999999</c:v>
                </c:pt>
                <c:pt idx="135">
                  <c:v>15.9442</c:v>
                </c:pt>
                <c:pt idx="136">
                  <c:v>15.7219</c:v>
                </c:pt>
                <c:pt idx="137">
                  <c:v>15.802899999999999</c:v>
                </c:pt>
                <c:pt idx="138">
                  <c:v>16.106200000000001</c:v>
                </c:pt>
                <c:pt idx="139">
                  <c:v>16.158300000000001</c:v>
                </c:pt>
                <c:pt idx="140">
                  <c:v>16.127199999999998</c:v>
                </c:pt>
                <c:pt idx="141">
                  <c:v>16.116700000000002</c:v>
                </c:pt>
                <c:pt idx="142">
                  <c:v>16.093900000000001</c:v>
                </c:pt>
                <c:pt idx="143">
                  <c:v>16.180099999999999</c:v>
                </c:pt>
                <c:pt idx="144">
                  <c:v>15.9757</c:v>
                </c:pt>
                <c:pt idx="145">
                  <c:v>16.032299999999999</c:v>
                </c:pt>
                <c:pt idx="146">
                  <c:v>15.7034</c:v>
                </c:pt>
                <c:pt idx="147">
                  <c:v>15.760300000000001</c:v>
                </c:pt>
                <c:pt idx="148">
                  <c:v>15.374499999999999</c:v>
                </c:pt>
                <c:pt idx="149">
                  <c:v>15.1137</c:v>
                </c:pt>
                <c:pt idx="150">
                  <c:v>15.2422</c:v>
                </c:pt>
                <c:pt idx="151">
                  <c:v>15.0403</c:v>
                </c:pt>
                <c:pt idx="152">
                  <c:v>15.140700000000001</c:v>
                </c:pt>
                <c:pt idx="153">
                  <c:v>15.200100000000001</c:v>
                </c:pt>
                <c:pt idx="154">
                  <c:v>14.7911</c:v>
                </c:pt>
                <c:pt idx="155">
                  <c:v>15.1601</c:v>
                </c:pt>
                <c:pt idx="156">
                  <c:v>15.262</c:v>
                </c:pt>
                <c:pt idx="157">
                  <c:v>15.4726</c:v>
                </c:pt>
                <c:pt idx="158">
                  <c:v>15.0852</c:v>
                </c:pt>
                <c:pt idx="159">
                  <c:v>15.0886</c:v>
                </c:pt>
                <c:pt idx="160">
                  <c:v>15.0809</c:v>
                </c:pt>
                <c:pt idx="161">
                  <c:v>14.8087</c:v>
                </c:pt>
                <c:pt idx="162">
                  <c:v>14.604799999999999</c:v>
                </c:pt>
                <c:pt idx="163">
                  <c:v>14.5932</c:v>
                </c:pt>
                <c:pt idx="164">
                  <c:v>14.956</c:v>
                </c:pt>
                <c:pt idx="165">
                  <c:v>14.946400000000001</c:v>
                </c:pt>
                <c:pt idx="166">
                  <c:v>14.960599999999999</c:v>
                </c:pt>
                <c:pt idx="167">
                  <c:v>15.1563</c:v>
                </c:pt>
                <c:pt idx="168">
                  <c:v>15.1365</c:v>
                </c:pt>
                <c:pt idx="169">
                  <c:v>15.3125</c:v>
                </c:pt>
                <c:pt idx="170">
                  <c:v>15.186</c:v>
                </c:pt>
                <c:pt idx="171">
                  <c:v>14.8314</c:v>
                </c:pt>
                <c:pt idx="172">
                  <c:v>15.165800000000001</c:v>
                </c:pt>
                <c:pt idx="173">
                  <c:v>15.101900000000001</c:v>
                </c:pt>
                <c:pt idx="174">
                  <c:v>15.269399999999999</c:v>
                </c:pt>
                <c:pt idx="175">
                  <c:v>15.2677</c:v>
                </c:pt>
                <c:pt idx="176">
                  <c:v>15.4216</c:v>
                </c:pt>
                <c:pt idx="177">
                  <c:v>15.241</c:v>
                </c:pt>
                <c:pt idx="178">
                  <c:v>15.300700000000001</c:v>
                </c:pt>
                <c:pt idx="179">
                  <c:v>15.045999999999999</c:v>
                </c:pt>
                <c:pt idx="180">
                  <c:v>15.0251</c:v>
                </c:pt>
                <c:pt idx="181">
                  <c:v>15.2355</c:v>
                </c:pt>
                <c:pt idx="182">
                  <c:v>15.236000000000001</c:v>
                </c:pt>
                <c:pt idx="183">
                  <c:v>15.3683</c:v>
                </c:pt>
                <c:pt idx="184">
                  <c:v>15.3733</c:v>
                </c:pt>
                <c:pt idx="185">
                  <c:v>15.2966</c:v>
                </c:pt>
                <c:pt idx="186">
                  <c:v>15.747999999999999</c:v>
                </c:pt>
                <c:pt idx="187">
                  <c:v>15.848100000000001</c:v>
                </c:pt>
                <c:pt idx="188">
                  <c:v>15.7316</c:v>
                </c:pt>
                <c:pt idx="189">
                  <c:v>15.8043</c:v>
                </c:pt>
                <c:pt idx="190">
                  <c:v>15.6145</c:v>
                </c:pt>
                <c:pt idx="191">
                  <c:v>15.610799999999999</c:v>
                </c:pt>
                <c:pt idx="192">
                  <c:v>15.7117</c:v>
                </c:pt>
                <c:pt idx="193">
                  <c:v>15.769</c:v>
                </c:pt>
                <c:pt idx="194">
                  <c:v>15.7232</c:v>
                </c:pt>
                <c:pt idx="195">
                  <c:v>15.9528</c:v>
                </c:pt>
                <c:pt idx="196">
                  <c:v>15.993</c:v>
                </c:pt>
                <c:pt idx="197">
                  <c:v>15.9251</c:v>
                </c:pt>
                <c:pt idx="198">
                  <c:v>15.981199999999999</c:v>
                </c:pt>
                <c:pt idx="199">
                  <c:v>16.148</c:v>
                </c:pt>
                <c:pt idx="200">
                  <c:v>16.112100000000002</c:v>
                </c:pt>
                <c:pt idx="201">
                  <c:v>16.244399999999999</c:v>
                </c:pt>
                <c:pt idx="202">
                  <c:v>16.227599999999999</c:v>
                </c:pt>
                <c:pt idx="203">
                  <c:v>16.148700000000002</c:v>
                </c:pt>
                <c:pt idx="204">
                  <c:v>16.226299999999998</c:v>
                </c:pt>
                <c:pt idx="205">
                  <c:v>16.100100000000001</c:v>
                </c:pt>
                <c:pt idx="206">
                  <c:v>16.008500000000002</c:v>
                </c:pt>
                <c:pt idx="207">
                  <c:v>16.042200000000001</c:v>
                </c:pt>
                <c:pt idx="208">
                  <c:v>16.0458</c:v>
                </c:pt>
                <c:pt idx="209">
                  <c:v>15.668200000000001</c:v>
                </c:pt>
                <c:pt idx="210">
                  <c:v>15.728400000000001</c:v>
                </c:pt>
                <c:pt idx="211">
                  <c:v>15.8573</c:v>
                </c:pt>
                <c:pt idx="212">
                  <c:v>15.871700000000001</c:v>
                </c:pt>
                <c:pt idx="213">
                  <c:v>15.864599999999999</c:v>
                </c:pt>
                <c:pt idx="214">
                  <c:v>16.097200000000001</c:v>
                </c:pt>
                <c:pt idx="215">
                  <c:v>16.169599999999999</c:v>
                </c:pt>
                <c:pt idx="216">
                  <c:v>16.0547</c:v>
                </c:pt>
                <c:pt idx="217">
                  <c:v>16.256699999999999</c:v>
                </c:pt>
                <c:pt idx="218">
                  <c:v>15.823700000000001</c:v>
                </c:pt>
                <c:pt idx="219">
                  <c:v>15.830299999999999</c:v>
                </c:pt>
                <c:pt idx="220">
                  <c:v>15.8489</c:v>
                </c:pt>
                <c:pt idx="221">
                  <c:v>16.0547</c:v>
                </c:pt>
                <c:pt idx="222">
                  <c:v>15.583500000000001</c:v>
                </c:pt>
                <c:pt idx="223">
                  <c:v>15.643800000000001</c:v>
                </c:pt>
                <c:pt idx="224">
                  <c:v>15.4026</c:v>
                </c:pt>
                <c:pt idx="225">
                  <c:v>15.278</c:v>
                </c:pt>
                <c:pt idx="226">
                  <c:v>15.7652</c:v>
                </c:pt>
                <c:pt idx="227">
                  <c:v>15.6739</c:v>
                </c:pt>
                <c:pt idx="228">
                  <c:v>15.557399999999999</c:v>
                </c:pt>
                <c:pt idx="229">
                  <c:v>15.6572</c:v>
                </c:pt>
                <c:pt idx="230">
                  <c:v>15.3687</c:v>
                </c:pt>
                <c:pt idx="231">
                  <c:v>15.4312</c:v>
                </c:pt>
                <c:pt idx="232">
                  <c:v>15.220599999999999</c:v>
                </c:pt>
                <c:pt idx="233">
                  <c:v>15.220599999999999</c:v>
                </c:pt>
                <c:pt idx="234">
                  <c:v>15.4832</c:v>
                </c:pt>
                <c:pt idx="235">
                  <c:v>15.1225</c:v>
                </c:pt>
                <c:pt idx="236">
                  <c:v>15.364100000000001</c:v>
                </c:pt>
                <c:pt idx="237">
                  <c:v>15.8171</c:v>
                </c:pt>
                <c:pt idx="238">
                  <c:v>15.8399</c:v>
                </c:pt>
                <c:pt idx="239">
                  <c:v>15.993399999999999</c:v>
                </c:pt>
                <c:pt idx="240">
                  <c:v>15.914</c:v>
                </c:pt>
                <c:pt idx="241">
                  <c:v>15.862500000000001</c:v>
                </c:pt>
                <c:pt idx="242">
                  <c:v>16.132000000000001</c:v>
                </c:pt>
                <c:pt idx="243">
                  <c:v>16.3993</c:v>
                </c:pt>
                <c:pt idx="244">
                  <c:v>16.3645</c:v>
                </c:pt>
                <c:pt idx="245">
                  <c:v>16.482800000000001</c:v>
                </c:pt>
                <c:pt idx="246">
                  <c:v>16.124099999999999</c:v>
                </c:pt>
                <c:pt idx="247">
                  <c:v>16.243200000000002</c:v>
                </c:pt>
                <c:pt idx="248">
                  <c:v>16.273299999999999</c:v>
                </c:pt>
                <c:pt idx="249">
                  <c:v>16.086200000000002</c:v>
                </c:pt>
                <c:pt idx="250">
                  <c:v>15.8809</c:v>
                </c:pt>
                <c:pt idx="251">
                  <c:v>15.9916</c:v>
                </c:pt>
                <c:pt idx="252">
                  <c:v>16.0471</c:v>
                </c:pt>
                <c:pt idx="253">
                  <c:v>16.1585</c:v>
                </c:pt>
                <c:pt idx="254">
                  <c:v>16.450299999999999</c:v>
                </c:pt>
                <c:pt idx="255">
                  <c:v>16.5337</c:v>
                </c:pt>
                <c:pt idx="256">
                  <c:v>16.533799999999999</c:v>
                </c:pt>
                <c:pt idx="257">
                  <c:v>16.559699999999999</c:v>
                </c:pt>
                <c:pt idx="258">
                  <c:v>16.330400000000001</c:v>
                </c:pt>
                <c:pt idx="259">
                  <c:v>16.353999999999999</c:v>
                </c:pt>
                <c:pt idx="260">
                  <c:v>16.243400000000001</c:v>
                </c:pt>
                <c:pt idx="261">
                  <c:v>16.240200000000002</c:v>
                </c:pt>
                <c:pt idx="262">
                  <c:v>16.008299999999998</c:v>
                </c:pt>
                <c:pt idx="263">
                  <c:v>15.9916</c:v>
                </c:pt>
                <c:pt idx="264">
                  <c:v>15.619199999999999</c:v>
                </c:pt>
                <c:pt idx="265">
                  <c:v>15.696</c:v>
                </c:pt>
                <c:pt idx="266">
                  <c:v>15.4162</c:v>
                </c:pt>
                <c:pt idx="267">
                  <c:v>15.620200000000001</c:v>
                </c:pt>
                <c:pt idx="268">
                  <c:v>15.7597</c:v>
                </c:pt>
                <c:pt idx="269">
                  <c:v>15.5618</c:v>
                </c:pt>
                <c:pt idx="270">
                  <c:v>15.7478</c:v>
                </c:pt>
                <c:pt idx="271">
                  <c:v>15.444800000000001</c:v>
                </c:pt>
                <c:pt idx="272">
                  <c:v>15.381500000000001</c:v>
                </c:pt>
                <c:pt idx="273">
                  <c:v>15.0745</c:v>
                </c:pt>
                <c:pt idx="274">
                  <c:v>14.993399999999999</c:v>
                </c:pt>
                <c:pt idx="275">
                  <c:v>15.003</c:v>
                </c:pt>
                <c:pt idx="276">
                  <c:v>14.8447</c:v>
                </c:pt>
                <c:pt idx="277">
                  <c:v>15.231999999999999</c:v>
                </c:pt>
                <c:pt idx="278">
                  <c:v>15.3696</c:v>
                </c:pt>
                <c:pt idx="279">
                  <c:v>15.133699999999999</c:v>
                </c:pt>
                <c:pt idx="280">
                  <c:v>15.3873</c:v>
                </c:pt>
                <c:pt idx="281">
                  <c:v>15.497299999999999</c:v>
                </c:pt>
                <c:pt idx="282">
                  <c:v>15.4183</c:v>
                </c:pt>
                <c:pt idx="283">
                  <c:v>15.7387</c:v>
                </c:pt>
                <c:pt idx="284">
                  <c:v>15.9176</c:v>
                </c:pt>
                <c:pt idx="285">
                  <c:v>15.7685</c:v>
                </c:pt>
                <c:pt idx="286">
                  <c:v>15.258100000000001</c:v>
                </c:pt>
                <c:pt idx="287">
                  <c:v>15.1191</c:v>
                </c:pt>
                <c:pt idx="288">
                  <c:v>15.232900000000001</c:v>
                </c:pt>
                <c:pt idx="289">
                  <c:v>15.1531</c:v>
                </c:pt>
                <c:pt idx="290">
                  <c:v>15.295500000000001</c:v>
                </c:pt>
                <c:pt idx="291">
                  <c:v>15.4352</c:v>
                </c:pt>
                <c:pt idx="292">
                  <c:v>15.6622</c:v>
                </c:pt>
                <c:pt idx="293">
                  <c:v>15.465299999999999</c:v>
                </c:pt>
                <c:pt idx="294">
                  <c:v>15.482699999999999</c:v>
                </c:pt>
                <c:pt idx="295">
                  <c:v>15.489000000000001</c:v>
                </c:pt>
                <c:pt idx="296">
                  <c:v>13.6027</c:v>
                </c:pt>
                <c:pt idx="297">
                  <c:v>13.716699999999999</c:v>
                </c:pt>
                <c:pt idx="298">
                  <c:v>13.5404</c:v>
                </c:pt>
                <c:pt idx="299">
                  <c:v>13.6434</c:v>
                </c:pt>
                <c:pt idx="300">
                  <c:v>13.8786</c:v>
                </c:pt>
                <c:pt idx="301">
                  <c:v>13.9861</c:v>
                </c:pt>
                <c:pt idx="302">
                  <c:v>13.970599999999999</c:v>
                </c:pt>
                <c:pt idx="303">
                  <c:v>13.8973</c:v>
                </c:pt>
                <c:pt idx="304">
                  <c:v>13.5975</c:v>
                </c:pt>
                <c:pt idx="305">
                  <c:v>13.601000000000001</c:v>
                </c:pt>
                <c:pt idx="306">
                  <c:v>13.6213</c:v>
                </c:pt>
                <c:pt idx="307">
                  <c:v>13.6844</c:v>
                </c:pt>
                <c:pt idx="308">
                  <c:v>13.376200000000001</c:v>
                </c:pt>
                <c:pt idx="309">
                  <c:v>13.261900000000001</c:v>
                </c:pt>
                <c:pt idx="310">
                  <c:v>13.108000000000001</c:v>
                </c:pt>
                <c:pt idx="311">
                  <c:v>13.6456</c:v>
                </c:pt>
                <c:pt idx="312">
                  <c:v>13.5459</c:v>
                </c:pt>
                <c:pt idx="313">
                  <c:v>13.6295</c:v>
                </c:pt>
                <c:pt idx="314">
                  <c:v>13.358000000000001</c:v>
                </c:pt>
                <c:pt idx="315">
                  <c:v>13.264799999999999</c:v>
                </c:pt>
                <c:pt idx="316">
                  <c:v>13.81</c:v>
                </c:pt>
                <c:pt idx="317">
                  <c:v>13.478999999999999</c:v>
                </c:pt>
                <c:pt idx="318">
                  <c:v>13.7941</c:v>
                </c:pt>
                <c:pt idx="319">
                  <c:v>13.817</c:v>
                </c:pt>
                <c:pt idx="320">
                  <c:v>13.9247</c:v>
                </c:pt>
                <c:pt idx="321">
                  <c:v>13.9781</c:v>
                </c:pt>
                <c:pt idx="322">
                  <c:v>13.851800000000001</c:v>
                </c:pt>
                <c:pt idx="323">
                  <c:v>13.7067</c:v>
                </c:pt>
                <c:pt idx="324">
                  <c:v>13.619400000000001</c:v>
                </c:pt>
                <c:pt idx="325">
                  <c:v>13.651</c:v>
                </c:pt>
                <c:pt idx="326">
                  <c:v>14.178100000000001</c:v>
                </c:pt>
                <c:pt idx="327">
                  <c:v>14.1785</c:v>
                </c:pt>
                <c:pt idx="328">
                  <c:v>14.2325</c:v>
                </c:pt>
                <c:pt idx="329">
                  <c:v>14.24</c:v>
                </c:pt>
                <c:pt idx="330">
                  <c:v>14.2682</c:v>
                </c:pt>
                <c:pt idx="331">
                  <c:v>14.2433</c:v>
                </c:pt>
                <c:pt idx="332">
                  <c:v>14.143700000000001</c:v>
                </c:pt>
                <c:pt idx="333">
                  <c:v>14.212400000000001</c:v>
                </c:pt>
                <c:pt idx="334">
                  <c:v>13.940099999999999</c:v>
                </c:pt>
                <c:pt idx="335">
                  <c:v>13.930899999999999</c:v>
                </c:pt>
                <c:pt idx="336">
                  <c:v>14.029199999999999</c:v>
                </c:pt>
                <c:pt idx="337">
                  <c:v>14.3775</c:v>
                </c:pt>
                <c:pt idx="338">
                  <c:v>14.435700000000001</c:v>
                </c:pt>
                <c:pt idx="339">
                  <c:v>14.7013</c:v>
                </c:pt>
                <c:pt idx="340">
                  <c:v>14.706899999999999</c:v>
                </c:pt>
                <c:pt idx="341">
                  <c:v>14.610300000000001</c:v>
                </c:pt>
                <c:pt idx="342">
                  <c:v>14.6846</c:v>
                </c:pt>
                <c:pt idx="343">
                  <c:v>14.790100000000001</c:v>
                </c:pt>
                <c:pt idx="344">
                  <c:v>14.879300000000001</c:v>
                </c:pt>
                <c:pt idx="345">
                  <c:v>14.8797</c:v>
                </c:pt>
                <c:pt idx="346">
                  <c:v>14.809799999999999</c:v>
                </c:pt>
                <c:pt idx="347">
                  <c:v>14.773099999999999</c:v>
                </c:pt>
                <c:pt idx="348">
                  <c:v>15.045400000000001</c:v>
                </c:pt>
                <c:pt idx="349">
                  <c:v>15.0847</c:v>
                </c:pt>
                <c:pt idx="350">
                  <c:v>14.9765</c:v>
                </c:pt>
                <c:pt idx="351">
                  <c:v>15.1229</c:v>
                </c:pt>
                <c:pt idx="352">
                  <c:v>14.8567</c:v>
                </c:pt>
                <c:pt idx="353">
                  <c:v>14.9125</c:v>
                </c:pt>
                <c:pt idx="354">
                  <c:v>14.8681</c:v>
                </c:pt>
                <c:pt idx="355">
                  <c:v>15.0557</c:v>
                </c:pt>
                <c:pt idx="356">
                  <c:v>15.0672</c:v>
                </c:pt>
                <c:pt idx="357">
                  <c:v>15.15</c:v>
                </c:pt>
                <c:pt idx="358">
                  <c:v>15.234400000000001</c:v>
                </c:pt>
                <c:pt idx="359">
                  <c:v>15.2538</c:v>
                </c:pt>
                <c:pt idx="360">
                  <c:v>15.2278</c:v>
                </c:pt>
                <c:pt idx="361">
                  <c:v>15.1127</c:v>
                </c:pt>
                <c:pt idx="362">
                  <c:v>14.8942</c:v>
                </c:pt>
                <c:pt idx="363">
                  <c:v>14.958600000000001</c:v>
                </c:pt>
                <c:pt idx="364">
                  <c:v>14.7867</c:v>
                </c:pt>
                <c:pt idx="365">
                  <c:v>14.787800000000001</c:v>
                </c:pt>
                <c:pt idx="366">
                  <c:v>14.913500000000001</c:v>
                </c:pt>
                <c:pt idx="367">
                  <c:v>14.975300000000001</c:v>
                </c:pt>
                <c:pt idx="368">
                  <c:v>15.0533</c:v>
                </c:pt>
                <c:pt idx="369">
                  <c:v>15.0647</c:v>
                </c:pt>
                <c:pt idx="370">
                  <c:v>14.9291</c:v>
                </c:pt>
                <c:pt idx="371">
                  <c:v>14.8575</c:v>
                </c:pt>
                <c:pt idx="372">
                  <c:v>14.842599999999999</c:v>
                </c:pt>
                <c:pt idx="373">
                  <c:v>15.1288</c:v>
                </c:pt>
                <c:pt idx="374">
                  <c:v>14.664</c:v>
                </c:pt>
                <c:pt idx="375">
                  <c:v>14.724399999999999</c:v>
                </c:pt>
                <c:pt idx="376">
                  <c:v>14.6816</c:v>
                </c:pt>
                <c:pt idx="377">
                  <c:v>14.400499999999999</c:v>
                </c:pt>
                <c:pt idx="378">
                  <c:v>14.4871</c:v>
                </c:pt>
                <c:pt idx="379">
                  <c:v>14.705500000000001</c:v>
                </c:pt>
                <c:pt idx="380">
                  <c:v>14.7905</c:v>
                </c:pt>
                <c:pt idx="381">
                  <c:v>14.701599999999999</c:v>
                </c:pt>
                <c:pt idx="382">
                  <c:v>14.554</c:v>
                </c:pt>
                <c:pt idx="383">
                  <c:v>14.641500000000001</c:v>
                </c:pt>
                <c:pt idx="384">
                  <c:v>14.432499999999999</c:v>
                </c:pt>
                <c:pt idx="385">
                  <c:v>14.4033</c:v>
                </c:pt>
                <c:pt idx="386">
                  <c:v>14.399100000000001</c:v>
                </c:pt>
                <c:pt idx="387">
                  <c:v>14.506600000000001</c:v>
                </c:pt>
                <c:pt idx="388">
                  <c:v>14.091900000000001</c:v>
                </c:pt>
                <c:pt idx="389">
                  <c:v>14.0045</c:v>
                </c:pt>
                <c:pt idx="390">
                  <c:v>14.034599999999999</c:v>
                </c:pt>
                <c:pt idx="391">
                  <c:v>14.0525</c:v>
                </c:pt>
                <c:pt idx="392">
                  <c:v>13.8713</c:v>
                </c:pt>
                <c:pt idx="393">
                  <c:v>13.9321</c:v>
                </c:pt>
                <c:pt idx="394">
                  <c:v>13.9321</c:v>
                </c:pt>
                <c:pt idx="395">
                  <c:v>13.827</c:v>
                </c:pt>
                <c:pt idx="396">
                  <c:v>14.0891</c:v>
                </c:pt>
                <c:pt idx="397">
                  <c:v>13.788399999999999</c:v>
                </c:pt>
                <c:pt idx="398">
                  <c:v>13.9262</c:v>
                </c:pt>
                <c:pt idx="399">
                  <c:v>13.7995</c:v>
                </c:pt>
                <c:pt idx="400">
                  <c:v>13.734400000000001</c:v>
                </c:pt>
                <c:pt idx="401">
                  <c:v>13.5787</c:v>
                </c:pt>
                <c:pt idx="402">
                  <c:v>13.922499999999999</c:v>
                </c:pt>
                <c:pt idx="403">
                  <c:v>14.1752</c:v>
                </c:pt>
                <c:pt idx="404">
                  <c:v>14.250500000000001</c:v>
                </c:pt>
                <c:pt idx="405">
                  <c:v>14.2668</c:v>
                </c:pt>
                <c:pt idx="406">
                  <c:v>14.473800000000001</c:v>
                </c:pt>
                <c:pt idx="407">
                  <c:v>14.619899999999999</c:v>
                </c:pt>
                <c:pt idx="408">
                  <c:v>14.3362</c:v>
                </c:pt>
                <c:pt idx="409">
                  <c:v>14.4422</c:v>
                </c:pt>
                <c:pt idx="410">
                  <c:v>14.166600000000001</c:v>
                </c:pt>
                <c:pt idx="411">
                  <c:v>14.587199999999999</c:v>
                </c:pt>
                <c:pt idx="412">
                  <c:v>14.821899999999999</c:v>
                </c:pt>
                <c:pt idx="413">
                  <c:v>14.6363</c:v>
                </c:pt>
                <c:pt idx="414">
                  <c:v>14.6325</c:v>
                </c:pt>
                <c:pt idx="415">
                  <c:v>14.666700000000001</c:v>
                </c:pt>
                <c:pt idx="416">
                  <c:v>15.099299999999999</c:v>
                </c:pt>
                <c:pt idx="417">
                  <c:v>15.1477</c:v>
                </c:pt>
                <c:pt idx="418">
                  <c:v>14.9998</c:v>
                </c:pt>
                <c:pt idx="419">
                  <c:v>15.3713</c:v>
                </c:pt>
                <c:pt idx="420">
                  <c:v>15.535500000000001</c:v>
                </c:pt>
                <c:pt idx="421">
                  <c:v>15.3962</c:v>
                </c:pt>
                <c:pt idx="422">
                  <c:v>15.365</c:v>
                </c:pt>
                <c:pt idx="423">
                  <c:v>15.4931</c:v>
                </c:pt>
                <c:pt idx="424">
                  <c:v>15.5784</c:v>
                </c:pt>
                <c:pt idx="425">
                  <c:v>15.369300000000001</c:v>
                </c:pt>
                <c:pt idx="426">
                  <c:v>15.2247</c:v>
                </c:pt>
                <c:pt idx="427">
                  <c:v>15.3443</c:v>
                </c:pt>
                <c:pt idx="428">
                  <c:v>15.3805</c:v>
                </c:pt>
                <c:pt idx="429">
                  <c:v>15.5693</c:v>
                </c:pt>
                <c:pt idx="430">
                  <c:v>15.2837</c:v>
                </c:pt>
                <c:pt idx="431">
                  <c:v>15.340199999999999</c:v>
                </c:pt>
                <c:pt idx="432">
                  <c:v>15.4655</c:v>
                </c:pt>
                <c:pt idx="433">
                  <c:v>15.757</c:v>
                </c:pt>
                <c:pt idx="434">
                  <c:v>15.5573</c:v>
                </c:pt>
                <c:pt idx="435">
                  <c:v>15.5496</c:v>
                </c:pt>
                <c:pt idx="436">
                  <c:v>15.5054</c:v>
                </c:pt>
                <c:pt idx="437">
                  <c:v>15.478199999999999</c:v>
                </c:pt>
                <c:pt idx="438">
                  <c:v>15.027200000000001</c:v>
                </c:pt>
                <c:pt idx="439">
                  <c:v>15.1227</c:v>
                </c:pt>
                <c:pt idx="440">
                  <c:v>15.450100000000001</c:v>
                </c:pt>
                <c:pt idx="441">
                  <c:v>14.939399999999999</c:v>
                </c:pt>
                <c:pt idx="442">
                  <c:v>15.092700000000001</c:v>
                </c:pt>
                <c:pt idx="443">
                  <c:v>15.070499999999999</c:v>
                </c:pt>
                <c:pt idx="444">
                  <c:v>15.123900000000001</c:v>
                </c:pt>
                <c:pt idx="445">
                  <c:v>14.4604</c:v>
                </c:pt>
                <c:pt idx="446">
                  <c:v>14.7354</c:v>
                </c:pt>
                <c:pt idx="447">
                  <c:v>13.967000000000001</c:v>
                </c:pt>
                <c:pt idx="448">
                  <c:v>14.5984</c:v>
                </c:pt>
                <c:pt idx="449">
                  <c:v>15.178800000000001</c:v>
                </c:pt>
                <c:pt idx="450">
                  <c:v>14.386100000000001</c:v>
                </c:pt>
                <c:pt idx="451">
                  <c:v>14.167</c:v>
                </c:pt>
                <c:pt idx="452">
                  <c:v>14.1411</c:v>
                </c:pt>
                <c:pt idx="453">
                  <c:v>14.4411</c:v>
                </c:pt>
                <c:pt idx="454">
                  <c:v>14.5246</c:v>
                </c:pt>
                <c:pt idx="455">
                  <c:v>13.3635</c:v>
                </c:pt>
                <c:pt idx="456">
                  <c:v>14.019500000000001</c:v>
                </c:pt>
                <c:pt idx="457">
                  <c:v>13.958299999999999</c:v>
                </c:pt>
                <c:pt idx="458">
                  <c:v>13.462899999999999</c:v>
                </c:pt>
                <c:pt idx="459">
                  <c:v>13.3224</c:v>
                </c:pt>
                <c:pt idx="460">
                  <c:v>12.8331</c:v>
                </c:pt>
                <c:pt idx="461">
                  <c:v>12.166</c:v>
                </c:pt>
                <c:pt idx="462">
                  <c:v>12.052300000000001</c:v>
                </c:pt>
                <c:pt idx="463">
                  <c:v>11.155900000000001</c:v>
                </c:pt>
                <c:pt idx="464">
                  <c:v>11.062099999999999</c:v>
                </c:pt>
                <c:pt idx="465">
                  <c:v>12.331200000000001</c:v>
                </c:pt>
                <c:pt idx="466">
                  <c:v>12.272600000000001</c:v>
                </c:pt>
                <c:pt idx="467">
                  <c:v>11.196899999999999</c:v>
                </c:pt>
                <c:pt idx="468">
                  <c:v>11.697699999999999</c:v>
                </c:pt>
                <c:pt idx="469">
                  <c:v>11.6487</c:v>
                </c:pt>
                <c:pt idx="470">
                  <c:v>12.217599999999999</c:v>
                </c:pt>
                <c:pt idx="471">
                  <c:v>11.8803</c:v>
                </c:pt>
                <c:pt idx="472">
                  <c:v>11.1866</c:v>
                </c:pt>
                <c:pt idx="473">
                  <c:v>11.392099999999999</c:v>
                </c:pt>
                <c:pt idx="474">
                  <c:v>11.0299</c:v>
                </c:pt>
                <c:pt idx="475">
                  <c:v>10.7018</c:v>
                </c:pt>
                <c:pt idx="476">
                  <c:v>11.8727</c:v>
                </c:pt>
                <c:pt idx="477">
                  <c:v>11.7416</c:v>
                </c:pt>
                <c:pt idx="478">
                  <c:v>12.110900000000001</c:v>
                </c:pt>
                <c:pt idx="479">
                  <c:v>12.313000000000001</c:v>
                </c:pt>
                <c:pt idx="480">
                  <c:v>12.3459</c:v>
                </c:pt>
                <c:pt idx="481">
                  <c:v>12.831099999999999</c:v>
                </c:pt>
                <c:pt idx="482">
                  <c:v>12.1776</c:v>
                </c:pt>
                <c:pt idx="483">
                  <c:v>11.5962</c:v>
                </c:pt>
                <c:pt idx="484">
                  <c:v>11.956300000000001</c:v>
                </c:pt>
                <c:pt idx="485">
                  <c:v>11.9026</c:v>
                </c:pt>
                <c:pt idx="486">
                  <c:v>11.666499999999999</c:v>
                </c:pt>
                <c:pt idx="487">
                  <c:v>11.0784</c:v>
                </c:pt>
                <c:pt idx="488">
                  <c:v>11.879300000000001</c:v>
                </c:pt>
                <c:pt idx="489">
                  <c:v>11.3986</c:v>
                </c:pt>
                <c:pt idx="490">
                  <c:v>11.1401</c:v>
                </c:pt>
                <c:pt idx="491">
                  <c:v>11.2577</c:v>
                </c:pt>
                <c:pt idx="492">
                  <c:v>10.5517</c:v>
                </c:pt>
                <c:pt idx="493">
                  <c:v>9.8501999999999992</c:v>
                </c:pt>
                <c:pt idx="494">
                  <c:v>10.4811</c:v>
                </c:pt>
                <c:pt idx="495">
                  <c:v>11.182499999999999</c:v>
                </c:pt>
                <c:pt idx="496">
                  <c:v>11.2674</c:v>
                </c:pt>
                <c:pt idx="497">
                  <c:v>11.6907</c:v>
                </c:pt>
                <c:pt idx="498">
                  <c:v>11.690899999999999</c:v>
                </c:pt>
                <c:pt idx="499">
                  <c:v>11.8071</c:v>
                </c:pt>
                <c:pt idx="500">
                  <c:v>10.7851</c:v>
                </c:pt>
                <c:pt idx="501">
                  <c:v>11.235300000000001</c:v>
                </c:pt>
                <c:pt idx="502">
                  <c:v>11.5283</c:v>
                </c:pt>
                <c:pt idx="503">
                  <c:v>11.204700000000001</c:v>
                </c:pt>
                <c:pt idx="504">
                  <c:v>11.628399999999999</c:v>
                </c:pt>
                <c:pt idx="505">
                  <c:v>12.1252</c:v>
                </c:pt>
                <c:pt idx="506">
                  <c:v>11.8474</c:v>
                </c:pt>
                <c:pt idx="507">
                  <c:v>11.9915</c:v>
                </c:pt>
                <c:pt idx="508">
                  <c:v>11.675800000000001</c:v>
                </c:pt>
                <c:pt idx="509">
                  <c:v>11.771100000000001</c:v>
                </c:pt>
                <c:pt idx="510">
                  <c:v>11.661199999999999</c:v>
                </c:pt>
                <c:pt idx="511">
                  <c:v>12.261799999999999</c:v>
                </c:pt>
                <c:pt idx="512">
                  <c:v>12.1401</c:v>
                </c:pt>
                <c:pt idx="513">
                  <c:v>11.884399999999999</c:v>
                </c:pt>
                <c:pt idx="514">
                  <c:v>11.991099999999999</c:v>
                </c:pt>
                <c:pt idx="515">
                  <c:v>11.778700000000001</c:v>
                </c:pt>
                <c:pt idx="516">
                  <c:v>11.6906</c:v>
                </c:pt>
                <c:pt idx="517">
                  <c:v>11.7768</c:v>
                </c:pt>
                <c:pt idx="518">
                  <c:v>11.778700000000001</c:v>
                </c:pt>
                <c:pt idx="519">
                  <c:v>11.843</c:v>
                </c:pt>
                <c:pt idx="520">
                  <c:v>11.7974</c:v>
                </c:pt>
                <c:pt idx="521">
                  <c:v>12.081200000000001</c:v>
                </c:pt>
                <c:pt idx="522">
                  <c:v>12.247400000000001</c:v>
                </c:pt>
                <c:pt idx="523">
                  <c:v>12.254</c:v>
                </c:pt>
                <c:pt idx="524">
                  <c:v>12.675700000000001</c:v>
                </c:pt>
                <c:pt idx="525">
                  <c:v>12.6928</c:v>
                </c:pt>
                <c:pt idx="526">
                  <c:v>12.5947</c:v>
                </c:pt>
                <c:pt idx="527">
                  <c:v>12.2279</c:v>
                </c:pt>
                <c:pt idx="528">
                  <c:v>12.2668</c:v>
                </c:pt>
                <c:pt idx="529">
                  <c:v>12.0449</c:v>
                </c:pt>
                <c:pt idx="530">
                  <c:v>11.7843</c:v>
                </c:pt>
                <c:pt idx="531">
                  <c:v>11.812200000000001</c:v>
                </c:pt>
                <c:pt idx="532">
                  <c:v>11.518000000000001</c:v>
                </c:pt>
                <c:pt idx="533">
                  <c:v>11.5824</c:v>
                </c:pt>
                <c:pt idx="534">
                  <c:v>12.3002</c:v>
                </c:pt>
                <c:pt idx="535">
                  <c:v>12.2959</c:v>
                </c:pt>
                <c:pt idx="536">
                  <c:v>11.6549</c:v>
                </c:pt>
                <c:pt idx="537">
                  <c:v>12.166499999999999</c:v>
                </c:pt>
                <c:pt idx="538">
                  <c:v>12.0616</c:v>
                </c:pt>
                <c:pt idx="539">
                  <c:v>12.1389</c:v>
                </c:pt>
                <c:pt idx="540">
                  <c:v>12.230700000000001</c:v>
                </c:pt>
                <c:pt idx="541">
                  <c:v>12.340199999999999</c:v>
                </c:pt>
                <c:pt idx="542">
                  <c:v>12.7506</c:v>
                </c:pt>
                <c:pt idx="543">
                  <c:v>12.363899999999999</c:v>
                </c:pt>
                <c:pt idx="544">
                  <c:v>12.0624</c:v>
                </c:pt>
                <c:pt idx="545">
                  <c:v>12.107699999999999</c:v>
                </c:pt>
                <c:pt idx="546">
                  <c:v>12.275</c:v>
                </c:pt>
                <c:pt idx="547">
                  <c:v>12.204599999999999</c:v>
                </c:pt>
                <c:pt idx="548">
                  <c:v>12.4869</c:v>
                </c:pt>
                <c:pt idx="549">
                  <c:v>12.8246</c:v>
                </c:pt>
                <c:pt idx="550">
                  <c:v>12.872299999999999</c:v>
                </c:pt>
                <c:pt idx="551">
                  <c:v>12.221500000000001</c:v>
                </c:pt>
                <c:pt idx="552">
                  <c:v>12.3154</c:v>
                </c:pt>
                <c:pt idx="553">
                  <c:v>12.3969</c:v>
                </c:pt>
                <c:pt idx="554">
                  <c:v>12.320600000000001</c:v>
                </c:pt>
                <c:pt idx="555">
                  <c:v>12.3187</c:v>
                </c:pt>
                <c:pt idx="556">
                  <c:v>12.1487</c:v>
                </c:pt>
                <c:pt idx="557">
                  <c:v>12.1218</c:v>
                </c:pt>
                <c:pt idx="558">
                  <c:v>12.0215</c:v>
                </c:pt>
                <c:pt idx="559">
                  <c:v>11.8856</c:v>
                </c:pt>
                <c:pt idx="560">
                  <c:v>11.5044</c:v>
                </c:pt>
                <c:pt idx="561">
                  <c:v>11.971399999999999</c:v>
                </c:pt>
                <c:pt idx="562">
                  <c:v>11.8835</c:v>
                </c:pt>
                <c:pt idx="563">
                  <c:v>11.757999999999999</c:v>
                </c:pt>
                <c:pt idx="564">
                  <c:v>11.5473</c:v>
                </c:pt>
                <c:pt idx="565">
                  <c:v>11.038</c:v>
                </c:pt>
                <c:pt idx="566">
                  <c:v>10.968999999999999</c:v>
                </c:pt>
                <c:pt idx="567">
                  <c:v>11.2652</c:v>
                </c:pt>
                <c:pt idx="568">
                  <c:v>10.8033</c:v>
                </c:pt>
                <c:pt idx="569">
                  <c:v>10.8421</c:v>
                </c:pt>
                <c:pt idx="570">
                  <c:v>10.7958</c:v>
                </c:pt>
                <c:pt idx="571">
                  <c:v>11.497999999999999</c:v>
                </c:pt>
                <c:pt idx="572">
                  <c:v>11.5335</c:v>
                </c:pt>
                <c:pt idx="573">
                  <c:v>12.0389</c:v>
                </c:pt>
                <c:pt idx="574">
                  <c:v>12.1074</c:v>
                </c:pt>
                <c:pt idx="575">
                  <c:v>12.0662</c:v>
                </c:pt>
                <c:pt idx="576">
                  <c:v>12.506500000000001</c:v>
                </c:pt>
                <c:pt idx="577">
                  <c:v>12.801299999999999</c:v>
                </c:pt>
                <c:pt idx="578">
                  <c:v>12.6736</c:v>
                </c:pt>
                <c:pt idx="579">
                  <c:v>12.469099999999999</c:v>
                </c:pt>
                <c:pt idx="580">
                  <c:v>13.3987</c:v>
                </c:pt>
                <c:pt idx="581">
                  <c:v>13.12</c:v>
                </c:pt>
                <c:pt idx="582">
                  <c:v>13.252800000000001</c:v>
                </c:pt>
                <c:pt idx="583">
                  <c:v>13.549899999999999</c:v>
                </c:pt>
                <c:pt idx="584">
                  <c:v>13.305</c:v>
                </c:pt>
                <c:pt idx="585">
                  <c:v>12.870200000000001</c:v>
                </c:pt>
                <c:pt idx="586">
                  <c:v>13.056699999999999</c:v>
                </c:pt>
                <c:pt idx="587">
                  <c:v>13.2986</c:v>
                </c:pt>
                <c:pt idx="588">
                  <c:v>13.6884</c:v>
                </c:pt>
                <c:pt idx="589">
                  <c:v>13.8337</c:v>
                </c:pt>
                <c:pt idx="590">
                  <c:v>13.746600000000001</c:v>
                </c:pt>
                <c:pt idx="591">
                  <c:v>13.4183</c:v>
                </c:pt>
                <c:pt idx="592">
                  <c:v>13.656499999999999</c:v>
                </c:pt>
                <c:pt idx="593">
                  <c:v>14.2294</c:v>
                </c:pt>
                <c:pt idx="594">
                  <c:v>14.230700000000001</c:v>
                </c:pt>
                <c:pt idx="595">
                  <c:v>14.2918</c:v>
                </c:pt>
                <c:pt idx="596">
                  <c:v>14.013199999999999</c:v>
                </c:pt>
                <c:pt idx="597">
                  <c:v>14.188000000000001</c:v>
                </c:pt>
                <c:pt idx="598">
                  <c:v>14.4786</c:v>
                </c:pt>
                <c:pt idx="599">
                  <c:v>14.546900000000001</c:v>
                </c:pt>
                <c:pt idx="600">
                  <c:v>13.8934</c:v>
                </c:pt>
                <c:pt idx="601">
                  <c:v>14.2082</c:v>
                </c:pt>
                <c:pt idx="602">
                  <c:v>14.1371</c:v>
                </c:pt>
                <c:pt idx="603">
                  <c:v>14.3019</c:v>
                </c:pt>
                <c:pt idx="604">
                  <c:v>14.5175</c:v>
                </c:pt>
                <c:pt idx="605">
                  <c:v>14.380100000000001</c:v>
                </c:pt>
                <c:pt idx="606">
                  <c:v>14.360300000000001</c:v>
                </c:pt>
                <c:pt idx="607">
                  <c:v>14.7006</c:v>
                </c:pt>
                <c:pt idx="608">
                  <c:v>14.758900000000001</c:v>
                </c:pt>
                <c:pt idx="609">
                  <c:v>14.891</c:v>
                </c:pt>
                <c:pt idx="610">
                  <c:v>15.464499999999999</c:v>
                </c:pt>
                <c:pt idx="611">
                  <c:v>15.402200000000001</c:v>
                </c:pt>
                <c:pt idx="612">
                  <c:v>15.707800000000001</c:v>
                </c:pt>
                <c:pt idx="613">
                  <c:v>15.5694</c:v>
                </c:pt>
                <c:pt idx="614">
                  <c:v>15.970800000000001</c:v>
                </c:pt>
                <c:pt idx="615">
                  <c:v>15.6958</c:v>
                </c:pt>
                <c:pt idx="616">
                  <c:v>15.6983</c:v>
                </c:pt>
                <c:pt idx="617">
                  <c:v>15.277699999999999</c:v>
                </c:pt>
                <c:pt idx="618">
                  <c:v>15.421900000000001</c:v>
                </c:pt>
                <c:pt idx="619">
                  <c:v>15.213100000000001</c:v>
                </c:pt>
                <c:pt idx="620">
                  <c:v>15.6562</c:v>
                </c:pt>
                <c:pt idx="621">
                  <c:v>15.6356</c:v>
                </c:pt>
                <c:pt idx="622">
                  <c:v>15.5349</c:v>
                </c:pt>
                <c:pt idx="623">
                  <c:v>15.3125</c:v>
                </c:pt>
                <c:pt idx="624">
                  <c:v>15.3032</c:v>
                </c:pt>
                <c:pt idx="625">
                  <c:v>15.3048</c:v>
                </c:pt>
                <c:pt idx="626">
                  <c:v>15.706799999999999</c:v>
                </c:pt>
                <c:pt idx="627">
                  <c:v>15.3742</c:v>
                </c:pt>
                <c:pt idx="628">
                  <c:v>15.619400000000001</c:v>
                </c:pt>
                <c:pt idx="629">
                  <c:v>15.826599999999999</c:v>
                </c:pt>
                <c:pt idx="630">
                  <c:v>16.225899999999999</c:v>
                </c:pt>
                <c:pt idx="631">
                  <c:v>16.260999999999999</c:v>
                </c:pt>
                <c:pt idx="632">
                  <c:v>15.4527</c:v>
                </c:pt>
                <c:pt idx="633">
                  <c:v>15.613</c:v>
                </c:pt>
                <c:pt idx="634">
                  <c:v>15.581300000000001</c:v>
                </c:pt>
                <c:pt idx="635">
                  <c:v>15.573</c:v>
                </c:pt>
                <c:pt idx="636">
                  <c:v>15.633100000000001</c:v>
                </c:pt>
                <c:pt idx="637">
                  <c:v>15.5693</c:v>
                </c:pt>
                <c:pt idx="638">
                  <c:v>15.658300000000001</c:v>
                </c:pt>
                <c:pt idx="639">
                  <c:v>15.6889</c:v>
                </c:pt>
                <c:pt idx="640">
                  <c:v>15.313499999999999</c:v>
                </c:pt>
                <c:pt idx="641">
                  <c:v>15.1053</c:v>
                </c:pt>
                <c:pt idx="642">
                  <c:v>15.0909</c:v>
                </c:pt>
                <c:pt idx="643">
                  <c:v>15.225</c:v>
                </c:pt>
                <c:pt idx="644">
                  <c:v>15.266299999999999</c:v>
                </c:pt>
                <c:pt idx="645">
                  <c:v>14.833</c:v>
                </c:pt>
                <c:pt idx="646">
                  <c:v>14.8742</c:v>
                </c:pt>
                <c:pt idx="647">
                  <c:v>14.9711</c:v>
                </c:pt>
                <c:pt idx="648">
                  <c:v>15.307700000000001</c:v>
                </c:pt>
                <c:pt idx="649">
                  <c:v>15.259600000000001</c:v>
                </c:pt>
                <c:pt idx="650">
                  <c:v>15.391999999999999</c:v>
                </c:pt>
                <c:pt idx="651">
                  <c:v>15.235099999999999</c:v>
                </c:pt>
                <c:pt idx="652">
                  <c:v>15.3019</c:v>
                </c:pt>
                <c:pt idx="653">
                  <c:v>14.848699999999999</c:v>
                </c:pt>
                <c:pt idx="654">
                  <c:v>14.8354</c:v>
                </c:pt>
                <c:pt idx="655">
                  <c:v>14.8767</c:v>
                </c:pt>
                <c:pt idx="656">
                  <c:v>14.615500000000001</c:v>
                </c:pt>
                <c:pt idx="657">
                  <c:v>14.571300000000001</c:v>
                </c:pt>
                <c:pt idx="658">
                  <c:v>14.6187</c:v>
                </c:pt>
                <c:pt idx="659">
                  <c:v>14.579599999999999</c:v>
                </c:pt>
                <c:pt idx="660">
                  <c:v>14.9381</c:v>
                </c:pt>
                <c:pt idx="661">
                  <c:v>14.972899999999999</c:v>
                </c:pt>
                <c:pt idx="662">
                  <c:v>15.3912</c:v>
                </c:pt>
                <c:pt idx="663">
                  <c:v>15.5029</c:v>
                </c:pt>
                <c:pt idx="664">
                  <c:v>15.482699999999999</c:v>
                </c:pt>
                <c:pt idx="665">
                  <c:v>15.6333</c:v>
                </c:pt>
                <c:pt idx="666">
                  <c:v>15.6721</c:v>
                </c:pt>
                <c:pt idx="667">
                  <c:v>15.6425</c:v>
                </c:pt>
                <c:pt idx="668">
                  <c:v>15.974</c:v>
                </c:pt>
                <c:pt idx="669">
                  <c:v>15.9998</c:v>
                </c:pt>
                <c:pt idx="670">
                  <c:v>16.0063</c:v>
                </c:pt>
                <c:pt idx="671">
                  <c:v>15.9695</c:v>
                </c:pt>
                <c:pt idx="672">
                  <c:v>15.956099999999999</c:v>
                </c:pt>
                <c:pt idx="673">
                  <c:v>16.162099999999999</c:v>
                </c:pt>
                <c:pt idx="674">
                  <c:v>16.1677</c:v>
                </c:pt>
                <c:pt idx="675">
                  <c:v>16.402799999999999</c:v>
                </c:pt>
                <c:pt idx="676">
                  <c:v>16.470199999999998</c:v>
                </c:pt>
                <c:pt idx="677">
                  <c:v>16.437999999999999</c:v>
                </c:pt>
                <c:pt idx="678">
                  <c:v>16.394500000000001</c:v>
                </c:pt>
                <c:pt idx="679">
                  <c:v>16.598700000000001</c:v>
                </c:pt>
                <c:pt idx="680">
                  <c:v>16.5472</c:v>
                </c:pt>
                <c:pt idx="681">
                  <c:v>16.326000000000001</c:v>
                </c:pt>
                <c:pt idx="682">
                  <c:v>16.5154</c:v>
                </c:pt>
                <c:pt idx="683">
                  <c:v>16.618300000000001</c:v>
                </c:pt>
                <c:pt idx="684">
                  <c:v>16.475999999999999</c:v>
                </c:pt>
                <c:pt idx="685">
                  <c:v>16.076499999999999</c:v>
                </c:pt>
                <c:pt idx="686">
                  <c:v>16.241299999999999</c:v>
                </c:pt>
                <c:pt idx="687">
                  <c:v>16.345099999999999</c:v>
                </c:pt>
                <c:pt idx="688">
                  <c:v>16.524100000000001</c:v>
                </c:pt>
                <c:pt idx="689">
                  <c:v>16.832100000000001</c:v>
                </c:pt>
                <c:pt idx="690">
                  <c:v>16.8308</c:v>
                </c:pt>
                <c:pt idx="691">
                  <c:v>16.875599999999999</c:v>
                </c:pt>
                <c:pt idx="692">
                  <c:v>16.881499999999999</c:v>
                </c:pt>
                <c:pt idx="693">
                  <c:v>16.941199999999998</c:v>
                </c:pt>
                <c:pt idx="694">
                  <c:v>16.920000000000002</c:v>
                </c:pt>
                <c:pt idx="695">
                  <c:v>16.808199999999999</c:v>
                </c:pt>
                <c:pt idx="696">
                  <c:v>16.413799999999998</c:v>
                </c:pt>
                <c:pt idx="697">
                  <c:v>16.350899999999999</c:v>
                </c:pt>
                <c:pt idx="698">
                  <c:v>16.4953</c:v>
                </c:pt>
                <c:pt idx="699">
                  <c:v>16.716699999999999</c:v>
                </c:pt>
                <c:pt idx="700">
                  <c:v>16.712800000000001</c:v>
                </c:pt>
                <c:pt idx="701">
                  <c:v>16.837599999999998</c:v>
                </c:pt>
                <c:pt idx="702">
                  <c:v>16.961600000000001</c:v>
                </c:pt>
                <c:pt idx="703">
                  <c:v>17.136099999999999</c:v>
                </c:pt>
                <c:pt idx="704">
                  <c:v>17.110199999999999</c:v>
                </c:pt>
                <c:pt idx="705">
                  <c:v>17.2105</c:v>
                </c:pt>
                <c:pt idx="706">
                  <c:v>17.2639</c:v>
                </c:pt>
                <c:pt idx="707">
                  <c:v>17.5396</c:v>
                </c:pt>
                <c:pt idx="708">
                  <c:v>17.486799999999999</c:v>
                </c:pt>
                <c:pt idx="709">
                  <c:v>17.534400000000002</c:v>
                </c:pt>
                <c:pt idx="710">
                  <c:v>17.504100000000001</c:v>
                </c:pt>
                <c:pt idx="711">
                  <c:v>17.5914</c:v>
                </c:pt>
                <c:pt idx="712">
                  <c:v>17.413699999999999</c:v>
                </c:pt>
                <c:pt idx="713">
                  <c:v>17.226199999999999</c:v>
                </c:pt>
                <c:pt idx="714">
                  <c:v>17.126000000000001</c:v>
                </c:pt>
                <c:pt idx="715">
                  <c:v>17.439499999999999</c:v>
                </c:pt>
                <c:pt idx="716">
                  <c:v>17.3964</c:v>
                </c:pt>
                <c:pt idx="717">
                  <c:v>17.3307</c:v>
                </c:pt>
                <c:pt idx="718">
                  <c:v>16.878</c:v>
                </c:pt>
                <c:pt idx="719">
                  <c:v>16.810500000000001</c:v>
                </c:pt>
                <c:pt idx="720">
                  <c:v>17.068100000000001</c:v>
                </c:pt>
                <c:pt idx="721">
                  <c:v>17.316400000000002</c:v>
                </c:pt>
                <c:pt idx="722">
                  <c:v>17.3278</c:v>
                </c:pt>
                <c:pt idx="723">
                  <c:v>17.478100000000001</c:v>
                </c:pt>
                <c:pt idx="724">
                  <c:v>17.5791</c:v>
                </c:pt>
                <c:pt idx="725">
                  <c:v>17.645499999999998</c:v>
                </c:pt>
                <c:pt idx="726">
                  <c:v>17.5703</c:v>
                </c:pt>
                <c:pt idx="727">
                  <c:v>17.840399999999999</c:v>
                </c:pt>
                <c:pt idx="728">
                  <c:v>17.828499999999998</c:v>
                </c:pt>
                <c:pt idx="729">
                  <c:v>17.619499999999999</c:v>
                </c:pt>
                <c:pt idx="730">
                  <c:v>17.7806</c:v>
                </c:pt>
                <c:pt idx="731">
                  <c:v>17.635999999999999</c:v>
                </c:pt>
                <c:pt idx="732">
                  <c:v>17.417899999999999</c:v>
                </c:pt>
                <c:pt idx="733">
                  <c:v>17.5215</c:v>
                </c:pt>
                <c:pt idx="734">
                  <c:v>17.244499999999999</c:v>
                </c:pt>
                <c:pt idx="735">
                  <c:v>17.0227</c:v>
                </c:pt>
                <c:pt idx="736">
                  <c:v>16.961200000000002</c:v>
                </c:pt>
                <c:pt idx="737">
                  <c:v>16.680499999999999</c:v>
                </c:pt>
                <c:pt idx="738">
                  <c:v>17.046399999999998</c:v>
                </c:pt>
                <c:pt idx="739">
                  <c:v>16.544799999999999</c:v>
                </c:pt>
                <c:pt idx="740">
                  <c:v>16.614899999999999</c:v>
                </c:pt>
                <c:pt idx="741">
                  <c:v>16.584599999999998</c:v>
                </c:pt>
                <c:pt idx="742">
                  <c:v>16.617799999999999</c:v>
                </c:pt>
                <c:pt idx="743">
                  <c:v>16.9175</c:v>
                </c:pt>
                <c:pt idx="744">
                  <c:v>16.969200000000001</c:v>
                </c:pt>
                <c:pt idx="745">
                  <c:v>17.3477</c:v>
                </c:pt>
                <c:pt idx="746">
                  <c:v>17.3368</c:v>
                </c:pt>
                <c:pt idx="747">
                  <c:v>17.417300000000001</c:v>
                </c:pt>
                <c:pt idx="748">
                  <c:v>17.224499999999999</c:v>
                </c:pt>
                <c:pt idx="749">
                  <c:v>17.325800000000001</c:v>
                </c:pt>
                <c:pt idx="750">
                  <c:v>17.576000000000001</c:v>
                </c:pt>
                <c:pt idx="751">
                  <c:v>17.577200000000001</c:v>
                </c:pt>
                <c:pt idx="752">
                  <c:v>17.572199999999999</c:v>
                </c:pt>
                <c:pt idx="753">
                  <c:v>17.337299999999999</c:v>
                </c:pt>
                <c:pt idx="754">
                  <c:v>17.288799999999998</c:v>
                </c:pt>
                <c:pt idx="755">
                  <c:v>17.518799999999999</c:v>
                </c:pt>
                <c:pt idx="756">
                  <c:v>17.508400000000002</c:v>
                </c:pt>
                <c:pt idx="757">
                  <c:v>17.574000000000002</c:v>
                </c:pt>
                <c:pt idx="758">
                  <c:v>17.5748</c:v>
                </c:pt>
                <c:pt idx="759">
                  <c:v>17.281500000000001</c:v>
                </c:pt>
                <c:pt idx="760">
                  <c:v>17.317599999999999</c:v>
                </c:pt>
                <c:pt idx="761">
                  <c:v>17.507999999999999</c:v>
                </c:pt>
                <c:pt idx="762">
                  <c:v>17.5106</c:v>
                </c:pt>
                <c:pt idx="763">
                  <c:v>17.3672</c:v>
                </c:pt>
                <c:pt idx="764">
                  <c:v>17.467500000000001</c:v>
                </c:pt>
                <c:pt idx="765">
                  <c:v>17.455200000000001</c:v>
                </c:pt>
                <c:pt idx="766">
                  <c:v>17.282</c:v>
                </c:pt>
                <c:pt idx="767">
                  <c:v>17.337599999999998</c:v>
                </c:pt>
                <c:pt idx="768">
                  <c:v>17.4312</c:v>
                </c:pt>
                <c:pt idx="769">
                  <c:v>17.499600000000001</c:v>
                </c:pt>
                <c:pt idx="770">
                  <c:v>17.6343</c:v>
                </c:pt>
                <c:pt idx="771">
                  <c:v>17.560400000000001</c:v>
                </c:pt>
                <c:pt idx="772">
                  <c:v>17.568100000000001</c:v>
                </c:pt>
                <c:pt idx="773">
                  <c:v>17.424199999999999</c:v>
                </c:pt>
                <c:pt idx="774">
                  <c:v>17.5319</c:v>
                </c:pt>
                <c:pt idx="775">
                  <c:v>17.920999999999999</c:v>
                </c:pt>
                <c:pt idx="776">
                  <c:v>18.023099999999999</c:v>
                </c:pt>
                <c:pt idx="777">
                  <c:v>18.0747</c:v>
                </c:pt>
                <c:pt idx="778">
                  <c:v>18.166899999999998</c:v>
                </c:pt>
                <c:pt idx="779">
                  <c:v>18.166899999999998</c:v>
                </c:pt>
                <c:pt idx="780">
                  <c:v>18.1813</c:v>
                </c:pt>
                <c:pt idx="781">
                  <c:v>18.161799999999999</c:v>
                </c:pt>
                <c:pt idx="782">
                  <c:v>18.1647</c:v>
                </c:pt>
                <c:pt idx="783">
                  <c:v>17.974799999999998</c:v>
                </c:pt>
                <c:pt idx="784">
                  <c:v>17.973600000000001</c:v>
                </c:pt>
                <c:pt idx="785">
                  <c:v>18.277799999999999</c:v>
                </c:pt>
                <c:pt idx="786">
                  <c:v>18.331199999999999</c:v>
                </c:pt>
                <c:pt idx="787">
                  <c:v>18.333600000000001</c:v>
                </c:pt>
                <c:pt idx="788">
                  <c:v>18.398</c:v>
                </c:pt>
                <c:pt idx="789">
                  <c:v>18.4299</c:v>
                </c:pt>
                <c:pt idx="790">
                  <c:v>18.509799999999998</c:v>
                </c:pt>
                <c:pt idx="791">
                  <c:v>18.340199999999999</c:v>
                </c:pt>
                <c:pt idx="792">
                  <c:v>18.4955</c:v>
                </c:pt>
                <c:pt idx="793">
                  <c:v>18.517700000000001</c:v>
                </c:pt>
                <c:pt idx="794">
                  <c:v>18.343800000000002</c:v>
                </c:pt>
                <c:pt idx="795">
                  <c:v>18.341000000000001</c:v>
                </c:pt>
                <c:pt idx="796">
                  <c:v>18.623799999999999</c:v>
                </c:pt>
                <c:pt idx="797">
                  <c:v>18.561800000000002</c:v>
                </c:pt>
                <c:pt idx="798">
                  <c:v>18.116499999999998</c:v>
                </c:pt>
                <c:pt idx="799">
                  <c:v>17.689800000000002</c:v>
                </c:pt>
                <c:pt idx="800">
                  <c:v>17.761399999999998</c:v>
                </c:pt>
                <c:pt idx="801">
                  <c:v>17.713799999999999</c:v>
                </c:pt>
                <c:pt idx="802">
                  <c:v>17.6858</c:v>
                </c:pt>
                <c:pt idx="803">
                  <c:v>17.308900000000001</c:v>
                </c:pt>
                <c:pt idx="804">
                  <c:v>17.136099999999999</c:v>
                </c:pt>
                <c:pt idx="805">
                  <c:v>17.3432</c:v>
                </c:pt>
                <c:pt idx="806">
                  <c:v>17.840699999999998</c:v>
                </c:pt>
                <c:pt idx="807">
                  <c:v>17.889700000000001</c:v>
                </c:pt>
                <c:pt idx="808">
                  <c:v>17.2685</c:v>
                </c:pt>
                <c:pt idx="809">
                  <c:v>17.2971</c:v>
                </c:pt>
                <c:pt idx="810">
                  <c:v>17.204000000000001</c:v>
                </c:pt>
                <c:pt idx="811">
                  <c:v>17.439399999999999</c:v>
                </c:pt>
                <c:pt idx="812">
                  <c:v>17.471699999999998</c:v>
                </c:pt>
                <c:pt idx="813">
                  <c:v>17.652000000000001</c:v>
                </c:pt>
                <c:pt idx="814">
                  <c:v>17.5977</c:v>
                </c:pt>
                <c:pt idx="815">
                  <c:v>17.599399999999999</c:v>
                </c:pt>
                <c:pt idx="816">
                  <c:v>13.756600000000001</c:v>
                </c:pt>
                <c:pt idx="817">
                  <c:v>13.817</c:v>
                </c:pt>
                <c:pt idx="818">
                  <c:v>13.898</c:v>
                </c:pt>
                <c:pt idx="819">
                  <c:v>13.927099999999999</c:v>
                </c:pt>
                <c:pt idx="820">
                  <c:v>13.913500000000001</c:v>
                </c:pt>
                <c:pt idx="821">
                  <c:v>13.742699999999999</c:v>
                </c:pt>
                <c:pt idx="822">
                  <c:v>13.873900000000001</c:v>
                </c:pt>
                <c:pt idx="823">
                  <c:v>13.8475</c:v>
                </c:pt>
                <c:pt idx="824">
                  <c:v>13.8513</c:v>
                </c:pt>
                <c:pt idx="825">
                  <c:v>13.974600000000001</c:v>
                </c:pt>
                <c:pt idx="826">
                  <c:v>14.000299999999999</c:v>
                </c:pt>
                <c:pt idx="827">
                  <c:v>14.005599999999999</c:v>
                </c:pt>
                <c:pt idx="828">
                  <c:v>14.0557</c:v>
                </c:pt>
                <c:pt idx="829">
                  <c:v>14.2525</c:v>
                </c:pt>
                <c:pt idx="830">
                  <c:v>14.248200000000001</c:v>
                </c:pt>
                <c:pt idx="831">
                  <c:v>14.270799999999999</c:v>
                </c:pt>
                <c:pt idx="832">
                  <c:v>14.3283</c:v>
                </c:pt>
                <c:pt idx="833">
                  <c:v>14.3903</c:v>
                </c:pt>
                <c:pt idx="834">
                  <c:v>14.389699999999999</c:v>
                </c:pt>
                <c:pt idx="835">
                  <c:v>14.4053</c:v>
                </c:pt>
                <c:pt idx="836">
                  <c:v>14.527799999999999</c:v>
                </c:pt>
                <c:pt idx="837">
                  <c:v>14.6168</c:v>
                </c:pt>
                <c:pt idx="838">
                  <c:v>14.6091</c:v>
                </c:pt>
                <c:pt idx="839">
                  <c:v>14.5367</c:v>
                </c:pt>
                <c:pt idx="840">
                  <c:v>14.6182</c:v>
                </c:pt>
                <c:pt idx="841">
                  <c:v>14.7249</c:v>
                </c:pt>
                <c:pt idx="842">
                  <c:v>14.6219</c:v>
                </c:pt>
                <c:pt idx="843">
                  <c:v>14.606199999999999</c:v>
                </c:pt>
                <c:pt idx="844">
                  <c:v>14.6159</c:v>
                </c:pt>
                <c:pt idx="845">
                  <c:v>14.7058</c:v>
                </c:pt>
                <c:pt idx="846">
                  <c:v>14.699199999999999</c:v>
                </c:pt>
                <c:pt idx="847">
                  <c:v>14.6463</c:v>
                </c:pt>
                <c:pt idx="848">
                  <c:v>14.751200000000001</c:v>
                </c:pt>
                <c:pt idx="849">
                  <c:v>14.749599999999999</c:v>
                </c:pt>
                <c:pt idx="850">
                  <c:v>14.864800000000001</c:v>
                </c:pt>
                <c:pt idx="851">
                  <c:v>14.8901</c:v>
                </c:pt>
                <c:pt idx="852">
                  <c:v>14.8026</c:v>
                </c:pt>
                <c:pt idx="853">
                  <c:v>14.8569</c:v>
                </c:pt>
                <c:pt idx="854">
                  <c:v>14.9468</c:v>
                </c:pt>
                <c:pt idx="855">
                  <c:v>14.9627</c:v>
                </c:pt>
                <c:pt idx="856">
                  <c:v>14.9672</c:v>
                </c:pt>
                <c:pt idx="857">
                  <c:v>15.098699999999999</c:v>
                </c:pt>
                <c:pt idx="858">
                  <c:v>15.075900000000001</c:v>
                </c:pt>
                <c:pt idx="859">
                  <c:v>14.842599999999999</c:v>
                </c:pt>
                <c:pt idx="860">
                  <c:v>14.8421</c:v>
                </c:pt>
                <c:pt idx="861">
                  <c:v>14.8734</c:v>
                </c:pt>
                <c:pt idx="862">
                  <c:v>14.8232</c:v>
                </c:pt>
                <c:pt idx="863">
                  <c:v>14.8309</c:v>
                </c:pt>
                <c:pt idx="864">
                  <c:v>14.8985</c:v>
                </c:pt>
                <c:pt idx="865">
                  <c:v>14.8155</c:v>
                </c:pt>
                <c:pt idx="866">
                  <c:v>14.435700000000001</c:v>
                </c:pt>
                <c:pt idx="867">
                  <c:v>14.4968</c:v>
                </c:pt>
                <c:pt idx="868">
                  <c:v>14.65</c:v>
                </c:pt>
                <c:pt idx="869">
                  <c:v>14.390700000000001</c:v>
                </c:pt>
                <c:pt idx="870">
                  <c:v>14.5471</c:v>
                </c:pt>
                <c:pt idx="871">
                  <c:v>14.193099999999999</c:v>
                </c:pt>
                <c:pt idx="872">
                  <c:v>14.087300000000001</c:v>
                </c:pt>
                <c:pt idx="873">
                  <c:v>13.6211</c:v>
                </c:pt>
                <c:pt idx="874">
                  <c:v>13.4071</c:v>
                </c:pt>
                <c:pt idx="875">
                  <c:v>13.980499999999999</c:v>
                </c:pt>
                <c:pt idx="876">
                  <c:v>13.9382</c:v>
                </c:pt>
                <c:pt idx="877">
                  <c:v>14.132899999999999</c:v>
                </c:pt>
                <c:pt idx="878">
                  <c:v>13.953099999999999</c:v>
                </c:pt>
                <c:pt idx="879">
                  <c:v>13.6877</c:v>
                </c:pt>
                <c:pt idx="880">
                  <c:v>13.690300000000001</c:v>
                </c:pt>
                <c:pt idx="881">
                  <c:v>13.4976</c:v>
                </c:pt>
                <c:pt idx="882">
                  <c:v>13.4214</c:v>
                </c:pt>
                <c:pt idx="883">
                  <c:v>12.895799999999999</c:v>
                </c:pt>
                <c:pt idx="884">
                  <c:v>13.0905</c:v>
                </c:pt>
                <c:pt idx="885">
                  <c:v>12.9162</c:v>
                </c:pt>
                <c:pt idx="886">
                  <c:v>12.9306</c:v>
                </c:pt>
                <c:pt idx="887">
                  <c:v>12.8573</c:v>
                </c:pt>
                <c:pt idx="888">
                  <c:v>13.280200000000001</c:v>
                </c:pt>
                <c:pt idx="889">
                  <c:v>13.1206</c:v>
                </c:pt>
                <c:pt idx="890">
                  <c:v>13.121</c:v>
                </c:pt>
                <c:pt idx="891">
                  <c:v>12.8926</c:v>
                </c:pt>
                <c:pt idx="892">
                  <c:v>13.2235</c:v>
                </c:pt>
                <c:pt idx="893">
                  <c:v>13.2752</c:v>
                </c:pt>
                <c:pt idx="894">
                  <c:v>12.817600000000001</c:v>
                </c:pt>
                <c:pt idx="895">
                  <c:v>12.649699999999999</c:v>
                </c:pt>
                <c:pt idx="896">
                  <c:v>12.7857</c:v>
                </c:pt>
                <c:pt idx="897">
                  <c:v>12.711399999999999</c:v>
                </c:pt>
                <c:pt idx="898">
                  <c:v>13.082599999999999</c:v>
                </c:pt>
                <c:pt idx="899">
                  <c:v>13.1396</c:v>
                </c:pt>
                <c:pt idx="900">
                  <c:v>13.1168</c:v>
                </c:pt>
                <c:pt idx="901">
                  <c:v>13.4399</c:v>
                </c:pt>
                <c:pt idx="902">
                  <c:v>13.431699999999999</c:v>
                </c:pt>
                <c:pt idx="903">
                  <c:v>13.4512</c:v>
                </c:pt>
                <c:pt idx="904">
                  <c:v>13.469200000000001</c:v>
                </c:pt>
                <c:pt idx="905">
                  <c:v>13.4678</c:v>
                </c:pt>
                <c:pt idx="906">
                  <c:v>13.2483</c:v>
                </c:pt>
                <c:pt idx="907">
                  <c:v>13.2075</c:v>
                </c:pt>
                <c:pt idx="908">
                  <c:v>12.985300000000001</c:v>
                </c:pt>
                <c:pt idx="909">
                  <c:v>13.0252</c:v>
                </c:pt>
                <c:pt idx="910">
                  <c:v>13.0174</c:v>
                </c:pt>
                <c:pt idx="911">
                  <c:v>12.6031</c:v>
                </c:pt>
                <c:pt idx="912">
                  <c:v>12.48</c:v>
                </c:pt>
                <c:pt idx="913">
                  <c:v>12.449299999999999</c:v>
                </c:pt>
                <c:pt idx="914">
                  <c:v>12.388299999999999</c:v>
                </c:pt>
                <c:pt idx="915">
                  <c:v>12.3927</c:v>
                </c:pt>
                <c:pt idx="916">
                  <c:v>12.467599999999999</c:v>
                </c:pt>
                <c:pt idx="917">
                  <c:v>12.858499999999999</c:v>
                </c:pt>
                <c:pt idx="918">
                  <c:v>12.9793</c:v>
                </c:pt>
                <c:pt idx="919">
                  <c:v>13.0753</c:v>
                </c:pt>
                <c:pt idx="920">
                  <c:v>13.086399999999999</c:v>
                </c:pt>
                <c:pt idx="921">
                  <c:v>13.2866</c:v>
                </c:pt>
                <c:pt idx="922">
                  <c:v>13.2668</c:v>
                </c:pt>
                <c:pt idx="923">
                  <c:v>13.2523</c:v>
                </c:pt>
                <c:pt idx="924">
                  <c:v>12.849</c:v>
                </c:pt>
                <c:pt idx="925">
                  <c:v>12.917999999999999</c:v>
                </c:pt>
                <c:pt idx="926">
                  <c:v>13.0509</c:v>
                </c:pt>
                <c:pt idx="927">
                  <c:v>12.888400000000001</c:v>
                </c:pt>
                <c:pt idx="928">
                  <c:v>13.148999999999999</c:v>
                </c:pt>
                <c:pt idx="929">
                  <c:v>13.234</c:v>
                </c:pt>
                <c:pt idx="930">
                  <c:v>13.354200000000001</c:v>
                </c:pt>
                <c:pt idx="931">
                  <c:v>13.335100000000001</c:v>
                </c:pt>
                <c:pt idx="932">
                  <c:v>13.2349</c:v>
                </c:pt>
                <c:pt idx="933">
                  <c:v>13.1656</c:v>
                </c:pt>
                <c:pt idx="934">
                  <c:v>13.148300000000001</c:v>
                </c:pt>
                <c:pt idx="935">
                  <c:v>13.4236</c:v>
                </c:pt>
                <c:pt idx="936">
                  <c:v>13.3476</c:v>
                </c:pt>
                <c:pt idx="937">
                  <c:v>13.420400000000001</c:v>
                </c:pt>
                <c:pt idx="938">
                  <c:v>13.3893</c:v>
                </c:pt>
                <c:pt idx="939">
                  <c:v>13.3393</c:v>
                </c:pt>
                <c:pt idx="940">
                  <c:v>13.4198</c:v>
                </c:pt>
                <c:pt idx="941">
                  <c:v>13.3398</c:v>
                </c:pt>
                <c:pt idx="942">
                  <c:v>12.9717</c:v>
                </c:pt>
                <c:pt idx="943">
                  <c:v>12.9085</c:v>
                </c:pt>
                <c:pt idx="944">
                  <c:v>12.860799999999999</c:v>
                </c:pt>
                <c:pt idx="945">
                  <c:v>12.8653</c:v>
                </c:pt>
                <c:pt idx="946">
                  <c:v>13.0169</c:v>
                </c:pt>
                <c:pt idx="947">
                  <c:v>13.033799999999999</c:v>
                </c:pt>
                <c:pt idx="948">
                  <c:v>12.823499999999999</c:v>
                </c:pt>
                <c:pt idx="949">
                  <c:v>12.777799999999999</c:v>
                </c:pt>
                <c:pt idx="950">
                  <c:v>12.724600000000001</c:v>
                </c:pt>
                <c:pt idx="951">
                  <c:v>12.546200000000001</c:v>
                </c:pt>
                <c:pt idx="952">
                  <c:v>12.5914</c:v>
                </c:pt>
                <c:pt idx="953">
                  <c:v>12.494899999999999</c:v>
                </c:pt>
                <c:pt idx="954">
                  <c:v>12.7044</c:v>
                </c:pt>
                <c:pt idx="955">
                  <c:v>12.5204</c:v>
                </c:pt>
                <c:pt idx="956">
                  <c:v>12.525</c:v>
                </c:pt>
                <c:pt idx="957">
                  <c:v>12.8956</c:v>
                </c:pt>
                <c:pt idx="958">
                  <c:v>13.0177</c:v>
                </c:pt>
                <c:pt idx="959">
                  <c:v>13.1884</c:v>
                </c:pt>
                <c:pt idx="960">
                  <c:v>13.189500000000001</c:v>
                </c:pt>
                <c:pt idx="961">
                  <c:v>13.038</c:v>
                </c:pt>
                <c:pt idx="962">
                  <c:v>13.1214</c:v>
                </c:pt>
                <c:pt idx="963">
                  <c:v>13.183400000000001</c:v>
                </c:pt>
                <c:pt idx="964">
                  <c:v>13.2516</c:v>
                </c:pt>
                <c:pt idx="965">
                  <c:v>13.401300000000001</c:v>
                </c:pt>
                <c:pt idx="966">
                  <c:v>13.394</c:v>
                </c:pt>
                <c:pt idx="967">
                  <c:v>13.435600000000001</c:v>
                </c:pt>
                <c:pt idx="968">
                  <c:v>13.436199999999999</c:v>
                </c:pt>
                <c:pt idx="969">
                  <c:v>13.446999999999999</c:v>
                </c:pt>
                <c:pt idx="970">
                  <c:v>13.6166</c:v>
                </c:pt>
                <c:pt idx="971">
                  <c:v>13.582599999999999</c:v>
                </c:pt>
                <c:pt idx="972">
                  <c:v>13.517799999999999</c:v>
                </c:pt>
                <c:pt idx="973">
                  <c:v>13.404</c:v>
                </c:pt>
                <c:pt idx="974">
                  <c:v>13.686500000000001</c:v>
                </c:pt>
                <c:pt idx="975">
                  <c:v>13.621</c:v>
                </c:pt>
                <c:pt idx="976">
                  <c:v>13.688599999999999</c:v>
                </c:pt>
                <c:pt idx="977">
                  <c:v>13.6386</c:v>
                </c:pt>
                <c:pt idx="978">
                  <c:v>13.598599999999999</c:v>
                </c:pt>
                <c:pt idx="979">
                  <c:v>13.661199999999999</c:v>
                </c:pt>
                <c:pt idx="980">
                  <c:v>13.5486</c:v>
                </c:pt>
                <c:pt idx="981">
                  <c:v>13.831300000000001</c:v>
                </c:pt>
                <c:pt idx="982">
                  <c:v>13.822900000000001</c:v>
                </c:pt>
                <c:pt idx="983">
                  <c:v>13.798400000000001</c:v>
                </c:pt>
                <c:pt idx="984">
                  <c:v>13.8756</c:v>
                </c:pt>
                <c:pt idx="985">
                  <c:v>13.8788</c:v>
                </c:pt>
                <c:pt idx="986">
                  <c:v>13.928100000000001</c:v>
                </c:pt>
                <c:pt idx="987">
                  <c:v>14.0275</c:v>
                </c:pt>
                <c:pt idx="988">
                  <c:v>13.959300000000001</c:v>
                </c:pt>
                <c:pt idx="989">
                  <c:v>13.9693</c:v>
                </c:pt>
                <c:pt idx="990">
                  <c:v>14.0718</c:v>
                </c:pt>
                <c:pt idx="991">
                  <c:v>13.84</c:v>
                </c:pt>
                <c:pt idx="992">
                  <c:v>13.9564</c:v>
                </c:pt>
                <c:pt idx="993">
                  <c:v>13.9549</c:v>
                </c:pt>
                <c:pt idx="994">
                  <c:v>13.962199999999999</c:v>
                </c:pt>
                <c:pt idx="995">
                  <c:v>13.9885</c:v>
                </c:pt>
                <c:pt idx="996">
                  <c:v>13.9848</c:v>
                </c:pt>
                <c:pt idx="997">
                  <c:v>13.951499999999999</c:v>
                </c:pt>
                <c:pt idx="998">
                  <c:v>13.9619</c:v>
                </c:pt>
                <c:pt idx="999">
                  <c:v>13.956899999999999</c:v>
                </c:pt>
                <c:pt idx="1000">
                  <c:v>13.972799999999999</c:v>
                </c:pt>
                <c:pt idx="1001">
                  <c:v>14.089</c:v>
                </c:pt>
                <c:pt idx="1002">
                  <c:v>14.1515</c:v>
                </c:pt>
                <c:pt idx="1003">
                  <c:v>14.4282</c:v>
                </c:pt>
                <c:pt idx="1004">
                  <c:v>14.4758</c:v>
                </c:pt>
                <c:pt idx="1005">
                  <c:v>14.44</c:v>
                </c:pt>
                <c:pt idx="1006">
                  <c:v>14.3261</c:v>
                </c:pt>
                <c:pt idx="1007">
                  <c:v>14.382</c:v>
                </c:pt>
                <c:pt idx="1008">
                  <c:v>14.3354</c:v>
                </c:pt>
                <c:pt idx="1009">
                  <c:v>14.1622</c:v>
                </c:pt>
                <c:pt idx="1010">
                  <c:v>14.1501</c:v>
                </c:pt>
                <c:pt idx="1011">
                  <c:v>13.9206</c:v>
                </c:pt>
                <c:pt idx="1012">
                  <c:v>13.925599999999999</c:v>
                </c:pt>
                <c:pt idx="1013">
                  <c:v>14.136799999999999</c:v>
                </c:pt>
                <c:pt idx="1014">
                  <c:v>14.1744</c:v>
                </c:pt>
                <c:pt idx="1015">
                  <c:v>14.1616</c:v>
                </c:pt>
                <c:pt idx="1016">
                  <c:v>13.9602</c:v>
                </c:pt>
                <c:pt idx="1017">
                  <c:v>14.165900000000001</c:v>
                </c:pt>
                <c:pt idx="1018">
                  <c:v>14.165100000000001</c:v>
                </c:pt>
                <c:pt idx="1019">
                  <c:v>14.057700000000001</c:v>
                </c:pt>
                <c:pt idx="1020">
                  <c:v>14.038600000000001</c:v>
                </c:pt>
                <c:pt idx="1021">
                  <c:v>13.960599999999999</c:v>
                </c:pt>
                <c:pt idx="1022">
                  <c:v>14.2621</c:v>
                </c:pt>
                <c:pt idx="1023">
                  <c:v>14.444599999999999</c:v>
                </c:pt>
                <c:pt idx="1024">
                  <c:v>14.4794</c:v>
                </c:pt>
                <c:pt idx="1025">
                  <c:v>14.459</c:v>
                </c:pt>
                <c:pt idx="1026">
                  <c:v>14.463699999999999</c:v>
                </c:pt>
                <c:pt idx="1027">
                  <c:v>14.510300000000001</c:v>
                </c:pt>
                <c:pt idx="1028">
                  <c:v>14.5746</c:v>
                </c:pt>
                <c:pt idx="1029">
                  <c:v>14.651999999999999</c:v>
                </c:pt>
                <c:pt idx="1030">
                  <c:v>14.654500000000001</c:v>
                </c:pt>
                <c:pt idx="1031">
                  <c:v>14.669</c:v>
                </c:pt>
                <c:pt idx="1032">
                  <c:v>14.589700000000001</c:v>
                </c:pt>
                <c:pt idx="1033">
                  <c:v>14.683</c:v>
                </c:pt>
                <c:pt idx="1034">
                  <c:v>14.696400000000001</c:v>
                </c:pt>
                <c:pt idx="1035">
                  <c:v>14.6967</c:v>
                </c:pt>
                <c:pt idx="1036">
                  <c:v>14.7837</c:v>
                </c:pt>
                <c:pt idx="1037">
                  <c:v>14.839700000000001</c:v>
                </c:pt>
                <c:pt idx="1038">
                  <c:v>14.8171</c:v>
                </c:pt>
                <c:pt idx="1039">
                  <c:v>14.817299999999999</c:v>
                </c:pt>
                <c:pt idx="1040">
                  <c:v>14.828099999999999</c:v>
                </c:pt>
                <c:pt idx="1041">
                  <c:v>14.8423</c:v>
                </c:pt>
                <c:pt idx="1042">
                  <c:v>14.857200000000001</c:v>
                </c:pt>
                <c:pt idx="1043">
                  <c:v>14.835699999999999</c:v>
                </c:pt>
                <c:pt idx="1044">
                  <c:v>14.835000000000001</c:v>
                </c:pt>
                <c:pt idx="1045">
                  <c:v>15.010400000000001</c:v>
                </c:pt>
                <c:pt idx="1046">
                  <c:v>14.9908</c:v>
                </c:pt>
                <c:pt idx="1047">
                  <c:v>15.0708</c:v>
                </c:pt>
                <c:pt idx="1048">
                  <c:v>15.036199999999999</c:v>
                </c:pt>
                <c:pt idx="1049">
                  <c:v>15.010400000000001</c:v>
                </c:pt>
                <c:pt idx="1050">
                  <c:v>14.9826</c:v>
                </c:pt>
                <c:pt idx="1051">
                  <c:v>15.0357</c:v>
                </c:pt>
                <c:pt idx="1052">
                  <c:v>15.1798</c:v>
                </c:pt>
                <c:pt idx="1053">
                  <c:v>15.1439</c:v>
                </c:pt>
                <c:pt idx="1054">
                  <c:v>15.193300000000001</c:v>
                </c:pt>
                <c:pt idx="1055">
                  <c:v>15.190799999999999</c:v>
                </c:pt>
                <c:pt idx="1056">
                  <c:v>15.0922</c:v>
                </c:pt>
                <c:pt idx="1057">
                  <c:v>14.9237</c:v>
                </c:pt>
                <c:pt idx="1058">
                  <c:v>14.907299999999999</c:v>
                </c:pt>
                <c:pt idx="1059">
                  <c:v>14.8804</c:v>
                </c:pt>
                <c:pt idx="1060">
                  <c:v>14.976000000000001</c:v>
                </c:pt>
                <c:pt idx="1061">
                  <c:v>15.0016</c:v>
                </c:pt>
                <c:pt idx="1062">
                  <c:v>15.055899999999999</c:v>
                </c:pt>
                <c:pt idx="1063">
                  <c:v>14.917899999999999</c:v>
                </c:pt>
                <c:pt idx="1064">
                  <c:v>14.6557</c:v>
                </c:pt>
                <c:pt idx="1065">
                  <c:v>14.7394</c:v>
                </c:pt>
                <c:pt idx="1066">
                  <c:v>15.117599999999999</c:v>
                </c:pt>
                <c:pt idx="1067">
                  <c:v>15.0969</c:v>
                </c:pt>
                <c:pt idx="1068">
                  <c:v>15.2631</c:v>
                </c:pt>
                <c:pt idx="1069">
                  <c:v>15.288399999999999</c:v>
                </c:pt>
                <c:pt idx="1070">
                  <c:v>15.4024</c:v>
                </c:pt>
                <c:pt idx="1071">
                  <c:v>15.465299999999999</c:v>
                </c:pt>
                <c:pt idx="1072">
                  <c:v>15.465400000000001</c:v>
                </c:pt>
                <c:pt idx="1073">
                  <c:v>15.4842</c:v>
                </c:pt>
                <c:pt idx="1074">
                  <c:v>15.5701</c:v>
                </c:pt>
                <c:pt idx="1075">
                  <c:v>15.6152</c:v>
                </c:pt>
                <c:pt idx="1076">
                  <c:v>13.61</c:v>
                </c:pt>
                <c:pt idx="1077">
                  <c:v>13.6915</c:v>
                </c:pt>
                <c:pt idx="1078">
                  <c:v>13.7325</c:v>
                </c:pt>
                <c:pt idx="1079">
                  <c:v>13.7569</c:v>
                </c:pt>
                <c:pt idx="1080">
                  <c:v>13.755000000000001</c:v>
                </c:pt>
                <c:pt idx="1081">
                  <c:v>13.4739</c:v>
                </c:pt>
                <c:pt idx="1082">
                  <c:v>13.395</c:v>
                </c:pt>
                <c:pt idx="1083">
                  <c:v>13.383100000000001</c:v>
                </c:pt>
                <c:pt idx="1084">
                  <c:v>13.5181</c:v>
                </c:pt>
                <c:pt idx="1085">
                  <c:v>13.5977</c:v>
                </c:pt>
                <c:pt idx="1086">
                  <c:v>13.381500000000001</c:v>
                </c:pt>
                <c:pt idx="1087">
                  <c:v>13.4031</c:v>
                </c:pt>
                <c:pt idx="1088">
                  <c:v>13.632199999999999</c:v>
                </c:pt>
                <c:pt idx="1089">
                  <c:v>13.5365</c:v>
                </c:pt>
                <c:pt idx="1090">
                  <c:v>13.4247</c:v>
                </c:pt>
                <c:pt idx="1091">
                  <c:v>13.517300000000001</c:v>
                </c:pt>
                <c:pt idx="1092">
                  <c:v>13.4979</c:v>
                </c:pt>
                <c:pt idx="1093">
                  <c:v>13.242000000000001</c:v>
                </c:pt>
                <c:pt idx="1094">
                  <c:v>13.334099999999999</c:v>
                </c:pt>
                <c:pt idx="1095">
                  <c:v>13.249000000000001</c:v>
                </c:pt>
                <c:pt idx="1096">
                  <c:v>13.0741</c:v>
                </c:pt>
                <c:pt idx="1097">
                  <c:v>12.7898</c:v>
                </c:pt>
                <c:pt idx="1098">
                  <c:v>12.942600000000001</c:v>
                </c:pt>
                <c:pt idx="1099">
                  <c:v>13.007300000000001</c:v>
                </c:pt>
                <c:pt idx="1100">
                  <c:v>13.178699999999999</c:v>
                </c:pt>
                <c:pt idx="1101">
                  <c:v>13.1302</c:v>
                </c:pt>
                <c:pt idx="1102">
                  <c:v>13.1668</c:v>
                </c:pt>
                <c:pt idx="1103">
                  <c:v>13.284700000000001</c:v>
                </c:pt>
                <c:pt idx="1104">
                  <c:v>13.3249</c:v>
                </c:pt>
                <c:pt idx="1105">
                  <c:v>13.3079</c:v>
                </c:pt>
                <c:pt idx="1106">
                  <c:v>13.400399999999999</c:v>
                </c:pt>
                <c:pt idx="1107">
                  <c:v>13.4903</c:v>
                </c:pt>
                <c:pt idx="1108">
                  <c:v>13.462999999999999</c:v>
                </c:pt>
                <c:pt idx="1109">
                  <c:v>13.5566</c:v>
                </c:pt>
                <c:pt idx="1110">
                  <c:v>13.557399999999999</c:v>
                </c:pt>
                <c:pt idx="1111">
                  <c:v>13.5137</c:v>
                </c:pt>
                <c:pt idx="1112">
                  <c:v>13.5441</c:v>
                </c:pt>
                <c:pt idx="1113">
                  <c:v>13.5213</c:v>
                </c:pt>
                <c:pt idx="1114">
                  <c:v>13.4742</c:v>
                </c:pt>
                <c:pt idx="1115">
                  <c:v>13.404</c:v>
                </c:pt>
                <c:pt idx="1116">
                  <c:v>13.2967</c:v>
                </c:pt>
                <c:pt idx="1117">
                  <c:v>13.288600000000001</c:v>
                </c:pt>
                <c:pt idx="1118">
                  <c:v>13.2813</c:v>
                </c:pt>
                <c:pt idx="1119">
                  <c:v>13.355399999999999</c:v>
                </c:pt>
                <c:pt idx="1120">
                  <c:v>13.206799999999999</c:v>
                </c:pt>
                <c:pt idx="1121">
                  <c:v>13.270200000000001</c:v>
                </c:pt>
                <c:pt idx="1122">
                  <c:v>13.419499999999999</c:v>
                </c:pt>
                <c:pt idx="1123">
                  <c:v>13.460699999999999</c:v>
                </c:pt>
                <c:pt idx="1124">
                  <c:v>13.4612</c:v>
                </c:pt>
                <c:pt idx="1125">
                  <c:v>13.4268</c:v>
                </c:pt>
                <c:pt idx="1126">
                  <c:v>13.541700000000001</c:v>
                </c:pt>
                <c:pt idx="1127">
                  <c:v>13.6212</c:v>
                </c:pt>
                <c:pt idx="1128">
                  <c:v>13.630800000000001</c:v>
                </c:pt>
                <c:pt idx="1129">
                  <c:v>13.625</c:v>
                </c:pt>
                <c:pt idx="1130">
                  <c:v>13.579499999999999</c:v>
                </c:pt>
                <c:pt idx="1131">
                  <c:v>13.5327</c:v>
                </c:pt>
                <c:pt idx="1132">
                  <c:v>13.426600000000001</c:v>
                </c:pt>
                <c:pt idx="1133">
                  <c:v>13.2979</c:v>
                </c:pt>
                <c:pt idx="1134">
                  <c:v>13.3452</c:v>
                </c:pt>
                <c:pt idx="1135">
                  <c:v>13.41</c:v>
                </c:pt>
                <c:pt idx="1136">
                  <c:v>13.518000000000001</c:v>
                </c:pt>
                <c:pt idx="1137">
                  <c:v>13.370699999999999</c:v>
                </c:pt>
                <c:pt idx="1138">
                  <c:v>13.4376</c:v>
                </c:pt>
                <c:pt idx="1139">
                  <c:v>13.329599999999999</c:v>
                </c:pt>
                <c:pt idx="1140">
                  <c:v>13.253399999999999</c:v>
                </c:pt>
                <c:pt idx="1141">
                  <c:v>13.256500000000001</c:v>
                </c:pt>
                <c:pt idx="1142">
                  <c:v>13.3786</c:v>
                </c:pt>
                <c:pt idx="1143">
                  <c:v>13.411</c:v>
                </c:pt>
                <c:pt idx="1144">
                  <c:v>13.307600000000001</c:v>
                </c:pt>
                <c:pt idx="1145">
                  <c:v>13.1374</c:v>
                </c:pt>
                <c:pt idx="1146">
                  <c:v>13.134499999999999</c:v>
                </c:pt>
                <c:pt idx="1147">
                  <c:v>13.178100000000001</c:v>
                </c:pt>
                <c:pt idx="1148">
                  <c:v>13.223800000000001</c:v>
                </c:pt>
                <c:pt idx="1149">
                  <c:v>13.277699999999999</c:v>
                </c:pt>
                <c:pt idx="1150">
                  <c:v>13.277699999999999</c:v>
                </c:pt>
                <c:pt idx="1151">
                  <c:v>13.4162</c:v>
                </c:pt>
                <c:pt idx="1152">
                  <c:v>13.1083</c:v>
                </c:pt>
                <c:pt idx="1153">
                  <c:v>13.091699999999999</c:v>
                </c:pt>
                <c:pt idx="1154">
                  <c:v>12.9801</c:v>
                </c:pt>
                <c:pt idx="1155">
                  <c:v>12.8429</c:v>
                </c:pt>
                <c:pt idx="1156">
                  <c:v>12.8325</c:v>
                </c:pt>
                <c:pt idx="1157">
                  <c:v>12.7784</c:v>
                </c:pt>
                <c:pt idx="1158">
                  <c:v>12.8758</c:v>
                </c:pt>
                <c:pt idx="1159">
                  <c:v>12.698399999999999</c:v>
                </c:pt>
                <c:pt idx="1160">
                  <c:v>12.722899999999999</c:v>
                </c:pt>
                <c:pt idx="1161">
                  <c:v>12.883900000000001</c:v>
                </c:pt>
                <c:pt idx="1162">
                  <c:v>12.658799999999999</c:v>
                </c:pt>
                <c:pt idx="1163">
                  <c:v>12.684799999999999</c:v>
                </c:pt>
                <c:pt idx="1164">
                  <c:v>12.7308</c:v>
                </c:pt>
                <c:pt idx="1165">
                  <c:v>12.7491</c:v>
                </c:pt>
                <c:pt idx="1166">
                  <c:v>12.920400000000001</c:v>
                </c:pt>
                <c:pt idx="1167">
                  <c:v>12.8362</c:v>
                </c:pt>
                <c:pt idx="1168">
                  <c:v>12.804600000000001</c:v>
                </c:pt>
                <c:pt idx="1169">
                  <c:v>12.6553</c:v>
                </c:pt>
                <c:pt idx="1170">
                  <c:v>12.7766</c:v>
                </c:pt>
                <c:pt idx="1171">
                  <c:v>12.9374</c:v>
                </c:pt>
                <c:pt idx="1172">
                  <c:v>13.0519</c:v>
                </c:pt>
                <c:pt idx="1173">
                  <c:v>13.186400000000001</c:v>
                </c:pt>
                <c:pt idx="1174">
                  <c:v>13.348100000000001</c:v>
                </c:pt>
                <c:pt idx="1175">
                  <c:v>13.352</c:v>
                </c:pt>
                <c:pt idx="1176">
                  <c:v>13.3424</c:v>
                </c:pt>
                <c:pt idx="1177">
                  <c:v>13.361499999999999</c:v>
                </c:pt>
                <c:pt idx="1178">
                  <c:v>13.5075</c:v>
                </c:pt>
                <c:pt idx="1179">
                  <c:v>13.4206</c:v>
                </c:pt>
                <c:pt idx="1180">
                  <c:v>13.178599999999999</c:v>
                </c:pt>
                <c:pt idx="1181">
                  <c:v>13.1144</c:v>
                </c:pt>
                <c:pt idx="1182">
                  <c:v>13.157</c:v>
                </c:pt>
                <c:pt idx="1183">
                  <c:v>13.0739</c:v>
                </c:pt>
                <c:pt idx="1184">
                  <c:v>13.1206</c:v>
                </c:pt>
                <c:pt idx="1185">
                  <c:v>13.0182</c:v>
                </c:pt>
                <c:pt idx="1186">
                  <c:v>13.2164</c:v>
                </c:pt>
                <c:pt idx="1187">
                  <c:v>13.250400000000001</c:v>
                </c:pt>
                <c:pt idx="1188">
                  <c:v>13.401899999999999</c:v>
                </c:pt>
                <c:pt idx="1189">
                  <c:v>13.3803</c:v>
                </c:pt>
                <c:pt idx="1190">
                  <c:v>13.301600000000001</c:v>
                </c:pt>
                <c:pt idx="1191">
                  <c:v>13.256600000000001</c:v>
                </c:pt>
                <c:pt idx="1192">
                  <c:v>12.995900000000001</c:v>
                </c:pt>
                <c:pt idx="1193">
                  <c:v>12.947100000000001</c:v>
                </c:pt>
                <c:pt idx="1194">
                  <c:v>12.862399999999999</c:v>
                </c:pt>
                <c:pt idx="1195">
                  <c:v>12.7963</c:v>
                </c:pt>
                <c:pt idx="1196">
                  <c:v>12.4724</c:v>
                </c:pt>
                <c:pt idx="1197">
                  <c:v>12.531700000000001</c:v>
                </c:pt>
                <c:pt idx="1198">
                  <c:v>11.924099999999999</c:v>
                </c:pt>
                <c:pt idx="1199">
                  <c:v>11.9231</c:v>
                </c:pt>
                <c:pt idx="1200">
                  <c:v>11.136900000000001</c:v>
                </c:pt>
                <c:pt idx="1201">
                  <c:v>11.6669</c:v>
                </c:pt>
                <c:pt idx="1202">
                  <c:v>11.173299999999999</c:v>
                </c:pt>
                <c:pt idx="1203">
                  <c:v>11.701700000000001</c:v>
                </c:pt>
                <c:pt idx="1204">
                  <c:v>11.766400000000001</c:v>
                </c:pt>
                <c:pt idx="1205">
                  <c:v>12.03</c:v>
                </c:pt>
                <c:pt idx="1206">
                  <c:v>11.9145</c:v>
                </c:pt>
                <c:pt idx="1207">
                  <c:v>11.9336</c:v>
                </c:pt>
                <c:pt idx="1208">
                  <c:v>11.416700000000001</c:v>
                </c:pt>
                <c:pt idx="1209">
                  <c:v>11.2577</c:v>
                </c:pt>
                <c:pt idx="1210">
                  <c:v>11.263299999999999</c:v>
                </c:pt>
                <c:pt idx="1211">
                  <c:v>11.648199999999999</c:v>
                </c:pt>
                <c:pt idx="1212">
                  <c:v>11.8032</c:v>
                </c:pt>
                <c:pt idx="1213">
                  <c:v>11.6104</c:v>
                </c:pt>
                <c:pt idx="1214">
                  <c:v>11.780900000000001</c:v>
                </c:pt>
                <c:pt idx="1215">
                  <c:v>12.104699999999999</c:v>
                </c:pt>
                <c:pt idx="1216">
                  <c:v>12.1295</c:v>
                </c:pt>
                <c:pt idx="1217">
                  <c:v>12.1913</c:v>
                </c:pt>
                <c:pt idx="1218">
                  <c:v>12.041499999999999</c:v>
                </c:pt>
                <c:pt idx="1219">
                  <c:v>11.736800000000001</c:v>
                </c:pt>
                <c:pt idx="1220">
                  <c:v>11.7361</c:v>
                </c:pt>
                <c:pt idx="1221">
                  <c:v>11.658099999999999</c:v>
                </c:pt>
                <c:pt idx="1222">
                  <c:v>11.9946</c:v>
                </c:pt>
                <c:pt idx="1223">
                  <c:v>11.863799999999999</c:v>
                </c:pt>
                <c:pt idx="1224">
                  <c:v>11.5451</c:v>
                </c:pt>
                <c:pt idx="1225">
                  <c:v>11.6273</c:v>
                </c:pt>
                <c:pt idx="1226">
                  <c:v>11.743499999999999</c:v>
                </c:pt>
                <c:pt idx="1227">
                  <c:v>11.913</c:v>
                </c:pt>
                <c:pt idx="1228">
                  <c:v>12.1252</c:v>
                </c:pt>
                <c:pt idx="1229">
                  <c:v>12.198499999999999</c:v>
                </c:pt>
                <c:pt idx="1230">
                  <c:v>12.042400000000001</c:v>
                </c:pt>
                <c:pt idx="1231">
                  <c:v>12.0314</c:v>
                </c:pt>
                <c:pt idx="1232">
                  <c:v>11.678699999999999</c:v>
                </c:pt>
                <c:pt idx="1233">
                  <c:v>11.301</c:v>
                </c:pt>
                <c:pt idx="1234">
                  <c:v>11.370799999999999</c:v>
                </c:pt>
                <c:pt idx="1235">
                  <c:v>11.6327</c:v>
                </c:pt>
                <c:pt idx="1236">
                  <c:v>11.756600000000001</c:v>
                </c:pt>
                <c:pt idx="1237">
                  <c:v>11.513199999999999</c:v>
                </c:pt>
                <c:pt idx="1238">
                  <c:v>11.6157</c:v>
                </c:pt>
                <c:pt idx="1239">
                  <c:v>11.3405</c:v>
                </c:pt>
                <c:pt idx="1240">
                  <c:v>11.042299999999999</c:v>
                </c:pt>
                <c:pt idx="1241">
                  <c:v>11.291399999999999</c:v>
                </c:pt>
                <c:pt idx="1242">
                  <c:v>11.5078</c:v>
                </c:pt>
                <c:pt idx="1243">
                  <c:v>11.7201</c:v>
                </c:pt>
                <c:pt idx="1244">
                  <c:v>11.6408</c:v>
                </c:pt>
                <c:pt idx="1245">
                  <c:v>12.044499999999999</c:v>
                </c:pt>
                <c:pt idx="1246">
                  <c:v>12.0322</c:v>
                </c:pt>
                <c:pt idx="1247">
                  <c:v>12.1516</c:v>
                </c:pt>
                <c:pt idx="1248">
                  <c:v>12.118600000000001</c:v>
                </c:pt>
                <c:pt idx="1249">
                  <c:v>12.3262</c:v>
                </c:pt>
                <c:pt idx="1250">
                  <c:v>12.084</c:v>
                </c:pt>
                <c:pt idx="1251">
                  <c:v>12.353899999999999</c:v>
                </c:pt>
                <c:pt idx="1252">
                  <c:v>12.2293</c:v>
                </c:pt>
                <c:pt idx="1253">
                  <c:v>12.2911</c:v>
                </c:pt>
                <c:pt idx="1254">
                  <c:v>12.527699999999999</c:v>
                </c:pt>
                <c:pt idx="1255">
                  <c:v>12.700699999999999</c:v>
                </c:pt>
                <c:pt idx="1256">
                  <c:v>12.4529</c:v>
                </c:pt>
                <c:pt idx="1257">
                  <c:v>12.593299999999999</c:v>
                </c:pt>
                <c:pt idx="1258">
                  <c:v>13.0297</c:v>
                </c:pt>
                <c:pt idx="1259">
                  <c:v>13.0321</c:v>
                </c:pt>
                <c:pt idx="1260">
                  <c:v>12.706300000000001</c:v>
                </c:pt>
                <c:pt idx="1261">
                  <c:v>12.345700000000001</c:v>
                </c:pt>
                <c:pt idx="1262">
                  <c:v>12.539099999999999</c:v>
                </c:pt>
                <c:pt idx="1263">
                  <c:v>12.758800000000001</c:v>
                </c:pt>
                <c:pt idx="1264">
                  <c:v>12.685600000000001</c:v>
                </c:pt>
                <c:pt idx="1265">
                  <c:v>12.760899999999999</c:v>
                </c:pt>
                <c:pt idx="1266">
                  <c:v>12.910600000000001</c:v>
                </c:pt>
                <c:pt idx="1267">
                  <c:v>12.4419</c:v>
                </c:pt>
                <c:pt idx="1268">
                  <c:v>12.547800000000001</c:v>
                </c:pt>
                <c:pt idx="1269">
                  <c:v>12.789099999999999</c:v>
                </c:pt>
                <c:pt idx="1270">
                  <c:v>12.6653</c:v>
                </c:pt>
                <c:pt idx="1271">
                  <c:v>12.725</c:v>
                </c:pt>
                <c:pt idx="1272">
                  <c:v>12.518700000000001</c:v>
                </c:pt>
                <c:pt idx="1273">
                  <c:v>12.311</c:v>
                </c:pt>
                <c:pt idx="1274">
                  <c:v>12.308299999999999</c:v>
                </c:pt>
                <c:pt idx="1275">
                  <c:v>12.0985</c:v>
                </c:pt>
                <c:pt idx="1276">
                  <c:v>12.052899999999999</c:v>
                </c:pt>
                <c:pt idx="1277">
                  <c:v>11.7883</c:v>
                </c:pt>
                <c:pt idx="1278">
                  <c:v>11.788399999999999</c:v>
                </c:pt>
                <c:pt idx="1279">
                  <c:v>11.759399999999999</c:v>
                </c:pt>
                <c:pt idx="1280">
                  <c:v>12.100199999999999</c:v>
                </c:pt>
                <c:pt idx="1281">
                  <c:v>12.1304</c:v>
                </c:pt>
                <c:pt idx="1282">
                  <c:v>12.6577</c:v>
                </c:pt>
                <c:pt idx="1283">
                  <c:v>12.6251</c:v>
                </c:pt>
                <c:pt idx="1284">
                  <c:v>12.614699999999999</c:v>
                </c:pt>
                <c:pt idx="1285">
                  <c:v>12.7447</c:v>
                </c:pt>
                <c:pt idx="1286">
                  <c:v>12.764200000000001</c:v>
                </c:pt>
                <c:pt idx="1287">
                  <c:v>12.7659</c:v>
                </c:pt>
                <c:pt idx="1288">
                  <c:v>12.5229</c:v>
                </c:pt>
                <c:pt idx="1289">
                  <c:v>12.699299999999999</c:v>
                </c:pt>
                <c:pt idx="1290">
                  <c:v>12.5105</c:v>
                </c:pt>
                <c:pt idx="1291">
                  <c:v>12.4094</c:v>
                </c:pt>
                <c:pt idx="1292">
                  <c:v>12.3127</c:v>
                </c:pt>
                <c:pt idx="1293">
                  <c:v>12.359299999999999</c:v>
                </c:pt>
                <c:pt idx="1294">
                  <c:v>12.397</c:v>
                </c:pt>
                <c:pt idx="1295">
                  <c:v>12.157500000000001</c:v>
                </c:pt>
                <c:pt idx="1296">
                  <c:v>12.530200000000001</c:v>
                </c:pt>
                <c:pt idx="1297">
                  <c:v>12.5563</c:v>
                </c:pt>
                <c:pt idx="1298">
                  <c:v>12.6547</c:v>
                </c:pt>
                <c:pt idx="1299">
                  <c:v>12.7712</c:v>
                </c:pt>
                <c:pt idx="1300">
                  <c:v>12.770899999999999</c:v>
                </c:pt>
                <c:pt idx="1301">
                  <c:v>12.7715</c:v>
                </c:pt>
                <c:pt idx="1302">
                  <c:v>12.611700000000001</c:v>
                </c:pt>
                <c:pt idx="1303">
                  <c:v>12.7476</c:v>
                </c:pt>
                <c:pt idx="1304">
                  <c:v>12.6921</c:v>
                </c:pt>
                <c:pt idx="1305">
                  <c:v>12.692399999999999</c:v>
                </c:pt>
                <c:pt idx="1306">
                  <c:v>12.8874</c:v>
                </c:pt>
                <c:pt idx="1307">
                  <c:v>12.8912</c:v>
                </c:pt>
                <c:pt idx="1308">
                  <c:v>12.937799999999999</c:v>
                </c:pt>
                <c:pt idx="1309">
                  <c:v>12.906599999999999</c:v>
                </c:pt>
                <c:pt idx="1310">
                  <c:v>12.9413</c:v>
                </c:pt>
                <c:pt idx="1311">
                  <c:v>13.0562</c:v>
                </c:pt>
                <c:pt idx="1312">
                  <c:v>13.077999999999999</c:v>
                </c:pt>
                <c:pt idx="1313">
                  <c:v>13.1136</c:v>
                </c:pt>
                <c:pt idx="1314">
                  <c:v>13.039</c:v>
                </c:pt>
                <c:pt idx="1315">
                  <c:v>13.0425</c:v>
                </c:pt>
                <c:pt idx="1316">
                  <c:v>13.0915</c:v>
                </c:pt>
                <c:pt idx="1317">
                  <c:v>13.248200000000001</c:v>
                </c:pt>
                <c:pt idx="1318">
                  <c:v>13.463800000000001</c:v>
                </c:pt>
                <c:pt idx="1319">
                  <c:v>13.521599999999999</c:v>
                </c:pt>
                <c:pt idx="1320">
                  <c:v>13.5291</c:v>
                </c:pt>
                <c:pt idx="1321">
                  <c:v>13.469900000000001</c:v>
                </c:pt>
                <c:pt idx="1322">
                  <c:v>13.5807</c:v>
                </c:pt>
                <c:pt idx="1323">
                  <c:v>13.5174</c:v>
                </c:pt>
                <c:pt idx="1324">
                  <c:v>13.544499999999999</c:v>
                </c:pt>
                <c:pt idx="1325">
                  <c:v>13.510300000000001</c:v>
                </c:pt>
                <c:pt idx="1326">
                  <c:v>13.6134</c:v>
                </c:pt>
                <c:pt idx="1327">
                  <c:v>13.7774</c:v>
                </c:pt>
                <c:pt idx="1328">
                  <c:v>13.846500000000001</c:v>
                </c:pt>
                <c:pt idx="1329">
                  <c:v>14.0442</c:v>
                </c:pt>
                <c:pt idx="1330">
                  <c:v>14.047599999999999</c:v>
                </c:pt>
                <c:pt idx="1331">
                  <c:v>14.0989</c:v>
                </c:pt>
                <c:pt idx="1332">
                  <c:v>14.125999999999999</c:v>
                </c:pt>
                <c:pt idx="1333">
                  <c:v>12.811199999999999</c:v>
                </c:pt>
                <c:pt idx="1334">
                  <c:v>12.734299999999999</c:v>
                </c:pt>
                <c:pt idx="1335">
                  <c:v>12.8233</c:v>
                </c:pt>
                <c:pt idx="1336">
                  <c:v>12.8132</c:v>
                </c:pt>
                <c:pt idx="1337">
                  <c:v>12.7456</c:v>
                </c:pt>
                <c:pt idx="1338">
                  <c:v>12.8901</c:v>
                </c:pt>
                <c:pt idx="1339">
                  <c:v>12.9199</c:v>
                </c:pt>
                <c:pt idx="1340">
                  <c:v>12.920400000000001</c:v>
                </c:pt>
                <c:pt idx="1341">
                  <c:v>12.9269</c:v>
                </c:pt>
                <c:pt idx="1342">
                  <c:v>12.891500000000001</c:v>
                </c:pt>
                <c:pt idx="1343">
                  <c:v>12.9518</c:v>
                </c:pt>
                <c:pt idx="1344">
                  <c:v>12.974500000000001</c:v>
                </c:pt>
                <c:pt idx="1345">
                  <c:v>12.9938</c:v>
                </c:pt>
                <c:pt idx="1346">
                  <c:v>13.036099999999999</c:v>
                </c:pt>
                <c:pt idx="1347">
                  <c:v>12.9754</c:v>
                </c:pt>
                <c:pt idx="1348">
                  <c:v>13.115500000000001</c:v>
                </c:pt>
                <c:pt idx="1349">
                  <c:v>13.075799999999999</c:v>
                </c:pt>
                <c:pt idx="1350">
                  <c:v>13.0298</c:v>
                </c:pt>
                <c:pt idx="1351">
                  <c:v>12.8314</c:v>
                </c:pt>
                <c:pt idx="1352">
                  <c:v>12.9198</c:v>
                </c:pt>
                <c:pt idx="1353">
                  <c:v>12.999700000000001</c:v>
                </c:pt>
                <c:pt idx="1354">
                  <c:v>13.107699999999999</c:v>
                </c:pt>
                <c:pt idx="1355">
                  <c:v>13.1106</c:v>
                </c:pt>
                <c:pt idx="1356">
                  <c:v>13.344099999999999</c:v>
                </c:pt>
                <c:pt idx="1357">
                  <c:v>13.2986</c:v>
                </c:pt>
                <c:pt idx="1358">
                  <c:v>13.3736</c:v>
                </c:pt>
                <c:pt idx="1359">
                  <c:v>13.3865</c:v>
                </c:pt>
                <c:pt idx="1360">
                  <c:v>13.4207</c:v>
                </c:pt>
                <c:pt idx="1361">
                  <c:v>13.373900000000001</c:v>
                </c:pt>
                <c:pt idx="1362">
                  <c:v>13.349299999999999</c:v>
                </c:pt>
                <c:pt idx="1363">
                  <c:v>13.2476</c:v>
                </c:pt>
                <c:pt idx="1364">
                  <c:v>13.290800000000001</c:v>
                </c:pt>
                <c:pt idx="1365">
                  <c:v>13.4701</c:v>
                </c:pt>
                <c:pt idx="1366">
                  <c:v>13.4307</c:v>
                </c:pt>
                <c:pt idx="1367">
                  <c:v>13.3651</c:v>
                </c:pt>
                <c:pt idx="1368">
                  <c:v>13.3368</c:v>
                </c:pt>
                <c:pt idx="1369">
                  <c:v>13.3881</c:v>
                </c:pt>
                <c:pt idx="1370">
                  <c:v>13.479799999999999</c:v>
                </c:pt>
                <c:pt idx="1371">
                  <c:v>13.408799999999999</c:v>
                </c:pt>
                <c:pt idx="1372">
                  <c:v>13.260400000000001</c:v>
                </c:pt>
                <c:pt idx="1373">
                  <c:v>13.252800000000001</c:v>
                </c:pt>
                <c:pt idx="1374">
                  <c:v>13.2531</c:v>
                </c:pt>
                <c:pt idx="1375">
                  <c:v>13.108700000000001</c:v>
                </c:pt>
                <c:pt idx="1376">
                  <c:v>12.881600000000001</c:v>
                </c:pt>
                <c:pt idx="1377">
                  <c:v>12.976000000000001</c:v>
                </c:pt>
                <c:pt idx="1378">
                  <c:v>13.145200000000001</c:v>
                </c:pt>
                <c:pt idx="1379">
                  <c:v>12.964700000000001</c:v>
                </c:pt>
                <c:pt idx="1380">
                  <c:v>12.9543</c:v>
                </c:pt>
                <c:pt idx="1381">
                  <c:v>13.1457</c:v>
                </c:pt>
                <c:pt idx="1382">
                  <c:v>13.088100000000001</c:v>
                </c:pt>
                <c:pt idx="1383">
                  <c:v>13.0114</c:v>
                </c:pt>
                <c:pt idx="1384">
                  <c:v>13.0288</c:v>
                </c:pt>
                <c:pt idx="1385">
                  <c:v>12.906700000000001</c:v>
                </c:pt>
                <c:pt idx="1386">
                  <c:v>12.9171</c:v>
                </c:pt>
                <c:pt idx="1387">
                  <c:v>13.071</c:v>
                </c:pt>
                <c:pt idx="1388">
                  <c:v>13.155099999999999</c:v>
                </c:pt>
                <c:pt idx="1389">
                  <c:v>13.1912</c:v>
                </c:pt>
                <c:pt idx="1390">
                  <c:v>13.142899999999999</c:v>
                </c:pt>
                <c:pt idx="1391">
                  <c:v>13.1875</c:v>
                </c:pt>
                <c:pt idx="1392">
                  <c:v>13.1614</c:v>
                </c:pt>
                <c:pt idx="1393">
                  <c:v>13.0623</c:v>
                </c:pt>
                <c:pt idx="1394">
                  <c:v>12.853999999999999</c:v>
                </c:pt>
                <c:pt idx="1395">
                  <c:v>12.865</c:v>
                </c:pt>
                <c:pt idx="1396">
                  <c:v>12.808999999999999</c:v>
                </c:pt>
                <c:pt idx="1397">
                  <c:v>12.7271</c:v>
                </c:pt>
                <c:pt idx="1398">
                  <c:v>12.769</c:v>
                </c:pt>
                <c:pt idx="1399">
                  <c:v>12.7439</c:v>
                </c:pt>
                <c:pt idx="1400">
                  <c:v>12.613099999999999</c:v>
                </c:pt>
                <c:pt idx="1401">
                  <c:v>12.542400000000001</c:v>
                </c:pt>
                <c:pt idx="1402">
                  <c:v>12.4794</c:v>
                </c:pt>
                <c:pt idx="1403">
                  <c:v>12.2895</c:v>
                </c:pt>
                <c:pt idx="1404">
                  <c:v>12.2013</c:v>
                </c:pt>
                <c:pt idx="1405">
                  <c:v>12.3971</c:v>
                </c:pt>
                <c:pt idx="1406">
                  <c:v>12.410600000000001</c:v>
                </c:pt>
                <c:pt idx="1407">
                  <c:v>12.4358</c:v>
                </c:pt>
                <c:pt idx="1408">
                  <c:v>12.448</c:v>
                </c:pt>
                <c:pt idx="1409">
                  <c:v>12.4375</c:v>
                </c:pt>
                <c:pt idx="1410">
                  <c:v>12.4375</c:v>
                </c:pt>
                <c:pt idx="1411">
                  <c:v>12.573499999999999</c:v>
                </c:pt>
                <c:pt idx="1412">
                  <c:v>12.3941</c:v>
                </c:pt>
                <c:pt idx="1413">
                  <c:v>12.366300000000001</c:v>
                </c:pt>
                <c:pt idx="1414">
                  <c:v>12.066599999999999</c:v>
                </c:pt>
                <c:pt idx="1415">
                  <c:v>12.068</c:v>
                </c:pt>
                <c:pt idx="1416">
                  <c:v>12.146100000000001</c:v>
                </c:pt>
                <c:pt idx="1417">
                  <c:v>12.439299999999999</c:v>
                </c:pt>
                <c:pt idx="1418">
                  <c:v>12.448499999999999</c:v>
                </c:pt>
                <c:pt idx="1419">
                  <c:v>12.553900000000001</c:v>
                </c:pt>
                <c:pt idx="1420">
                  <c:v>12.4016</c:v>
                </c:pt>
                <c:pt idx="1421">
                  <c:v>12.5497</c:v>
                </c:pt>
                <c:pt idx="1422">
                  <c:v>12.4655</c:v>
                </c:pt>
                <c:pt idx="1423">
                  <c:v>12.604200000000001</c:v>
                </c:pt>
                <c:pt idx="1424">
                  <c:v>12.735099999999999</c:v>
                </c:pt>
                <c:pt idx="1425">
                  <c:v>12.788600000000001</c:v>
                </c:pt>
                <c:pt idx="1426">
                  <c:v>12.9152</c:v>
                </c:pt>
                <c:pt idx="1427">
                  <c:v>12.9016</c:v>
                </c:pt>
                <c:pt idx="1428">
                  <c:v>12.6191</c:v>
                </c:pt>
                <c:pt idx="1429">
                  <c:v>12.709199999999999</c:v>
                </c:pt>
                <c:pt idx="1430">
                  <c:v>12.5169</c:v>
                </c:pt>
                <c:pt idx="1431">
                  <c:v>12.5825</c:v>
                </c:pt>
                <c:pt idx="1432">
                  <c:v>12.6935</c:v>
                </c:pt>
                <c:pt idx="1433">
                  <c:v>12.6114</c:v>
                </c:pt>
                <c:pt idx="1434">
                  <c:v>12.9373</c:v>
                </c:pt>
                <c:pt idx="1435">
                  <c:v>12.941700000000001</c:v>
                </c:pt>
                <c:pt idx="1436">
                  <c:v>13.0365</c:v>
                </c:pt>
                <c:pt idx="1437">
                  <c:v>13.0374</c:v>
                </c:pt>
                <c:pt idx="1438">
                  <c:v>12.9754</c:v>
                </c:pt>
                <c:pt idx="1439">
                  <c:v>12.868399999999999</c:v>
                </c:pt>
                <c:pt idx="1440">
                  <c:v>12.8626</c:v>
                </c:pt>
                <c:pt idx="1441">
                  <c:v>12.7676</c:v>
                </c:pt>
                <c:pt idx="1442">
                  <c:v>12.814299999999999</c:v>
                </c:pt>
                <c:pt idx="1443">
                  <c:v>12.757199999999999</c:v>
                </c:pt>
                <c:pt idx="1444">
                  <c:v>12.9833</c:v>
                </c:pt>
                <c:pt idx="1445">
                  <c:v>12.953200000000001</c:v>
                </c:pt>
                <c:pt idx="1446">
                  <c:v>13.053100000000001</c:v>
                </c:pt>
                <c:pt idx="1447">
                  <c:v>13.131500000000001</c:v>
                </c:pt>
                <c:pt idx="1448">
                  <c:v>13.177199999999999</c:v>
                </c:pt>
                <c:pt idx="1449">
                  <c:v>13.057700000000001</c:v>
                </c:pt>
                <c:pt idx="1450">
                  <c:v>12.9422</c:v>
                </c:pt>
                <c:pt idx="1451">
                  <c:v>12.8431</c:v>
                </c:pt>
                <c:pt idx="1452">
                  <c:v>12.870200000000001</c:v>
                </c:pt>
                <c:pt idx="1453">
                  <c:v>13.1106</c:v>
                </c:pt>
                <c:pt idx="1454">
                  <c:v>13.367599999999999</c:v>
                </c:pt>
                <c:pt idx="1455">
                  <c:v>13.287599999999999</c:v>
                </c:pt>
                <c:pt idx="1456">
                  <c:v>13.228999999999999</c:v>
                </c:pt>
                <c:pt idx="1457">
                  <c:v>13.1928</c:v>
                </c:pt>
                <c:pt idx="1458">
                  <c:v>13.0932</c:v>
                </c:pt>
                <c:pt idx="1459">
                  <c:v>13.345599999999999</c:v>
                </c:pt>
                <c:pt idx="1460">
                  <c:v>13.3703</c:v>
                </c:pt>
                <c:pt idx="1461">
                  <c:v>13.505800000000001</c:v>
                </c:pt>
                <c:pt idx="1462">
                  <c:v>13.513500000000001</c:v>
                </c:pt>
                <c:pt idx="1463">
                  <c:v>13.4407</c:v>
                </c:pt>
                <c:pt idx="1464">
                  <c:v>13.473800000000001</c:v>
                </c:pt>
                <c:pt idx="1465">
                  <c:v>13.452400000000001</c:v>
                </c:pt>
                <c:pt idx="1466">
                  <c:v>13.4468</c:v>
                </c:pt>
                <c:pt idx="1467">
                  <c:v>13.474600000000001</c:v>
                </c:pt>
                <c:pt idx="1468">
                  <c:v>13.573399999999999</c:v>
                </c:pt>
                <c:pt idx="1469">
                  <c:v>13.5969</c:v>
                </c:pt>
                <c:pt idx="1470">
                  <c:v>13.5967</c:v>
                </c:pt>
                <c:pt idx="1471">
                  <c:v>13.6318</c:v>
                </c:pt>
                <c:pt idx="1472">
                  <c:v>13.654</c:v>
                </c:pt>
                <c:pt idx="1473">
                  <c:v>13.4697</c:v>
                </c:pt>
                <c:pt idx="1474">
                  <c:v>13.5571</c:v>
                </c:pt>
                <c:pt idx="1475">
                  <c:v>13.551399999999999</c:v>
                </c:pt>
                <c:pt idx="1476">
                  <c:v>13.5367</c:v>
                </c:pt>
                <c:pt idx="1477">
                  <c:v>13.545</c:v>
                </c:pt>
                <c:pt idx="1478">
                  <c:v>13.4407</c:v>
                </c:pt>
                <c:pt idx="1479">
                  <c:v>13.507899999999999</c:v>
                </c:pt>
                <c:pt idx="1480">
                  <c:v>13.5083</c:v>
                </c:pt>
                <c:pt idx="1481">
                  <c:v>13.5002</c:v>
                </c:pt>
                <c:pt idx="1482">
                  <c:v>13.471500000000001</c:v>
                </c:pt>
                <c:pt idx="1483">
                  <c:v>13.7478</c:v>
                </c:pt>
                <c:pt idx="1484">
                  <c:v>13.823700000000001</c:v>
                </c:pt>
                <c:pt idx="1485">
                  <c:v>13.7357</c:v>
                </c:pt>
                <c:pt idx="1486">
                  <c:v>13.787100000000001</c:v>
                </c:pt>
                <c:pt idx="1487">
                  <c:v>13.880699999999999</c:v>
                </c:pt>
                <c:pt idx="1488">
                  <c:v>14.087400000000001</c:v>
                </c:pt>
                <c:pt idx="1489">
                  <c:v>14.132999999999999</c:v>
                </c:pt>
                <c:pt idx="1490">
                  <c:v>14.0809</c:v>
                </c:pt>
                <c:pt idx="1491">
                  <c:v>14.070399999999999</c:v>
                </c:pt>
                <c:pt idx="1492">
                  <c:v>14.087300000000001</c:v>
                </c:pt>
                <c:pt idx="1493">
                  <c:v>14.082100000000001</c:v>
                </c:pt>
                <c:pt idx="1494">
                  <c:v>14.0802</c:v>
                </c:pt>
                <c:pt idx="1495">
                  <c:v>13.9772</c:v>
                </c:pt>
                <c:pt idx="1496">
                  <c:v>13.828099999999999</c:v>
                </c:pt>
                <c:pt idx="1497">
                  <c:v>13.758800000000001</c:v>
                </c:pt>
                <c:pt idx="1498">
                  <c:v>13.895200000000001</c:v>
                </c:pt>
                <c:pt idx="1499">
                  <c:v>13.8421</c:v>
                </c:pt>
                <c:pt idx="1500">
                  <c:v>13.8802</c:v>
                </c:pt>
                <c:pt idx="1501">
                  <c:v>13.886900000000001</c:v>
                </c:pt>
                <c:pt idx="1502">
                  <c:v>14.047000000000001</c:v>
                </c:pt>
                <c:pt idx="1503">
                  <c:v>14.149800000000001</c:v>
                </c:pt>
                <c:pt idx="1504">
                  <c:v>14.148199999999999</c:v>
                </c:pt>
                <c:pt idx="1505">
                  <c:v>14.098000000000001</c:v>
                </c:pt>
                <c:pt idx="1506">
                  <c:v>13.9574</c:v>
                </c:pt>
                <c:pt idx="1507">
                  <c:v>13.8653</c:v>
                </c:pt>
                <c:pt idx="1508">
                  <c:v>13.869199999999999</c:v>
                </c:pt>
                <c:pt idx="1509">
                  <c:v>13.8208</c:v>
                </c:pt>
                <c:pt idx="1510">
                  <c:v>13.927300000000001</c:v>
                </c:pt>
                <c:pt idx="1511">
                  <c:v>14.066599999999999</c:v>
                </c:pt>
                <c:pt idx="1512">
                  <c:v>14.1304</c:v>
                </c:pt>
                <c:pt idx="1513">
                  <c:v>14.130800000000001</c:v>
                </c:pt>
                <c:pt idx="1514">
                  <c:v>13.909000000000001</c:v>
                </c:pt>
                <c:pt idx="1515">
                  <c:v>13.9274</c:v>
                </c:pt>
                <c:pt idx="1516">
                  <c:v>13.7281</c:v>
                </c:pt>
                <c:pt idx="1517">
                  <c:v>13.686</c:v>
                </c:pt>
                <c:pt idx="1518">
                  <c:v>13.7216</c:v>
                </c:pt>
                <c:pt idx="1519">
                  <c:v>13.7316</c:v>
                </c:pt>
                <c:pt idx="1520">
                  <c:v>13.7309</c:v>
                </c:pt>
                <c:pt idx="1521">
                  <c:v>13.7376</c:v>
                </c:pt>
                <c:pt idx="1522">
                  <c:v>13.7445</c:v>
                </c:pt>
                <c:pt idx="1523">
                  <c:v>13.889099999999999</c:v>
                </c:pt>
                <c:pt idx="1524">
                  <c:v>13.7584</c:v>
                </c:pt>
                <c:pt idx="1525">
                  <c:v>13.8001</c:v>
                </c:pt>
                <c:pt idx="1526">
                  <c:v>13.9049</c:v>
                </c:pt>
                <c:pt idx="1527">
                  <c:v>13.5572</c:v>
                </c:pt>
                <c:pt idx="1528">
                  <c:v>13.394600000000001</c:v>
                </c:pt>
                <c:pt idx="1529">
                  <c:v>13.425700000000001</c:v>
                </c:pt>
                <c:pt idx="1530">
                  <c:v>13.4323</c:v>
                </c:pt>
                <c:pt idx="1531">
                  <c:v>13.387499999999999</c:v>
                </c:pt>
                <c:pt idx="1532">
                  <c:v>13.2111</c:v>
                </c:pt>
                <c:pt idx="1533">
                  <c:v>13.186199999999999</c:v>
                </c:pt>
                <c:pt idx="1534">
                  <c:v>13.2538</c:v>
                </c:pt>
                <c:pt idx="1535">
                  <c:v>13.518599999999999</c:v>
                </c:pt>
                <c:pt idx="1536">
                  <c:v>13.545199999999999</c:v>
                </c:pt>
                <c:pt idx="1537">
                  <c:v>13.5786</c:v>
                </c:pt>
                <c:pt idx="1538">
                  <c:v>13.5786</c:v>
                </c:pt>
                <c:pt idx="1539">
                  <c:v>13.757400000000001</c:v>
                </c:pt>
                <c:pt idx="1540">
                  <c:v>13.729799999999999</c:v>
                </c:pt>
                <c:pt idx="1541">
                  <c:v>13.6523</c:v>
                </c:pt>
                <c:pt idx="1542">
                  <c:v>13.7575</c:v>
                </c:pt>
                <c:pt idx="1543">
                  <c:v>13.811</c:v>
                </c:pt>
                <c:pt idx="1544">
                  <c:v>13.8164</c:v>
                </c:pt>
                <c:pt idx="1545">
                  <c:v>13.7584</c:v>
                </c:pt>
                <c:pt idx="1546">
                  <c:v>13.7309</c:v>
                </c:pt>
                <c:pt idx="1547">
                  <c:v>13.7567</c:v>
                </c:pt>
                <c:pt idx="1548">
                  <c:v>13.7974</c:v>
                </c:pt>
                <c:pt idx="1549">
                  <c:v>13.8436</c:v>
                </c:pt>
                <c:pt idx="1550">
                  <c:v>13.8566</c:v>
                </c:pt>
                <c:pt idx="1551">
                  <c:v>13.9468</c:v>
                </c:pt>
                <c:pt idx="1552">
                  <c:v>13.948</c:v>
                </c:pt>
                <c:pt idx="1553">
                  <c:v>13.862299999999999</c:v>
                </c:pt>
                <c:pt idx="1554">
                  <c:v>13.806800000000001</c:v>
                </c:pt>
                <c:pt idx="1555">
                  <c:v>13.9702</c:v>
                </c:pt>
                <c:pt idx="1556">
                  <c:v>14.1393</c:v>
                </c:pt>
                <c:pt idx="1557">
                  <c:v>14.0246</c:v>
                </c:pt>
                <c:pt idx="1558">
                  <c:v>14.1029</c:v>
                </c:pt>
                <c:pt idx="1559">
                  <c:v>13.9741</c:v>
                </c:pt>
                <c:pt idx="1560">
                  <c:v>13.8878</c:v>
                </c:pt>
                <c:pt idx="1561">
                  <c:v>13.8878</c:v>
                </c:pt>
                <c:pt idx="1562">
                  <c:v>13.818199999999999</c:v>
                </c:pt>
                <c:pt idx="1563">
                  <c:v>13.8027</c:v>
                </c:pt>
                <c:pt idx="1564">
                  <c:v>13.649800000000001</c:v>
                </c:pt>
                <c:pt idx="1565">
                  <c:v>13.8812</c:v>
                </c:pt>
                <c:pt idx="1566">
                  <c:v>13.8802</c:v>
                </c:pt>
                <c:pt idx="1567">
                  <c:v>14.227399999999999</c:v>
                </c:pt>
                <c:pt idx="1568">
                  <c:v>14.2072</c:v>
                </c:pt>
                <c:pt idx="1569">
                  <c:v>14.282999999999999</c:v>
                </c:pt>
                <c:pt idx="1570">
                  <c:v>14.261200000000001</c:v>
                </c:pt>
                <c:pt idx="1571">
                  <c:v>14.2094</c:v>
                </c:pt>
                <c:pt idx="1572">
                  <c:v>14.2538</c:v>
                </c:pt>
                <c:pt idx="1573">
                  <c:v>14.3544</c:v>
                </c:pt>
                <c:pt idx="1574">
                  <c:v>14.3461</c:v>
                </c:pt>
                <c:pt idx="1575">
                  <c:v>14.326599999999999</c:v>
                </c:pt>
                <c:pt idx="1576">
                  <c:v>14.3314</c:v>
                </c:pt>
                <c:pt idx="1577">
                  <c:v>14.2676</c:v>
                </c:pt>
                <c:pt idx="1578">
                  <c:v>14.286300000000001</c:v>
                </c:pt>
                <c:pt idx="1579">
                  <c:v>14.323600000000001</c:v>
                </c:pt>
                <c:pt idx="1580">
                  <c:v>14.324</c:v>
                </c:pt>
                <c:pt idx="1581">
                  <c:v>14.3788</c:v>
                </c:pt>
                <c:pt idx="1582">
                  <c:v>14.4145</c:v>
                </c:pt>
                <c:pt idx="1583">
                  <c:v>14.4253</c:v>
                </c:pt>
                <c:pt idx="1584">
                  <c:v>14.4918</c:v>
                </c:pt>
                <c:pt idx="1585">
                  <c:v>14.476800000000001</c:v>
                </c:pt>
                <c:pt idx="1586">
                  <c:v>14.6449</c:v>
                </c:pt>
                <c:pt idx="1587">
                  <c:v>14.591100000000001</c:v>
                </c:pt>
                <c:pt idx="1588">
                  <c:v>14.5631</c:v>
                </c:pt>
                <c:pt idx="1589">
                  <c:v>14.8025</c:v>
                </c:pt>
                <c:pt idx="1590">
                  <c:v>14.650499999999999</c:v>
                </c:pt>
                <c:pt idx="1591">
                  <c:v>14.8028</c:v>
                </c:pt>
                <c:pt idx="1592">
                  <c:v>14.811400000000001</c:v>
                </c:pt>
                <c:pt idx="1593">
                  <c:v>14.7964</c:v>
                </c:pt>
                <c:pt idx="1594">
                  <c:v>14.846</c:v>
                </c:pt>
                <c:pt idx="1595">
                  <c:v>14.833500000000001</c:v>
                </c:pt>
                <c:pt idx="1596">
                  <c:v>14.854699999999999</c:v>
                </c:pt>
                <c:pt idx="1597">
                  <c:v>14.895799999999999</c:v>
                </c:pt>
                <c:pt idx="1598">
                  <c:v>14.911899999999999</c:v>
                </c:pt>
                <c:pt idx="1599">
                  <c:v>14.8925</c:v>
                </c:pt>
                <c:pt idx="1600">
                  <c:v>14.9102</c:v>
                </c:pt>
                <c:pt idx="1601">
                  <c:v>15.0349</c:v>
                </c:pt>
                <c:pt idx="1602">
                  <c:v>14.8489</c:v>
                </c:pt>
                <c:pt idx="1603">
                  <c:v>13.3909</c:v>
                </c:pt>
                <c:pt idx="1604">
                  <c:v>13.515000000000001</c:v>
                </c:pt>
                <c:pt idx="1605">
                  <c:v>13.269500000000001</c:v>
                </c:pt>
                <c:pt idx="1606">
                  <c:v>13.353</c:v>
                </c:pt>
                <c:pt idx="1607">
                  <c:v>13.523899999999999</c:v>
                </c:pt>
                <c:pt idx="1608">
                  <c:v>13.515499999999999</c:v>
                </c:pt>
                <c:pt idx="1609">
                  <c:v>13.549799999999999</c:v>
                </c:pt>
                <c:pt idx="1610">
                  <c:v>13.6084</c:v>
                </c:pt>
                <c:pt idx="1611">
                  <c:v>13.732799999999999</c:v>
                </c:pt>
                <c:pt idx="1612">
                  <c:v>13.748200000000001</c:v>
                </c:pt>
                <c:pt idx="1613">
                  <c:v>13.769399999999999</c:v>
                </c:pt>
                <c:pt idx="1614">
                  <c:v>13.830299999999999</c:v>
                </c:pt>
                <c:pt idx="1615">
                  <c:v>13.872400000000001</c:v>
                </c:pt>
                <c:pt idx="1616">
                  <c:v>13.8428</c:v>
                </c:pt>
                <c:pt idx="1617">
                  <c:v>13.863799999999999</c:v>
                </c:pt>
                <c:pt idx="1618">
                  <c:v>13.9437</c:v>
                </c:pt>
                <c:pt idx="1619">
                  <c:v>13.9254</c:v>
                </c:pt>
                <c:pt idx="1620">
                  <c:v>13.802099999999999</c:v>
                </c:pt>
                <c:pt idx="1621">
                  <c:v>13.773199999999999</c:v>
                </c:pt>
                <c:pt idx="1622">
                  <c:v>13.8696</c:v>
                </c:pt>
                <c:pt idx="1623">
                  <c:v>13.7547</c:v>
                </c:pt>
                <c:pt idx="1624">
                  <c:v>13.854900000000001</c:v>
                </c:pt>
                <c:pt idx="1625">
                  <c:v>13.8096</c:v>
                </c:pt>
                <c:pt idx="1626">
                  <c:v>13.9192</c:v>
                </c:pt>
                <c:pt idx="1627">
                  <c:v>13.913600000000001</c:v>
                </c:pt>
                <c:pt idx="1628">
                  <c:v>13.974500000000001</c:v>
                </c:pt>
                <c:pt idx="1629">
                  <c:v>13.974500000000001</c:v>
                </c:pt>
                <c:pt idx="1630">
                  <c:v>13.906700000000001</c:v>
                </c:pt>
                <c:pt idx="1631">
                  <c:v>13.9795</c:v>
                </c:pt>
                <c:pt idx="1632">
                  <c:v>13.834099999999999</c:v>
                </c:pt>
                <c:pt idx="1633">
                  <c:v>13.897500000000001</c:v>
                </c:pt>
                <c:pt idx="1634">
                  <c:v>13.84</c:v>
                </c:pt>
                <c:pt idx="1635">
                  <c:v>13.9297</c:v>
                </c:pt>
                <c:pt idx="1636">
                  <c:v>13.980600000000001</c:v>
                </c:pt>
                <c:pt idx="1637">
                  <c:v>14.1516</c:v>
                </c:pt>
                <c:pt idx="1638">
                  <c:v>14.206899999999999</c:v>
                </c:pt>
                <c:pt idx="1639">
                  <c:v>14.1717</c:v>
                </c:pt>
                <c:pt idx="1640">
                  <c:v>13.8377</c:v>
                </c:pt>
                <c:pt idx="1641">
                  <c:v>14.0319</c:v>
                </c:pt>
                <c:pt idx="1642">
                  <c:v>13.8323</c:v>
                </c:pt>
                <c:pt idx="1643">
                  <c:v>13.7453</c:v>
                </c:pt>
                <c:pt idx="1644">
                  <c:v>13.8668</c:v>
                </c:pt>
                <c:pt idx="1645">
                  <c:v>13.9444</c:v>
                </c:pt>
                <c:pt idx="1646">
                  <c:v>14.107799999999999</c:v>
                </c:pt>
                <c:pt idx="1647">
                  <c:v>14.157500000000001</c:v>
                </c:pt>
                <c:pt idx="1648">
                  <c:v>14.2018</c:v>
                </c:pt>
                <c:pt idx="1649">
                  <c:v>14.1693</c:v>
                </c:pt>
                <c:pt idx="1650">
                  <c:v>14.2661</c:v>
                </c:pt>
                <c:pt idx="1651">
                  <c:v>14.308</c:v>
                </c:pt>
                <c:pt idx="1652">
                  <c:v>14.188700000000001</c:v>
                </c:pt>
                <c:pt idx="1653">
                  <c:v>14.3155</c:v>
                </c:pt>
                <c:pt idx="1654">
                  <c:v>14.4633</c:v>
                </c:pt>
                <c:pt idx="1655">
                  <c:v>14.4808</c:v>
                </c:pt>
                <c:pt idx="1656">
                  <c:v>14.559900000000001</c:v>
                </c:pt>
                <c:pt idx="1657">
                  <c:v>14.6092</c:v>
                </c:pt>
                <c:pt idx="1658">
                  <c:v>14.567299999999999</c:v>
                </c:pt>
                <c:pt idx="1659">
                  <c:v>14.6271</c:v>
                </c:pt>
                <c:pt idx="1660">
                  <c:v>14.6327</c:v>
                </c:pt>
                <c:pt idx="1661">
                  <c:v>14.7807</c:v>
                </c:pt>
                <c:pt idx="1662">
                  <c:v>14.8514</c:v>
                </c:pt>
                <c:pt idx="1663">
                  <c:v>14.7874</c:v>
                </c:pt>
                <c:pt idx="1664">
                  <c:v>14.9491</c:v>
                </c:pt>
                <c:pt idx="1665">
                  <c:v>14.936199999999999</c:v>
                </c:pt>
                <c:pt idx="1666">
                  <c:v>14.964399999999999</c:v>
                </c:pt>
                <c:pt idx="1667">
                  <c:v>14.846299999999999</c:v>
                </c:pt>
                <c:pt idx="1668">
                  <c:v>14.805400000000001</c:v>
                </c:pt>
                <c:pt idx="1669">
                  <c:v>14.805400000000001</c:v>
                </c:pt>
                <c:pt idx="1670">
                  <c:v>14.805300000000001</c:v>
                </c:pt>
                <c:pt idx="1671">
                  <c:v>14.9009</c:v>
                </c:pt>
                <c:pt idx="1672">
                  <c:v>14.8018</c:v>
                </c:pt>
                <c:pt idx="1673">
                  <c:v>14.857799999999999</c:v>
                </c:pt>
                <c:pt idx="1674">
                  <c:v>14.644299999999999</c:v>
                </c:pt>
                <c:pt idx="1675">
                  <c:v>14.734299999999999</c:v>
                </c:pt>
                <c:pt idx="1676">
                  <c:v>14.6516</c:v>
                </c:pt>
                <c:pt idx="1677">
                  <c:v>14.446899999999999</c:v>
                </c:pt>
                <c:pt idx="1678">
                  <c:v>14.570399999999999</c:v>
                </c:pt>
                <c:pt idx="1679">
                  <c:v>14.7294</c:v>
                </c:pt>
                <c:pt idx="1680">
                  <c:v>14.728400000000001</c:v>
                </c:pt>
                <c:pt idx="1681">
                  <c:v>14.5799</c:v>
                </c:pt>
                <c:pt idx="1682">
                  <c:v>14.4533</c:v>
                </c:pt>
                <c:pt idx="1683">
                  <c:v>14.670299999999999</c:v>
                </c:pt>
                <c:pt idx="1684">
                  <c:v>14.5824</c:v>
                </c:pt>
                <c:pt idx="1685">
                  <c:v>14.691700000000001</c:v>
                </c:pt>
                <c:pt idx="1686">
                  <c:v>14.8032</c:v>
                </c:pt>
                <c:pt idx="1687">
                  <c:v>14.596</c:v>
                </c:pt>
                <c:pt idx="1688">
                  <c:v>14.232799999999999</c:v>
                </c:pt>
                <c:pt idx="1689">
                  <c:v>14.274900000000001</c:v>
                </c:pt>
                <c:pt idx="1690">
                  <c:v>14.075900000000001</c:v>
                </c:pt>
                <c:pt idx="1691">
                  <c:v>14.220700000000001</c:v>
                </c:pt>
                <c:pt idx="1692">
                  <c:v>14.3591</c:v>
                </c:pt>
                <c:pt idx="1693">
                  <c:v>14.450699999999999</c:v>
                </c:pt>
                <c:pt idx="1694">
                  <c:v>14.3894</c:v>
                </c:pt>
                <c:pt idx="1695">
                  <c:v>14.4696</c:v>
                </c:pt>
                <c:pt idx="1696">
                  <c:v>14.460900000000001</c:v>
                </c:pt>
                <c:pt idx="1697">
                  <c:v>14.475899999999999</c:v>
                </c:pt>
                <c:pt idx="1698">
                  <c:v>14.4762</c:v>
                </c:pt>
                <c:pt idx="1699">
                  <c:v>14.6242</c:v>
                </c:pt>
                <c:pt idx="1700">
                  <c:v>14.7034</c:v>
                </c:pt>
                <c:pt idx="1701">
                  <c:v>14.821400000000001</c:v>
                </c:pt>
                <c:pt idx="1702">
                  <c:v>14.826000000000001</c:v>
                </c:pt>
                <c:pt idx="1703">
                  <c:v>15.0215</c:v>
                </c:pt>
                <c:pt idx="1704">
                  <c:v>15.0685</c:v>
                </c:pt>
                <c:pt idx="1705">
                  <c:v>15.0703</c:v>
                </c:pt>
                <c:pt idx="1706">
                  <c:v>15.0192</c:v>
                </c:pt>
                <c:pt idx="1707">
                  <c:v>15.074299999999999</c:v>
                </c:pt>
                <c:pt idx="1708">
                  <c:v>15.165900000000001</c:v>
                </c:pt>
                <c:pt idx="1709">
                  <c:v>15.21</c:v>
                </c:pt>
                <c:pt idx="1710">
                  <c:v>15.2471</c:v>
                </c:pt>
                <c:pt idx="1711">
                  <c:v>15.2182</c:v>
                </c:pt>
                <c:pt idx="1712">
                  <c:v>15.185700000000001</c:v>
                </c:pt>
                <c:pt idx="1713">
                  <c:v>15.2201</c:v>
                </c:pt>
                <c:pt idx="1714">
                  <c:v>15.239699999999999</c:v>
                </c:pt>
                <c:pt idx="1715">
                  <c:v>15.1829</c:v>
                </c:pt>
                <c:pt idx="1716">
                  <c:v>15.190799999999999</c:v>
                </c:pt>
                <c:pt idx="1717">
                  <c:v>15.1899</c:v>
                </c:pt>
                <c:pt idx="1718">
                  <c:v>15.3751</c:v>
                </c:pt>
                <c:pt idx="1719">
                  <c:v>15.4169</c:v>
                </c:pt>
                <c:pt idx="1720">
                  <c:v>15.3977</c:v>
                </c:pt>
                <c:pt idx="1721">
                  <c:v>15.2967</c:v>
                </c:pt>
                <c:pt idx="1722">
                  <c:v>15.249000000000001</c:v>
                </c:pt>
                <c:pt idx="1723">
                  <c:v>15.298500000000001</c:v>
                </c:pt>
                <c:pt idx="1724">
                  <c:v>15.238799999999999</c:v>
                </c:pt>
                <c:pt idx="1725">
                  <c:v>15.2218</c:v>
                </c:pt>
                <c:pt idx="1726">
                  <c:v>15.2668</c:v>
                </c:pt>
                <c:pt idx="1727">
                  <c:v>15.1935</c:v>
                </c:pt>
                <c:pt idx="1728">
                  <c:v>14.9815</c:v>
                </c:pt>
                <c:pt idx="1729">
                  <c:v>14.936500000000001</c:v>
                </c:pt>
                <c:pt idx="1730">
                  <c:v>14.8424</c:v>
                </c:pt>
                <c:pt idx="1731">
                  <c:v>14.9002</c:v>
                </c:pt>
                <c:pt idx="1732">
                  <c:v>14.8171</c:v>
                </c:pt>
                <c:pt idx="1733">
                  <c:v>14.9496</c:v>
                </c:pt>
                <c:pt idx="1734">
                  <c:v>15.011799999999999</c:v>
                </c:pt>
                <c:pt idx="1735">
                  <c:v>14.948700000000001</c:v>
                </c:pt>
                <c:pt idx="1736">
                  <c:v>14.7155</c:v>
                </c:pt>
                <c:pt idx="1737">
                  <c:v>14.763400000000001</c:v>
                </c:pt>
                <c:pt idx="1738">
                  <c:v>14.7926</c:v>
                </c:pt>
                <c:pt idx="1739">
                  <c:v>14.7484</c:v>
                </c:pt>
                <c:pt idx="1740">
                  <c:v>14.7478</c:v>
                </c:pt>
                <c:pt idx="1741">
                  <c:v>14.8049</c:v>
                </c:pt>
                <c:pt idx="1742">
                  <c:v>14.926600000000001</c:v>
                </c:pt>
                <c:pt idx="1743">
                  <c:v>14.944699999999999</c:v>
                </c:pt>
                <c:pt idx="1744">
                  <c:v>14.9472</c:v>
                </c:pt>
                <c:pt idx="1745">
                  <c:v>15.099500000000001</c:v>
                </c:pt>
                <c:pt idx="1746">
                  <c:v>15.2187</c:v>
                </c:pt>
                <c:pt idx="1747">
                  <c:v>15.2462</c:v>
                </c:pt>
                <c:pt idx="1748">
                  <c:v>15.201000000000001</c:v>
                </c:pt>
                <c:pt idx="1749">
                  <c:v>15.2494</c:v>
                </c:pt>
                <c:pt idx="1750">
                  <c:v>15.339700000000001</c:v>
                </c:pt>
                <c:pt idx="1751">
                  <c:v>15.4079</c:v>
                </c:pt>
                <c:pt idx="1752">
                  <c:v>15.602499999999999</c:v>
                </c:pt>
                <c:pt idx="1753">
                  <c:v>15.5764</c:v>
                </c:pt>
                <c:pt idx="1754">
                  <c:v>15.4613</c:v>
                </c:pt>
                <c:pt idx="1755">
                  <c:v>15.3287</c:v>
                </c:pt>
                <c:pt idx="1756">
                  <c:v>15.287000000000001</c:v>
                </c:pt>
                <c:pt idx="1757">
                  <c:v>15.2475</c:v>
                </c:pt>
                <c:pt idx="1758">
                  <c:v>15.3027</c:v>
                </c:pt>
                <c:pt idx="1759">
                  <c:v>15.244400000000001</c:v>
                </c:pt>
                <c:pt idx="1760">
                  <c:v>15.1571</c:v>
                </c:pt>
                <c:pt idx="1761">
                  <c:v>15.275399999999999</c:v>
                </c:pt>
                <c:pt idx="1762">
                  <c:v>15.2704</c:v>
                </c:pt>
                <c:pt idx="1763">
                  <c:v>15.135300000000001</c:v>
                </c:pt>
                <c:pt idx="1764">
                  <c:v>15.2484</c:v>
                </c:pt>
                <c:pt idx="1765">
                  <c:v>15.12</c:v>
                </c:pt>
                <c:pt idx="1766">
                  <c:v>14.939399999999999</c:v>
                </c:pt>
                <c:pt idx="1767">
                  <c:v>14.959899999999999</c:v>
                </c:pt>
                <c:pt idx="1768">
                  <c:v>15.2788</c:v>
                </c:pt>
                <c:pt idx="1769">
                  <c:v>15.376099999999999</c:v>
                </c:pt>
                <c:pt idx="1770">
                  <c:v>15.459</c:v>
                </c:pt>
                <c:pt idx="1771">
                  <c:v>15.351000000000001</c:v>
                </c:pt>
                <c:pt idx="1772">
                  <c:v>15.575900000000001</c:v>
                </c:pt>
                <c:pt idx="1773">
                  <c:v>15.6959</c:v>
                </c:pt>
                <c:pt idx="1774">
                  <c:v>15.7796</c:v>
                </c:pt>
                <c:pt idx="1775">
                  <c:v>15.786</c:v>
                </c:pt>
                <c:pt idx="1776">
                  <c:v>15.872400000000001</c:v>
                </c:pt>
                <c:pt idx="1777">
                  <c:v>15.7872</c:v>
                </c:pt>
                <c:pt idx="1778">
                  <c:v>15.837300000000001</c:v>
                </c:pt>
                <c:pt idx="1779">
                  <c:v>15.911899999999999</c:v>
                </c:pt>
                <c:pt idx="1780">
                  <c:v>15.933199999999999</c:v>
                </c:pt>
                <c:pt idx="1781">
                  <c:v>16.008099999999999</c:v>
                </c:pt>
                <c:pt idx="1782">
                  <c:v>15.9358</c:v>
                </c:pt>
                <c:pt idx="1783">
                  <c:v>15.8674</c:v>
                </c:pt>
                <c:pt idx="1784">
                  <c:v>15.9193</c:v>
                </c:pt>
                <c:pt idx="1785">
                  <c:v>15.978999999999999</c:v>
                </c:pt>
                <c:pt idx="1786">
                  <c:v>15.9398</c:v>
                </c:pt>
                <c:pt idx="1787">
                  <c:v>16.015899999999998</c:v>
                </c:pt>
                <c:pt idx="1788">
                  <c:v>15.8027</c:v>
                </c:pt>
                <c:pt idx="1789">
                  <c:v>16.0122</c:v>
                </c:pt>
                <c:pt idx="1790">
                  <c:v>16.0258</c:v>
                </c:pt>
                <c:pt idx="1791">
                  <c:v>15.9878</c:v>
                </c:pt>
                <c:pt idx="1792">
                  <c:v>16.130099999999999</c:v>
                </c:pt>
                <c:pt idx="1793">
                  <c:v>16.2149</c:v>
                </c:pt>
                <c:pt idx="1794">
                  <c:v>16.284600000000001</c:v>
                </c:pt>
                <c:pt idx="1795">
                  <c:v>16.228200000000001</c:v>
                </c:pt>
                <c:pt idx="1796">
                  <c:v>16.195599999999999</c:v>
                </c:pt>
                <c:pt idx="1797">
                  <c:v>16.1325</c:v>
                </c:pt>
                <c:pt idx="1798">
                  <c:v>16.269200000000001</c:v>
                </c:pt>
                <c:pt idx="1799">
                  <c:v>16.353300000000001</c:v>
                </c:pt>
                <c:pt idx="1800">
                  <c:v>16.3245</c:v>
                </c:pt>
                <c:pt idx="1801">
                  <c:v>16.327200000000001</c:v>
                </c:pt>
                <c:pt idx="1802">
                  <c:v>16.368200000000002</c:v>
                </c:pt>
                <c:pt idx="1803">
                  <c:v>16.368200000000002</c:v>
                </c:pt>
                <c:pt idx="1804">
                  <c:v>16.355899999999998</c:v>
                </c:pt>
                <c:pt idx="1805">
                  <c:v>16.279299999999999</c:v>
                </c:pt>
                <c:pt idx="1806">
                  <c:v>16.227799999999998</c:v>
                </c:pt>
                <c:pt idx="1807">
                  <c:v>16.202500000000001</c:v>
                </c:pt>
                <c:pt idx="1808">
                  <c:v>16.1297</c:v>
                </c:pt>
                <c:pt idx="1809">
                  <c:v>16.301100000000002</c:v>
                </c:pt>
                <c:pt idx="1810">
                  <c:v>16.325199999999999</c:v>
                </c:pt>
                <c:pt idx="1811">
                  <c:v>16.2699</c:v>
                </c:pt>
                <c:pt idx="1812">
                  <c:v>16.084900000000001</c:v>
                </c:pt>
                <c:pt idx="1813">
                  <c:v>16.027100000000001</c:v>
                </c:pt>
                <c:pt idx="1814">
                  <c:v>16.029399999999999</c:v>
                </c:pt>
                <c:pt idx="1815">
                  <c:v>16.107199999999999</c:v>
                </c:pt>
                <c:pt idx="1816">
                  <c:v>16.035699999999999</c:v>
                </c:pt>
                <c:pt idx="1817">
                  <c:v>16.3154</c:v>
                </c:pt>
                <c:pt idx="1818">
                  <c:v>16.3155</c:v>
                </c:pt>
                <c:pt idx="1819">
                  <c:v>16.3931</c:v>
                </c:pt>
                <c:pt idx="1820">
                  <c:v>16.476900000000001</c:v>
                </c:pt>
                <c:pt idx="1821">
                  <c:v>16.5259</c:v>
                </c:pt>
                <c:pt idx="1822">
                  <c:v>16.5259</c:v>
                </c:pt>
                <c:pt idx="1823">
                  <c:v>16.604399999999998</c:v>
                </c:pt>
                <c:pt idx="1824">
                  <c:v>16.5992</c:v>
                </c:pt>
                <c:pt idx="1825">
                  <c:v>16.599399999999999</c:v>
                </c:pt>
                <c:pt idx="1826">
                  <c:v>16.662800000000001</c:v>
                </c:pt>
                <c:pt idx="1827">
                  <c:v>16.663</c:v>
                </c:pt>
                <c:pt idx="1828">
                  <c:v>16.514399999999998</c:v>
                </c:pt>
                <c:pt idx="1829">
                  <c:v>16.508099999999999</c:v>
                </c:pt>
                <c:pt idx="1830">
                  <c:v>16.471599999999999</c:v>
                </c:pt>
                <c:pt idx="1831">
                  <c:v>16.573399999999999</c:v>
                </c:pt>
                <c:pt idx="1832">
                  <c:v>16.5748</c:v>
                </c:pt>
                <c:pt idx="1833">
                  <c:v>16.584099999999999</c:v>
                </c:pt>
                <c:pt idx="1834">
                  <c:v>16.626200000000001</c:v>
                </c:pt>
                <c:pt idx="1835">
                  <c:v>16.4207</c:v>
                </c:pt>
                <c:pt idx="1836">
                  <c:v>16.588000000000001</c:v>
                </c:pt>
                <c:pt idx="1837">
                  <c:v>16.597200000000001</c:v>
                </c:pt>
                <c:pt idx="1838">
                  <c:v>16.756799999999998</c:v>
                </c:pt>
                <c:pt idx="1839">
                  <c:v>16.7255</c:v>
                </c:pt>
                <c:pt idx="1840">
                  <c:v>16.726500000000001</c:v>
                </c:pt>
                <c:pt idx="1841">
                  <c:v>16.7819</c:v>
                </c:pt>
                <c:pt idx="1842">
                  <c:v>16.820699999999999</c:v>
                </c:pt>
                <c:pt idx="1843">
                  <c:v>16.651399999999999</c:v>
                </c:pt>
                <c:pt idx="1844">
                  <c:v>16.296600000000002</c:v>
                </c:pt>
                <c:pt idx="1845">
                  <c:v>16.209599999999998</c:v>
                </c:pt>
                <c:pt idx="1846">
                  <c:v>16.354600000000001</c:v>
                </c:pt>
                <c:pt idx="1847">
                  <c:v>16.181899999999999</c:v>
                </c:pt>
                <c:pt idx="1848">
                  <c:v>16.421199999999999</c:v>
                </c:pt>
                <c:pt idx="1849">
                  <c:v>16.319500000000001</c:v>
                </c:pt>
                <c:pt idx="1850">
                  <c:v>15.978199999999999</c:v>
                </c:pt>
                <c:pt idx="1851">
                  <c:v>16.120999999999999</c:v>
                </c:pt>
                <c:pt idx="1852">
                  <c:v>16.153199999999998</c:v>
                </c:pt>
                <c:pt idx="1853">
                  <c:v>16.378900000000002</c:v>
                </c:pt>
                <c:pt idx="1854">
                  <c:v>16.601600000000001</c:v>
                </c:pt>
                <c:pt idx="1855">
                  <c:v>16.63</c:v>
                </c:pt>
                <c:pt idx="1856">
                  <c:v>16.8185</c:v>
                </c:pt>
                <c:pt idx="1857">
                  <c:v>16.8337</c:v>
                </c:pt>
                <c:pt idx="1858">
                  <c:v>16.9344</c:v>
                </c:pt>
                <c:pt idx="1859">
                  <c:v>17.025700000000001</c:v>
                </c:pt>
                <c:pt idx="1860">
                  <c:v>17.025700000000001</c:v>
                </c:pt>
                <c:pt idx="1861">
                  <c:v>17.049299999999999</c:v>
                </c:pt>
                <c:pt idx="1862">
                  <c:v>16.947500000000002</c:v>
                </c:pt>
                <c:pt idx="1863">
                  <c:v>15.3833</c:v>
                </c:pt>
                <c:pt idx="1864">
                  <c:v>15.358000000000001</c:v>
                </c:pt>
                <c:pt idx="1865">
                  <c:v>15.4527</c:v>
                </c:pt>
                <c:pt idx="1866">
                  <c:v>15.4887</c:v>
                </c:pt>
                <c:pt idx="1867">
                  <c:v>15.5014</c:v>
                </c:pt>
                <c:pt idx="1868">
                  <c:v>15.5868</c:v>
                </c:pt>
                <c:pt idx="1869">
                  <c:v>15.638</c:v>
                </c:pt>
                <c:pt idx="1870">
                  <c:v>15.527200000000001</c:v>
                </c:pt>
                <c:pt idx="1871">
                  <c:v>15.768800000000001</c:v>
                </c:pt>
                <c:pt idx="1872">
                  <c:v>15.7751</c:v>
                </c:pt>
                <c:pt idx="1873">
                  <c:v>15.815099999999999</c:v>
                </c:pt>
                <c:pt idx="1874">
                  <c:v>15.825200000000001</c:v>
                </c:pt>
                <c:pt idx="1875">
                  <c:v>15.814</c:v>
                </c:pt>
                <c:pt idx="1876">
                  <c:v>15.7303</c:v>
                </c:pt>
                <c:pt idx="1877">
                  <c:v>15.7372</c:v>
                </c:pt>
                <c:pt idx="1878">
                  <c:v>15.5566</c:v>
                </c:pt>
                <c:pt idx="1879">
                  <c:v>15.5166</c:v>
                </c:pt>
                <c:pt idx="1880">
                  <c:v>15.664099999999999</c:v>
                </c:pt>
                <c:pt idx="1881">
                  <c:v>15.7789</c:v>
                </c:pt>
                <c:pt idx="1882">
                  <c:v>15.6911</c:v>
                </c:pt>
                <c:pt idx="1883">
                  <c:v>15.794</c:v>
                </c:pt>
                <c:pt idx="1884">
                  <c:v>15.7499</c:v>
                </c:pt>
                <c:pt idx="1885">
                  <c:v>15.606299999999999</c:v>
                </c:pt>
                <c:pt idx="1886">
                  <c:v>15.6723</c:v>
                </c:pt>
                <c:pt idx="1887">
                  <c:v>15.565</c:v>
                </c:pt>
                <c:pt idx="1888">
                  <c:v>15.549099999999999</c:v>
                </c:pt>
                <c:pt idx="1889">
                  <c:v>15.617699999999999</c:v>
                </c:pt>
                <c:pt idx="1890">
                  <c:v>15.746</c:v>
                </c:pt>
                <c:pt idx="1891">
                  <c:v>15.8568</c:v>
                </c:pt>
                <c:pt idx="1892">
                  <c:v>15.908899999999999</c:v>
                </c:pt>
                <c:pt idx="1893">
                  <c:v>15.962300000000001</c:v>
                </c:pt>
                <c:pt idx="1894">
                  <c:v>15.759</c:v>
                </c:pt>
                <c:pt idx="1895">
                  <c:v>15.588800000000001</c:v>
                </c:pt>
                <c:pt idx="1896">
                  <c:v>15.6502</c:v>
                </c:pt>
                <c:pt idx="1897">
                  <c:v>15.815</c:v>
                </c:pt>
                <c:pt idx="1898">
                  <c:v>15.4899</c:v>
                </c:pt>
                <c:pt idx="1899">
                  <c:v>15.3498</c:v>
                </c:pt>
                <c:pt idx="1900">
                  <c:v>15.4717</c:v>
                </c:pt>
                <c:pt idx="1901">
                  <c:v>15.5685</c:v>
                </c:pt>
                <c:pt idx="1902">
                  <c:v>15.750500000000001</c:v>
                </c:pt>
                <c:pt idx="1903">
                  <c:v>15.7881</c:v>
                </c:pt>
                <c:pt idx="1904">
                  <c:v>15.7849</c:v>
                </c:pt>
                <c:pt idx="1905">
                  <c:v>15.8523</c:v>
                </c:pt>
                <c:pt idx="1906">
                  <c:v>15.902200000000001</c:v>
                </c:pt>
                <c:pt idx="1907">
                  <c:v>15.811999999999999</c:v>
                </c:pt>
                <c:pt idx="1908">
                  <c:v>15.8216</c:v>
                </c:pt>
                <c:pt idx="1909">
                  <c:v>15.685499999999999</c:v>
                </c:pt>
                <c:pt idx="1910">
                  <c:v>15.731400000000001</c:v>
                </c:pt>
                <c:pt idx="1911">
                  <c:v>15.912800000000001</c:v>
                </c:pt>
                <c:pt idx="1912">
                  <c:v>15.957700000000001</c:v>
                </c:pt>
                <c:pt idx="1913">
                  <c:v>15.902100000000001</c:v>
                </c:pt>
                <c:pt idx="1914">
                  <c:v>15.879099999999999</c:v>
                </c:pt>
                <c:pt idx="1915">
                  <c:v>15.8681</c:v>
                </c:pt>
                <c:pt idx="1916">
                  <c:v>15.714600000000001</c:v>
                </c:pt>
                <c:pt idx="1917">
                  <c:v>15.8017</c:v>
                </c:pt>
                <c:pt idx="1918">
                  <c:v>15.7857</c:v>
                </c:pt>
                <c:pt idx="1919">
                  <c:v>15.8087</c:v>
                </c:pt>
                <c:pt idx="1920">
                  <c:v>15.9575</c:v>
                </c:pt>
                <c:pt idx="1921">
                  <c:v>15.9641</c:v>
                </c:pt>
                <c:pt idx="1922">
                  <c:v>15.891999999999999</c:v>
                </c:pt>
                <c:pt idx="1923">
                  <c:v>15.7461</c:v>
                </c:pt>
                <c:pt idx="1924">
                  <c:v>15.8041</c:v>
                </c:pt>
                <c:pt idx="1925">
                  <c:v>15.8598</c:v>
                </c:pt>
                <c:pt idx="1926">
                  <c:v>15.759499999999999</c:v>
                </c:pt>
                <c:pt idx="1927">
                  <c:v>15.888999999999999</c:v>
                </c:pt>
                <c:pt idx="1928">
                  <c:v>15.935</c:v>
                </c:pt>
                <c:pt idx="1929">
                  <c:v>16.002600000000001</c:v>
                </c:pt>
                <c:pt idx="1930">
                  <c:v>16.002800000000001</c:v>
                </c:pt>
                <c:pt idx="1931">
                  <c:v>16.101700000000001</c:v>
                </c:pt>
                <c:pt idx="1932">
                  <c:v>16.083400000000001</c:v>
                </c:pt>
                <c:pt idx="1933">
                  <c:v>16.1694</c:v>
                </c:pt>
                <c:pt idx="1934">
                  <c:v>16.203600000000002</c:v>
                </c:pt>
                <c:pt idx="1935">
                  <c:v>16.211500000000001</c:v>
                </c:pt>
                <c:pt idx="1936">
                  <c:v>16.2072</c:v>
                </c:pt>
                <c:pt idx="1937">
                  <c:v>16.238900000000001</c:v>
                </c:pt>
                <c:pt idx="1938">
                  <c:v>16.341899999999999</c:v>
                </c:pt>
                <c:pt idx="1939">
                  <c:v>16.421199999999999</c:v>
                </c:pt>
                <c:pt idx="1940">
                  <c:v>16.408200000000001</c:v>
                </c:pt>
                <c:pt idx="1941">
                  <c:v>16.4041</c:v>
                </c:pt>
                <c:pt idx="1942">
                  <c:v>16.346299999999999</c:v>
                </c:pt>
                <c:pt idx="1943">
                  <c:v>16.225899999999999</c:v>
                </c:pt>
                <c:pt idx="1944">
                  <c:v>16.2714</c:v>
                </c:pt>
                <c:pt idx="1945">
                  <c:v>16.282299999999999</c:v>
                </c:pt>
                <c:pt idx="1946">
                  <c:v>16.314499999999999</c:v>
                </c:pt>
                <c:pt idx="1947">
                  <c:v>16.4436</c:v>
                </c:pt>
                <c:pt idx="1948">
                  <c:v>16.4787</c:v>
                </c:pt>
                <c:pt idx="1949">
                  <c:v>16.5153</c:v>
                </c:pt>
                <c:pt idx="1950">
                  <c:v>16.462199999999999</c:v>
                </c:pt>
                <c:pt idx="1951">
                  <c:v>16.359000000000002</c:v>
                </c:pt>
                <c:pt idx="1952">
                  <c:v>16.4419</c:v>
                </c:pt>
                <c:pt idx="1953">
                  <c:v>16.430299999999999</c:v>
                </c:pt>
                <c:pt idx="1954">
                  <c:v>16.467099999999999</c:v>
                </c:pt>
                <c:pt idx="1955">
                  <c:v>16.462299999999999</c:v>
                </c:pt>
                <c:pt idx="1956">
                  <c:v>16.5578</c:v>
                </c:pt>
                <c:pt idx="1957">
                  <c:v>16.572099999999999</c:v>
                </c:pt>
                <c:pt idx="1958">
                  <c:v>16.658100000000001</c:v>
                </c:pt>
                <c:pt idx="1959">
                  <c:v>16.6584</c:v>
                </c:pt>
                <c:pt idx="1960">
                  <c:v>16.595099999999999</c:v>
                </c:pt>
                <c:pt idx="1961">
                  <c:v>16.475100000000001</c:v>
                </c:pt>
                <c:pt idx="1962">
                  <c:v>16.547799999999999</c:v>
                </c:pt>
                <c:pt idx="1963">
                  <c:v>16.474900000000002</c:v>
                </c:pt>
                <c:pt idx="1964">
                  <c:v>16.506499999999999</c:v>
                </c:pt>
                <c:pt idx="1965">
                  <c:v>16.5855</c:v>
                </c:pt>
                <c:pt idx="1966">
                  <c:v>16.535499999999999</c:v>
                </c:pt>
                <c:pt idx="1967">
                  <c:v>16.587399999999999</c:v>
                </c:pt>
                <c:pt idx="1968">
                  <c:v>16.370999999999999</c:v>
                </c:pt>
                <c:pt idx="1969">
                  <c:v>16.539400000000001</c:v>
                </c:pt>
                <c:pt idx="1970">
                  <c:v>16.499600000000001</c:v>
                </c:pt>
                <c:pt idx="1971">
                  <c:v>16.569299999999998</c:v>
                </c:pt>
                <c:pt idx="1972">
                  <c:v>16.5992</c:v>
                </c:pt>
                <c:pt idx="1973">
                  <c:v>16.589500000000001</c:v>
                </c:pt>
                <c:pt idx="1974">
                  <c:v>16.511700000000001</c:v>
                </c:pt>
                <c:pt idx="1975">
                  <c:v>16.5139</c:v>
                </c:pt>
                <c:pt idx="1976">
                  <c:v>16.440899999999999</c:v>
                </c:pt>
                <c:pt idx="1977">
                  <c:v>16.444199999999999</c:v>
                </c:pt>
                <c:pt idx="1978">
                  <c:v>16.118300000000001</c:v>
                </c:pt>
                <c:pt idx="1979">
                  <c:v>16.077999999999999</c:v>
                </c:pt>
                <c:pt idx="1980">
                  <c:v>16.183299999999999</c:v>
                </c:pt>
                <c:pt idx="1981">
                  <c:v>16.081199999999999</c:v>
                </c:pt>
                <c:pt idx="1982">
                  <c:v>16.096399999999999</c:v>
                </c:pt>
                <c:pt idx="1983">
                  <c:v>16.0059</c:v>
                </c:pt>
                <c:pt idx="1984">
                  <c:v>16.185199999999998</c:v>
                </c:pt>
                <c:pt idx="1985">
                  <c:v>16.2346</c:v>
                </c:pt>
                <c:pt idx="1986">
                  <c:v>16.207899999999999</c:v>
                </c:pt>
                <c:pt idx="1987">
                  <c:v>16.325099999999999</c:v>
                </c:pt>
                <c:pt idx="1988">
                  <c:v>16.397099999999998</c:v>
                </c:pt>
                <c:pt idx="1989">
                  <c:v>16.396000000000001</c:v>
                </c:pt>
                <c:pt idx="1990">
                  <c:v>16.5396</c:v>
                </c:pt>
                <c:pt idx="1991">
                  <c:v>16.623799999999999</c:v>
                </c:pt>
                <c:pt idx="1992">
                  <c:v>16.668199999999999</c:v>
                </c:pt>
                <c:pt idx="1993">
                  <c:v>16.708300000000001</c:v>
                </c:pt>
                <c:pt idx="1994">
                  <c:v>16.6617</c:v>
                </c:pt>
                <c:pt idx="1995">
                  <c:v>16.739899999999999</c:v>
                </c:pt>
                <c:pt idx="1996">
                  <c:v>16.7607</c:v>
                </c:pt>
                <c:pt idx="1997">
                  <c:v>16.765499999999999</c:v>
                </c:pt>
                <c:pt idx="1998">
                  <c:v>16.7407</c:v>
                </c:pt>
                <c:pt idx="1999">
                  <c:v>16.795000000000002</c:v>
                </c:pt>
                <c:pt idx="2000">
                  <c:v>16.799199999999999</c:v>
                </c:pt>
                <c:pt idx="2001">
                  <c:v>16.7896</c:v>
                </c:pt>
                <c:pt idx="2002">
                  <c:v>16.7773</c:v>
                </c:pt>
                <c:pt idx="2003">
                  <c:v>16.740300000000001</c:v>
                </c:pt>
                <c:pt idx="2004">
                  <c:v>16.825800000000001</c:v>
                </c:pt>
                <c:pt idx="2005">
                  <c:v>16.777000000000001</c:v>
                </c:pt>
                <c:pt idx="2006">
                  <c:v>16.6708</c:v>
                </c:pt>
                <c:pt idx="2007">
                  <c:v>16.734500000000001</c:v>
                </c:pt>
                <c:pt idx="2008">
                  <c:v>16.749300000000002</c:v>
                </c:pt>
                <c:pt idx="2009">
                  <c:v>16.648299999999999</c:v>
                </c:pt>
                <c:pt idx="2010">
                  <c:v>16.6372</c:v>
                </c:pt>
                <c:pt idx="2011">
                  <c:v>16.762599999999999</c:v>
                </c:pt>
                <c:pt idx="2012">
                  <c:v>16.782800000000002</c:v>
                </c:pt>
                <c:pt idx="2013">
                  <c:v>16.874300000000002</c:v>
                </c:pt>
                <c:pt idx="2014">
                  <c:v>16.869800000000001</c:v>
                </c:pt>
                <c:pt idx="2015">
                  <c:v>16.693100000000001</c:v>
                </c:pt>
                <c:pt idx="2016">
                  <c:v>16.598299999999998</c:v>
                </c:pt>
                <c:pt idx="2017">
                  <c:v>16.7333</c:v>
                </c:pt>
                <c:pt idx="2018">
                  <c:v>16.4937</c:v>
                </c:pt>
                <c:pt idx="2019">
                  <c:v>16.595199999999998</c:v>
                </c:pt>
                <c:pt idx="2020">
                  <c:v>16.552800000000001</c:v>
                </c:pt>
                <c:pt idx="2021">
                  <c:v>16.5822</c:v>
                </c:pt>
                <c:pt idx="2022">
                  <c:v>16.3626</c:v>
                </c:pt>
                <c:pt idx="2023">
                  <c:v>16.3216</c:v>
                </c:pt>
                <c:pt idx="2024">
                  <c:v>16.5032</c:v>
                </c:pt>
                <c:pt idx="2025">
                  <c:v>16.497199999999999</c:v>
                </c:pt>
                <c:pt idx="2026">
                  <c:v>16.247399999999999</c:v>
                </c:pt>
                <c:pt idx="2027">
                  <c:v>16.5381</c:v>
                </c:pt>
                <c:pt idx="2028">
                  <c:v>16.194900000000001</c:v>
                </c:pt>
                <c:pt idx="2029">
                  <c:v>16.007400000000001</c:v>
                </c:pt>
                <c:pt idx="2030">
                  <c:v>15.750500000000001</c:v>
                </c:pt>
                <c:pt idx="2031">
                  <c:v>15.7835</c:v>
                </c:pt>
                <c:pt idx="2032">
                  <c:v>15.6729</c:v>
                </c:pt>
                <c:pt idx="2033">
                  <c:v>15.6677</c:v>
                </c:pt>
                <c:pt idx="2034">
                  <c:v>15.8705</c:v>
                </c:pt>
                <c:pt idx="2035">
                  <c:v>16.011700000000001</c:v>
                </c:pt>
                <c:pt idx="2036">
                  <c:v>16.355899999999998</c:v>
                </c:pt>
                <c:pt idx="2037">
                  <c:v>16.239699999999999</c:v>
                </c:pt>
                <c:pt idx="2038">
                  <c:v>16.4129</c:v>
                </c:pt>
                <c:pt idx="2039">
                  <c:v>16.531500000000001</c:v>
                </c:pt>
                <c:pt idx="2040">
                  <c:v>16.451899999999998</c:v>
                </c:pt>
                <c:pt idx="2041">
                  <c:v>16.654299999999999</c:v>
                </c:pt>
                <c:pt idx="2042">
                  <c:v>16.618099999999998</c:v>
                </c:pt>
                <c:pt idx="2043">
                  <c:v>16.714500000000001</c:v>
                </c:pt>
                <c:pt idx="2044">
                  <c:v>16.908000000000001</c:v>
                </c:pt>
                <c:pt idx="2045">
                  <c:v>16.892499999999998</c:v>
                </c:pt>
                <c:pt idx="2046">
                  <c:v>16.8459</c:v>
                </c:pt>
                <c:pt idx="2047">
                  <c:v>16.926600000000001</c:v>
                </c:pt>
                <c:pt idx="2048">
                  <c:v>17.000800000000002</c:v>
                </c:pt>
                <c:pt idx="2049">
                  <c:v>17.014500000000002</c:v>
                </c:pt>
                <c:pt idx="2050">
                  <c:v>17.077999999999999</c:v>
                </c:pt>
                <c:pt idx="2051">
                  <c:v>17.088100000000001</c:v>
                </c:pt>
                <c:pt idx="2052">
                  <c:v>17.082599999999999</c:v>
                </c:pt>
                <c:pt idx="2053">
                  <c:v>17.082899999999999</c:v>
                </c:pt>
                <c:pt idx="2054">
                  <c:v>17.0883</c:v>
                </c:pt>
                <c:pt idx="2055">
                  <c:v>17.105799999999999</c:v>
                </c:pt>
                <c:pt idx="2056">
                  <c:v>17.2</c:v>
                </c:pt>
                <c:pt idx="2057">
                  <c:v>17.1707</c:v>
                </c:pt>
                <c:pt idx="2058">
                  <c:v>17.203499999999998</c:v>
                </c:pt>
                <c:pt idx="2059">
                  <c:v>17.303999999999998</c:v>
                </c:pt>
                <c:pt idx="2060">
                  <c:v>17.354199999999999</c:v>
                </c:pt>
                <c:pt idx="2061">
                  <c:v>17.340800000000002</c:v>
                </c:pt>
                <c:pt idx="2062">
                  <c:v>17.385899999999999</c:v>
                </c:pt>
                <c:pt idx="2063">
                  <c:v>17.386099999999999</c:v>
                </c:pt>
                <c:pt idx="2064">
                  <c:v>17.376899999999999</c:v>
                </c:pt>
                <c:pt idx="2065">
                  <c:v>17.258400000000002</c:v>
                </c:pt>
                <c:pt idx="2066">
                  <c:v>17.376799999999999</c:v>
                </c:pt>
                <c:pt idx="2067">
                  <c:v>17.447500000000002</c:v>
                </c:pt>
                <c:pt idx="2068">
                  <c:v>17.436900000000001</c:v>
                </c:pt>
                <c:pt idx="2069">
                  <c:v>17.487100000000002</c:v>
                </c:pt>
                <c:pt idx="2070">
                  <c:v>17.3658</c:v>
                </c:pt>
                <c:pt idx="2071">
                  <c:v>17.369900000000001</c:v>
                </c:pt>
                <c:pt idx="2072">
                  <c:v>17.073</c:v>
                </c:pt>
                <c:pt idx="2073">
                  <c:v>17.154900000000001</c:v>
                </c:pt>
                <c:pt idx="2074">
                  <c:v>16.888100000000001</c:v>
                </c:pt>
                <c:pt idx="2075">
                  <c:v>16.7789</c:v>
                </c:pt>
                <c:pt idx="2076">
                  <c:v>16.638200000000001</c:v>
                </c:pt>
                <c:pt idx="2077">
                  <c:v>16.9922</c:v>
                </c:pt>
                <c:pt idx="2078">
                  <c:v>17.471699999999998</c:v>
                </c:pt>
                <c:pt idx="2079">
                  <c:v>17.551300000000001</c:v>
                </c:pt>
                <c:pt idx="2080">
                  <c:v>17.534600000000001</c:v>
                </c:pt>
                <c:pt idx="2081">
                  <c:v>17.572299999999998</c:v>
                </c:pt>
                <c:pt idx="2082">
                  <c:v>17.569400000000002</c:v>
                </c:pt>
                <c:pt idx="2083">
                  <c:v>17.569400000000002</c:v>
                </c:pt>
                <c:pt idx="2084">
                  <c:v>17.627400000000002</c:v>
                </c:pt>
                <c:pt idx="2085">
                  <c:v>17.642800000000001</c:v>
                </c:pt>
                <c:pt idx="2086">
                  <c:v>17.555399999999999</c:v>
                </c:pt>
                <c:pt idx="2087">
                  <c:v>17.381</c:v>
                </c:pt>
                <c:pt idx="2088">
                  <c:v>17.381900000000002</c:v>
                </c:pt>
                <c:pt idx="2089">
                  <c:v>17.405799999999999</c:v>
                </c:pt>
                <c:pt idx="2090">
                  <c:v>17.0901</c:v>
                </c:pt>
                <c:pt idx="2091">
                  <c:v>16.9178</c:v>
                </c:pt>
                <c:pt idx="2092">
                  <c:v>17.120899999999999</c:v>
                </c:pt>
                <c:pt idx="2093">
                  <c:v>17.3903</c:v>
                </c:pt>
                <c:pt idx="2094">
                  <c:v>17.185099999999998</c:v>
                </c:pt>
                <c:pt idx="2095">
                  <c:v>17.050799999999999</c:v>
                </c:pt>
                <c:pt idx="2096">
                  <c:v>17.005600000000001</c:v>
                </c:pt>
                <c:pt idx="2097">
                  <c:v>16.882000000000001</c:v>
                </c:pt>
                <c:pt idx="2098">
                  <c:v>16.7651</c:v>
                </c:pt>
                <c:pt idx="2099">
                  <c:v>16.985199999999999</c:v>
                </c:pt>
                <c:pt idx="2100">
                  <c:v>16.985399999999998</c:v>
                </c:pt>
                <c:pt idx="2101">
                  <c:v>17.0167</c:v>
                </c:pt>
                <c:pt idx="2102">
                  <c:v>17.1158</c:v>
                </c:pt>
                <c:pt idx="2103">
                  <c:v>17.377700000000001</c:v>
                </c:pt>
                <c:pt idx="2104">
                  <c:v>17.303599999999999</c:v>
                </c:pt>
                <c:pt idx="2105">
                  <c:v>17.3567</c:v>
                </c:pt>
                <c:pt idx="2106">
                  <c:v>17.1891</c:v>
                </c:pt>
                <c:pt idx="2107">
                  <c:v>17.0031</c:v>
                </c:pt>
                <c:pt idx="2108">
                  <c:v>17.341100000000001</c:v>
                </c:pt>
                <c:pt idx="2109">
                  <c:v>17.124600000000001</c:v>
                </c:pt>
                <c:pt idx="2110">
                  <c:v>17.322500000000002</c:v>
                </c:pt>
                <c:pt idx="2111">
                  <c:v>17.609000000000002</c:v>
                </c:pt>
                <c:pt idx="2112">
                  <c:v>17.565799999999999</c:v>
                </c:pt>
                <c:pt idx="2113">
                  <c:v>17.750399999999999</c:v>
                </c:pt>
                <c:pt idx="2114">
                  <c:v>17.694400000000002</c:v>
                </c:pt>
                <c:pt idx="2115">
                  <c:v>17.606999999999999</c:v>
                </c:pt>
                <c:pt idx="2116">
                  <c:v>17.810199999999998</c:v>
                </c:pt>
                <c:pt idx="2117">
                  <c:v>17.819500000000001</c:v>
                </c:pt>
                <c:pt idx="2118">
                  <c:v>18.0534</c:v>
                </c:pt>
                <c:pt idx="2119">
                  <c:v>18.116099999999999</c:v>
                </c:pt>
                <c:pt idx="2120">
                  <c:v>18.116099999999999</c:v>
                </c:pt>
                <c:pt idx="2121">
                  <c:v>18.2117</c:v>
                </c:pt>
                <c:pt idx="2122">
                  <c:v>18.245100000000001</c:v>
                </c:pt>
                <c:pt idx="2123">
                  <c:v>17.5807</c:v>
                </c:pt>
                <c:pt idx="2124">
                  <c:v>17.696999999999999</c:v>
                </c:pt>
                <c:pt idx="2125">
                  <c:v>17.690200000000001</c:v>
                </c:pt>
                <c:pt idx="2126">
                  <c:v>17.743400000000001</c:v>
                </c:pt>
                <c:pt idx="2127">
                  <c:v>17.744599999999998</c:v>
                </c:pt>
                <c:pt idx="2128">
                  <c:v>17.722100000000001</c:v>
                </c:pt>
                <c:pt idx="2129">
                  <c:v>17.683599999999998</c:v>
                </c:pt>
                <c:pt idx="2130">
                  <c:v>17.804200000000002</c:v>
                </c:pt>
                <c:pt idx="2131">
                  <c:v>17.725100000000001</c:v>
                </c:pt>
                <c:pt idx="2132">
                  <c:v>17.659300000000002</c:v>
                </c:pt>
                <c:pt idx="2133">
                  <c:v>17.6799</c:v>
                </c:pt>
                <c:pt idx="2134">
                  <c:v>17.4373</c:v>
                </c:pt>
                <c:pt idx="2135">
                  <c:v>17.497699999999998</c:v>
                </c:pt>
                <c:pt idx="2136">
                  <c:v>17.201699999999999</c:v>
                </c:pt>
                <c:pt idx="2137">
                  <c:v>17.179300000000001</c:v>
                </c:pt>
                <c:pt idx="2138">
                  <c:v>17.410299999999999</c:v>
                </c:pt>
                <c:pt idx="2139">
                  <c:v>17.318100000000001</c:v>
                </c:pt>
                <c:pt idx="2140">
                  <c:v>17.568000000000001</c:v>
                </c:pt>
                <c:pt idx="2141">
                  <c:v>17.516400000000001</c:v>
                </c:pt>
                <c:pt idx="2142">
                  <c:v>17.742599999999999</c:v>
                </c:pt>
                <c:pt idx="2143">
                  <c:v>17.648700000000002</c:v>
                </c:pt>
                <c:pt idx="2144">
                  <c:v>17.818899999999999</c:v>
                </c:pt>
                <c:pt idx="2145">
                  <c:v>17.665800000000001</c:v>
                </c:pt>
                <c:pt idx="2146">
                  <c:v>17.563099999999999</c:v>
                </c:pt>
                <c:pt idx="2147">
                  <c:v>17.3081</c:v>
                </c:pt>
                <c:pt idx="2148">
                  <c:v>17.271100000000001</c:v>
                </c:pt>
                <c:pt idx="2149">
                  <c:v>17.3141</c:v>
                </c:pt>
                <c:pt idx="2150">
                  <c:v>17.585699999999999</c:v>
                </c:pt>
                <c:pt idx="2151">
                  <c:v>17.442399999999999</c:v>
                </c:pt>
                <c:pt idx="2152">
                  <c:v>17.3811</c:v>
                </c:pt>
                <c:pt idx="2153">
                  <c:v>17.449200000000001</c:v>
                </c:pt>
                <c:pt idx="2154">
                  <c:v>17.4499</c:v>
                </c:pt>
                <c:pt idx="2155">
                  <c:v>17.573799999999999</c:v>
                </c:pt>
                <c:pt idx="2156">
                  <c:v>17.547699999999999</c:v>
                </c:pt>
                <c:pt idx="2157">
                  <c:v>17.598199999999999</c:v>
                </c:pt>
                <c:pt idx="2158">
                  <c:v>17.665500000000002</c:v>
                </c:pt>
                <c:pt idx="2159">
                  <c:v>17.759</c:v>
                </c:pt>
                <c:pt idx="2160">
                  <c:v>17.703499999999998</c:v>
                </c:pt>
                <c:pt idx="2161">
                  <c:v>17.7394</c:v>
                </c:pt>
                <c:pt idx="2162">
                  <c:v>17.837199999999999</c:v>
                </c:pt>
                <c:pt idx="2163">
                  <c:v>17.8337</c:v>
                </c:pt>
                <c:pt idx="2164">
                  <c:v>17.6236</c:v>
                </c:pt>
                <c:pt idx="2165">
                  <c:v>17.829599999999999</c:v>
                </c:pt>
                <c:pt idx="2166">
                  <c:v>17.799399999999999</c:v>
                </c:pt>
                <c:pt idx="2167">
                  <c:v>17.915299999999998</c:v>
                </c:pt>
                <c:pt idx="2168">
                  <c:v>17.989999999999998</c:v>
                </c:pt>
                <c:pt idx="2169">
                  <c:v>18.041599999999999</c:v>
                </c:pt>
                <c:pt idx="2170">
                  <c:v>17.930299999999999</c:v>
                </c:pt>
                <c:pt idx="2171">
                  <c:v>17.972799999999999</c:v>
                </c:pt>
                <c:pt idx="2172">
                  <c:v>17.907</c:v>
                </c:pt>
                <c:pt idx="2173">
                  <c:v>17.7318</c:v>
                </c:pt>
                <c:pt idx="2174">
                  <c:v>17.903199999999998</c:v>
                </c:pt>
                <c:pt idx="2175">
                  <c:v>17.8916</c:v>
                </c:pt>
                <c:pt idx="2176">
                  <c:v>17.676200000000001</c:v>
                </c:pt>
                <c:pt idx="2177">
                  <c:v>17.606300000000001</c:v>
                </c:pt>
                <c:pt idx="2178">
                  <c:v>17.679099999999998</c:v>
                </c:pt>
                <c:pt idx="2179">
                  <c:v>17.887799999999999</c:v>
                </c:pt>
                <c:pt idx="2180">
                  <c:v>17.797999999999998</c:v>
                </c:pt>
                <c:pt idx="2181">
                  <c:v>17.750699999999998</c:v>
                </c:pt>
                <c:pt idx="2182">
                  <c:v>17.756399999999999</c:v>
                </c:pt>
                <c:pt idx="2183">
                  <c:v>17.947299999999998</c:v>
                </c:pt>
                <c:pt idx="2184">
                  <c:v>17.960100000000001</c:v>
                </c:pt>
                <c:pt idx="2185">
                  <c:v>18.004000000000001</c:v>
                </c:pt>
                <c:pt idx="2186">
                  <c:v>17.992799999999999</c:v>
                </c:pt>
                <c:pt idx="2187">
                  <c:v>17.980899999999998</c:v>
                </c:pt>
                <c:pt idx="2188">
                  <c:v>18.0246</c:v>
                </c:pt>
                <c:pt idx="2189">
                  <c:v>17.979299999999999</c:v>
                </c:pt>
                <c:pt idx="2190">
                  <c:v>17.9787</c:v>
                </c:pt>
                <c:pt idx="2191">
                  <c:v>17.789200000000001</c:v>
                </c:pt>
                <c:pt idx="2192">
                  <c:v>17.944900000000001</c:v>
                </c:pt>
                <c:pt idx="2193">
                  <c:v>17.913699999999999</c:v>
                </c:pt>
                <c:pt idx="2194">
                  <c:v>17.799600000000002</c:v>
                </c:pt>
                <c:pt idx="2195">
                  <c:v>17.848199999999999</c:v>
                </c:pt>
                <c:pt idx="2196">
                  <c:v>17.840299999999999</c:v>
                </c:pt>
                <c:pt idx="2197">
                  <c:v>17.875399999999999</c:v>
                </c:pt>
                <c:pt idx="2198">
                  <c:v>17.718499999999999</c:v>
                </c:pt>
                <c:pt idx="2199">
                  <c:v>17.694500000000001</c:v>
                </c:pt>
                <c:pt idx="2200">
                  <c:v>17.583500000000001</c:v>
                </c:pt>
                <c:pt idx="2201">
                  <c:v>17.589600000000001</c:v>
                </c:pt>
                <c:pt idx="2202">
                  <c:v>17.808199999999999</c:v>
                </c:pt>
                <c:pt idx="2203">
                  <c:v>17.842099999999999</c:v>
                </c:pt>
                <c:pt idx="2204">
                  <c:v>17.723299999999998</c:v>
                </c:pt>
                <c:pt idx="2205">
                  <c:v>17.6572</c:v>
                </c:pt>
                <c:pt idx="2206">
                  <c:v>17.760300000000001</c:v>
                </c:pt>
                <c:pt idx="2207">
                  <c:v>17.794599999999999</c:v>
                </c:pt>
                <c:pt idx="2208">
                  <c:v>17.980699999999999</c:v>
                </c:pt>
                <c:pt idx="2209">
                  <c:v>17.8889</c:v>
                </c:pt>
                <c:pt idx="2210">
                  <c:v>17.9741</c:v>
                </c:pt>
                <c:pt idx="2211">
                  <c:v>17.9877</c:v>
                </c:pt>
                <c:pt idx="2212">
                  <c:v>17.855599999999999</c:v>
                </c:pt>
                <c:pt idx="2213">
                  <c:v>17.804400000000001</c:v>
                </c:pt>
                <c:pt idx="2214">
                  <c:v>17.8065</c:v>
                </c:pt>
                <c:pt idx="2215">
                  <c:v>17.445799999999998</c:v>
                </c:pt>
                <c:pt idx="2216">
                  <c:v>17.4986</c:v>
                </c:pt>
                <c:pt idx="2217">
                  <c:v>17.620899999999999</c:v>
                </c:pt>
                <c:pt idx="2218">
                  <c:v>17.611000000000001</c:v>
                </c:pt>
                <c:pt idx="2219">
                  <c:v>17.613600000000002</c:v>
                </c:pt>
                <c:pt idx="2220">
                  <c:v>17.5593</c:v>
                </c:pt>
                <c:pt idx="2221">
                  <c:v>17.6782</c:v>
                </c:pt>
                <c:pt idx="2222">
                  <c:v>17.378900000000002</c:v>
                </c:pt>
                <c:pt idx="2223">
                  <c:v>17.414400000000001</c:v>
                </c:pt>
                <c:pt idx="2224">
                  <c:v>17.627300000000002</c:v>
                </c:pt>
                <c:pt idx="2225">
                  <c:v>17.826799999999999</c:v>
                </c:pt>
                <c:pt idx="2226">
                  <c:v>17.9129</c:v>
                </c:pt>
                <c:pt idx="2227">
                  <c:v>17.911799999999999</c:v>
                </c:pt>
                <c:pt idx="2228">
                  <c:v>18.052800000000001</c:v>
                </c:pt>
                <c:pt idx="2229">
                  <c:v>18.085000000000001</c:v>
                </c:pt>
                <c:pt idx="2230">
                  <c:v>18.099499999999999</c:v>
                </c:pt>
                <c:pt idx="2231">
                  <c:v>17.999400000000001</c:v>
                </c:pt>
                <c:pt idx="2232">
                  <c:v>17.953399999999998</c:v>
                </c:pt>
                <c:pt idx="2233">
                  <c:v>17.849399999999999</c:v>
                </c:pt>
                <c:pt idx="2234">
                  <c:v>17.618400000000001</c:v>
                </c:pt>
                <c:pt idx="2235">
                  <c:v>17.506499999999999</c:v>
                </c:pt>
                <c:pt idx="2236">
                  <c:v>17.7089</c:v>
                </c:pt>
                <c:pt idx="2237">
                  <c:v>17.868099999999998</c:v>
                </c:pt>
                <c:pt idx="2238">
                  <c:v>17.861799999999999</c:v>
                </c:pt>
                <c:pt idx="2239">
                  <c:v>17.8551</c:v>
                </c:pt>
                <c:pt idx="2240">
                  <c:v>17.834700000000002</c:v>
                </c:pt>
                <c:pt idx="2241">
                  <c:v>17.802099999999999</c:v>
                </c:pt>
                <c:pt idx="2242">
                  <c:v>17.8688</c:v>
                </c:pt>
                <c:pt idx="2243">
                  <c:v>17.7254</c:v>
                </c:pt>
                <c:pt idx="2244">
                  <c:v>17.667899999999999</c:v>
                </c:pt>
                <c:pt idx="2245">
                  <c:v>17.890899999999998</c:v>
                </c:pt>
                <c:pt idx="2246">
                  <c:v>17.719899999999999</c:v>
                </c:pt>
                <c:pt idx="2247">
                  <c:v>17.751300000000001</c:v>
                </c:pt>
                <c:pt idx="2248">
                  <c:v>17.736499999999999</c:v>
                </c:pt>
                <c:pt idx="2249">
                  <c:v>17.819900000000001</c:v>
                </c:pt>
                <c:pt idx="2250">
                  <c:v>17.911799999999999</c:v>
                </c:pt>
                <c:pt idx="2251">
                  <c:v>17.866299999999999</c:v>
                </c:pt>
                <c:pt idx="2252">
                  <c:v>17.720199999999998</c:v>
                </c:pt>
                <c:pt idx="2253">
                  <c:v>17.3537</c:v>
                </c:pt>
                <c:pt idx="2254">
                  <c:v>16.803999999999998</c:v>
                </c:pt>
                <c:pt idx="2255">
                  <c:v>16.1523</c:v>
                </c:pt>
                <c:pt idx="2256">
                  <c:v>15.931100000000001</c:v>
                </c:pt>
                <c:pt idx="2257">
                  <c:v>16.556699999999999</c:v>
                </c:pt>
                <c:pt idx="2258">
                  <c:v>16.958500000000001</c:v>
                </c:pt>
                <c:pt idx="2259">
                  <c:v>16.971499999999999</c:v>
                </c:pt>
                <c:pt idx="2260">
                  <c:v>16.837</c:v>
                </c:pt>
                <c:pt idx="2261">
                  <c:v>16.326599999999999</c:v>
                </c:pt>
                <c:pt idx="2262">
                  <c:v>16.625800000000002</c:v>
                </c:pt>
                <c:pt idx="2263">
                  <c:v>16.6097</c:v>
                </c:pt>
                <c:pt idx="2264">
                  <c:v>16.355599999999999</c:v>
                </c:pt>
                <c:pt idx="2265">
                  <c:v>16.355799999999999</c:v>
                </c:pt>
                <c:pt idx="2266">
                  <c:v>16.776900000000001</c:v>
                </c:pt>
                <c:pt idx="2267">
                  <c:v>16.553100000000001</c:v>
                </c:pt>
                <c:pt idx="2268">
                  <c:v>16.6402</c:v>
                </c:pt>
                <c:pt idx="2269">
                  <c:v>16.724900000000002</c:v>
                </c:pt>
                <c:pt idx="2270">
                  <c:v>16.6631</c:v>
                </c:pt>
                <c:pt idx="2271">
                  <c:v>16.877099999999999</c:v>
                </c:pt>
                <c:pt idx="2272">
                  <c:v>17.041599999999999</c:v>
                </c:pt>
                <c:pt idx="2273">
                  <c:v>17.006399999999999</c:v>
                </c:pt>
                <c:pt idx="2274">
                  <c:v>16.737300000000001</c:v>
                </c:pt>
                <c:pt idx="2275">
                  <c:v>16.7559</c:v>
                </c:pt>
                <c:pt idx="2276">
                  <c:v>16.549199999999999</c:v>
                </c:pt>
                <c:pt idx="2277">
                  <c:v>16.515899999999998</c:v>
                </c:pt>
                <c:pt idx="2278">
                  <c:v>16.464300000000001</c:v>
                </c:pt>
                <c:pt idx="2279">
                  <c:v>16.460999999999999</c:v>
                </c:pt>
                <c:pt idx="2280">
                  <c:v>16.0486</c:v>
                </c:pt>
                <c:pt idx="2281">
                  <c:v>16.073899999999998</c:v>
                </c:pt>
                <c:pt idx="2282">
                  <c:v>16.382200000000001</c:v>
                </c:pt>
                <c:pt idx="2283">
                  <c:v>16.419499999999999</c:v>
                </c:pt>
                <c:pt idx="2284">
                  <c:v>16.6617</c:v>
                </c:pt>
                <c:pt idx="2285">
                  <c:v>16.9696</c:v>
                </c:pt>
                <c:pt idx="2286">
                  <c:v>16.915800000000001</c:v>
                </c:pt>
                <c:pt idx="2287">
                  <c:v>17.064399999999999</c:v>
                </c:pt>
                <c:pt idx="2288">
                  <c:v>17.225200000000001</c:v>
                </c:pt>
                <c:pt idx="2289">
                  <c:v>17.2469</c:v>
                </c:pt>
                <c:pt idx="2290">
                  <c:v>17.278199999999998</c:v>
                </c:pt>
                <c:pt idx="2291">
                  <c:v>17.170300000000001</c:v>
                </c:pt>
                <c:pt idx="2292">
                  <c:v>17.090699999999998</c:v>
                </c:pt>
                <c:pt idx="2293">
                  <c:v>17.358899999999998</c:v>
                </c:pt>
                <c:pt idx="2294">
                  <c:v>17.4438</c:v>
                </c:pt>
                <c:pt idx="2295">
                  <c:v>17.472999999999999</c:v>
                </c:pt>
                <c:pt idx="2296">
                  <c:v>17.456600000000002</c:v>
                </c:pt>
                <c:pt idx="2297">
                  <c:v>17.3567</c:v>
                </c:pt>
                <c:pt idx="2298">
                  <c:v>17.6431</c:v>
                </c:pt>
                <c:pt idx="2299">
                  <c:v>17.8324</c:v>
                </c:pt>
                <c:pt idx="2300">
                  <c:v>17.803100000000001</c:v>
                </c:pt>
                <c:pt idx="2301">
                  <c:v>17.748899999999999</c:v>
                </c:pt>
                <c:pt idx="2302">
                  <c:v>17.959700000000002</c:v>
                </c:pt>
                <c:pt idx="2303">
                  <c:v>17.951699999999999</c:v>
                </c:pt>
                <c:pt idx="2304">
                  <c:v>17.863700000000001</c:v>
                </c:pt>
                <c:pt idx="2305">
                  <c:v>18.003599999999999</c:v>
                </c:pt>
                <c:pt idx="2306">
                  <c:v>18.0639</c:v>
                </c:pt>
                <c:pt idx="2307">
                  <c:v>18.0123</c:v>
                </c:pt>
                <c:pt idx="2308">
                  <c:v>18.008500000000002</c:v>
                </c:pt>
                <c:pt idx="2309">
                  <c:v>18.005299999999998</c:v>
                </c:pt>
                <c:pt idx="2310">
                  <c:v>17.775600000000001</c:v>
                </c:pt>
                <c:pt idx="2311">
                  <c:v>17.833400000000001</c:v>
                </c:pt>
                <c:pt idx="2312">
                  <c:v>17.773399999999999</c:v>
                </c:pt>
                <c:pt idx="2313">
                  <c:v>17.530999999999999</c:v>
                </c:pt>
                <c:pt idx="2314">
                  <c:v>17.308</c:v>
                </c:pt>
                <c:pt idx="2315">
                  <c:v>17.565899999999999</c:v>
                </c:pt>
                <c:pt idx="2316">
                  <c:v>17.54</c:v>
                </c:pt>
                <c:pt idx="2317">
                  <c:v>17.799900000000001</c:v>
                </c:pt>
                <c:pt idx="2318">
                  <c:v>17.7958</c:v>
                </c:pt>
                <c:pt idx="2319">
                  <c:v>17.866</c:v>
                </c:pt>
                <c:pt idx="2320">
                  <c:v>17.845199999999998</c:v>
                </c:pt>
                <c:pt idx="2321">
                  <c:v>17.8752</c:v>
                </c:pt>
                <c:pt idx="2322">
                  <c:v>17.8751</c:v>
                </c:pt>
                <c:pt idx="2323">
                  <c:v>17.8751</c:v>
                </c:pt>
                <c:pt idx="2324">
                  <c:v>17.8856</c:v>
                </c:pt>
                <c:pt idx="2325">
                  <c:v>17.7958</c:v>
                </c:pt>
                <c:pt idx="2326">
                  <c:v>17.989899999999999</c:v>
                </c:pt>
                <c:pt idx="2327">
                  <c:v>17.794</c:v>
                </c:pt>
                <c:pt idx="2328">
                  <c:v>17.5428</c:v>
                </c:pt>
                <c:pt idx="2329">
                  <c:v>17.903400000000001</c:v>
                </c:pt>
                <c:pt idx="2330">
                  <c:v>17.781300000000002</c:v>
                </c:pt>
                <c:pt idx="2331">
                  <c:v>17.6632</c:v>
                </c:pt>
                <c:pt idx="2332">
                  <c:v>17.5426</c:v>
                </c:pt>
                <c:pt idx="2333">
                  <c:v>17.585699999999999</c:v>
                </c:pt>
                <c:pt idx="2334">
                  <c:v>17.243200000000002</c:v>
                </c:pt>
                <c:pt idx="2335">
                  <c:v>17.329599999999999</c:v>
                </c:pt>
                <c:pt idx="2336">
                  <c:v>17.517800000000001</c:v>
                </c:pt>
                <c:pt idx="2337">
                  <c:v>17.781300000000002</c:v>
                </c:pt>
                <c:pt idx="2338">
                  <c:v>17.515999999999998</c:v>
                </c:pt>
                <c:pt idx="2339">
                  <c:v>17.1953</c:v>
                </c:pt>
                <c:pt idx="2340">
                  <c:v>17.221599999999999</c:v>
                </c:pt>
                <c:pt idx="2341">
                  <c:v>17.373899999999999</c:v>
                </c:pt>
                <c:pt idx="2342">
                  <c:v>17.590699999999998</c:v>
                </c:pt>
                <c:pt idx="2343">
                  <c:v>17.562899999999999</c:v>
                </c:pt>
                <c:pt idx="2344">
                  <c:v>17.562899999999999</c:v>
                </c:pt>
                <c:pt idx="2345">
                  <c:v>17.524999999999999</c:v>
                </c:pt>
                <c:pt idx="2346">
                  <c:v>17.706199999999999</c:v>
                </c:pt>
                <c:pt idx="2347">
                  <c:v>17.580400000000001</c:v>
                </c:pt>
                <c:pt idx="2348">
                  <c:v>17.410799999999998</c:v>
                </c:pt>
                <c:pt idx="2349">
                  <c:v>17.4131</c:v>
                </c:pt>
                <c:pt idx="2350">
                  <c:v>17.1496</c:v>
                </c:pt>
                <c:pt idx="2351">
                  <c:v>17.1859</c:v>
                </c:pt>
                <c:pt idx="2352">
                  <c:v>16.962700000000002</c:v>
                </c:pt>
                <c:pt idx="2353">
                  <c:v>16.566400000000002</c:v>
                </c:pt>
                <c:pt idx="2354">
                  <c:v>16.377400000000002</c:v>
                </c:pt>
                <c:pt idx="2355">
                  <c:v>16.401599999999998</c:v>
                </c:pt>
                <c:pt idx="2356">
                  <c:v>16.537400000000002</c:v>
                </c:pt>
                <c:pt idx="2357">
                  <c:v>16.129100000000001</c:v>
                </c:pt>
                <c:pt idx="2358">
                  <c:v>16.3843</c:v>
                </c:pt>
                <c:pt idx="2359">
                  <c:v>16.010100000000001</c:v>
                </c:pt>
                <c:pt idx="2360">
                  <c:v>16.011099999999999</c:v>
                </c:pt>
                <c:pt idx="2361">
                  <c:v>16.029499999999999</c:v>
                </c:pt>
                <c:pt idx="2362">
                  <c:v>15.8283</c:v>
                </c:pt>
                <c:pt idx="2363">
                  <c:v>15.9139</c:v>
                </c:pt>
                <c:pt idx="2364">
                  <c:v>16.314900000000002</c:v>
                </c:pt>
                <c:pt idx="2365">
                  <c:v>16.053899999999999</c:v>
                </c:pt>
                <c:pt idx="2366">
                  <c:v>16.338699999999999</c:v>
                </c:pt>
                <c:pt idx="2367">
                  <c:v>16.235399999999998</c:v>
                </c:pt>
                <c:pt idx="2368">
                  <c:v>16.444800000000001</c:v>
                </c:pt>
                <c:pt idx="2369">
                  <c:v>16.861599999999999</c:v>
                </c:pt>
                <c:pt idx="2370">
                  <c:v>16.917000000000002</c:v>
                </c:pt>
                <c:pt idx="2371">
                  <c:v>16.599900000000002</c:v>
                </c:pt>
                <c:pt idx="2372">
                  <c:v>16.685199999999998</c:v>
                </c:pt>
                <c:pt idx="2373">
                  <c:v>16.733499999999999</c:v>
                </c:pt>
                <c:pt idx="2374">
                  <c:v>16.427800000000001</c:v>
                </c:pt>
                <c:pt idx="2375">
                  <c:v>16.2073</c:v>
                </c:pt>
                <c:pt idx="2376">
                  <c:v>16.207899999999999</c:v>
                </c:pt>
                <c:pt idx="2377">
                  <c:v>16.223500000000001</c:v>
                </c:pt>
                <c:pt idx="2378">
                  <c:v>16.002600000000001</c:v>
                </c:pt>
                <c:pt idx="2379">
                  <c:v>16.317599999999999</c:v>
                </c:pt>
                <c:pt idx="2380">
                  <c:v>16.317599999999999</c:v>
                </c:pt>
                <c:pt idx="2381">
                  <c:v>15.7974</c:v>
                </c:pt>
                <c:pt idx="2382">
                  <c:v>16.056999999999999</c:v>
                </c:pt>
                <c:pt idx="2383">
                  <c:v>15.985799999999999</c:v>
                </c:pt>
                <c:pt idx="2384">
                  <c:v>15.9922</c:v>
                </c:pt>
                <c:pt idx="2385">
                  <c:v>16.247299999999999</c:v>
                </c:pt>
                <c:pt idx="2386">
                  <c:v>16.0566</c:v>
                </c:pt>
                <c:pt idx="2387">
                  <c:v>16.158300000000001</c:v>
                </c:pt>
                <c:pt idx="2388">
                  <c:v>16.346399999999999</c:v>
                </c:pt>
                <c:pt idx="2389">
                  <c:v>16.336600000000001</c:v>
                </c:pt>
                <c:pt idx="2390">
                  <c:v>16.219200000000001</c:v>
                </c:pt>
                <c:pt idx="2391">
                  <c:v>16.630700000000001</c:v>
                </c:pt>
                <c:pt idx="2392">
                  <c:v>16.707999999999998</c:v>
                </c:pt>
                <c:pt idx="2393">
                  <c:v>16.774699999999999</c:v>
                </c:pt>
                <c:pt idx="2394">
                  <c:v>16.833200000000001</c:v>
                </c:pt>
                <c:pt idx="2395">
                  <c:v>16.845800000000001</c:v>
                </c:pt>
                <c:pt idx="2396">
                  <c:v>16.663699999999999</c:v>
                </c:pt>
                <c:pt idx="2397">
                  <c:v>16.7547</c:v>
                </c:pt>
                <c:pt idx="2398">
                  <c:v>16.762499999999999</c:v>
                </c:pt>
                <c:pt idx="2399">
                  <c:v>17.052600000000002</c:v>
                </c:pt>
                <c:pt idx="2400">
                  <c:v>17.0319</c:v>
                </c:pt>
                <c:pt idx="2401">
                  <c:v>17.013500000000001</c:v>
                </c:pt>
                <c:pt idx="2402">
                  <c:v>17.11</c:v>
                </c:pt>
                <c:pt idx="2403">
                  <c:v>17.224499999999999</c:v>
                </c:pt>
                <c:pt idx="2404">
                  <c:v>17.305499999999999</c:v>
                </c:pt>
                <c:pt idx="2405">
                  <c:v>17.2821</c:v>
                </c:pt>
                <c:pt idx="2406">
                  <c:v>17.2713</c:v>
                </c:pt>
                <c:pt idx="2407">
                  <c:v>17.172999999999998</c:v>
                </c:pt>
                <c:pt idx="2408">
                  <c:v>17.174199999999999</c:v>
                </c:pt>
                <c:pt idx="2409">
                  <c:v>17.173999999999999</c:v>
                </c:pt>
                <c:pt idx="2410">
                  <c:v>17.184899999999999</c:v>
                </c:pt>
                <c:pt idx="2411">
                  <c:v>17.337800000000001</c:v>
                </c:pt>
                <c:pt idx="2412">
                  <c:v>17.426100000000002</c:v>
                </c:pt>
                <c:pt idx="2413">
                  <c:v>17.4101</c:v>
                </c:pt>
                <c:pt idx="2414">
                  <c:v>17.523</c:v>
                </c:pt>
                <c:pt idx="2415">
                  <c:v>17.4787</c:v>
                </c:pt>
                <c:pt idx="2416">
                  <c:v>17.311499999999999</c:v>
                </c:pt>
                <c:pt idx="2417">
                  <c:v>17.494199999999999</c:v>
                </c:pt>
                <c:pt idx="2418">
                  <c:v>17.2788</c:v>
                </c:pt>
                <c:pt idx="2419">
                  <c:v>17.325700000000001</c:v>
                </c:pt>
                <c:pt idx="2420">
                  <c:v>17.296399999999998</c:v>
                </c:pt>
                <c:pt idx="2421">
                  <c:v>17.473500000000001</c:v>
                </c:pt>
                <c:pt idx="2422">
                  <c:v>17.650700000000001</c:v>
                </c:pt>
                <c:pt idx="2423">
                  <c:v>17.6645</c:v>
                </c:pt>
                <c:pt idx="2424">
                  <c:v>17.655000000000001</c:v>
                </c:pt>
                <c:pt idx="2425">
                  <c:v>17.773099999999999</c:v>
                </c:pt>
                <c:pt idx="2426">
                  <c:v>17.829599999999999</c:v>
                </c:pt>
                <c:pt idx="2427">
                  <c:v>17.864899999999999</c:v>
                </c:pt>
                <c:pt idx="2428">
                  <c:v>17.805</c:v>
                </c:pt>
                <c:pt idx="2429">
                  <c:v>17.8215</c:v>
                </c:pt>
                <c:pt idx="2430">
                  <c:v>17.807099999999998</c:v>
                </c:pt>
                <c:pt idx="2431">
                  <c:v>17.877300000000002</c:v>
                </c:pt>
                <c:pt idx="2432">
                  <c:v>17.934699999999999</c:v>
                </c:pt>
                <c:pt idx="2433">
                  <c:v>17.753699999999998</c:v>
                </c:pt>
                <c:pt idx="2434">
                  <c:v>17.666899999999998</c:v>
                </c:pt>
                <c:pt idx="2435">
                  <c:v>17.794499999999999</c:v>
                </c:pt>
                <c:pt idx="2436">
                  <c:v>17.649799999999999</c:v>
                </c:pt>
                <c:pt idx="2437">
                  <c:v>17.542999999999999</c:v>
                </c:pt>
                <c:pt idx="2438">
                  <c:v>17.546199999999999</c:v>
                </c:pt>
                <c:pt idx="2439">
                  <c:v>17.6114</c:v>
                </c:pt>
                <c:pt idx="2440">
                  <c:v>17.613600000000002</c:v>
                </c:pt>
                <c:pt idx="2441">
                  <c:v>17.831600000000002</c:v>
                </c:pt>
                <c:pt idx="2442">
                  <c:v>17.657900000000001</c:v>
                </c:pt>
                <c:pt idx="2443">
                  <c:v>17.658300000000001</c:v>
                </c:pt>
                <c:pt idx="2444">
                  <c:v>17.491299999999999</c:v>
                </c:pt>
                <c:pt idx="2445">
                  <c:v>17.660699999999999</c:v>
                </c:pt>
                <c:pt idx="2446">
                  <c:v>17.4969</c:v>
                </c:pt>
                <c:pt idx="2447">
                  <c:v>17.499300000000002</c:v>
                </c:pt>
                <c:pt idx="2448">
                  <c:v>17.433900000000001</c:v>
                </c:pt>
                <c:pt idx="2449">
                  <c:v>17.526700000000002</c:v>
                </c:pt>
                <c:pt idx="2450">
                  <c:v>17.486000000000001</c:v>
                </c:pt>
                <c:pt idx="2451">
                  <c:v>17.727499999999999</c:v>
                </c:pt>
                <c:pt idx="2452">
                  <c:v>17.858599999999999</c:v>
                </c:pt>
                <c:pt idx="2453">
                  <c:v>17.8613</c:v>
                </c:pt>
                <c:pt idx="2454">
                  <c:v>17.939399999999999</c:v>
                </c:pt>
                <c:pt idx="2455">
                  <c:v>17.9406</c:v>
                </c:pt>
                <c:pt idx="2456">
                  <c:v>17.928999999999998</c:v>
                </c:pt>
                <c:pt idx="2457">
                  <c:v>17.954000000000001</c:v>
                </c:pt>
                <c:pt idx="2458">
                  <c:v>18.0062</c:v>
                </c:pt>
                <c:pt idx="2459">
                  <c:v>17.956499999999998</c:v>
                </c:pt>
                <c:pt idx="2460">
                  <c:v>18.044499999999999</c:v>
                </c:pt>
                <c:pt idx="2461">
                  <c:v>18.068300000000001</c:v>
                </c:pt>
                <c:pt idx="2462">
                  <c:v>18.129799999999999</c:v>
                </c:pt>
                <c:pt idx="2463">
                  <c:v>18.100300000000001</c:v>
                </c:pt>
                <c:pt idx="2464">
                  <c:v>17.935400000000001</c:v>
                </c:pt>
                <c:pt idx="2465">
                  <c:v>17.791599999999999</c:v>
                </c:pt>
                <c:pt idx="2466">
                  <c:v>17.7575</c:v>
                </c:pt>
                <c:pt idx="2467">
                  <c:v>17.7317</c:v>
                </c:pt>
                <c:pt idx="2468">
                  <c:v>17.7974</c:v>
                </c:pt>
                <c:pt idx="2469">
                  <c:v>17.747800000000002</c:v>
                </c:pt>
                <c:pt idx="2470">
                  <c:v>17.7956</c:v>
                </c:pt>
                <c:pt idx="2471">
                  <c:v>17.847999999999999</c:v>
                </c:pt>
                <c:pt idx="2472">
                  <c:v>17.822500000000002</c:v>
                </c:pt>
                <c:pt idx="2473">
                  <c:v>18.063400000000001</c:v>
                </c:pt>
                <c:pt idx="2474">
                  <c:v>17.414400000000001</c:v>
                </c:pt>
                <c:pt idx="2475">
                  <c:v>17.101500000000001</c:v>
                </c:pt>
                <c:pt idx="2476">
                  <c:v>17.407399999999999</c:v>
                </c:pt>
                <c:pt idx="2477">
                  <c:v>17.7135</c:v>
                </c:pt>
                <c:pt idx="2478">
                  <c:v>17.9679</c:v>
                </c:pt>
                <c:pt idx="2479">
                  <c:v>18.008700000000001</c:v>
                </c:pt>
                <c:pt idx="2480">
                  <c:v>18.010899999999999</c:v>
                </c:pt>
                <c:pt idx="2481">
                  <c:v>17.8794</c:v>
                </c:pt>
                <c:pt idx="2482">
                  <c:v>17.977900000000002</c:v>
                </c:pt>
                <c:pt idx="2483">
                  <c:v>17.967400000000001</c:v>
                </c:pt>
                <c:pt idx="2484">
                  <c:v>18.250599999999999</c:v>
                </c:pt>
                <c:pt idx="2485">
                  <c:v>18.337199999999999</c:v>
                </c:pt>
                <c:pt idx="2486">
                  <c:v>18.466899999999999</c:v>
                </c:pt>
                <c:pt idx="2487">
                  <c:v>18.463200000000001</c:v>
                </c:pt>
                <c:pt idx="2488">
                  <c:v>18.561800000000002</c:v>
                </c:pt>
                <c:pt idx="2489">
                  <c:v>18.540299999999998</c:v>
                </c:pt>
                <c:pt idx="2490">
                  <c:v>18.5944</c:v>
                </c:pt>
                <c:pt idx="2491">
                  <c:v>18.576000000000001</c:v>
                </c:pt>
                <c:pt idx="2492">
                  <c:v>18.659400000000002</c:v>
                </c:pt>
                <c:pt idx="2493">
                  <c:v>18.594999999999999</c:v>
                </c:pt>
                <c:pt idx="2494">
                  <c:v>18.683599999999998</c:v>
                </c:pt>
                <c:pt idx="2495">
                  <c:v>18.628299999999999</c:v>
                </c:pt>
                <c:pt idx="2496">
                  <c:v>18.6388</c:v>
                </c:pt>
                <c:pt idx="2497">
                  <c:v>18.596699999999998</c:v>
                </c:pt>
                <c:pt idx="2498">
                  <c:v>18.617799999999999</c:v>
                </c:pt>
                <c:pt idx="2499">
                  <c:v>18.6831</c:v>
                </c:pt>
                <c:pt idx="2500">
                  <c:v>18.692399999999999</c:v>
                </c:pt>
                <c:pt idx="2501">
                  <c:v>18.578700000000001</c:v>
                </c:pt>
                <c:pt idx="2502">
                  <c:v>18.639399999999998</c:v>
                </c:pt>
                <c:pt idx="2503">
                  <c:v>18.6557</c:v>
                </c:pt>
                <c:pt idx="2504">
                  <c:v>18.818200000000001</c:v>
                </c:pt>
                <c:pt idx="2505">
                  <c:v>18.803000000000001</c:v>
                </c:pt>
                <c:pt idx="2506">
                  <c:v>18.880500000000001</c:v>
                </c:pt>
                <c:pt idx="2507">
                  <c:v>18.831</c:v>
                </c:pt>
                <c:pt idx="2508">
                  <c:v>18.914200000000001</c:v>
                </c:pt>
                <c:pt idx="2509">
                  <c:v>18.898800000000001</c:v>
                </c:pt>
                <c:pt idx="2510">
                  <c:v>18.951899999999998</c:v>
                </c:pt>
                <c:pt idx="2511">
                  <c:v>18.8489</c:v>
                </c:pt>
                <c:pt idx="2512">
                  <c:v>18.896599999999999</c:v>
                </c:pt>
                <c:pt idx="2513">
                  <c:v>18.934699999999999</c:v>
                </c:pt>
                <c:pt idx="2514">
                  <c:v>18.899100000000001</c:v>
                </c:pt>
                <c:pt idx="2515">
                  <c:v>18.889199999999999</c:v>
                </c:pt>
                <c:pt idx="2516">
                  <c:v>18.9239</c:v>
                </c:pt>
                <c:pt idx="2517">
                  <c:v>18.827100000000002</c:v>
                </c:pt>
                <c:pt idx="2518">
                  <c:v>18.810300000000002</c:v>
                </c:pt>
                <c:pt idx="2519">
                  <c:v>18.781400000000001</c:v>
                </c:pt>
                <c:pt idx="2520">
                  <c:v>18.872599999999998</c:v>
                </c:pt>
                <c:pt idx="2521">
                  <c:v>18.830300000000001</c:v>
                </c:pt>
                <c:pt idx="2522">
                  <c:v>18.791</c:v>
                </c:pt>
                <c:pt idx="2523">
                  <c:v>18.8125</c:v>
                </c:pt>
                <c:pt idx="2524">
                  <c:v>18.895700000000001</c:v>
                </c:pt>
                <c:pt idx="2525">
                  <c:v>18.897400000000001</c:v>
                </c:pt>
                <c:pt idx="2526">
                  <c:v>18.996400000000001</c:v>
                </c:pt>
                <c:pt idx="2527">
                  <c:v>18.954799999999999</c:v>
                </c:pt>
                <c:pt idx="2528">
                  <c:v>18.981000000000002</c:v>
                </c:pt>
                <c:pt idx="2529">
                  <c:v>18.517600000000002</c:v>
                </c:pt>
                <c:pt idx="2530">
                  <c:v>18.790700000000001</c:v>
                </c:pt>
                <c:pt idx="2531">
                  <c:v>18.517199999999999</c:v>
                </c:pt>
                <c:pt idx="2532">
                  <c:v>18.502800000000001</c:v>
                </c:pt>
                <c:pt idx="2533">
                  <c:v>18.699100000000001</c:v>
                </c:pt>
                <c:pt idx="2534">
                  <c:v>18.6252</c:v>
                </c:pt>
                <c:pt idx="2535">
                  <c:v>18.578299999999999</c:v>
                </c:pt>
                <c:pt idx="2536">
                  <c:v>18.588999999999999</c:v>
                </c:pt>
                <c:pt idx="2537">
                  <c:v>18.799900000000001</c:v>
                </c:pt>
                <c:pt idx="2538">
                  <c:v>18.9038</c:v>
                </c:pt>
                <c:pt idx="2539">
                  <c:v>18.800699999999999</c:v>
                </c:pt>
                <c:pt idx="2540">
                  <c:v>18.641500000000001</c:v>
                </c:pt>
                <c:pt idx="2541">
                  <c:v>18.763500000000001</c:v>
                </c:pt>
                <c:pt idx="2542">
                  <c:v>18.870799999999999</c:v>
                </c:pt>
                <c:pt idx="2543">
                  <c:v>18.687799999999999</c:v>
                </c:pt>
                <c:pt idx="2544">
                  <c:v>18.8398</c:v>
                </c:pt>
                <c:pt idx="2545">
                  <c:v>18.774899999999999</c:v>
                </c:pt>
                <c:pt idx="2546">
                  <c:v>18.681799999999999</c:v>
                </c:pt>
                <c:pt idx="2547">
                  <c:v>18.7547</c:v>
                </c:pt>
                <c:pt idx="2548">
                  <c:v>18.759899999999998</c:v>
                </c:pt>
                <c:pt idx="2549">
                  <c:v>18.6983</c:v>
                </c:pt>
                <c:pt idx="2550">
                  <c:v>18.8127</c:v>
                </c:pt>
                <c:pt idx="2551">
                  <c:v>18.585599999999999</c:v>
                </c:pt>
                <c:pt idx="2552">
                  <c:v>18.6022</c:v>
                </c:pt>
                <c:pt idx="2553">
                  <c:v>18.539200000000001</c:v>
                </c:pt>
                <c:pt idx="2554">
                  <c:v>18.534700000000001</c:v>
                </c:pt>
                <c:pt idx="2555">
                  <c:v>18.472200000000001</c:v>
                </c:pt>
                <c:pt idx="2556">
                  <c:v>18.581700000000001</c:v>
                </c:pt>
                <c:pt idx="2557">
                  <c:v>18.618099999999998</c:v>
                </c:pt>
                <c:pt idx="2558">
                  <c:v>18.5989</c:v>
                </c:pt>
                <c:pt idx="2559">
                  <c:v>18.584399999999999</c:v>
                </c:pt>
                <c:pt idx="2560">
                  <c:v>18.668700000000001</c:v>
                </c:pt>
                <c:pt idx="2561">
                  <c:v>18.5913</c:v>
                </c:pt>
                <c:pt idx="2562">
                  <c:v>18.540199999999999</c:v>
                </c:pt>
                <c:pt idx="2563">
                  <c:v>18.474799999999998</c:v>
                </c:pt>
                <c:pt idx="2564">
                  <c:v>18.407499999999999</c:v>
                </c:pt>
                <c:pt idx="2565">
                  <c:v>18.4054</c:v>
                </c:pt>
                <c:pt idx="2566">
                  <c:v>18.286100000000001</c:v>
                </c:pt>
                <c:pt idx="2567">
                  <c:v>18.1768</c:v>
                </c:pt>
                <c:pt idx="2568">
                  <c:v>18.099399999999999</c:v>
                </c:pt>
                <c:pt idx="2569">
                  <c:v>18.070399999999999</c:v>
                </c:pt>
                <c:pt idx="2570">
                  <c:v>18.471299999999999</c:v>
                </c:pt>
                <c:pt idx="2571">
                  <c:v>18.549199999999999</c:v>
                </c:pt>
                <c:pt idx="2572">
                  <c:v>18.758700000000001</c:v>
                </c:pt>
                <c:pt idx="2573">
                  <c:v>18.791399999999999</c:v>
                </c:pt>
                <c:pt idx="2574">
                  <c:v>18.766500000000001</c:v>
                </c:pt>
                <c:pt idx="2575">
                  <c:v>18.754799999999999</c:v>
                </c:pt>
                <c:pt idx="2576">
                  <c:v>18.8903</c:v>
                </c:pt>
                <c:pt idx="2577">
                  <c:v>18.8643</c:v>
                </c:pt>
                <c:pt idx="2578">
                  <c:v>18.955200000000001</c:v>
                </c:pt>
                <c:pt idx="2579">
                  <c:v>18.9087</c:v>
                </c:pt>
                <c:pt idx="2580">
                  <c:v>19.044899999999998</c:v>
                </c:pt>
                <c:pt idx="2581">
                  <c:v>19.098299999999998</c:v>
                </c:pt>
                <c:pt idx="2582">
                  <c:v>19.113199999999999</c:v>
                </c:pt>
                <c:pt idx="2583">
                  <c:v>19.113399999999999</c:v>
                </c:pt>
                <c:pt idx="2584">
                  <c:v>19.190300000000001</c:v>
                </c:pt>
                <c:pt idx="2585">
                  <c:v>19.093</c:v>
                </c:pt>
                <c:pt idx="2586">
                  <c:v>19.111599999999999</c:v>
                </c:pt>
                <c:pt idx="2587">
                  <c:v>19.058399999999999</c:v>
                </c:pt>
                <c:pt idx="2588">
                  <c:v>18.982299999999999</c:v>
                </c:pt>
                <c:pt idx="2589">
                  <c:v>19.002400000000002</c:v>
                </c:pt>
                <c:pt idx="2590">
                  <c:v>19.122699999999998</c:v>
                </c:pt>
                <c:pt idx="2591">
                  <c:v>19.186399999999999</c:v>
                </c:pt>
                <c:pt idx="2592">
                  <c:v>19.439499999999999</c:v>
                </c:pt>
                <c:pt idx="2593">
                  <c:v>19.507999999999999</c:v>
                </c:pt>
                <c:pt idx="2594">
                  <c:v>19.632000000000001</c:v>
                </c:pt>
                <c:pt idx="2595">
                  <c:v>19.6021</c:v>
                </c:pt>
                <c:pt idx="2596">
                  <c:v>19.731100000000001</c:v>
                </c:pt>
                <c:pt idx="2597">
                  <c:v>19.5732</c:v>
                </c:pt>
                <c:pt idx="2598">
                  <c:v>19.646899999999999</c:v>
                </c:pt>
                <c:pt idx="2599">
                  <c:v>19.617799999999999</c:v>
                </c:pt>
                <c:pt idx="2600">
                  <c:v>19.581099999999999</c:v>
                </c:pt>
                <c:pt idx="2601">
                  <c:v>19.650200000000002</c:v>
                </c:pt>
                <c:pt idx="2602">
                  <c:v>19.602799999999998</c:v>
                </c:pt>
                <c:pt idx="2603">
                  <c:v>19.5655</c:v>
                </c:pt>
                <c:pt idx="2604">
                  <c:v>19.5883</c:v>
                </c:pt>
                <c:pt idx="2605">
                  <c:v>19.584700000000002</c:v>
                </c:pt>
                <c:pt idx="2606">
                  <c:v>19.628499999999999</c:v>
                </c:pt>
                <c:pt idx="2607">
                  <c:v>19.464400000000001</c:v>
                </c:pt>
                <c:pt idx="2608">
                  <c:v>19.459900000000001</c:v>
                </c:pt>
                <c:pt idx="2609">
                  <c:v>19.368300000000001</c:v>
                </c:pt>
                <c:pt idx="2610">
                  <c:v>19.368600000000001</c:v>
                </c:pt>
                <c:pt idx="2611">
                  <c:v>19.539899999999999</c:v>
                </c:pt>
                <c:pt idx="2612">
                  <c:v>19.649999999999999</c:v>
                </c:pt>
                <c:pt idx="2613">
                  <c:v>19.636399999999998</c:v>
                </c:pt>
                <c:pt idx="2614">
                  <c:v>19.707799999999999</c:v>
                </c:pt>
                <c:pt idx="2615">
                  <c:v>19.647300000000001</c:v>
                </c:pt>
                <c:pt idx="2616">
                  <c:v>19.641400000000001</c:v>
                </c:pt>
                <c:pt idx="2617">
                  <c:v>19.689900000000002</c:v>
                </c:pt>
                <c:pt idx="2618">
                  <c:v>19.656099999999999</c:v>
                </c:pt>
                <c:pt idx="2619">
                  <c:v>19.636700000000001</c:v>
                </c:pt>
                <c:pt idx="2620">
                  <c:v>19.649100000000001</c:v>
                </c:pt>
                <c:pt idx="2621">
                  <c:v>19.601199999999999</c:v>
                </c:pt>
                <c:pt idx="2622">
                  <c:v>19.598700000000001</c:v>
                </c:pt>
                <c:pt idx="2623">
                  <c:v>19.5245</c:v>
                </c:pt>
                <c:pt idx="2624">
                  <c:v>19.609400000000001</c:v>
                </c:pt>
                <c:pt idx="2625">
                  <c:v>19.5839</c:v>
                </c:pt>
                <c:pt idx="2626">
                  <c:v>19.7746</c:v>
                </c:pt>
                <c:pt idx="2627">
                  <c:v>19.976500000000001</c:v>
                </c:pt>
                <c:pt idx="2628">
                  <c:v>20.128900000000002</c:v>
                </c:pt>
                <c:pt idx="2629">
                  <c:v>20.142199999999999</c:v>
                </c:pt>
                <c:pt idx="2630">
                  <c:v>20.0228</c:v>
                </c:pt>
                <c:pt idx="2631">
                  <c:v>20.092199999999998</c:v>
                </c:pt>
                <c:pt idx="2632">
                  <c:v>20.319299999999998</c:v>
                </c:pt>
                <c:pt idx="2633">
                  <c:v>20.4693</c:v>
                </c:pt>
                <c:pt idx="2634">
                  <c:v>20.597100000000001</c:v>
                </c:pt>
                <c:pt idx="2635">
                  <c:v>20.552800000000001</c:v>
                </c:pt>
                <c:pt idx="2636">
                  <c:v>20.575900000000001</c:v>
                </c:pt>
                <c:pt idx="2637">
                  <c:v>20.720800000000001</c:v>
                </c:pt>
                <c:pt idx="2638">
                  <c:v>17.762599999999999</c:v>
                </c:pt>
                <c:pt idx="2639">
                  <c:v>17.8278</c:v>
                </c:pt>
                <c:pt idx="2640">
                  <c:v>17.929099999999998</c:v>
                </c:pt>
                <c:pt idx="2641">
                  <c:v>17.997699999999998</c:v>
                </c:pt>
                <c:pt idx="2642">
                  <c:v>18.081</c:v>
                </c:pt>
                <c:pt idx="2643">
                  <c:v>18.069700000000001</c:v>
                </c:pt>
                <c:pt idx="2644">
                  <c:v>18.093800000000002</c:v>
                </c:pt>
                <c:pt idx="2645">
                  <c:v>18.096299999999999</c:v>
                </c:pt>
                <c:pt idx="2646">
                  <c:v>18.208600000000001</c:v>
                </c:pt>
                <c:pt idx="2647">
                  <c:v>18.1874</c:v>
                </c:pt>
                <c:pt idx="2648">
                  <c:v>18.1968</c:v>
                </c:pt>
                <c:pt idx="2649">
                  <c:v>18.228999999999999</c:v>
                </c:pt>
                <c:pt idx="2650">
                  <c:v>18.254999999999999</c:v>
                </c:pt>
                <c:pt idx="2651">
                  <c:v>18.228300000000001</c:v>
                </c:pt>
                <c:pt idx="2652">
                  <c:v>18.492799999999999</c:v>
                </c:pt>
                <c:pt idx="2653">
                  <c:v>18.395399999999999</c:v>
                </c:pt>
                <c:pt idx="2654">
                  <c:v>18.409300000000002</c:v>
                </c:pt>
                <c:pt idx="2655">
                  <c:v>18.348700000000001</c:v>
                </c:pt>
                <c:pt idx="2656">
                  <c:v>18.296900000000001</c:v>
                </c:pt>
                <c:pt idx="2657">
                  <c:v>18.257999999999999</c:v>
                </c:pt>
                <c:pt idx="2658">
                  <c:v>18.284300000000002</c:v>
                </c:pt>
                <c:pt idx="2659">
                  <c:v>18.345199999999998</c:v>
                </c:pt>
                <c:pt idx="2660">
                  <c:v>18.342300000000002</c:v>
                </c:pt>
                <c:pt idx="2661">
                  <c:v>18.2745</c:v>
                </c:pt>
                <c:pt idx="2662">
                  <c:v>18.430199999999999</c:v>
                </c:pt>
                <c:pt idx="2663">
                  <c:v>18.400200000000002</c:v>
                </c:pt>
                <c:pt idx="2664">
                  <c:v>18.374099999999999</c:v>
                </c:pt>
                <c:pt idx="2665">
                  <c:v>18.260999999999999</c:v>
                </c:pt>
                <c:pt idx="2666">
                  <c:v>18.027999999999999</c:v>
                </c:pt>
                <c:pt idx="2667">
                  <c:v>18.062200000000001</c:v>
                </c:pt>
                <c:pt idx="2668">
                  <c:v>18.034700000000001</c:v>
                </c:pt>
                <c:pt idx="2669">
                  <c:v>17.9954</c:v>
                </c:pt>
                <c:pt idx="2670">
                  <c:v>17.975200000000001</c:v>
                </c:pt>
                <c:pt idx="2671">
                  <c:v>18.1084</c:v>
                </c:pt>
                <c:pt idx="2672">
                  <c:v>18.129200000000001</c:v>
                </c:pt>
                <c:pt idx="2673">
                  <c:v>18.177900000000001</c:v>
                </c:pt>
                <c:pt idx="2674">
                  <c:v>18.1342</c:v>
                </c:pt>
                <c:pt idx="2675">
                  <c:v>18.114999999999998</c:v>
                </c:pt>
                <c:pt idx="2676">
                  <c:v>18.103400000000001</c:v>
                </c:pt>
                <c:pt idx="2677">
                  <c:v>18.057400000000001</c:v>
                </c:pt>
                <c:pt idx="2678">
                  <c:v>18.0763</c:v>
                </c:pt>
                <c:pt idx="2679">
                  <c:v>18.0625</c:v>
                </c:pt>
                <c:pt idx="2680">
                  <c:v>18.0761</c:v>
                </c:pt>
                <c:pt idx="2681">
                  <c:v>18.045500000000001</c:v>
                </c:pt>
                <c:pt idx="2682">
                  <c:v>17.981200000000001</c:v>
                </c:pt>
                <c:pt idx="2683">
                  <c:v>17.8599</c:v>
                </c:pt>
                <c:pt idx="2684">
                  <c:v>17.859000000000002</c:v>
                </c:pt>
                <c:pt idx="2685">
                  <c:v>18.007400000000001</c:v>
                </c:pt>
                <c:pt idx="2686">
                  <c:v>17.943999999999999</c:v>
                </c:pt>
                <c:pt idx="2687">
                  <c:v>17.9191</c:v>
                </c:pt>
                <c:pt idx="2688">
                  <c:v>18.054500000000001</c:v>
                </c:pt>
                <c:pt idx="2689">
                  <c:v>18.007300000000001</c:v>
                </c:pt>
                <c:pt idx="2690">
                  <c:v>18.202300000000001</c:v>
                </c:pt>
                <c:pt idx="2691">
                  <c:v>18.2959</c:v>
                </c:pt>
                <c:pt idx="2692">
                  <c:v>18.290500000000002</c:v>
                </c:pt>
                <c:pt idx="2693">
                  <c:v>18.3127</c:v>
                </c:pt>
                <c:pt idx="2694">
                  <c:v>18.263000000000002</c:v>
                </c:pt>
                <c:pt idx="2695">
                  <c:v>18.2895</c:v>
                </c:pt>
                <c:pt idx="2696">
                  <c:v>18.299700000000001</c:v>
                </c:pt>
                <c:pt idx="2697">
                  <c:v>18.279299999999999</c:v>
                </c:pt>
                <c:pt idx="2698">
                  <c:v>18.272400000000001</c:v>
                </c:pt>
                <c:pt idx="2699">
                  <c:v>18.4894</c:v>
                </c:pt>
                <c:pt idx="2700">
                  <c:v>18.4177</c:v>
                </c:pt>
                <c:pt idx="2701">
                  <c:v>18.385300000000001</c:v>
                </c:pt>
                <c:pt idx="2702">
                  <c:v>18.406700000000001</c:v>
                </c:pt>
                <c:pt idx="2703">
                  <c:v>18.374199999999998</c:v>
                </c:pt>
                <c:pt idx="2704">
                  <c:v>18.349799999999998</c:v>
                </c:pt>
                <c:pt idx="2705">
                  <c:v>18.439800000000002</c:v>
                </c:pt>
                <c:pt idx="2706">
                  <c:v>18.425599999999999</c:v>
                </c:pt>
                <c:pt idx="2707">
                  <c:v>18.093699999999998</c:v>
                </c:pt>
                <c:pt idx="2708">
                  <c:v>18.163699999999999</c:v>
                </c:pt>
                <c:pt idx="2709">
                  <c:v>18.279900000000001</c:v>
                </c:pt>
                <c:pt idx="2710">
                  <c:v>18.3687</c:v>
                </c:pt>
                <c:pt idx="2711">
                  <c:v>18.4056</c:v>
                </c:pt>
                <c:pt idx="2712">
                  <c:v>18.452100000000002</c:v>
                </c:pt>
                <c:pt idx="2713">
                  <c:v>18.540400000000002</c:v>
                </c:pt>
                <c:pt idx="2714">
                  <c:v>18.547499999999999</c:v>
                </c:pt>
                <c:pt idx="2715">
                  <c:v>18.547999999999998</c:v>
                </c:pt>
                <c:pt idx="2716">
                  <c:v>18.531199999999998</c:v>
                </c:pt>
                <c:pt idx="2717">
                  <c:v>18.532499999999999</c:v>
                </c:pt>
                <c:pt idx="2718">
                  <c:v>18.688500000000001</c:v>
                </c:pt>
                <c:pt idx="2719">
                  <c:v>18.762899999999998</c:v>
                </c:pt>
                <c:pt idx="2720">
                  <c:v>18.743500000000001</c:v>
                </c:pt>
                <c:pt idx="2721">
                  <c:v>18.687999999999999</c:v>
                </c:pt>
                <c:pt idx="2722">
                  <c:v>18.717700000000001</c:v>
                </c:pt>
                <c:pt idx="2723">
                  <c:v>18.727799999999998</c:v>
                </c:pt>
                <c:pt idx="2724">
                  <c:v>18.711400000000001</c:v>
                </c:pt>
                <c:pt idx="2725">
                  <c:v>18.691299999999998</c:v>
                </c:pt>
                <c:pt idx="2726">
                  <c:v>18.7773</c:v>
                </c:pt>
                <c:pt idx="2727">
                  <c:v>18.757000000000001</c:v>
                </c:pt>
                <c:pt idx="2728">
                  <c:v>18.7196</c:v>
                </c:pt>
                <c:pt idx="2729">
                  <c:v>18.728000000000002</c:v>
                </c:pt>
                <c:pt idx="2730">
                  <c:v>18.834099999999999</c:v>
                </c:pt>
                <c:pt idx="2731">
                  <c:v>18.7121</c:v>
                </c:pt>
                <c:pt idx="2732">
                  <c:v>18.704699999999999</c:v>
                </c:pt>
                <c:pt idx="2733">
                  <c:v>18.691400000000002</c:v>
                </c:pt>
                <c:pt idx="2734">
                  <c:v>18.720600000000001</c:v>
                </c:pt>
                <c:pt idx="2735">
                  <c:v>18.725999999999999</c:v>
                </c:pt>
                <c:pt idx="2736">
                  <c:v>18.5776</c:v>
                </c:pt>
                <c:pt idx="2737">
                  <c:v>18.7425</c:v>
                </c:pt>
                <c:pt idx="2738">
                  <c:v>18.590499999999999</c:v>
                </c:pt>
                <c:pt idx="2739">
                  <c:v>18.615200000000002</c:v>
                </c:pt>
                <c:pt idx="2740">
                  <c:v>18.668299999999999</c:v>
                </c:pt>
                <c:pt idx="2741">
                  <c:v>18.6677</c:v>
                </c:pt>
                <c:pt idx="2742">
                  <c:v>18.703299999999999</c:v>
                </c:pt>
                <c:pt idx="2743">
                  <c:v>18.526499999999999</c:v>
                </c:pt>
                <c:pt idx="2744">
                  <c:v>18.642700000000001</c:v>
                </c:pt>
                <c:pt idx="2745">
                  <c:v>18.659199999999998</c:v>
                </c:pt>
                <c:pt idx="2746">
                  <c:v>18.648599999999998</c:v>
                </c:pt>
                <c:pt idx="2747">
                  <c:v>18.785399999999999</c:v>
                </c:pt>
                <c:pt idx="2748">
                  <c:v>18.827400000000001</c:v>
                </c:pt>
                <c:pt idx="2749">
                  <c:v>18.929200000000002</c:v>
                </c:pt>
                <c:pt idx="2750">
                  <c:v>18.8613</c:v>
                </c:pt>
                <c:pt idx="2751">
                  <c:v>18.867100000000001</c:v>
                </c:pt>
                <c:pt idx="2752">
                  <c:v>18.9696</c:v>
                </c:pt>
                <c:pt idx="2753">
                  <c:v>18.962599999999998</c:v>
                </c:pt>
                <c:pt idx="2754">
                  <c:v>18.945399999999999</c:v>
                </c:pt>
                <c:pt idx="2755">
                  <c:v>18.9436</c:v>
                </c:pt>
                <c:pt idx="2756">
                  <c:v>18.999700000000001</c:v>
                </c:pt>
                <c:pt idx="2757">
                  <c:v>18.97</c:v>
                </c:pt>
                <c:pt idx="2758">
                  <c:v>18.859300000000001</c:v>
                </c:pt>
                <c:pt idx="2759">
                  <c:v>18.837299999999999</c:v>
                </c:pt>
                <c:pt idx="2760">
                  <c:v>18.8246</c:v>
                </c:pt>
                <c:pt idx="2761">
                  <c:v>18.857700000000001</c:v>
                </c:pt>
                <c:pt idx="2762">
                  <c:v>18.880400000000002</c:v>
                </c:pt>
                <c:pt idx="2763">
                  <c:v>18.786999999999999</c:v>
                </c:pt>
                <c:pt idx="2764">
                  <c:v>18.822199999999999</c:v>
                </c:pt>
                <c:pt idx="2765">
                  <c:v>18.854700000000001</c:v>
                </c:pt>
                <c:pt idx="2766">
                  <c:v>18.811199999999999</c:v>
                </c:pt>
                <c:pt idx="2767">
                  <c:v>18.806100000000001</c:v>
                </c:pt>
                <c:pt idx="2768">
                  <c:v>18.519600000000001</c:v>
                </c:pt>
                <c:pt idx="2769">
                  <c:v>18.5397</c:v>
                </c:pt>
                <c:pt idx="2770">
                  <c:v>18.728300000000001</c:v>
                </c:pt>
                <c:pt idx="2771">
                  <c:v>18.7211</c:v>
                </c:pt>
                <c:pt idx="2772">
                  <c:v>18.755299999999998</c:v>
                </c:pt>
                <c:pt idx="2773">
                  <c:v>18.469200000000001</c:v>
                </c:pt>
                <c:pt idx="2774">
                  <c:v>18.435099999999998</c:v>
                </c:pt>
                <c:pt idx="2775">
                  <c:v>18.455400000000001</c:v>
                </c:pt>
                <c:pt idx="2776">
                  <c:v>18.652699999999999</c:v>
                </c:pt>
                <c:pt idx="2777">
                  <c:v>18.589600000000001</c:v>
                </c:pt>
                <c:pt idx="2778">
                  <c:v>18.573699999999999</c:v>
                </c:pt>
                <c:pt idx="2779">
                  <c:v>18.602699999999999</c:v>
                </c:pt>
                <c:pt idx="2780">
                  <c:v>18.6175</c:v>
                </c:pt>
                <c:pt idx="2781">
                  <c:v>18.629000000000001</c:v>
                </c:pt>
                <c:pt idx="2782">
                  <c:v>18.716699999999999</c:v>
                </c:pt>
                <c:pt idx="2783">
                  <c:v>18.825900000000001</c:v>
                </c:pt>
                <c:pt idx="2784">
                  <c:v>18.889299999999999</c:v>
                </c:pt>
                <c:pt idx="2785">
                  <c:v>18.889399999999998</c:v>
                </c:pt>
                <c:pt idx="2786">
                  <c:v>18.764700000000001</c:v>
                </c:pt>
                <c:pt idx="2787">
                  <c:v>18.831499999999998</c:v>
                </c:pt>
                <c:pt idx="2788">
                  <c:v>18.825800000000001</c:v>
                </c:pt>
                <c:pt idx="2789">
                  <c:v>18.7928</c:v>
                </c:pt>
                <c:pt idx="2790">
                  <c:v>19.006900000000002</c:v>
                </c:pt>
                <c:pt idx="2791">
                  <c:v>19.078700000000001</c:v>
                </c:pt>
                <c:pt idx="2792">
                  <c:v>19.090199999999999</c:v>
                </c:pt>
                <c:pt idx="2793">
                  <c:v>19.067299999999999</c:v>
                </c:pt>
                <c:pt idx="2794">
                  <c:v>19.1036</c:v>
                </c:pt>
                <c:pt idx="2795">
                  <c:v>19.113199999999999</c:v>
                </c:pt>
                <c:pt idx="2796">
                  <c:v>19.141100000000002</c:v>
                </c:pt>
                <c:pt idx="2797">
                  <c:v>19.155000000000001</c:v>
                </c:pt>
                <c:pt idx="2798">
                  <c:v>19.097999999999999</c:v>
                </c:pt>
                <c:pt idx="2799">
                  <c:v>19.115400000000001</c:v>
                </c:pt>
                <c:pt idx="2800">
                  <c:v>19.072700000000001</c:v>
                </c:pt>
                <c:pt idx="2801">
                  <c:v>19.065899999999999</c:v>
                </c:pt>
                <c:pt idx="2802">
                  <c:v>19.150300000000001</c:v>
                </c:pt>
                <c:pt idx="2803">
                  <c:v>19.180700000000002</c:v>
                </c:pt>
                <c:pt idx="2804">
                  <c:v>19.257200000000001</c:v>
                </c:pt>
                <c:pt idx="2805">
                  <c:v>19.347799999999999</c:v>
                </c:pt>
                <c:pt idx="2806">
                  <c:v>19.3903</c:v>
                </c:pt>
                <c:pt idx="2807">
                  <c:v>19.41</c:v>
                </c:pt>
                <c:pt idx="2808">
                  <c:v>19.5367</c:v>
                </c:pt>
                <c:pt idx="2809">
                  <c:v>19.514399999999998</c:v>
                </c:pt>
                <c:pt idx="2810">
                  <c:v>19.489599999999999</c:v>
                </c:pt>
                <c:pt idx="2811">
                  <c:v>19.547000000000001</c:v>
                </c:pt>
                <c:pt idx="2812">
                  <c:v>19.5961</c:v>
                </c:pt>
                <c:pt idx="2813">
                  <c:v>19.558</c:v>
                </c:pt>
                <c:pt idx="2814">
                  <c:v>19.5579</c:v>
                </c:pt>
                <c:pt idx="2815">
                  <c:v>19.594000000000001</c:v>
                </c:pt>
                <c:pt idx="2816">
                  <c:v>19.603000000000002</c:v>
                </c:pt>
                <c:pt idx="2817">
                  <c:v>19.6175</c:v>
                </c:pt>
                <c:pt idx="2818">
                  <c:v>19.621200000000002</c:v>
                </c:pt>
                <c:pt idx="2819">
                  <c:v>19.730799999999999</c:v>
                </c:pt>
                <c:pt idx="2820">
                  <c:v>19.701499999999999</c:v>
                </c:pt>
                <c:pt idx="2821">
                  <c:v>19.719899999999999</c:v>
                </c:pt>
                <c:pt idx="2822">
                  <c:v>19.6128</c:v>
                </c:pt>
                <c:pt idx="2823">
                  <c:v>19.617699999999999</c:v>
                </c:pt>
                <c:pt idx="2824">
                  <c:v>19.742000000000001</c:v>
                </c:pt>
                <c:pt idx="2825">
                  <c:v>19.670500000000001</c:v>
                </c:pt>
                <c:pt idx="2826">
                  <c:v>19.688700000000001</c:v>
                </c:pt>
                <c:pt idx="2827">
                  <c:v>19.724499999999999</c:v>
                </c:pt>
                <c:pt idx="2828">
                  <c:v>19.706</c:v>
                </c:pt>
                <c:pt idx="2829">
                  <c:v>19.822700000000001</c:v>
                </c:pt>
                <c:pt idx="2830">
                  <c:v>19.8645</c:v>
                </c:pt>
                <c:pt idx="2831">
                  <c:v>19.855899999999998</c:v>
                </c:pt>
                <c:pt idx="2832">
                  <c:v>19.888999999999999</c:v>
                </c:pt>
                <c:pt idx="2833">
                  <c:v>19.820499999999999</c:v>
                </c:pt>
                <c:pt idx="2834">
                  <c:v>19.7987</c:v>
                </c:pt>
                <c:pt idx="2835">
                  <c:v>19.831199999999999</c:v>
                </c:pt>
                <c:pt idx="2836">
                  <c:v>19.8095</c:v>
                </c:pt>
                <c:pt idx="2837">
                  <c:v>19.706900000000001</c:v>
                </c:pt>
                <c:pt idx="2838">
                  <c:v>19.812100000000001</c:v>
                </c:pt>
                <c:pt idx="2839">
                  <c:v>19.736599999999999</c:v>
                </c:pt>
                <c:pt idx="2840">
                  <c:v>19.760899999999999</c:v>
                </c:pt>
                <c:pt idx="2841">
                  <c:v>19.904299999999999</c:v>
                </c:pt>
                <c:pt idx="2842">
                  <c:v>19.886600000000001</c:v>
                </c:pt>
                <c:pt idx="2843">
                  <c:v>19.885300000000001</c:v>
                </c:pt>
                <c:pt idx="2844">
                  <c:v>19.9267</c:v>
                </c:pt>
                <c:pt idx="2845">
                  <c:v>19.918900000000001</c:v>
                </c:pt>
                <c:pt idx="2846">
                  <c:v>20.114899999999999</c:v>
                </c:pt>
                <c:pt idx="2847">
                  <c:v>20.107199999999999</c:v>
                </c:pt>
                <c:pt idx="2848">
                  <c:v>20.267800000000001</c:v>
                </c:pt>
                <c:pt idx="2849">
                  <c:v>20.220400000000001</c:v>
                </c:pt>
                <c:pt idx="2850">
                  <c:v>20.1997</c:v>
                </c:pt>
                <c:pt idx="2851">
                  <c:v>20.119399999999999</c:v>
                </c:pt>
                <c:pt idx="2852">
                  <c:v>20.142199999999999</c:v>
                </c:pt>
                <c:pt idx="2853">
                  <c:v>20.204699999999999</c:v>
                </c:pt>
                <c:pt idx="2854">
                  <c:v>20.315200000000001</c:v>
                </c:pt>
                <c:pt idx="2855">
                  <c:v>20.377400000000002</c:v>
                </c:pt>
                <c:pt idx="2856">
                  <c:v>20.4056</c:v>
                </c:pt>
                <c:pt idx="2857">
                  <c:v>20.396699999999999</c:v>
                </c:pt>
                <c:pt idx="2858">
                  <c:v>20.321999999999999</c:v>
                </c:pt>
                <c:pt idx="2859">
                  <c:v>20.503499999999999</c:v>
                </c:pt>
                <c:pt idx="2860">
                  <c:v>20.553899999999999</c:v>
                </c:pt>
                <c:pt idx="2861">
                  <c:v>20.476299999999998</c:v>
                </c:pt>
                <c:pt idx="2862">
                  <c:v>20.4526</c:v>
                </c:pt>
                <c:pt idx="2863">
                  <c:v>20.489799999999999</c:v>
                </c:pt>
                <c:pt idx="2864">
                  <c:v>20.480399999999999</c:v>
                </c:pt>
                <c:pt idx="2865">
                  <c:v>20.480399999999999</c:v>
                </c:pt>
                <c:pt idx="2866">
                  <c:v>20.453700000000001</c:v>
                </c:pt>
                <c:pt idx="2867">
                  <c:v>20.470500000000001</c:v>
                </c:pt>
                <c:pt idx="2868">
                  <c:v>20.507899999999999</c:v>
                </c:pt>
                <c:pt idx="2869">
                  <c:v>20.400500000000001</c:v>
                </c:pt>
                <c:pt idx="2870">
                  <c:v>20.400400000000001</c:v>
                </c:pt>
                <c:pt idx="2871">
                  <c:v>20.5687</c:v>
                </c:pt>
                <c:pt idx="2872">
                  <c:v>20.707599999999999</c:v>
                </c:pt>
                <c:pt idx="2873">
                  <c:v>20.796700000000001</c:v>
                </c:pt>
                <c:pt idx="2874">
                  <c:v>20.952300000000001</c:v>
                </c:pt>
                <c:pt idx="2875">
                  <c:v>20.981100000000001</c:v>
                </c:pt>
                <c:pt idx="2876">
                  <c:v>21.005199999999999</c:v>
                </c:pt>
                <c:pt idx="2877">
                  <c:v>20.969000000000001</c:v>
                </c:pt>
                <c:pt idx="2878">
                  <c:v>21.111000000000001</c:v>
                </c:pt>
                <c:pt idx="2879">
                  <c:v>21.280100000000001</c:v>
                </c:pt>
                <c:pt idx="2880">
                  <c:v>21.281500000000001</c:v>
                </c:pt>
                <c:pt idx="2881">
                  <c:v>21.211099999999998</c:v>
                </c:pt>
                <c:pt idx="2882">
                  <c:v>21.386500000000002</c:v>
                </c:pt>
                <c:pt idx="2883">
                  <c:v>21.34</c:v>
                </c:pt>
                <c:pt idx="2884">
                  <c:v>21.427499999999998</c:v>
                </c:pt>
                <c:pt idx="2885">
                  <c:v>21.607500000000002</c:v>
                </c:pt>
                <c:pt idx="2886">
                  <c:v>21.682099999999998</c:v>
                </c:pt>
                <c:pt idx="2887">
                  <c:v>21.7395</c:v>
                </c:pt>
                <c:pt idx="2888">
                  <c:v>21.788599999999999</c:v>
                </c:pt>
                <c:pt idx="2889">
                  <c:v>22.0504</c:v>
                </c:pt>
                <c:pt idx="2890">
                  <c:v>21.901599999999998</c:v>
                </c:pt>
                <c:pt idx="2891">
                  <c:v>21.770499999999998</c:v>
                </c:pt>
                <c:pt idx="2892">
                  <c:v>21.9819</c:v>
                </c:pt>
                <c:pt idx="2893">
                  <c:v>22.156600000000001</c:v>
                </c:pt>
                <c:pt idx="2894">
                  <c:v>21.732199999999999</c:v>
                </c:pt>
                <c:pt idx="2895">
                  <c:v>20.828600000000002</c:v>
                </c:pt>
                <c:pt idx="2896">
                  <c:v>21.2256</c:v>
                </c:pt>
                <c:pt idx="2897">
                  <c:v>21.113299999999999</c:v>
                </c:pt>
                <c:pt idx="2898">
                  <c:v>20.395399999999999</c:v>
                </c:pt>
                <c:pt idx="2899">
                  <c:v>20.716200000000001</c:v>
                </c:pt>
                <c:pt idx="2900">
                  <c:v>21.0106</c:v>
                </c:pt>
                <c:pt idx="2901">
                  <c:v>21.097000000000001</c:v>
                </c:pt>
                <c:pt idx="2902">
                  <c:v>21.363900000000001</c:v>
                </c:pt>
                <c:pt idx="2903">
                  <c:v>21.6158</c:v>
                </c:pt>
                <c:pt idx="2904">
                  <c:v>21.766999999999999</c:v>
                </c:pt>
                <c:pt idx="2905">
                  <c:v>21.766200000000001</c:v>
                </c:pt>
                <c:pt idx="2906">
                  <c:v>17.295500000000001</c:v>
                </c:pt>
                <c:pt idx="2907">
                  <c:v>17.203299999999999</c:v>
                </c:pt>
                <c:pt idx="2908">
                  <c:v>17.222200000000001</c:v>
                </c:pt>
                <c:pt idx="2909">
                  <c:v>17.493500000000001</c:v>
                </c:pt>
                <c:pt idx="2910">
                  <c:v>17.690100000000001</c:v>
                </c:pt>
                <c:pt idx="2911">
                  <c:v>17.464700000000001</c:v>
                </c:pt>
                <c:pt idx="2912">
                  <c:v>17.2712</c:v>
                </c:pt>
                <c:pt idx="2913">
                  <c:v>17.034700000000001</c:v>
                </c:pt>
                <c:pt idx="2914">
                  <c:v>17.124600000000001</c:v>
                </c:pt>
                <c:pt idx="2915">
                  <c:v>17.310700000000001</c:v>
                </c:pt>
                <c:pt idx="2916">
                  <c:v>17.351900000000001</c:v>
                </c:pt>
                <c:pt idx="2917">
                  <c:v>17.354600000000001</c:v>
                </c:pt>
                <c:pt idx="2918">
                  <c:v>17.433499999999999</c:v>
                </c:pt>
                <c:pt idx="2919">
                  <c:v>17.737100000000002</c:v>
                </c:pt>
                <c:pt idx="2920">
                  <c:v>17.7044</c:v>
                </c:pt>
                <c:pt idx="2921">
                  <c:v>17.590399999999999</c:v>
                </c:pt>
                <c:pt idx="2922">
                  <c:v>17.488800000000001</c:v>
                </c:pt>
                <c:pt idx="2923">
                  <c:v>17.481000000000002</c:v>
                </c:pt>
                <c:pt idx="2924">
                  <c:v>17.509399999999999</c:v>
                </c:pt>
                <c:pt idx="2925">
                  <c:v>17.215499999999999</c:v>
                </c:pt>
                <c:pt idx="2926">
                  <c:v>17.236699999999999</c:v>
                </c:pt>
                <c:pt idx="2927">
                  <c:v>17.204999999999998</c:v>
                </c:pt>
                <c:pt idx="2928">
                  <c:v>16.7654</c:v>
                </c:pt>
                <c:pt idx="2929">
                  <c:v>16.4068</c:v>
                </c:pt>
                <c:pt idx="2930">
                  <c:v>16.8566</c:v>
                </c:pt>
                <c:pt idx="2931">
                  <c:v>16.575299999999999</c:v>
                </c:pt>
                <c:pt idx="2932">
                  <c:v>16.5273</c:v>
                </c:pt>
                <c:pt idx="2933">
                  <c:v>16.7559</c:v>
                </c:pt>
                <c:pt idx="2934">
                  <c:v>16.7559</c:v>
                </c:pt>
                <c:pt idx="2935">
                  <c:v>16.3825</c:v>
                </c:pt>
                <c:pt idx="2936">
                  <c:v>16.587900000000001</c:v>
                </c:pt>
                <c:pt idx="2937">
                  <c:v>16.7819</c:v>
                </c:pt>
                <c:pt idx="2938">
                  <c:v>16.901299999999999</c:v>
                </c:pt>
                <c:pt idx="2939">
                  <c:v>16.5291</c:v>
                </c:pt>
                <c:pt idx="2940">
                  <c:v>16.5839</c:v>
                </c:pt>
                <c:pt idx="2941">
                  <c:v>16.862300000000001</c:v>
                </c:pt>
                <c:pt idx="2942">
                  <c:v>16.7577</c:v>
                </c:pt>
                <c:pt idx="2943">
                  <c:v>16.884399999999999</c:v>
                </c:pt>
                <c:pt idx="2944">
                  <c:v>16.838999999999999</c:v>
                </c:pt>
                <c:pt idx="2945">
                  <c:v>16.982500000000002</c:v>
                </c:pt>
                <c:pt idx="2946">
                  <c:v>17.167899999999999</c:v>
                </c:pt>
                <c:pt idx="2947">
                  <c:v>17.166899999999998</c:v>
                </c:pt>
                <c:pt idx="2948">
                  <c:v>17.058499999999999</c:v>
                </c:pt>
                <c:pt idx="2949">
                  <c:v>16.908200000000001</c:v>
                </c:pt>
                <c:pt idx="2950">
                  <c:v>16.912400000000002</c:v>
                </c:pt>
                <c:pt idx="2951">
                  <c:v>16.676300000000001</c:v>
                </c:pt>
                <c:pt idx="2952">
                  <c:v>16.690799999999999</c:v>
                </c:pt>
                <c:pt idx="2953">
                  <c:v>16.824400000000001</c:v>
                </c:pt>
                <c:pt idx="2954">
                  <c:v>16.787400000000002</c:v>
                </c:pt>
                <c:pt idx="2955">
                  <c:v>16.650500000000001</c:v>
                </c:pt>
                <c:pt idx="2956">
                  <c:v>16.680599999999998</c:v>
                </c:pt>
                <c:pt idx="2957">
                  <c:v>16.546800000000001</c:v>
                </c:pt>
                <c:pt idx="2958">
                  <c:v>16.516400000000001</c:v>
                </c:pt>
                <c:pt idx="2959">
                  <c:v>16.731999999999999</c:v>
                </c:pt>
                <c:pt idx="2960">
                  <c:v>16.785699999999999</c:v>
                </c:pt>
                <c:pt idx="2961">
                  <c:v>16.778199999999998</c:v>
                </c:pt>
                <c:pt idx="2962">
                  <c:v>16.935500000000001</c:v>
                </c:pt>
                <c:pt idx="2963">
                  <c:v>17.085599999999999</c:v>
                </c:pt>
                <c:pt idx="2964">
                  <c:v>17.1233</c:v>
                </c:pt>
                <c:pt idx="2965">
                  <c:v>17.128799999999998</c:v>
                </c:pt>
                <c:pt idx="2966">
                  <c:v>17.0047</c:v>
                </c:pt>
                <c:pt idx="2967">
                  <c:v>17.077200000000001</c:v>
                </c:pt>
                <c:pt idx="2968">
                  <c:v>17.0579</c:v>
                </c:pt>
                <c:pt idx="2969">
                  <c:v>17.011900000000001</c:v>
                </c:pt>
                <c:pt idx="2970">
                  <c:v>17.135400000000001</c:v>
                </c:pt>
                <c:pt idx="2971">
                  <c:v>17.0701</c:v>
                </c:pt>
                <c:pt idx="2972">
                  <c:v>17.121400000000001</c:v>
                </c:pt>
                <c:pt idx="2973">
                  <c:v>17.096</c:v>
                </c:pt>
                <c:pt idx="2974">
                  <c:v>17.0548</c:v>
                </c:pt>
                <c:pt idx="2975">
                  <c:v>17.054600000000001</c:v>
                </c:pt>
                <c:pt idx="2976">
                  <c:v>16.858899999999998</c:v>
                </c:pt>
                <c:pt idx="2977">
                  <c:v>17.062999999999999</c:v>
                </c:pt>
                <c:pt idx="2978">
                  <c:v>16.9648</c:v>
                </c:pt>
                <c:pt idx="2979">
                  <c:v>17.136600000000001</c:v>
                </c:pt>
                <c:pt idx="2980">
                  <c:v>17.2134</c:v>
                </c:pt>
                <c:pt idx="2981">
                  <c:v>17.223400000000002</c:v>
                </c:pt>
                <c:pt idx="2982">
                  <c:v>17.372399999999999</c:v>
                </c:pt>
                <c:pt idx="2983">
                  <c:v>17.363499999999998</c:v>
                </c:pt>
                <c:pt idx="2984">
                  <c:v>17.411799999999999</c:v>
                </c:pt>
                <c:pt idx="2985">
                  <c:v>17.417100000000001</c:v>
                </c:pt>
                <c:pt idx="2986">
                  <c:v>17.448</c:v>
                </c:pt>
                <c:pt idx="2987">
                  <c:v>17.377400000000002</c:v>
                </c:pt>
                <c:pt idx="2988">
                  <c:v>17.4068</c:v>
                </c:pt>
                <c:pt idx="2989">
                  <c:v>17.385200000000001</c:v>
                </c:pt>
                <c:pt idx="2990">
                  <c:v>17.3127</c:v>
                </c:pt>
                <c:pt idx="2991">
                  <c:v>17.239799999999999</c:v>
                </c:pt>
                <c:pt idx="2992">
                  <c:v>17.256599999999999</c:v>
                </c:pt>
                <c:pt idx="2993">
                  <c:v>17.139500000000002</c:v>
                </c:pt>
                <c:pt idx="2994">
                  <c:v>17.173100000000002</c:v>
                </c:pt>
                <c:pt idx="2995">
                  <c:v>16.927800000000001</c:v>
                </c:pt>
                <c:pt idx="2996">
                  <c:v>16.962</c:v>
                </c:pt>
                <c:pt idx="2997">
                  <c:v>16.811399999999999</c:v>
                </c:pt>
                <c:pt idx="2998">
                  <c:v>16.912099999999999</c:v>
                </c:pt>
                <c:pt idx="2999">
                  <c:v>16.927600000000002</c:v>
                </c:pt>
                <c:pt idx="3000">
                  <c:v>16.977900000000002</c:v>
                </c:pt>
                <c:pt idx="3001">
                  <c:v>16.895399999999999</c:v>
                </c:pt>
                <c:pt idx="3002">
                  <c:v>16.895199999999999</c:v>
                </c:pt>
                <c:pt idx="3003">
                  <c:v>17.0413</c:v>
                </c:pt>
                <c:pt idx="3004">
                  <c:v>17.187999999999999</c:v>
                </c:pt>
                <c:pt idx="3005">
                  <c:v>17.343</c:v>
                </c:pt>
                <c:pt idx="3006">
                  <c:v>17.400500000000001</c:v>
                </c:pt>
                <c:pt idx="3007">
                  <c:v>17.2761</c:v>
                </c:pt>
                <c:pt idx="3008">
                  <c:v>17.428799999999999</c:v>
                </c:pt>
                <c:pt idx="3009">
                  <c:v>17.447700000000001</c:v>
                </c:pt>
                <c:pt idx="3010">
                  <c:v>17.425000000000001</c:v>
                </c:pt>
                <c:pt idx="3011">
                  <c:v>17.499700000000001</c:v>
                </c:pt>
                <c:pt idx="3012">
                  <c:v>17.523499999999999</c:v>
                </c:pt>
                <c:pt idx="3013">
                  <c:v>17.440200000000001</c:v>
                </c:pt>
                <c:pt idx="3014">
                  <c:v>17.418399999999998</c:v>
                </c:pt>
                <c:pt idx="3015">
                  <c:v>17.4467</c:v>
                </c:pt>
                <c:pt idx="3016">
                  <c:v>17.526900000000001</c:v>
                </c:pt>
                <c:pt idx="3017">
                  <c:v>17.6769</c:v>
                </c:pt>
                <c:pt idx="3018">
                  <c:v>17.627099999999999</c:v>
                </c:pt>
                <c:pt idx="3019">
                  <c:v>17.501100000000001</c:v>
                </c:pt>
                <c:pt idx="3020">
                  <c:v>17.409600000000001</c:v>
                </c:pt>
                <c:pt idx="3021">
                  <c:v>17.474399999999999</c:v>
                </c:pt>
                <c:pt idx="3022">
                  <c:v>17.4559</c:v>
                </c:pt>
                <c:pt idx="3023">
                  <c:v>17.541899999999998</c:v>
                </c:pt>
                <c:pt idx="3024">
                  <c:v>17.645600000000002</c:v>
                </c:pt>
                <c:pt idx="3025">
                  <c:v>17.708100000000002</c:v>
                </c:pt>
                <c:pt idx="3026">
                  <c:v>17.761700000000001</c:v>
                </c:pt>
                <c:pt idx="3027">
                  <c:v>17.752400000000002</c:v>
                </c:pt>
                <c:pt idx="3028">
                  <c:v>17.727399999999999</c:v>
                </c:pt>
                <c:pt idx="3029">
                  <c:v>17.5962</c:v>
                </c:pt>
                <c:pt idx="3030">
                  <c:v>17.529800000000002</c:v>
                </c:pt>
                <c:pt idx="3031">
                  <c:v>17.638400000000001</c:v>
                </c:pt>
                <c:pt idx="3032">
                  <c:v>17.502600000000001</c:v>
                </c:pt>
                <c:pt idx="3033">
                  <c:v>17.641999999999999</c:v>
                </c:pt>
                <c:pt idx="3034">
                  <c:v>17.7027</c:v>
                </c:pt>
                <c:pt idx="3035">
                  <c:v>17.747399999999999</c:v>
                </c:pt>
                <c:pt idx="3036">
                  <c:v>17.7913</c:v>
                </c:pt>
                <c:pt idx="3037">
                  <c:v>17.788499999999999</c:v>
                </c:pt>
                <c:pt idx="3038">
                  <c:v>17.756499999999999</c:v>
                </c:pt>
                <c:pt idx="3039">
                  <c:v>17.8689</c:v>
                </c:pt>
                <c:pt idx="3040">
                  <c:v>18.0063</c:v>
                </c:pt>
                <c:pt idx="3041">
                  <c:v>18.016300000000001</c:v>
                </c:pt>
                <c:pt idx="3042">
                  <c:v>18.122599999999998</c:v>
                </c:pt>
                <c:pt idx="3043">
                  <c:v>18.043299999999999</c:v>
                </c:pt>
                <c:pt idx="3044">
                  <c:v>18.0473</c:v>
                </c:pt>
                <c:pt idx="3045">
                  <c:v>18.047000000000001</c:v>
                </c:pt>
                <c:pt idx="3046">
                  <c:v>18.014500000000002</c:v>
                </c:pt>
                <c:pt idx="3047">
                  <c:v>17.964600000000001</c:v>
                </c:pt>
                <c:pt idx="3048">
                  <c:v>17.910599999999999</c:v>
                </c:pt>
                <c:pt idx="3049">
                  <c:v>17.871099999999998</c:v>
                </c:pt>
                <c:pt idx="3050">
                  <c:v>17.9026</c:v>
                </c:pt>
                <c:pt idx="3051">
                  <c:v>17.965199999999999</c:v>
                </c:pt>
                <c:pt idx="3052">
                  <c:v>17.971900000000002</c:v>
                </c:pt>
                <c:pt idx="3053">
                  <c:v>18.067900000000002</c:v>
                </c:pt>
                <c:pt idx="3054">
                  <c:v>18.076000000000001</c:v>
                </c:pt>
                <c:pt idx="3055">
                  <c:v>17.987300000000001</c:v>
                </c:pt>
                <c:pt idx="3056">
                  <c:v>18.087299999999999</c:v>
                </c:pt>
                <c:pt idx="3057">
                  <c:v>18.11</c:v>
                </c:pt>
                <c:pt idx="3058">
                  <c:v>18.252099999999999</c:v>
                </c:pt>
                <c:pt idx="3059">
                  <c:v>18.248899999999999</c:v>
                </c:pt>
                <c:pt idx="3060">
                  <c:v>18.091000000000001</c:v>
                </c:pt>
                <c:pt idx="3061">
                  <c:v>18.070799999999998</c:v>
                </c:pt>
                <c:pt idx="3062">
                  <c:v>18.014900000000001</c:v>
                </c:pt>
                <c:pt idx="3063">
                  <c:v>18.067599999999999</c:v>
                </c:pt>
                <c:pt idx="3064">
                  <c:v>18.066400000000002</c:v>
                </c:pt>
                <c:pt idx="3065">
                  <c:v>18.128699999999998</c:v>
                </c:pt>
                <c:pt idx="3066">
                  <c:v>18.126100000000001</c:v>
                </c:pt>
                <c:pt idx="3067">
                  <c:v>18.1402</c:v>
                </c:pt>
                <c:pt idx="3068">
                  <c:v>17.9909</c:v>
                </c:pt>
                <c:pt idx="3069">
                  <c:v>17.891999999999999</c:v>
                </c:pt>
                <c:pt idx="3070">
                  <c:v>17.883600000000001</c:v>
                </c:pt>
                <c:pt idx="3071">
                  <c:v>17.855799999999999</c:v>
                </c:pt>
                <c:pt idx="3072">
                  <c:v>17.273099999999999</c:v>
                </c:pt>
                <c:pt idx="3073">
                  <c:v>16.9284</c:v>
                </c:pt>
                <c:pt idx="3074">
                  <c:v>17.1629</c:v>
                </c:pt>
                <c:pt idx="3075">
                  <c:v>17.0563</c:v>
                </c:pt>
                <c:pt idx="3076">
                  <c:v>17.426600000000001</c:v>
                </c:pt>
                <c:pt idx="3077">
                  <c:v>17.417999999999999</c:v>
                </c:pt>
                <c:pt idx="3078">
                  <c:v>17.170100000000001</c:v>
                </c:pt>
                <c:pt idx="3079">
                  <c:v>17.167999999999999</c:v>
                </c:pt>
                <c:pt idx="3080">
                  <c:v>17.093900000000001</c:v>
                </c:pt>
                <c:pt idx="3081">
                  <c:v>16.998000000000001</c:v>
                </c:pt>
                <c:pt idx="3082">
                  <c:v>16.4541</c:v>
                </c:pt>
                <c:pt idx="3083">
                  <c:v>16.749700000000001</c:v>
                </c:pt>
                <c:pt idx="3084">
                  <c:v>16.4572</c:v>
                </c:pt>
                <c:pt idx="3085">
                  <c:v>16.3462</c:v>
                </c:pt>
                <c:pt idx="3086">
                  <c:v>16.597100000000001</c:v>
                </c:pt>
                <c:pt idx="3087">
                  <c:v>16.770700000000001</c:v>
                </c:pt>
                <c:pt idx="3088">
                  <c:v>16.943300000000001</c:v>
                </c:pt>
                <c:pt idx="3089">
                  <c:v>16.8568</c:v>
                </c:pt>
                <c:pt idx="3090">
                  <c:v>16.938300000000002</c:v>
                </c:pt>
                <c:pt idx="3091">
                  <c:v>17.044699999999999</c:v>
                </c:pt>
                <c:pt idx="3092">
                  <c:v>17.412299999999998</c:v>
                </c:pt>
                <c:pt idx="3093">
                  <c:v>17.368200000000002</c:v>
                </c:pt>
                <c:pt idx="3094">
                  <c:v>17.211500000000001</c:v>
                </c:pt>
                <c:pt idx="3095">
                  <c:v>16.871400000000001</c:v>
                </c:pt>
                <c:pt idx="3096">
                  <c:v>16.849</c:v>
                </c:pt>
                <c:pt idx="3097">
                  <c:v>16.721599999999999</c:v>
                </c:pt>
                <c:pt idx="3098">
                  <c:v>16.906600000000001</c:v>
                </c:pt>
                <c:pt idx="3099">
                  <c:v>16.9498</c:v>
                </c:pt>
                <c:pt idx="3100">
                  <c:v>16.695</c:v>
                </c:pt>
                <c:pt idx="3101">
                  <c:v>16.399000000000001</c:v>
                </c:pt>
                <c:pt idx="3102">
                  <c:v>16.447900000000001</c:v>
                </c:pt>
                <c:pt idx="3103">
                  <c:v>16.4482</c:v>
                </c:pt>
                <c:pt idx="3104">
                  <c:v>16.340299999999999</c:v>
                </c:pt>
                <c:pt idx="3105">
                  <c:v>16.6005</c:v>
                </c:pt>
                <c:pt idx="3106">
                  <c:v>16.662199999999999</c:v>
                </c:pt>
                <c:pt idx="3107">
                  <c:v>17.051100000000002</c:v>
                </c:pt>
                <c:pt idx="3108">
                  <c:v>17.013400000000001</c:v>
                </c:pt>
                <c:pt idx="3109">
                  <c:v>17.151900000000001</c:v>
                </c:pt>
                <c:pt idx="3110">
                  <c:v>17.366399999999999</c:v>
                </c:pt>
                <c:pt idx="3111">
                  <c:v>16.818999999999999</c:v>
                </c:pt>
                <c:pt idx="3112">
                  <c:v>16.820699999999999</c:v>
                </c:pt>
                <c:pt idx="3113">
                  <c:v>16.815799999999999</c:v>
                </c:pt>
                <c:pt idx="3114">
                  <c:v>16.437100000000001</c:v>
                </c:pt>
                <c:pt idx="3115">
                  <c:v>16.465199999999999</c:v>
                </c:pt>
                <c:pt idx="3116">
                  <c:v>16.460999999999999</c:v>
                </c:pt>
                <c:pt idx="3117">
                  <c:v>16.537299999999998</c:v>
                </c:pt>
                <c:pt idx="3118">
                  <c:v>16.541499999999999</c:v>
                </c:pt>
                <c:pt idx="3119">
                  <c:v>16.227799999999998</c:v>
                </c:pt>
                <c:pt idx="3120">
                  <c:v>15.898300000000001</c:v>
                </c:pt>
                <c:pt idx="3121">
                  <c:v>15.9056</c:v>
                </c:pt>
                <c:pt idx="3122">
                  <c:v>15.666399999999999</c:v>
                </c:pt>
                <c:pt idx="3123">
                  <c:v>15.4245</c:v>
                </c:pt>
                <c:pt idx="3124">
                  <c:v>15.1183</c:v>
                </c:pt>
                <c:pt idx="3125">
                  <c:v>14.6775</c:v>
                </c:pt>
                <c:pt idx="3126">
                  <c:v>14.6775</c:v>
                </c:pt>
                <c:pt idx="3127">
                  <c:v>15.405799999999999</c:v>
                </c:pt>
                <c:pt idx="3128">
                  <c:v>15.5383</c:v>
                </c:pt>
                <c:pt idx="3129">
                  <c:v>15.519299999999999</c:v>
                </c:pt>
                <c:pt idx="3130">
                  <c:v>15.651999999999999</c:v>
                </c:pt>
                <c:pt idx="3131">
                  <c:v>15.651999999999999</c:v>
                </c:pt>
                <c:pt idx="3132">
                  <c:v>15.6829</c:v>
                </c:pt>
                <c:pt idx="3133">
                  <c:v>15.315</c:v>
                </c:pt>
                <c:pt idx="3134">
                  <c:v>15.8451</c:v>
                </c:pt>
                <c:pt idx="3135">
                  <c:v>15.956300000000001</c:v>
                </c:pt>
                <c:pt idx="3136">
                  <c:v>16.105799999999999</c:v>
                </c:pt>
                <c:pt idx="3137">
                  <c:v>16.172699999999999</c:v>
                </c:pt>
                <c:pt idx="3138">
                  <c:v>16.25</c:v>
                </c:pt>
                <c:pt idx="3139">
                  <c:v>16.251000000000001</c:v>
                </c:pt>
                <c:pt idx="3140">
                  <c:v>16.170000000000002</c:v>
                </c:pt>
                <c:pt idx="3141">
                  <c:v>16.3687</c:v>
                </c:pt>
                <c:pt idx="3142">
                  <c:v>16.389800000000001</c:v>
                </c:pt>
                <c:pt idx="3143">
                  <c:v>16.519100000000002</c:v>
                </c:pt>
                <c:pt idx="3144">
                  <c:v>16.738299999999999</c:v>
                </c:pt>
                <c:pt idx="3145">
                  <c:v>16.740600000000001</c:v>
                </c:pt>
                <c:pt idx="3146">
                  <c:v>16.525600000000001</c:v>
                </c:pt>
                <c:pt idx="3147">
                  <c:v>16.588000000000001</c:v>
                </c:pt>
                <c:pt idx="3148">
                  <c:v>16.615300000000001</c:v>
                </c:pt>
                <c:pt idx="3149">
                  <c:v>16.775500000000001</c:v>
                </c:pt>
                <c:pt idx="3150">
                  <c:v>16.635999999999999</c:v>
                </c:pt>
                <c:pt idx="3151">
                  <c:v>16.782399999999999</c:v>
                </c:pt>
                <c:pt idx="3152">
                  <c:v>17.150400000000001</c:v>
                </c:pt>
                <c:pt idx="3153">
                  <c:v>17.369800000000001</c:v>
                </c:pt>
                <c:pt idx="3154">
                  <c:v>17.3596</c:v>
                </c:pt>
                <c:pt idx="3155">
                  <c:v>17.609100000000002</c:v>
                </c:pt>
                <c:pt idx="3156">
                  <c:v>17.673500000000001</c:v>
                </c:pt>
                <c:pt idx="3157">
                  <c:v>17.639299999999999</c:v>
                </c:pt>
                <c:pt idx="3158">
                  <c:v>17.497900000000001</c:v>
                </c:pt>
                <c:pt idx="3159">
                  <c:v>17.505099999999999</c:v>
                </c:pt>
                <c:pt idx="3160">
                  <c:v>17.506399999999999</c:v>
                </c:pt>
                <c:pt idx="3161">
                  <c:v>17.7546</c:v>
                </c:pt>
                <c:pt idx="3162">
                  <c:v>17.841799999999999</c:v>
                </c:pt>
                <c:pt idx="3163">
                  <c:v>17.8062</c:v>
                </c:pt>
                <c:pt idx="3164">
                  <c:v>17.939399999999999</c:v>
                </c:pt>
                <c:pt idx="3165">
                  <c:v>17.939299999999999</c:v>
                </c:pt>
                <c:pt idx="3166">
                  <c:v>17.9877</c:v>
                </c:pt>
                <c:pt idx="3167">
                  <c:v>18.091699999999999</c:v>
                </c:pt>
                <c:pt idx="3168">
                  <c:v>16.726600000000001</c:v>
                </c:pt>
                <c:pt idx="3169">
                  <c:v>16.8414</c:v>
                </c:pt>
                <c:pt idx="3170">
                  <c:v>16.8672</c:v>
                </c:pt>
                <c:pt idx="3171">
                  <c:v>16.854199999999999</c:v>
                </c:pt>
                <c:pt idx="3172">
                  <c:v>16.8429</c:v>
                </c:pt>
                <c:pt idx="3173">
                  <c:v>16.798500000000001</c:v>
                </c:pt>
                <c:pt idx="3174">
                  <c:v>16.915199999999999</c:v>
                </c:pt>
                <c:pt idx="3175">
                  <c:v>16.856100000000001</c:v>
                </c:pt>
                <c:pt idx="3176">
                  <c:v>16.840499999999999</c:v>
                </c:pt>
                <c:pt idx="3177">
                  <c:v>16.7315</c:v>
                </c:pt>
                <c:pt idx="3178">
                  <c:v>16.591799999999999</c:v>
                </c:pt>
                <c:pt idx="3179">
                  <c:v>16.554200000000002</c:v>
                </c:pt>
                <c:pt idx="3180">
                  <c:v>16.7972</c:v>
                </c:pt>
                <c:pt idx="3181">
                  <c:v>16.8536</c:v>
                </c:pt>
                <c:pt idx="3182">
                  <c:v>16.974299999999999</c:v>
                </c:pt>
                <c:pt idx="3183">
                  <c:v>16.971399999999999</c:v>
                </c:pt>
                <c:pt idx="3184">
                  <c:v>17.063400000000001</c:v>
                </c:pt>
                <c:pt idx="3185">
                  <c:v>17.02</c:v>
                </c:pt>
                <c:pt idx="3186">
                  <c:v>17.013300000000001</c:v>
                </c:pt>
                <c:pt idx="3187">
                  <c:v>16.970800000000001</c:v>
                </c:pt>
                <c:pt idx="3188">
                  <c:v>17.167100000000001</c:v>
                </c:pt>
                <c:pt idx="3189">
                  <c:v>16.841100000000001</c:v>
                </c:pt>
                <c:pt idx="3190">
                  <c:v>16.829899999999999</c:v>
                </c:pt>
                <c:pt idx="3191">
                  <c:v>16.954599999999999</c:v>
                </c:pt>
                <c:pt idx="3192">
                  <c:v>16.883299999999998</c:v>
                </c:pt>
                <c:pt idx="3193">
                  <c:v>16.9483</c:v>
                </c:pt>
                <c:pt idx="3194">
                  <c:v>17.068000000000001</c:v>
                </c:pt>
                <c:pt idx="3195">
                  <c:v>17.274799999999999</c:v>
                </c:pt>
                <c:pt idx="3196">
                  <c:v>17.270499999999998</c:v>
                </c:pt>
                <c:pt idx="3197">
                  <c:v>17.334399999999999</c:v>
                </c:pt>
                <c:pt idx="3198">
                  <c:v>17.360800000000001</c:v>
                </c:pt>
                <c:pt idx="3199">
                  <c:v>17.447199999999999</c:v>
                </c:pt>
                <c:pt idx="3200">
                  <c:v>17.479600000000001</c:v>
                </c:pt>
                <c:pt idx="3201">
                  <c:v>17.3795</c:v>
                </c:pt>
                <c:pt idx="3202">
                  <c:v>17.443300000000001</c:v>
                </c:pt>
                <c:pt idx="3203">
                  <c:v>17.446300000000001</c:v>
                </c:pt>
                <c:pt idx="3204">
                  <c:v>17.560400000000001</c:v>
                </c:pt>
                <c:pt idx="3205">
                  <c:v>17.5319</c:v>
                </c:pt>
                <c:pt idx="3206">
                  <c:v>17.544699999999999</c:v>
                </c:pt>
                <c:pt idx="3207">
                  <c:v>17.5059</c:v>
                </c:pt>
                <c:pt idx="3208">
                  <c:v>17.537500000000001</c:v>
                </c:pt>
                <c:pt idx="3209">
                  <c:v>17.537199999999999</c:v>
                </c:pt>
                <c:pt idx="3210">
                  <c:v>17.5379</c:v>
                </c:pt>
                <c:pt idx="3211">
                  <c:v>17.687000000000001</c:v>
                </c:pt>
                <c:pt idx="3212">
                  <c:v>17.6296</c:v>
                </c:pt>
                <c:pt idx="3213">
                  <c:v>17.625</c:v>
                </c:pt>
                <c:pt idx="3214">
                  <c:v>17.7163</c:v>
                </c:pt>
                <c:pt idx="3215">
                  <c:v>17.741499999999998</c:v>
                </c:pt>
                <c:pt idx="3216">
                  <c:v>17.7559</c:v>
                </c:pt>
                <c:pt idx="3217">
                  <c:v>17.610700000000001</c:v>
                </c:pt>
                <c:pt idx="3218">
                  <c:v>17.576000000000001</c:v>
                </c:pt>
                <c:pt idx="3219">
                  <c:v>17.741900000000001</c:v>
                </c:pt>
                <c:pt idx="3220">
                  <c:v>17.651700000000002</c:v>
                </c:pt>
                <c:pt idx="3221">
                  <c:v>17.370200000000001</c:v>
                </c:pt>
                <c:pt idx="3222">
                  <c:v>17.351600000000001</c:v>
                </c:pt>
                <c:pt idx="3223">
                  <c:v>17.3109</c:v>
                </c:pt>
                <c:pt idx="3224">
                  <c:v>17.381</c:v>
                </c:pt>
                <c:pt idx="3225">
                  <c:v>16.9634</c:v>
                </c:pt>
                <c:pt idx="3226">
                  <c:v>17.103400000000001</c:v>
                </c:pt>
                <c:pt idx="3227">
                  <c:v>17.205300000000001</c:v>
                </c:pt>
                <c:pt idx="3228">
                  <c:v>17.3643</c:v>
                </c:pt>
                <c:pt idx="3229">
                  <c:v>17.264800000000001</c:v>
                </c:pt>
                <c:pt idx="3230">
                  <c:v>17.149799999999999</c:v>
                </c:pt>
                <c:pt idx="3231">
                  <c:v>17.296199999999999</c:v>
                </c:pt>
                <c:pt idx="3232">
                  <c:v>17.2517</c:v>
                </c:pt>
                <c:pt idx="3233">
                  <c:v>17.057400000000001</c:v>
                </c:pt>
                <c:pt idx="3234">
                  <c:v>17.081299999999999</c:v>
                </c:pt>
                <c:pt idx="3235">
                  <c:v>17.0838</c:v>
                </c:pt>
                <c:pt idx="3236">
                  <c:v>16.948599999999999</c:v>
                </c:pt>
                <c:pt idx="3237">
                  <c:v>16.833300000000001</c:v>
                </c:pt>
                <c:pt idx="3238">
                  <c:v>16.8691</c:v>
                </c:pt>
                <c:pt idx="3239">
                  <c:v>16.650400000000001</c:v>
                </c:pt>
                <c:pt idx="3240">
                  <c:v>16.6099</c:v>
                </c:pt>
                <c:pt idx="3241">
                  <c:v>16.973500000000001</c:v>
                </c:pt>
                <c:pt idx="3242">
                  <c:v>17.116800000000001</c:v>
                </c:pt>
                <c:pt idx="3243">
                  <c:v>17.231400000000001</c:v>
                </c:pt>
                <c:pt idx="3244">
                  <c:v>17.420200000000001</c:v>
                </c:pt>
                <c:pt idx="3245">
                  <c:v>17.500900000000001</c:v>
                </c:pt>
                <c:pt idx="3246">
                  <c:v>17.499500000000001</c:v>
                </c:pt>
                <c:pt idx="3247">
                  <c:v>17.464400000000001</c:v>
                </c:pt>
                <c:pt idx="3248">
                  <c:v>17.5608</c:v>
                </c:pt>
                <c:pt idx="3249">
                  <c:v>17.5381</c:v>
                </c:pt>
                <c:pt idx="3250">
                  <c:v>17.575299999999999</c:v>
                </c:pt>
                <c:pt idx="3251">
                  <c:v>17.738399999999999</c:v>
                </c:pt>
                <c:pt idx="3252">
                  <c:v>17.7912</c:v>
                </c:pt>
                <c:pt idx="3253">
                  <c:v>17.967199999999998</c:v>
                </c:pt>
                <c:pt idx="3254">
                  <c:v>17.950399999999998</c:v>
                </c:pt>
                <c:pt idx="3255">
                  <c:v>17.886299999999999</c:v>
                </c:pt>
                <c:pt idx="3256">
                  <c:v>17.714200000000002</c:v>
                </c:pt>
                <c:pt idx="3257">
                  <c:v>17.706099999999999</c:v>
                </c:pt>
                <c:pt idx="3258">
                  <c:v>17.7851</c:v>
                </c:pt>
                <c:pt idx="3259">
                  <c:v>17.888999999999999</c:v>
                </c:pt>
                <c:pt idx="3260">
                  <c:v>18.047000000000001</c:v>
                </c:pt>
                <c:pt idx="3261">
                  <c:v>18.098199999999999</c:v>
                </c:pt>
                <c:pt idx="3262">
                  <c:v>18.230399999999999</c:v>
                </c:pt>
                <c:pt idx="3263">
                  <c:v>18.2303</c:v>
                </c:pt>
                <c:pt idx="3264">
                  <c:v>18.203099999999999</c:v>
                </c:pt>
                <c:pt idx="3265">
                  <c:v>18.126100000000001</c:v>
                </c:pt>
                <c:pt idx="3266">
                  <c:v>18.158300000000001</c:v>
                </c:pt>
                <c:pt idx="3267">
                  <c:v>18.238499999999998</c:v>
                </c:pt>
                <c:pt idx="3268">
                  <c:v>18.293399999999998</c:v>
                </c:pt>
                <c:pt idx="3269">
                  <c:v>18.377800000000001</c:v>
                </c:pt>
                <c:pt idx="3270">
                  <c:v>18.3903</c:v>
                </c:pt>
                <c:pt idx="3271">
                  <c:v>18.3337</c:v>
                </c:pt>
                <c:pt idx="3272">
                  <c:v>18.208500000000001</c:v>
                </c:pt>
                <c:pt idx="3273">
                  <c:v>18.267199999999999</c:v>
                </c:pt>
                <c:pt idx="3274">
                  <c:v>18.148499999999999</c:v>
                </c:pt>
                <c:pt idx="3275">
                  <c:v>18.199000000000002</c:v>
                </c:pt>
                <c:pt idx="3276">
                  <c:v>18.318200000000001</c:v>
                </c:pt>
                <c:pt idx="3277">
                  <c:v>18.3964</c:v>
                </c:pt>
                <c:pt idx="3278">
                  <c:v>18.3428</c:v>
                </c:pt>
                <c:pt idx="3279">
                  <c:v>18.481000000000002</c:v>
                </c:pt>
                <c:pt idx="3280">
                  <c:v>18.454899999999999</c:v>
                </c:pt>
                <c:pt idx="3281">
                  <c:v>18.3919</c:v>
                </c:pt>
                <c:pt idx="3282">
                  <c:v>18.135000000000002</c:v>
                </c:pt>
                <c:pt idx="3283">
                  <c:v>18.003399999999999</c:v>
                </c:pt>
                <c:pt idx="3284">
                  <c:v>17.8827</c:v>
                </c:pt>
                <c:pt idx="3285">
                  <c:v>17.3736</c:v>
                </c:pt>
                <c:pt idx="3286">
                  <c:v>17.627099999999999</c:v>
                </c:pt>
                <c:pt idx="3287">
                  <c:v>17.644200000000001</c:v>
                </c:pt>
                <c:pt idx="3288">
                  <c:v>17.974299999999999</c:v>
                </c:pt>
                <c:pt idx="3289">
                  <c:v>17.854900000000001</c:v>
                </c:pt>
                <c:pt idx="3290">
                  <c:v>17.6432</c:v>
                </c:pt>
                <c:pt idx="3291">
                  <c:v>17.907800000000002</c:v>
                </c:pt>
                <c:pt idx="3292">
                  <c:v>17.396000000000001</c:v>
                </c:pt>
                <c:pt idx="3293">
                  <c:v>17.4452</c:v>
                </c:pt>
                <c:pt idx="3294">
                  <c:v>17.633500000000002</c:v>
                </c:pt>
                <c:pt idx="3295">
                  <c:v>17.785299999999999</c:v>
                </c:pt>
                <c:pt idx="3296">
                  <c:v>17.654900000000001</c:v>
                </c:pt>
                <c:pt idx="3297">
                  <c:v>17.797899999999998</c:v>
                </c:pt>
                <c:pt idx="3298">
                  <c:v>17.799499999999998</c:v>
                </c:pt>
                <c:pt idx="3299">
                  <c:v>17.329699999999999</c:v>
                </c:pt>
                <c:pt idx="3300">
                  <c:v>17.520900000000001</c:v>
                </c:pt>
                <c:pt idx="3301">
                  <c:v>17.468399999999999</c:v>
                </c:pt>
                <c:pt idx="3302">
                  <c:v>17.5852</c:v>
                </c:pt>
                <c:pt idx="3303">
                  <c:v>17.819800000000001</c:v>
                </c:pt>
                <c:pt idx="3304">
                  <c:v>17.8352</c:v>
                </c:pt>
                <c:pt idx="3305">
                  <c:v>17.8337</c:v>
                </c:pt>
                <c:pt idx="3306">
                  <c:v>17.7102</c:v>
                </c:pt>
                <c:pt idx="3307">
                  <c:v>17.904399999999999</c:v>
                </c:pt>
                <c:pt idx="3308">
                  <c:v>18.140699999999999</c:v>
                </c:pt>
                <c:pt idx="3309">
                  <c:v>18.157599999999999</c:v>
                </c:pt>
                <c:pt idx="3310">
                  <c:v>18.157699999999998</c:v>
                </c:pt>
                <c:pt idx="3311">
                  <c:v>18.169499999999999</c:v>
                </c:pt>
                <c:pt idx="3312">
                  <c:v>18.309899999999999</c:v>
                </c:pt>
                <c:pt idx="3313">
                  <c:v>18.386600000000001</c:v>
                </c:pt>
                <c:pt idx="3314">
                  <c:v>18.379300000000001</c:v>
                </c:pt>
                <c:pt idx="3315">
                  <c:v>18.324200000000001</c:v>
                </c:pt>
                <c:pt idx="3316">
                  <c:v>18.377300000000002</c:v>
                </c:pt>
                <c:pt idx="3317">
                  <c:v>18.385899999999999</c:v>
                </c:pt>
                <c:pt idx="3318">
                  <c:v>18.386399999999998</c:v>
                </c:pt>
                <c:pt idx="3319">
                  <c:v>18.296500000000002</c:v>
                </c:pt>
                <c:pt idx="3320">
                  <c:v>18.250299999999999</c:v>
                </c:pt>
                <c:pt idx="3321">
                  <c:v>18.0974</c:v>
                </c:pt>
                <c:pt idx="3322">
                  <c:v>18.209599999999998</c:v>
                </c:pt>
                <c:pt idx="3323">
                  <c:v>18.173400000000001</c:v>
                </c:pt>
                <c:pt idx="3324">
                  <c:v>18.0791</c:v>
                </c:pt>
                <c:pt idx="3325">
                  <c:v>18.171099999999999</c:v>
                </c:pt>
                <c:pt idx="3326">
                  <c:v>17.950900000000001</c:v>
                </c:pt>
                <c:pt idx="3327">
                  <c:v>17.6401</c:v>
                </c:pt>
                <c:pt idx="3328">
                  <c:v>17.769500000000001</c:v>
                </c:pt>
                <c:pt idx="3329">
                  <c:v>18.029199999999999</c:v>
                </c:pt>
                <c:pt idx="3330">
                  <c:v>17.947500000000002</c:v>
                </c:pt>
                <c:pt idx="3331">
                  <c:v>17.676500000000001</c:v>
                </c:pt>
                <c:pt idx="3332">
                  <c:v>17.844000000000001</c:v>
                </c:pt>
                <c:pt idx="3333">
                  <c:v>17.960599999999999</c:v>
                </c:pt>
                <c:pt idx="3334">
                  <c:v>18.156300000000002</c:v>
                </c:pt>
                <c:pt idx="3335">
                  <c:v>18.144200000000001</c:v>
                </c:pt>
                <c:pt idx="3336">
                  <c:v>18.339600000000001</c:v>
                </c:pt>
                <c:pt idx="3337">
                  <c:v>18.307400000000001</c:v>
                </c:pt>
                <c:pt idx="3338">
                  <c:v>18.354199999999999</c:v>
                </c:pt>
                <c:pt idx="3339">
                  <c:v>18.293900000000001</c:v>
                </c:pt>
                <c:pt idx="3340">
                  <c:v>18.423100000000002</c:v>
                </c:pt>
                <c:pt idx="3341">
                  <c:v>18.3523</c:v>
                </c:pt>
                <c:pt idx="3342">
                  <c:v>18.396999999999998</c:v>
                </c:pt>
                <c:pt idx="3343">
                  <c:v>18.4345</c:v>
                </c:pt>
                <c:pt idx="3344">
                  <c:v>18.525099999999998</c:v>
                </c:pt>
                <c:pt idx="3345">
                  <c:v>18.683900000000001</c:v>
                </c:pt>
                <c:pt idx="3346">
                  <c:v>18.642600000000002</c:v>
                </c:pt>
                <c:pt idx="3347">
                  <c:v>18.726199999999999</c:v>
                </c:pt>
                <c:pt idx="3348">
                  <c:v>18.644100000000002</c:v>
                </c:pt>
                <c:pt idx="3349">
                  <c:v>18.826799999999999</c:v>
                </c:pt>
                <c:pt idx="3350">
                  <c:v>18.8978</c:v>
                </c:pt>
                <c:pt idx="3351">
                  <c:v>18.8857</c:v>
                </c:pt>
                <c:pt idx="3352">
                  <c:v>18.9011</c:v>
                </c:pt>
                <c:pt idx="3353">
                  <c:v>18.965599999999998</c:v>
                </c:pt>
                <c:pt idx="3354">
                  <c:v>19.011199999999999</c:v>
                </c:pt>
                <c:pt idx="3355">
                  <c:v>18.984400000000001</c:v>
                </c:pt>
                <c:pt idx="3356">
                  <c:v>19.014099999999999</c:v>
                </c:pt>
                <c:pt idx="3357">
                  <c:v>19.027100000000001</c:v>
                </c:pt>
                <c:pt idx="3358">
                  <c:v>19.039300000000001</c:v>
                </c:pt>
                <c:pt idx="3359">
                  <c:v>19.180199999999999</c:v>
                </c:pt>
                <c:pt idx="3360">
                  <c:v>19.338100000000001</c:v>
                </c:pt>
                <c:pt idx="3361">
                  <c:v>19.3294</c:v>
                </c:pt>
                <c:pt idx="3362">
                  <c:v>19.253299999999999</c:v>
                </c:pt>
                <c:pt idx="3363">
                  <c:v>19.342099999999999</c:v>
                </c:pt>
                <c:pt idx="3364">
                  <c:v>19.381499999999999</c:v>
                </c:pt>
                <c:pt idx="3365">
                  <c:v>19.527699999999999</c:v>
                </c:pt>
                <c:pt idx="3366">
                  <c:v>19.569800000000001</c:v>
                </c:pt>
                <c:pt idx="3367">
                  <c:v>19.658799999999999</c:v>
                </c:pt>
                <c:pt idx="3368">
                  <c:v>19.659099999999999</c:v>
                </c:pt>
                <c:pt idx="3369">
                  <c:v>19.5806</c:v>
                </c:pt>
                <c:pt idx="3370">
                  <c:v>19.425799999999999</c:v>
                </c:pt>
                <c:pt idx="3371">
                  <c:v>19.312799999999999</c:v>
                </c:pt>
                <c:pt idx="3372">
                  <c:v>19.420999999999999</c:v>
                </c:pt>
                <c:pt idx="3373">
                  <c:v>19.472200000000001</c:v>
                </c:pt>
                <c:pt idx="3374">
                  <c:v>19.6525</c:v>
                </c:pt>
                <c:pt idx="3375">
                  <c:v>19.615400000000001</c:v>
                </c:pt>
                <c:pt idx="3376">
                  <c:v>19.597899999999999</c:v>
                </c:pt>
                <c:pt idx="3377">
                  <c:v>19.6479</c:v>
                </c:pt>
                <c:pt idx="3378">
                  <c:v>19.841100000000001</c:v>
                </c:pt>
                <c:pt idx="3379">
                  <c:v>19.837800000000001</c:v>
                </c:pt>
                <c:pt idx="3380">
                  <c:v>19.978000000000002</c:v>
                </c:pt>
                <c:pt idx="3381">
                  <c:v>19.992100000000001</c:v>
                </c:pt>
                <c:pt idx="3382">
                  <c:v>19.994800000000001</c:v>
                </c:pt>
                <c:pt idx="3383">
                  <c:v>20.081</c:v>
                </c:pt>
                <c:pt idx="3384">
                  <c:v>20.179200000000002</c:v>
                </c:pt>
                <c:pt idx="3385">
                  <c:v>20.130700000000001</c:v>
                </c:pt>
                <c:pt idx="3386">
                  <c:v>20.126999999999999</c:v>
                </c:pt>
                <c:pt idx="3387">
                  <c:v>20.126999999999999</c:v>
                </c:pt>
                <c:pt idx="3388">
                  <c:v>20.230699999999999</c:v>
                </c:pt>
                <c:pt idx="3389">
                  <c:v>20.2301</c:v>
                </c:pt>
                <c:pt idx="3390">
                  <c:v>20.106100000000001</c:v>
                </c:pt>
                <c:pt idx="3391">
                  <c:v>20.1661</c:v>
                </c:pt>
                <c:pt idx="3392">
                  <c:v>20.166</c:v>
                </c:pt>
                <c:pt idx="3393">
                  <c:v>20.3367</c:v>
                </c:pt>
                <c:pt idx="3394">
                  <c:v>20.201599999999999</c:v>
                </c:pt>
                <c:pt idx="3395">
                  <c:v>20.257200000000001</c:v>
                </c:pt>
                <c:pt idx="3396">
                  <c:v>20.203900000000001</c:v>
                </c:pt>
                <c:pt idx="3397">
                  <c:v>20.3124</c:v>
                </c:pt>
                <c:pt idx="3398">
                  <c:v>20.444800000000001</c:v>
                </c:pt>
                <c:pt idx="3399">
                  <c:v>20.382899999999999</c:v>
                </c:pt>
                <c:pt idx="3400">
                  <c:v>20.526700000000002</c:v>
                </c:pt>
                <c:pt idx="3401">
                  <c:v>20.520700000000001</c:v>
                </c:pt>
                <c:pt idx="3402">
                  <c:v>20.579000000000001</c:v>
                </c:pt>
                <c:pt idx="3403">
                  <c:v>20.742599999999999</c:v>
                </c:pt>
                <c:pt idx="3404">
                  <c:v>20.822199999999999</c:v>
                </c:pt>
                <c:pt idx="3405">
                  <c:v>20.824100000000001</c:v>
                </c:pt>
                <c:pt idx="3406">
                  <c:v>20.747199999999999</c:v>
                </c:pt>
                <c:pt idx="3407">
                  <c:v>20.811800000000002</c:v>
                </c:pt>
                <c:pt idx="3408">
                  <c:v>20.8626</c:v>
                </c:pt>
                <c:pt idx="3409">
                  <c:v>20.6831</c:v>
                </c:pt>
                <c:pt idx="3410">
                  <c:v>20.3566</c:v>
                </c:pt>
                <c:pt idx="3411">
                  <c:v>20.596699999999998</c:v>
                </c:pt>
                <c:pt idx="3412">
                  <c:v>20.802900000000001</c:v>
                </c:pt>
                <c:pt idx="3413">
                  <c:v>21.037800000000001</c:v>
                </c:pt>
                <c:pt idx="3414">
                  <c:v>20.637599999999999</c:v>
                </c:pt>
                <c:pt idx="3415">
                  <c:v>20.900200000000002</c:v>
                </c:pt>
                <c:pt idx="3416">
                  <c:v>21.253499999999999</c:v>
                </c:pt>
                <c:pt idx="3417">
                  <c:v>21.482600000000001</c:v>
                </c:pt>
                <c:pt idx="3418">
                  <c:v>21.617000000000001</c:v>
                </c:pt>
                <c:pt idx="3419">
                  <c:v>21.5107</c:v>
                </c:pt>
                <c:pt idx="3420">
                  <c:v>21.739100000000001</c:v>
                </c:pt>
                <c:pt idx="3421">
                  <c:v>21.779299999999999</c:v>
                </c:pt>
                <c:pt idx="3422">
                  <c:v>21.9832</c:v>
                </c:pt>
                <c:pt idx="3423">
                  <c:v>21.978000000000002</c:v>
                </c:pt>
                <c:pt idx="3424">
                  <c:v>22.005500000000001</c:v>
                </c:pt>
                <c:pt idx="3425">
                  <c:v>22.007200000000001</c:v>
                </c:pt>
                <c:pt idx="3426">
                  <c:v>21.997199999999999</c:v>
                </c:pt>
                <c:pt idx="3427">
                  <c:v>22.0656</c:v>
                </c:pt>
                <c:pt idx="3428">
                  <c:v>21.982700000000001</c:v>
                </c:pt>
                <c:pt idx="3429">
                  <c:v>21.732399999999998</c:v>
                </c:pt>
                <c:pt idx="3430">
                  <c:v>18.5932</c:v>
                </c:pt>
                <c:pt idx="3431">
                  <c:v>18.025400000000001</c:v>
                </c:pt>
                <c:pt idx="3432">
                  <c:v>17.976800000000001</c:v>
                </c:pt>
                <c:pt idx="3433">
                  <c:v>17.198699999999999</c:v>
                </c:pt>
                <c:pt idx="3434">
                  <c:v>17.077500000000001</c:v>
                </c:pt>
                <c:pt idx="3435">
                  <c:v>17.890599999999999</c:v>
                </c:pt>
                <c:pt idx="3436">
                  <c:v>17.3992</c:v>
                </c:pt>
                <c:pt idx="3437">
                  <c:v>18.161200000000001</c:v>
                </c:pt>
                <c:pt idx="3438">
                  <c:v>17.569800000000001</c:v>
                </c:pt>
                <c:pt idx="3439">
                  <c:v>17.2834</c:v>
                </c:pt>
                <c:pt idx="3440">
                  <c:v>16.048500000000001</c:v>
                </c:pt>
                <c:pt idx="3441">
                  <c:v>16.878299999999999</c:v>
                </c:pt>
                <c:pt idx="3442">
                  <c:v>16.116199999999999</c:v>
                </c:pt>
                <c:pt idx="3443">
                  <c:v>14.6218</c:v>
                </c:pt>
                <c:pt idx="3444">
                  <c:v>16.050699999999999</c:v>
                </c:pt>
                <c:pt idx="3445">
                  <c:v>14.3246</c:v>
                </c:pt>
                <c:pt idx="3446">
                  <c:v>15.2659</c:v>
                </c:pt>
                <c:pt idx="3447">
                  <c:v>14.554600000000001</c:v>
                </c:pt>
                <c:pt idx="3448">
                  <c:v>14.7</c:v>
                </c:pt>
                <c:pt idx="3449">
                  <c:v>14.1998</c:v>
                </c:pt>
                <c:pt idx="3450">
                  <c:v>13.9781</c:v>
                </c:pt>
                <c:pt idx="3451">
                  <c:v>15.426</c:v>
                </c:pt>
                <c:pt idx="3452">
                  <c:v>15.745900000000001</c:v>
                </c:pt>
                <c:pt idx="3453">
                  <c:v>16.8401</c:v>
                </c:pt>
                <c:pt idx="3454">
                  <c:v>16.386700000000001</c:v>
                </c:pt>
                <c:pt idx="3455">
                  <c:v>17.1816</c:v>
                </c:pt>
                <c:pt idx="3456">
                  <c:v>17.115200000000002</c:v>
                </c:pt>
                <c:pt idx="3457">
                  <c:v>16.453800000000001</c:v>
                </c:pt>
                <c:pt idx="3458">
                  <c:v>16.959399999999999</c:v>
                </c:pt>
                <c:pt idx="3459">
                  <c:v>16.789100000000001</c:v>
                </c:pt>
                <c:pt idx="3460">
                  <c:v>18.1967</c:v>
                </c:pt>
                <c:pt idx="3461">
                  <c:v>18.5623</c:v>
                </c:pt>
                <c:pt idx="3462">
                  <c:v>19.491800000000001</c:v>
                </c:pt>
                <c:pt idx="3463">
                  <c:v>20.016999999999999</c:v>
                </c:pt>
                <c:pt idx="3464">
                  <c:v>20.009</c:v>
                </c:pt>
                <c:pt idx="3465">
                  <c:v>19.950800000000001</c:v>
                </c:pt>
                <c:pt idx="3466">
                  <c:v>20.781199999999998</c:v>
                </c:pt>
                <c:pt idx="3467">
                  <c:v>20.544499999999999</c:v>
                </c:pt>
                <c:pt idx="3468">
                  <c:v>20.7666</c:v>
                </c:pt>
                <c:pt idx="3469">
                  <c:v>21.3995</c:v>
                </c:pt>
                <c:pt idx="3470">
                  <c:v>21.197199999999999</c:v>
                </c:pt>
                <c:pt idx="3471">
                  <c:v>20.6754</c:v>
                </c:pt>
                <c:pt idx="3472">
                  <c:v>21.2516</c:v>
                </c:pt>
                <c:pt idx="3473">
                  <c:v>21.3248</c:v>
                </c:pt>
                <c:pt idx="3474">
                  <c:v>21.718699999999998</c:v>
                </c:pt>
                <c:pt idx="3475">
                  <c:v>22.1297</c:v>
                </c:pt>
                <c:pt idx="3476">
                  <c:v>22.081399999999999</c:v>
                </c:pt>
                <c:pt idx="3477">
                  <c:v>22.705500000000001</c:v>
                </c:pt>
                <c:pt idx="3478">
                  <c:v>22.616299999999999</c:v>
                </c:pt>
                <c:pt idx="3479">
                  <c:v>22.1739</c:v>
                </c:pt>
                <c:pt idx="3480">
                  <c:v>22.271899999999999</c:v>
                </c:pt>
                <c:pt idx="3481">
                  <c:v>22.637499999999999</c:v>
                </c:pt>
                <c:pt idx="3482">
                  <c:v>22.5213</c:v>
                </c:pt>
                <c:pt idx="3483">
                  <c:v>22.8416</c:v>
                </c:pt>
                <c:pt idx="3484">
                  <c:v>23.3003</c:v>
                </c:pt>
                <c:pt idx="3485">
                  <c:v>23.355899999999998</c:v>
                </c:pt>
                <c:pt idx="3486">
                  <c:v>23.0183</c:v>
                </c:pt>
                <c:pt idx="3487">
                  <c:v>22.644300000000001</c:v>
                </c:pt>
                <c:pt idx="3488">
                  <c:v>22.927700000000002</c:v>
                </c:pt>
                <c:pt idx="3489">
                  <c:v>23.0504</c:v>
                </c:pt>
                <c:pt idx="3490">
                  <c:v>23.805199999999999</c:v>
                </c:pt>
                <c:pt idx="3491">
                  <c:v>23.551200000000001</c:v>
                </c:pt>
                <c:pt idx="3492">
                  <c:v>23.935500000000001</c:v>
                </c:pt>
                <c:pt idx="3493">
                  <c:v>23.868099999999998</c:v>
                </c:pt>
                <c:pt idx="3494">
                  <c:v>23.938800000000001</c:v>
                </c:pt>
                <c:pt idx="3495">
                  <c:v>23.937000000000001</c:v>
                </c:pt>
                <c:pt idx="3496">
                  <c:v>24.2315</c:v>
                </c:pt>
                <c:pt idx="3497">
                  <c:v>24.575900000000001</c:v>
                </c:pt>
                <c:pt idx="3498">
                  <c:v>24.543299999999999</c:v>
                </c:pt>
                <c:pt idx="3499">
                  <c:v>24.665700000000001</c:v>
                </c:pt>
                <c:pt idx="3500">
                  <c:v>24.750299999999999</c:v>
                </c:pt>
                <c:pt idx="3501">
                  <c:v>24.948399999999999</c:v>
                </c:pt>
                <c:pt idx="3502">
                  <c:v>25.284500000000001</c:v>
                </c:pt>
                <c:pt idx="3503">
                  <c:v>25.239899999999999</c:v>
                </c:pt>
                <c:pt idx="3504">
                  <c:v>25.935099999999998</c:v>
                </c:pt>
                <c:pt idx="3505">
                  <c:v>26.233899999999998</c:v>
                </c:pt>
                <c:pt idx="3506">
                  <c:v>25.999600000000001</c:v>
                </c:pt>
                <c:pt idx="3507">
                  <c:v>25.873899999999999</c:v>
                </c:pt>
                <c:pt idx="3508">
                  <c:v>24.361599999999999</c:v>
                </c:pt>
                <c:pt idx="3509">
                  <c:v>24.676200000000001</c:v>
                </c:pt>
                <c:pt idx="3510">
                  <c:v>24.867699999999999</c:v>
                </c:pt>
                <c:pt idx="3511">
                  <c:v>25.3413</c:v>
                </c:pt>
                <c:pt idx="3512">
                  <c:v>25.253</c:v>
                </c:pt>
                <c:pt idx="3513">
                  <c:v>25.2682</c:v>
                </c:pt>
                <c:pt idx="3514">
                  <c:v>25.126999999999999</c:v>
                </c:pt>
                <c:pt idx="3515">
                  <c:v>25.114599999999999</c:v>
                </c:pt>
                <c:pt idx="3516">
                  <c:v>25.221399999999999</c:v>
                </c:pt>
                <c:pt idx="3517">
                  <c:v>24.566299999999998</c:v>
                </c:pt>
                <c:pt idx="3518">
                  <c:v>24.8735</c:v>
                </c:pt>
                <c:pt idx="3519">
                  <c:v>24.297699999999999</c:v>
                </c:pt>
                <c:pt idx="3520">
                  <c:v>24.639800000000001</c:v>
                </c:pt>
                <c:pt idx="3521">
                  <c:v>24.997199999999999</c:v>
                </c:pt>
                <c:pt idx="3522">
                  <c:v>25.158799999999999</c:v>
                </c:pt>
                <c:pt idx="3523">
                  <c:v>25.258099999999999</c:v>
                </c:pt>
                <c:pt idx="3524">
                  <c:v>25.258600000000001</c:v>
                </c:pt>
                <c:pt idx="3525">
                  <c:v>25.670999999999999</c:v>
                </c:pt>
                <c:pt idx="3526">
                  <c:v>25.410599999999999</c:v>
                </c:pt>
                <c:pt idx="3527">
                  <c:v>25.627800000000001</c:v>
                </c:pt>
                <c:pt idx="3528">
                  <c:v>25.521000000000001</c:v>
                </c:pt>
                <c:pt idx="3529">
                  <c:v>25.822399999999998</c:v>
                </c:pt>
                <c:pt idx="3530">
                  <c:v>25.578399999999998</c:v>
                </c:pt>
                <c:pt idx="3531">
                  <c:v>25.971599999999999</c:v>
                </c:pt>
                <c:pt idx="3532">
                  <c:v>26.230599999999999</c:v>
                </c:pt>
                <c:pt idx="3533">
                  <c:v>26.122</c:v>
                </c:pt>
                <c:pt idx="3534">
                  <c:v>26.1875</c:v>
                </c:pt>
                <c:pt idx="3535">
                  <c:v>26.385400000000001</c:v>
                </c:pt>
                <c:pt idx="3536">
                  <c:v>26.430399999999999</c:v>
                </c:pt>
                <c:pt idx="3537">
                  <c:v>26.4817</c:v>
                </c:pt>
                <c:pt idx="3538">
                  <c:v>26.0989</c:v>
                </c:pt>
                <c:pt idx="3539">
                  <c:v>25.925799999999999</c:v>
                </c:pt>
                <c:pt idx="3540">
                  <c:v>26.115400000000001</c:v>
                </c:pt>
                <c:pt idx="3541">
                  <c:v>25.896999999999998</c:v>
                </c:pt>
                <c:pt idx="3542">
                  <c:v>26.118300000000001</c:v>
                </c:pt>
                <c:pt idx="3543">
                  <c:v>25.821400000000001</c:v>
                </c:pt>
                <c:pt idx="3544">
                  <c:v>25.7224</c:v>
                </c:pt>
                <c:pt idx="3545">
                  <c:v>25.881</c:v>
                </c:pt>
                <c:pt idx="3546">
                  <c:v>25.973600000000001</c:v>
                </c:pt>
                <c:pt idx="3547">
                  <c:v>26.1052</c:v>
                </c:pt>
                <c:pt idx="3548">
                  <c:v>26.264099999999999</c:v>
                </c:pt>
                <c:pt idx="3549">
                  <c:v>26.301300000000001</c:v>
                </c:pt>
                <c:pt idx="3550">
                  <c:v>26.372399999999999</c:v>
                </c:pt>
                <c:pt idx="3551">
                  <c:v>26.1769</c:v>
                </c:pt>
                <c:pt idx="3552">
                  <c:v>26.549800000000001</c:v>
                </c:pt>
                <c:pt idx="3553">
                  <c:v>26.491800000000001</c:v>
                </c:pt>
                <c:pt idx="3554">
                  <c:v>26.471599999999999</c:v>
                </c:pt>
                <c:pt idx="3555">
                  <c:v>26.547000000000001</c:v>
                </c:pt>
                <c:pt idx="3556">
                  <c:v>26.581600000000002</c:v>
                </c:pt>
                <c:pt idx="3557">
                  <c:v>26.400300000000001</c:v>
                </c:pt>
                <c:pt idx="3558">
                  <c:v>26.4756</c:v>
                </c:pt>
                <c:pt idx="3559">
                  <c:v>26.545100000000001</c:v>
                </c:pt>
                <c:pt idx="3560">
                  <c:v>26.814599999999999</c:v>
                </c:pt>
                <c:pt idx="3561">
                  <c:v>26.845600000000001</c:v>
                </c:pt>
                <c:pt idx="3562">
                  <c:v>27.1295</c:v>
                </c:pt>
                <c:pt idx="3563">
                  <c:v>27.171099999999999</c:v>
                </c:pt>
                <c:pt idx="3564">
                  <c:v>27.4102</c:v>
                </c:pt>
                <c:pt idx="3565">
                  <c:v>27.422799999999999</c:v>
                </c:pt>
                <c:pt idx="3566">
                  <c:v>27.556100000000001</c:v>
                </c:pt>
                <c:pt idx="3567">
                  <c:v>27.977699999999999</c:v>
                </c:pt>
                <c:pt idx="3568">
                  <c:v>27.048999999999999</c:v>
                </c:pt>
                <c:pt idx="3569">
                  <c:v>26.823899999999998</c:v>
                </c:pt>
                <c:pt idx="3570">
                  <c:v>26.823799999999999</c:v>
                </c:pt>
                <c:pt idx="3571">
                  <c:v>26.0854</c:v>
                </c:pt>
                <c:pt idx="3572">
                  <c:v>26.611699999999999</c:v>
                </c:pt>
                <c:pt idx="3573">
                  <c:v>26.1326</c:v>
                </c:pt>
                <c:pt idx="3574">
                  <c:v>26.124099999999999</c:v>
                </c:pt>
                <c:pt idx="3575">
                  <c:v>26.435400000000001</c:v>
                </c:pt>
                <c:pt idx="3576">
                  <c:v>26.567399999999999</c:v>
                </c:pt>
                <c:pt idx="3577">
                  <c:v>26.422799999999999</c:v>
                </c:pt>
                <c:pt idx="3578">
                  <c:v>26.194700000000001</c:v>
                </c:pt>
                <c:pt idx="3579">
                  <c:v>25.906199999999998</c:v>
                </c:pt>
                <c:pt idx="3580">
                  <c:v>25.653500000000001</c:v>
                </c:pt>
                <c:pt idx="3581">
                  <c:v>25.901599999999998</c:v>
                </c:pt>
                <c:pt idx="3582">
                  <c:v>25.290600000000001</c:v>
                </c:pt>
                <c:pt idx="3583">
                  <c:v>25.341799999999999</c:v>
                </c:pt>
                <c:pt idx="3584">
                  <c:v>25.7651</c:v>
                </c:pt>
                <c:pt idx="3585">
                  <c:v>26.177</c:v>
                </c:pt>
                <c:pt idx="3586">
                  <c:v>26.0654</c:v>
                </c:pt>
                <c:pt idx="3587">
                  <c:v>26.2622</c:v>
                </c:pt>
                <c:pt idx="3588">
                  <c:v>26.376999999999999</c:v>
                </c:pt>
                <c:pt idx="3589">
                  <c:v>26.123699999999999</c:v>
                </c:pt>
                <c:pt idx="3590">
                  <c:v>26.580300000000001</c:v>
                </c:pt>
                <c:pt idx="3591">
                  <c:v>26.210999999999999</c:v>
                </c:pt>
                <c:pt idx="3592">
                  <c:v>26.659700000000001</c:v>
                </c:pt>
                <c:pt idx="3593">
                  <c:v>26.881699999999999</c:v>
                </c:pt>
                <c:pt idx="3594">
                  <c:v>27.118600000000001</c:v>
                </c:pt>
                <c:pt idx="3595">
                  <c:v>27.5688</c:v>
                </c:pt>
                <c:pt idx="3596">
                  <c:v>27.36</c:v>
                </c:pt>
                <c:pt idx="3597">
                  <c:v>27.079799999999999</c:v>
                </c:pt>
                <c:pt idx="3598">
                  <c:v>27.012499999999999</c:v>
                </c:pt>
                <c:pt idx="3599">
                  <c:v>26.998999999999999</c:v>
                </c:pt>
                <c:pt idx="3600">
                  <c:v>26.552499999999998</c:v>
                </c:pt>
                <c:pt idx="3601">
                  <c:v>26.657299999999999</c:v>
                </c:pt>
                <c:pt idx="3602">
                  <c:v>26.563400000000001</c:v>
                </c:pt>
                <c:pt idx="3603">
                  <c:v>26.644600000000001</c:v>
                </c:pt>
                <c:pt idx="3604">
                  <c:v>26.741800000000001</c:v>
                </c:pt>
                <c:pt idx="3605">
                  <c:v>26.287099999999999</c:v>
                </c:pt>
                <c:pt idx="3606">
                  <c:v>26.085899999999999</c:v>
                </c:pt>
                <c:pt idx="3607">
                  <c:v>25.110399999999998</c:v>
                </c:pt>
                <c:pt idx="3608">
                  <c:v>25.286100000000001</c:v>
                </c:pt>
                <c:pt idx="3609">
                  <c:v>24.851199999999999</c:v>
                </c:pt>
                <c:pt idx="3610">
                  <c:v>25.1066</c:v>
                </c:pt>
                <c:pt idx="3611">
                  <c:v>25.506399999999999</c:v>
                </c:pt>
                <c:pt idx="3612">
                  <c:v>26.052399999999999</c:v>
                </c:pt>
                <c:pt idx="3613">
                  <c:v>26.499600000000001</c:v>
                </c:pt>
                <c:pt idx="3614">
                  <c:v>26.4574</c:v>
                </c:pt>
                <c:pt idx="3615">
                  <c:v>26.7424</c:v>
                </c:pt>
                <c:pt idx="3616">
                  <c:v>26.700199999999999</c:v>
                </c:pt>
                <c:pt idx="3617">
                  <c:v>26.894200000000001</c:v>
                </c:pt>
                <c:pt idx="3618">
                  <c:v>26.622499999999999</c:v>
                </c:pt>
                <c:pt idx="3619">
                  <c:v>26.988199999999999</c:v>
                </c:pt>
                <c:pt idx="3620">
                  <c:v>27.270499999999998</c:v>
                </c:pt>
                <c:pt idx="3621">
                  <c:v>27.098700000000001</c:v>
                </c:pt>
                <c:pt idx="3622">
                  <c:v>26.7148</c:v>
                </c:pt>
                <c:pt idx="3623">
                  <c:v>26.810700000000001</c:v>
                </c:pt>
                <c:pt idx="3624">
                  <c:v>26.636399999999998</c:v>
                </c:pt>
                <c:pt idx="3625">
                  <c:v>26.7807</c:v>
                </c:pt>
                <c:pt idx="3626">
                  <c:v>27.1938</c:v>
                </c:pt>
                <c:pt idx="3627">
                  <c:v>27.1187</c:v>
                </c:pt>
                <c:pt idx="3628">
                  <c:v>27.1144</c:v>
                </c:pt>
                <c:pt idx="3629">
                  <c:v>27.180700000000002</c:v>
                </c:pt>
                <c:pt idx="3630">
                  <c:v>27.0532</c:v>
                </c:pt>
                <c:pt idx="3631">
                  <c:v>27.3626</c:v>
                </c:pt>
                <c:pt idx="3632">
                  <c:v>27.414100000000001</c:v>
                </c:pt>
                <c:pt idx="3633">
                  <c:v>27.389700000000001</c:v>
                </c:pt>
                <c:pt idx="3634">
                  <c:v>27.630700000000001</c:v>
                </c:pt>
                <c:pt idx="3635">
                  <c:v>27.581099999999999</c:v>
                </c:pt>
                <c:pt idx="3636">
                  <c:v>27.647600000000001</c:v>
                </c:pt>
                <c:pt idx="3637">
                  <c:v>27.422599999999999</c:v>
                </c:pt>
                <c:pt idx="3638">
                  <c:v>27.4084</c:v>
                </c:pt>
                <c:pt idx="3639">
                  <c:v>27.358699999999999</c:v>
                </c:pt>
                <c:pt idx="3640">
                  <c:v>27.235099999999999</c:v>
                </c:pt>
                <c:pt idx="3641">
                  <c:v>27.5688</c:v>
                </c:pt>
                <c:pt idx="3642">
                  <c:v>27.6157</c:v>
                </c:pt>
                <c:pt idx="3643">
                  <c:v>27.763100000000001</c:v>
                </c:pt>
                <c:pt idx="3644">
                  <c:v>27.645700000000001</c:v>
                </c:pt>
                <c:pt idx="3645">
                  <c:v>27.9693</c:v>
                </c:pt>
                <c:pt idx="3646">
                  <c:v>27.908200000000001</c:v>
                </c:pt>
                <c:pt idx="3647">
                  <c:v>27.9297</c:v>
                </c:pt>
                <c:pt idx="3648">
                  <c:v>28.0303</c:v>
                </c:pt>
                <c:pt idx="3649">
                  <c:v>28.0303</c:v>
                </c:pt>
                <c:pt idx="3650">
                  <c:v>28.273900000000001</c:v>
                </c:pt>
                <c:pt idx="3651">
                  <c:v>28.211400000000001</c:v>
                </c:pt>
                <c:pt idx="3652">
                  <c:v>28.249600000000001</c:v>
                </c:pt>
                <c:pt idx="3653">
                  <c:v>28.432600000000001</c:v>
                </c:pt>
                <c:pt idx="3654">
                  <c:v>28.432600000000001</c:v>
                </c:pt>
                <c:pt idx="3655">
                  <c:v>27.998200000000001</c:v>
                </c:pt>
                <c:pt idx="3656">
                  <c:v>28.184000000000001</c:v>
                </c:pt>
                <c:pt idx="3657">
                  <c:v>28.347899999999999</c:v>
                </c:pt>
                <c:pt idx="3658">
                  <c:v>28.783300000000001</c:v>
                </c:pt>
                <c:pt idx="3659">
                  <c:v>28.914200000000001</c:v>
                </c:pt>
                <c:pt idx="3660">
                  <c:v>28.692900000000002</c:v>
                </c:pt>
                <c:pt idx="3661">
                  <c:v>28.691600000000001</c:v>
                </c:pt>
                <c:pt idx="3662">
                  <c:v>28.759499999999999</c:v>
                </c:pt>
                <c:pt idx="3663">
                  <c:v>28.666</c:v>
                </c:pt>
                <c:pt idx="3664">
                  <c:v>28.325700000000001</c:v>
                </c:pt>
                <c:pt idx="3665">
                  <c:v>28.313199999999998</c:v>
                </c:pt>
                <c:pt idx="3666">
                  <c:v>28.416799999999999</c:v>
                </c:pt>
                <c:pt idx="3667">
                  <c:v>28.7698</c:v>
                </c:pt>
                <c:pt idx="3668">
                  <c:v>28.686499999999999</c:v>
                </c:pt>
                <c:pt idx="3669">
                  <c:v>28.594899999999999</c:v>
                </c:pt>
                <c:pt idx="3670">
                  <c:v>28.6997</c:v>
                </c:pt>
                <c:pt idx="3671">
                  <c:v>28.664300000000001</c:v>
                </c:pt>
                <c:pt idx="3672">
                  <c:v>28.163</c:v>
                </c:pt>
                <c:pt idx="3673">
                  <c:v>28.465800000000002</c:v>
                </c:pt>
                <c:pt idx="3674">
                  <c:v>27.869700000000002</c:v>
                </c:pt>
                <c:pt idx="3675">
                  <c:v>28.149799999999999</c:v>
                </c:pt>
                <c:pt idx="3676">
                  <c:v>29.488800000000001</c:v>
                </c:pt>
                <c:pt idx="3677">
                  <c:v>29.708200000000001</c:v>
                </c:pt>
                <c:pt idx="3678">
                  <c:v>30.506599999999999</c:v>
                </c:pt>
                <c:pt idx="3679">
                  <c:v>30.633500000000002</c:v>
                </c:pt>
                <c:pt idx="3680">
                  <c:v>30.8812</c:v>
                </c:pt>
                <c:pt idx="3681">
                  <c:v>31.076699999999999</c:v>
                </c:pt>
                <c:pt idx="3682">
                  <c:v>31.086300000000001</c:v>
                </c:pt>
                <c:pt idx="3683">
                  <c:v>31.190300000000001</c:v>
                </c:pt>
                <c:pt idx="3684">
                  <c:v>31.3567</c:v>
                </c:pt>
                <c:pt idx="3685">
                  <c:v>31.357600000000001</c:v>
                </c:pt>
                <c:pt idx="3686">
                  <c:v>31.408799999999999</c:v>
                </c:pt>
                <c:pt idx="3687">
                  <c:v>31.3429</c:v>
                </c:pt>
                <c:pt idx="3688">
                  <c:v>31.2181</c:v>
                </c:pt>
                <c:pt idx="3689">
                  <c:v>31.046399999999998</c:v>
                </c:pt>
                <c:pt idx="3690">
                  <c:v>30.779800000000002</c:v>
                </c:pt>
                <c:pt idx="3691">
                  <c:v>22.379000000000001</c:v>
                </c:pt>
                <c:pt idx="3692">
                  <c:v>22.649899999999999</c:v>
                </c:pt>
                <c:pt idx="3693">
                  <c:v>22.099399999999999</c:v>
                </c:pt>
                <c:pt idx="3694">
                  <c:v>21.9727</c:v>
                </c:pt>
                <c:pt idx="3695">
                  <c:v>22.459099999999999</c:v>
                </c:pt>
                <c:pt idx="3696">
                  <c:v>22.270499999999998</c:v>
                </c:pt>
                <c:pt idx="3697">
                  <c:v>21.971</c:v>
                </c:pt>
                <c:pt idx="3698">
                  <c:v>21.662400000000002</c:v>
                </c:pt>
                <c:pt idx="3699">
                  <c:v>22.0669</c:v>
                </c:pt>
                <c:pt idx="3700">
                  <c:v>21.930499999999999</c:v>
                </c:pt>
                <c:pt idx="3701">
                  <c:v>22.235099999999999</c:v>
                </c:pt>
                <c:pt idx="3702">
                  <c:v>22.374099999999999</c:v>
                </c:pt>
                <c:pt idx="3703">
                  <c:v>22.581</c:v>
                </c:pt>
                <c:pt idx="3704">
                  <c:v>22.6004</c:v>
                </c:pt>
                <c:pt idx="3705">
                  <c:v>22.721900000000002</c:v>
                </c:pt>
                <c:pt idx="3706">
                  <c:v>22.669899999999998</c:v>
                </c:pt>
                <c:pt idx="3707">
                  <c:v>22.727599999999999</c:v>
                </c:pt>
                <c:pt idx="3708">
                  <c:v>22.388300000000001</c:v>
                </c:pt>
                <c:pt idx="3709">
                  <c:v>22.357399999999998</c:v>
                </c:pt>
                <c:pt idx="3710">
                  <c:v>22.5352</c:v>
                </c:pt>
                <c:pt idx="3711">
                  <c:v>22.3629</c:v>
                </c:pt>
                <c:pt idx="3712">
                  <c:v>22.2361</c:v>
                </c:pt>
                <c:pt idx="3713">
                  <c:v>22.347000000000001</c:v>
                </c:pt>
                <c:pt idx="3714">
                  <c:v>22.715599999999998</c:v>
                </c:pt>
                <c:pt idx="3715">
                  <c:v>22.696100000000001</c:v>
                </c:pt>
                <c:pt idx="3716">
                  <c:v>22.608699999999999</c:v>
                </c:pt>
                <c:pt idx="3717">
                  <c:v>22.642099999999999</c:v>
                </c:pt>
                <c:pt idx="3718">
                  <c:v>22.870999999999999</c:v>
                </c:pt>
                <c:pt idx="3719">
                  <c:v>22.8687</c:v>
                </c:pt>
                <c:pt idx="3720">
                  <c:v>23.171500000000002</c:v>
                </c:pt>
                <c:pt idx="3721">
                  <c:v>23.136500000000002</c:v>
                </c:pt>
                <c:pt idx="3722">
                  <c:v>23.150099999999998</c:v>
                </c:pt>
                <c:pt idx="3723">
                  <c:v>23.2242</c:v>
                </c:pt>
                <c:pt idx="3724">
                  <c:v>23.394600000000001</c:v>
                </c:pt>
                <c:pt idx="3725">
                  <c:v>23.366900000000001</c:v>
                </c:pt>
                <c:pt idx="3726">
                  <c:v>23.438300000000002</c:v>
                </c:pt>
                <c:pt idx="3727">
                  <c:v>23.243200000000002</c:v>
                </c:pt>
                <c:pt idx="3728">
                  <c:v>23.370699999999999</c:v>
                </c:pt>
                <c:pt idx="3729">
                  <c:v>23.406199999999998</c:v>
                </c:pt>
                <c:pt idx="3730">
                  <c:v>23.19</c:v>
                </c:pt>
                <c:pt idx="3731">
                  <c:v>23.028500000000001</c:v>
                </c:pt>
                <c:pt idx="3732">
                  <c:v>23.234500000000001</c:v>
                </c:pt>
                <c:pt idx="3733">
                  <c:v>22.952500000000001</c:v>
                </c:pt>
                <c:pt idx="3734">
                  <c:v>23.176600000000001</c:v>
                </c:pt>
                <c:pt idx="3735">
                  <c:v>23.188300000000002</c:v>
                </c:pt>
                <c:pt idx="3736">
                  <c:v>23.057600000000001</c:v>
                </c:pt>
                <c:pt idx="3737">
                  <c:v>22.686399999999999</c:v>
                </c:pt>
                <c:pt idx="3738">
                  <c:v>22.739799999999999</c:v>
                </c:pt>
                <c:pt idx="3739">
                  <c:v>22.494599999999998</c:v>
                </c:pt>
                <c:pt idx="3740">
                  <c:v>22.481200000000001</c:v>
                </c:pt>
                <c:pt idx="3741">
                  <c:v>22.279299999999999</c:v>
                </c:pt>
                <c:pt idx="3742">
                  <c:v>22.252500000000001</c:v>
                </c:pt>
                <c:pt idx="3743">
                  <c:v>22.4011</c:v>
                </c:pt>
                <c:pt idx="3744">
                  <c:v>22.557400000000001</c:v>
                </c:pt>
                <c:pt idx="3745">
                  <c:v>22.2987</c:v>
                </c:pt>
                <c:pt idx="3746">
                  <c:v>22.097100000000001</c:v>
                </c:pt>
                <c:pt idx="3747">
                  <c:v>21.6236</c:v>
                </c:pt>
                <c:pt idx="3748">
                  <c:v>21.8675</c:v>
                </c:pt>
                <c:pt idx="3749">
                  <c:v>22.1934</c:v>
                </c:pt>
                <c:pt idx="3750">
                  <c:v>22.1081</c:v>
                </c:pt>
                <c:pt idx="3751">
                  <c:v>21.893699999999999</c:v>
                </c:pt>
                <c:pt idx="3752">
                  <c:v>21.807099999999998</c:v>
                </c:pt>
                <c:pt idx="3753">
                  <c:v>22.024799999999999</c:v>
                </c:pt>
                <c:pt idx="3754">
                  <c:v>21.9818</c:v>
                </c:pt>
                <c:pt idx="3755">
                  <c:v>22.1905</c:v>
                </c:pt>
                <c:pt idx="3756">
                  <c:v>22.136700000000001</c:v>
                </c:pt>
                <c:pt idx="3757">
                  <c:v>22.168500000000002</c:v>
                </c:pt>
                <c:pt idx="3758">
                  <c:v>22.1799</c:v>
                </c:pt>
                <c:pt idx="3759">
                  <c:v>22.194600000000001</c:v>
                </c:pt>
                <c:pt idx="3760">
                  <c:v>22.188600000000001</c:v>
                </c:pt>
                <c:pt idx="3761">
                  <c:v>22.189800000000002</c:v>
                </c:pt>
                <c:pt idx="3762">
                  <c:v>22.223400000000002</c:v>
                </c:pt>
                <c:pt idx="3763">
                  <c:v>22.152999999999999</c:v>
                </c:pt>
                <c:pt idx="3764">
                  <c:v>22.328600000000002</c:v>
                </c:pt>
                <c:pt idx="3765">
                  <c:v>22.304500000000001</c:v>
                </c:pt>
                <c:pt idx="3766">
                  <c:v>22.3065</c:v>
                </c:pt>
                <c:pt idx="3767">
                  <c:v>22.2592</c:v>
                </c:pt>
                <c:pt idx="3768">
                  <c:v>22.3477</c:v>
                </c:pt>
                <c:pt idx="3769">
                  <c:v>22.389500000000002</c:v>
                </c:pt>
                <c:pt idx="3770">
                  <c:v>22.422499999999999</c:v>
                </c:pt>
                <c:pt idx="3771">
                  <c:v>22.370100000000001</c:v>
                </c:pt>
                <c:pt idx="3772">
                  <c:v>22.239000000000001</c:v>
                </c:pt>
                <c:pt idx="3773">
                  <c:v>22.222300000000001</c:v>
                </c:pt>
                <c:pt idx="3774">
                  <c:v>21.915099999999999</c:v>
                </c:pt>
                <c:pt idx="3775">
                  <c:v>22.184999999999999</c:v>
                </c:pt>
                <c:pt idx="3776">
                  <c:v>22.281199999999998</c:v>
                </c:pt>
                <c:pt idx="3777">
                  <c:v>22.255600000000001</c:v>
                </c:pt>
                <c:pt idx="3778">
                  <c:v>22.372699999999998</c:v>
                </c:pt>
                <c:pt idx="3779">
                  <c:v>22.446999999999999</c:v>
                </c:pt>
                <c:pt idx="3780">
                  <c:v>22.491399999999999</c:v>
                </c:pt>
                <c:pt idx="3781">
                  <c:v>22.496300000000002</c:v>
                </c:pt>
                <c:pt idx="3782">
                  <c:v>22.509</c:v>
                </c:pt>
                <c:pt idx="3783">
                  <c:v>22.6129</c:v>
                </c:pt>
                <c:pt idx="3784">
                  <c:v>22.7744</c:v>
                </c:pt>
                <c:pt idx="3785">
                  <c:v>22.775099999999998</c:v>
                </c:pt>
                <c:pt idx="3786">
                  <c:v>22.708200000000001</c:v>
                </c:pt>
                <c:pt idx="3787">
                  <c:v>22.775400000000001</c:v>
                </c:pt>
                <c:pt idx="3788">
                  <c:v>22.573499999999999</c:v>
                </c:pt>
                <c:pt idx="3789">
                  <c:v>22.8308</c:v>
                </c:pt>
                <c:pt idx="3790">
                  <c:v>22.888500000000001</c:v>
                </c:pt>
                <c:pt idx="3791">
                  <c:v>22.7515</c:v>
                </c:pt>
                <c:pt idx="3792">
                  <c:v>22.708600000000001</c:v>
                </c:pt>
                <c:pt idx="3793">
                  <c:v>22.578499999999998</c:v>
                </c:pt>
                <c:pt idx="3794">
                  <c:v>22.3825</c:v>
                </c:pt>
                <c:pt idx="3795">
                  <c:v>22.007200000000001</c:v>
                </c:pt>
                <c:pt idx="3796">
                  <c:v>22.321200000000001</c:v>
                </c:pt>
                <c:pt idx="3797">
                  <c:v>22.434100000000001</c:v>
                </c:pt>
                <c:pt idx="3798">
                  <c:v>22.4102</c:v>
                </c:pt>
                <c:pt idx="3799">
                  <c:v>22.625</c:v>
                </c:pt>
                <c:pt idx="3800">
                  <c:v>22.625800000000002</c:v>
                </c:pt>
                <c:pt idx="3801">
                  <c:v>22.325800000000001</c:v>
                </c:pt>
                <c:pt idx="3802">
                  <c:v>22.180900000000001</c:v>
                </c:pt>
                <c:pt idx="3803">
                  <c:v>22.180599999999998</c:v>
                </c:pt>
                <c:pt idx="3804">
                  <c:v>22.0318</c:v>
                </c:pt>
                <c:pt idx="3805">
                  <c:v>21.936900000000001</c:v>
                </c:pt>
                <c:pt idx="3806">
                  <c:v>22.0928</c:v>
                </c:pt>
                <c:pt idx="3807">
                  <c:v>21.972999999999999</c:v>
                </c:pt>
                <c:pt idx="3808">
                  <c:v>22.075299999999999</c:v>
                </c:pt>
                <c:pt idx="3809">
                  <c:v>22.094799999999999</c:v>
                </c:pt>
                <c:pt idx="3810">
                  <c:v>22.048200000000001</c:v>
                </c:pt>
                <c:pt idx="3811">
                  <c:v>22.0594</c:v>
                </c:pt>
                <c:pt idx="3812">
                  <c:v>22.105799999999999</c:v>
                </c:pt>
                <c:pt idx="3813">
                  <c:v>22.1617</c:v>
                </c:pt>
                <c:pt idx="3814">
                  <c:v>22.197399999999998</c:v>
                </c:pt>
                <c:pt idx="3815">
                  <c:v>22.247599999999998</c:v>
                </c:pt>
                <c:pt idx="3816">
                  <c:v>22.077400000000001</c:v>
                </c:pt>
                <c:pt idx="3817">
                  <c:v>21.8047</c:v>
                </c:pt>
                <c:pt idx="3818">
                  <c:v>21.821400000000001</c:v>
                </c:pt>
                <c:pt idx="3819">
                  <c:v>21.9908</c:v>
                </c:pt>
                <c:pt idx="3820">
                  <c:v>22.1798</c:v>
                </c:pt>
                <c:pt idx="3821">
                  <c:v>22.2149</c:v>
                </c:pt>
                <c:pt idx="3822">
                  <c:v>22.2698</c:v>
                </c:pt>
                <c:pt idx="3823">
                  <c:v>22.032399999999999</c:v>
                </c:pt>
                <c:pt idx="3824">
                  <c:v>22.2254</c:v>
                </c:pt>
                <c:pt idx="3825">
                  <c:v>22.340699999999998</c:v>
                </c:pt>
                <c:pt idx="3826">
                  <c:v>22.311499999999999</c:v>
                </c:pt>
                <c:pt idx="3827">
                  <c:v>22.319800000000001</c:v>
                </c:pt>
                <c:pt idx="3828">
                  <c:v>22.3934</c:v>
                </c:pt>
                <c:pt idx="3829">
                  <c:v>22.3856</c:v>
                </c:pt>
                <c:pt idx="3830">
                  <c:v>22.3855</c:v>
                </c:pt>
                <c:pt idx="3831">
                  <c:v>22.305599999999998</c:v>
                </c:pt>
                <c:pt idx="3832">
                  <c:v>22.276</c:v>
                </c:pt>
                <c:pt idx="3833">
                  <c:v>22.175799999999999</c:v>
                </c:pt>
                <c:pt idx="3834">
                  <c:v>22.01</c:v>
                </c:pt>
                <c:pt idx="3835">
                  <c:v>22.079799999999999</c:v>
                </c:pt>
                <c:pt idx="3836">
                  <c:v>22.073899999999998</c:v>
                </c:pt>
                <c:pt idx="3837">
                  <c:v>22.2576</c:v>
                </c:pt>
                <c:pt idx="3838">
                  <c:v>22.232199999999999</c:v>
                </c:pt>
                <c:pt idx="3839">
                  <c:v>22.032</c:v>
                </c:pt>
                <c:pt idx="3840">
                  <c:v>21.633400000000002</c:v>
                </c:pt>
                <c:pt idx="3841">
                  <c:v>21.624199999999998</c:v>
                </c:pt>
                <c:pt idx="3842">
                  <c:v>21.832999999999998</c:v>
                </c:pt>
                <c:pt idx="3843">
                  <c:v>22.101400000000002</c:v>
                </c:pt>
                <c:pt idx="3844">
                  <c:v>22.1448</c:v>
                </c:pt>
                <c:pt idx="3845">
                  <c:v>22.055199999999999</c:v>
                </c:pt>
                <c:pt idx="3846">
                  <c:v>21.612400000000001</c:v>
                </c:pt>
                <c:pt idx="3847">
                  <c:v>21.6493</c:v>
                </c:pt>
                <c:pt idx="3848">
                  <c:v>21.3827</c:v>
                </c:pt>
                <c:pt idx="3849">
                  <c:v>21.628699999999998</c:v>
                </c:pt>
                <c:pt idx="3850">
                  <c:v>21.348299999999998</c:v>
                </c:pt>
                <c:pt idx="3851">
                  <c:v>21.581499999999998</c:v>
                </c:pt>
                <c:pt idx="3852">
                  <c:v>21.6647</c:v>
                </c:pt>
                <c:pt idx="3853">
                  <c:v>21.8353</c:v>
                </c:pt>
                <c:pt idx="3854">
                  <c:v>21.796099999999999</c:v>
                </c:pt>
                <c:pt idx="3855">
                  <c:v>21.654499999999999</c:v>
                </c:pt>
                <c:pt idx="3856">
                  <c:v>21.602399999999999</c:v>
                </c:pt>
                <c:pt idx="3857">
                  <c:v>21.6509</c:v>
                </c:pt>
                <c:pt idx="3858">
                  <c:v>21.977699999999999</c:v>
                </c:pt>
                <c:pt idx="3859">
                  <c:v>22.108499999999999</c:v>
                </c:pt>
                <c:pt idx="3860">
                  <c:v>22.146899999999999</c:v>
                </c:pt>
                <c:pt idx="3861">
                  <c:v>22.2958</c:v>
                </c:pt>
                <c:pt idx="3862">
                  <c:v>22.376100000000001</c:v>
                </c:pt>
                <c:pt idx="3863">
                  <c:v>22.406700000000001</c:v>
                </c:pt>
                <c:pt idx="3864">
                  <c:v>22.366399999999999</c:v>
                </c:pt>
                <c:pt idx="3865">
                  <c:v>22.471599999999999</c:v>
                </c:pt>
                <c:pt idx="3866">
                  <c:v>22.4817</c:v>
                </c:pt>
                <c:pt idx="3867">
                  <c:v>22.353000000000002</c:v>
                </c:pt>
                <c:pt idx="3868">
                  <c:v>22.5596</c:v>
                </c:pt>
                <c:pt idx="3869">
                  <c:v>22.620799999999999</c:v>
                </c:pt>
                <c:pt idx="3870">
                  <c:v>22.636500000000002</c:v>
                </c:pt>
                <c:pt idx="3871">
                  <c:v>22.704799999999999</c:v>
                </c:pt>
                <c:pt idx="3872">
                  <c:v>22.838200000000001</c:v>
                </c:pt>
                <c:pt idx="3873">
                  <c:v>22.928100000000001</c:v>
                </c:pt>
                <c:pt idx="3874">
                  <c:v>23.013999999999999</c:v>
                </c:pt>
                <c:pt idx="3875">
                  <c:v>23.029699999999998</c:v>
                </c:pt>
                <c:pt idx="3876">
                  <c:v>22.953800000000001</c:v>
                </c:pt>
                <c:pt idx="3877">
                  <c:v>22.773</c:v>
                </c:pt>
                <c:pt idx="3878">
                  <c:v>22.7895</c:v>
                </c:pt>
                <c:pt idx="3879">
                  <c:v>22.961200000000002</c:v>
                </c:pt>
                <c:pt idx="3880">
                  <c:v>22.957699999999999</c:v>
                </c:pt>
                <c:pt idx="3881">
                  <c:v>23.027000000000001</c:v>
                </c:pt>
                <c:pt idx="3882">
                  <c:v>22.971299999999999</c:v>
                </c:pt>
                <c:pt idx="3883">
                  <c:v>23.041</c:v>
                </c:pt>
                <c:pt idx="3884">
                  <c:v>23.0046</c:v>
                </c:pt>
                <c:pt idx="3885">
                  <c:v>22.925000000000001</c:v>
                </c:pt>
                <c:pt idx="3886">
                  <c:v>22.9635</c:v>
                </c:pt>
                <c:pt idx="3887">
                  <c:v>23.0185</c:v>
                </c:pt>
                <c:pt idx="3888">
                  <c:v>23.019200000000001</c:v>
                </c:pt>
                <c:pt idx="3889">
                  <c:v>22.4968</c:v>
                </c:pt>
                <c:pt idx="3890">
                  <c:v>22.792000000000002</c:v>
                </c:pt>
                <c:pt idx="3891">
                  <c:v>22.365300000000001</c:v>
                </c:pt>
                <c:pt idx="3892">
                  <c:v>22.102</c:v>
                </c:pt>
                <c:pt idx="3893">
                  <c:v>22.416</c:v>
                </c:pt>
                <c:pt idx="3894">
                  <c:v>22.231000000000002</c:v>
                </c:pt>
                <c:pt idx="3895">
                  <c:v>22.488900000000001</c:v>
                </c:pt>
                <c:pt idx="3896">
                  <c:v>22.9526</c:v>
                </c:pt>
                <c:pt idx="3897">
                  <c:v>23.017700000000001</c:v>
                </c:pt>
                <c:pt idx="3898">
                  <c:v>22.868300000000001</c:v>
                </c:pt>
                <c:pt idx="3899">
                  <c:v>23.084199999999999</c:v>
                </c:pt>
                <c:pt idx="3900">
                  <c:v>22.872699999999998</c:v>
                </c:pt>
                <c:pt idx="3901">
                  <c:v>22.704899999999999</c:v>
                </c:pt>
                <c:pt idx="3902">
                  <c:v>23.0733</c:v>
                </c:pt>
                <c:pt idx="3903">
                  <c:v>22.870799999999999</c:v>
                </c:pt>
                <c:pt idx="3904">
                  <c:v>22.634799999999998</c:v>
                </c:pt>
                <c:pt idx="3905">
                  <c:v>22.3081</c:v>
                </c:pt>
                <c:pt idx="3906">
                  <c:v>22.705500000000001</c:v>
                </c:pt>
                <c:pt idx="3907">
                  <c:v>22.937000000000001</c:v>
                </c:pt>
                <c:pt idx="3908">
                  <c:v>23.076899999999998</c:v>
                </c:pt>
                <c:pt idx="3909">
                  <c:v>23.076899999999998</c:v>
                </c:pt>
                <c:pt idx="3910">
                  <c:v>23.396599999999999</c:v>
                </c:pt>
                <c:pt idx="3911">
                  <c:v>23.374400000000001</c:v>
                </c:pt>
                <c:pt idx="3912">
                  <c:v>23.408300000000001</c:v>
                </c:pt>
                <c:pt idx="3913">
                  <c:v>23.337</c:v>
                </c:pt>
                <c:pt idx="3914">
                  <c:v>23.277899999999999</c:v>
                </c:pt>
                <c:pt idx="3915">
                  <c:v>23.423400000000001</c:v>
                </c:pt>
                <c:pt idx="3916">
                  <c:v>23.407</c:v>
                </c:pt>
                <c:pt idx="3917">
                  <c:v>22.9513</c:v>
                </c:pt>
                <c:pt idx="3918">
                  <c:v>22.9269</c:v>
                </c:pt>
                <c:pt idx="3919">
                  <c:v>22.8352</c:v>
                </c:pt>
                <c:pt idx="3920">
                  <c:v>22.8035</c:v>
                </c:pt>
                <c:pt idx="3921">
                  <c:v>23.0092</c:v>
                </c:pt>
                <c:pt idx="3922">
                  <c:v>23.06</c:v>
                </c:pt>
                <c:pt idx="3923">
                  <c:v>22.733899999999998</c:v>
                </c:pt>
                <c:pt idx="3924">
                  <c:v>22.714400000000001</c:v>
                </c:pt>
                <c:pt idx="3925">
                  <c:v>22.712299999999999</c:v>
                </c:pt>
                <c:pt idx="3926">
                  <c:v>22.287400000000002</c:v>
                </c:pt>
                <c:pt idx="3927">
                  <c:v>22.056799999999999</c:v>
                </c:pt>
                <c:pt idx="3928">
                  <c:v>21.837</c:v>
                </c:pt>
                <c:pt idx="3929">
                  <c:v>21.4253</c:v>
                </c:pt>
                <c:pt idx="3930">
                  <c:v>21.498999999999999</c:v>
                </c:pt>
                <c:pt idx="3931">
                  <c:v>21.2652</c:v>
                </c:pt>
                <c:pt idx="3932">
                  <c:v>21.325700000000001</c:v>
                </c:pt>
                <c:pt idx="3933">
                  <c:v>21.213799999999999</c:v>
                </c:pt>
                <c:pt idx="3934">
                  <c:v>21.7165</c:v>
                </c:pt>
                <c:pt idx="3935">
                  <c:v>22.1404</c:v>
                </c:pt>
                <c:pt idx="3936">
                  <c:v>22.462700000000002</c:v>
                </c:pt>
                <c:pt idx="3937">
                  <c:v>22.7378</c:v>
                </c:pt>
                <c:pt idx="3938">
                  <c:v>22.26</c:v>
                </c:pt>
                <c:pt idx="3939">
                  <c:v>22.514099999999999</c:v>
                </c:pt>
                <c:pt idx="3940">
                  <c:v>22.468800000000002</c:v>
                </c:pt>
                <c:pt idx="3941">
                  <c:v>22.707100000000001</c:v>
                </c:pt>
                <c:pt idx="3942">
                  <c:v>23.064599999999999</c:v>
                </c:pt>
                <c:pt idx="3943">
                  <c:v>22.680499999999999</c:v>
                </c:pt>
                <c:pt idx="3944">
                  <c:v>22.2377</c:v>
                </c:pt>
                <c:pt idx="3945">
                  <c:v>22.159400000000002</c:v>
                </c:pt>
                <c:pt idx="3946">
                  <c:v>22.5579</c:v>
                </c:pt>
                <c:pt idx="3947">
                  <c:v>22.5794</c:v>
                </c:pt>
                <c:pt idx="3948">
                  <c:v>22.133299999999998</c:v>
                </c:pt>
                <c:pt idx="3949">
                  <c:v>19.467099999999999</c:v>
                </c:pt>
                <c:pt idx="3950">
                  <c:v>19.4697</c:v>
                </c:pt>
                <c:pt idx="3951">
                  <c:v>19.270800000000001</c:v>
                </c:pt>
                <c:pt idx="3952">
                  <c:v>18.916699999999999</c:v>
                </c:pt>
                <c:pt idx="3953">
                  <c:v>19.211500000000001</c:v>
                </c:pt>
                <c:pt idx="3954">
                  <c:v>19.6402</c:v>
                </c:pt>
                <c:pt idx="3955">
                  <c:v>19.575700000000001</c:v>
                </c:pt>
                <c:pt idx="3956">
                  <c:v>19.260300000000001</c:v>
                </c:pt>
                <c:pt idx="3957">
                  <c:v>19.619499999999999</c:v>
                </c:pt>
                <c:pt idx="3958">
                  <c:v>19.491900000000001</c:v>
                </c:pt>
                <c:pt idx="3959">
                  <c:v>19.333100000000002</c:v>
                </c:pt>
                <c:pt idx="3960">
                  <c:v>18.7407</c:v>
                </c:pt>
                <c:pt idx="3961">
                  <c:v>18.607500000000002</c:v>
                </c:pt>
                <c:pt idx="3962">
                  <c:v>19.0763</c:v>
                </c:pt>
                <c:pt idx="3963">
                  <c:v>18.9499</c:v>
                </c:pt>
                <c:pt idx="3964">
                  <c:v>18.668800000000001</c:v>
                </c:pt>
                <c:pt idx="3965">
                  <c:v>18.508299999999998</c:v>
                </c:pt>
                <c:pt idx="3966">
                  <c:v>18.892099999999999</c:v>
                </c:pt>
                <c:pt idx="3967">
                  <c:v>19.322399999999998</c:v>
                </c:pt>
                <c:pt idx="3968">
                  <c:v>19.555499999999999</c:v>
                </c:pt>
                <c:pt idx="3969">
                  <c:v>19.7668</c:v>
                </c:pt>
                <c:pt idx="3970">
                  <c:v>19.694099999999999</c:v>
                </c:pt>
                <c:pt idx="3971">
                  <c:v>19.9239</c:v>
                </c:pt>
                <c:pt idx="3972">
                  <c:v>19.660599999999999</c:v>
                </c:pt>
                <c:pt idx="3973">
                  <c:v>19.9438</c:v>
                </c:pt>
                <c:pt idx="3974">
                  <c:v>20.036899999999999</c:v>
                </c:pt>
                <c:pt idx="3975">
                  <c:v>20.180199999999999</c:v>
                </c:pt>
                <c:pt idx="3976">
                  <c:v>20.415299999999998</c:v>
                </c:pt>
                <c:pt idx="3977">
                  <c:v>20.292400000000001</c:v>
                </c:pt>
                <c:pt idx="3978">
                  <c:v>19.964400000000001</c:v>
                </c:pt>
                <c:pt idx="3979">
                  <c:v>20.032399999999999</c:v>
                </c:pt>
                <c:pt idx="3980">
                  <c:v>20.184100000000001</c:v>
                </c:pt>
                <c:pt idx="3981">
                  <c:v>19.932300000000001</c:v>
                </c:pt>
                <c:pt idx="3982">
                  <c:v>19.726299999999998</c:v>
                </c:pt>
                <c:pt idx="3983">
                  <c:v>19.802499999999998</c:v>
                </c:pt>
                <c:pt idx="3984">
                  <c:v>19.749300000000002</c:v>
                </c:pt>
                <c:pt idx="3985">
                  <c:v>19.440999999999999</c:v>
                </c:pt>
                <c:pt idx="3986">
                  <c:v>19.377400000000002</c:v>
                </c:pt>
                <c:pt idx="3987">
                  <c:v>19.581199999999999</c:v>
                </c:pt>
                <c:pt idx="3988">
                  <c:v>19.317599999999999</c:v>
                </c:pt>
                <c:pt idx="3989">
                  <c:v>19.313400000000001</c:v>
                </c:pt>
                <c:pt idx="3990">
                  <c:v>19.29</c:v>
                </c:pt>
                <c:pt idx="3991">
                  <c:v>19.606200000000001</c:v>
                </c:pt>
                <c:pt idx="3992">
                  <c:v>19.566400000000002</c:v>
                </c:pt>
                <c:pt idx="3993">
                  <c:v>19.240200000000002</c:v>
                </c:pt>
                <c:pt idx="3994">
                  <c:v>18.693300000000001</c:v>
                </c:pt>
                <c:pt idx="3995">
                  <c:v>18.796900000000001</c:v>
                </c:pt>
                <c:pt idx="3996">
                  <c:v>18.264099999999999</c:v>
                </c:pt>
                <c:pt idx="3997">
                  <c:v>18.313800000000001</c:v>
                </c:pt>
                <c:pt idx="3998">
                  <c:v>18.8063</c:v>
                </c:pt>
                <c:pt idx="3999">
                  <c:v>18.180199999999999</c:v>
                </c:pt>
                <c:pt idx="4000">
                  <c:v>18.253</c:v>
                </c:pt>
                <c:pt idx="4001">
                  <c:v>18.342500000000001</c:v>
                </c:pt>
                <c:pt idx="4002">
                  <c:v>18.8962</c:v>
                </c:pt>
                <c:pt idx="4003">
                  <c:v>18.221299999999999</c:v>
                </c:pt>
                <c:pt idx="4004">
                  <c:v>18.114999999999998</c:v>
                </c:pt>
                <c:pt idx="4005">
                  <c:v>17.5154</c:v>
                </c:pt>
                <c:pt idx="4006">
                  <c:v>17.552600000000002</c:v>
                </c:pt>
                <c:pt idx="4007">
                  <c:v>17.268599999999999</c:v>
                </c:pt>
                <c:pt idx="4008">
                  <c:v>17.256699999999999</c:v>
                </c:pt>
                <c:pt idx="4009">
                  <c:v>17.662199999999999</c:v>
                </c:pt>
                <c:pt idx="4010">
                  <c:v>17.584700000000002</c:v>
                </c:pt>
                <c:pt idx="4011">
                  <c:v>17.928799999999999</c:v>
                </c:pt>
                <c:pt idx="4012">
                  <c:v>17.225300000000001</c:v>
                </c:pt>
                <c:pt idx="4013">
                  <c:v>17.127800000000001</c:v>
                </c:pt>
                <c:pt idx="4014">
                  <c:v>17.133099999999999</c:v>
                </c:pt>
                <c:pt idx="4015">
                  <c:v>17.450299999999999</c:v>
                </c:pt>
                <c:pt idx="4016">
                  <c:v>17.301200000000001</c:v>
                </c:pt>
                <c:pt idx="4017">
                  <c:v>17.467099999999999</c:v>
                </c:pt>
                <c:pt idx="4018">
                  <c:v>17.833300000000001</c:v>
                </c:pt>
                <c:pt idx="4019">
                  <c:v>18.274000000000001</c:v>
                </c:pt>
                <c:pt idx="4020">
                  <c:v>18.2714</c:v>
                </c:pt>
                <c:pt idx="4021">
                  <c:v>18.1479</c:v>
                </c:pt>
                <c:pt idx="4022">
                  <c:v>18.011399999999998</c:v>
                </c:pt>
                <c:pt idx="4023">
                  <c:v>18.341000000000001</c:v>
                </c:pt>
                <c:pt idx="4024">
                  <c:v>18.038</c:v>
                </c:pt>
                <c:pt idx="4025">
                  <c:v>18.069299999999998</c:v>
                </c:pt>
                <c:pt idx="4026">
                  <c:v>18.2301</c:v>
                </c:pt>
                <c:pt idx="4027">
                  <c:v>18.031400000000001</c:v>
                </c:pt>
                <c:pt idx="4028">
                  <c:v>17.605699999999999</c:v>
                </c:pt>
                <c:pt idx="4029">
                  <c:v>17.091100000000001</c:v>
                </c:pt>
                <c:pt idx="4030">
                  <c:v>16.408799999999999</c:v>
                </c:pt>
                <c:pt idx="4031">
                  <c:v>16.353300000000001</c:v>
                </c:pt>
                <c:pt idx="4032">
                  <c:v>16.591100000000001</c:v>
                </c:pt>
                <c:pt idx="4033">
                  <c:v>16.053999999999998</c:v>
                </c:pt>
                <c:pt idx="4034">
                  <c:v>16.092199999999998</c:v>
                </c:pt>
                <c:pt idx="4035">
                  <c:v>16.0946</c:v>
                </c:pt>
                <c:pt idx="4036">
                  <c:v>16.4251</c:v>
                </c:pt>
                <c:pt idx="4037">
                  <c:v>16.4087</c:v>
                </c:pt>
                <c:pt idx="4038">
                  <c:v>16.584599999999998</c:v>
                </c:pt>
                <c:pt idx="4039">
                  <c:v>17.1022</c:v>
                </c:pt>
                <c:pt idx="4040">
                  <c:v>17.057200000000002</c:v>
                </c:pt>
                <c:pt idx="4041">
                  <c:v>16.7422</c:v>
                </c:pt>
                <c:pt idx="4042">
                  <c:v>16.736899999999999</c:v>
                </c:pt>
                <c:pt idx="4043">
                  <c:v>16.609500000000001</c:v>
                </c:pt>
                <c:pt idx="4044">
                  <c:v>16.7989</c:v>
                </c:pt>
                <c:pt idx="4045">
                  <c:v>16.793800000000001</c:v>
                </c:pt>
                <c:pt idx="4046">
                  <c:v>16.827000000000002</c:v>
                </c:pt>
                <c:pt idx="4047">
                  <c:v>16.8767</c:v>
                </c:pt>
                <c:pt idx="4048">
                  <c:v>17.1294</c:v>
                </c:pt>
                <c:pt idx="4049">
                  <c:v>17.121600000000001</c:v>
                </c:pt>
                <c:pt idx="4050">
                  <c:v>16.93</c:v>
                </c:pt>
                <c:pt idx="4051">
                  <c:v>16.797799999999999</c:v>
                </c:pt>
                <c:pt idx="4052">
                  <c:v>16.729099999999999</c:v>
                </c:pt>
                <c:pt idx="4053">
                  <c:v>16.695900000000002</c:v>
                </c:pt>
                <c:pt idx="4054">
                  <c:v>17.007999999999999</c:v>
                </c:pt>
                <c:pt idx="4055">
                  <c:v>16.860700000000001</c:v>
                </c:pt>
                <c:pt idx="4056">
                  <c:v>17.3307</c:v>
                </c:pt>
                <c:pt idx="4057">
                  <c:v>17.4419</c:v>
                </c:pt>
                <c:pt idx="4058">
                  <c:v>17.615300000000001</c:v>
                </c:pt>
                <c:pt idx="4059">
                  <c:v>17.455200000000001</c:v>
                </c:pt>
                <c:pt idx="4060">
                  <c:v>17.500800000000002</c:v>
                </c:pt>
                <c:pt idx="4061">
                  <c:v>17.321999999999999</c:v>
                </c:pt>
                <c:pt idx="4062">
                  <c:v>17.813300000000002</c:v>
                </c:pt>
                <c:pt idx="4063">
                  <c:v>18.090800000000002</c:v>
                </c:pt>
                <c:pt idx="4064">
                  <c:v>18.367100000000001</c:v>
                </c:pt>
                <c:pt idx="4065">
                  <c:v>18.308199999999999</c:v>
                </c:pt>
                <c:pt idx="4066">
                  <c:v>18.193200000000001</c:v>
                </c:pt>
                <c:pt idx="4067">
                  <c:v>18.4803</c:v>
                </c:pt>
                <c:pt idx="4068">
                  <c:v>18.446000000000002</c:v>
                </c:pt>
                <c:pt idx="4069">
                  <c:v>18.4313</c:v>
                </c:pt>
                <c:pt idx="4070">
                  <c:v>18.442699999999999</c:v>
                </c:pt>
                <c:pt idx="4071">
                  <c:v>18.391100000000002</c:v>
                </c:pt>
                <c:pt idx="4072">
                  <c:v>18.784400000000002</c:v>
                </c:pt>
                <c:pt idx="4073">
                  <c:v>18.779199999999999</c:v>
                </c:pt>
                <c:pt idx="4074">
                  <c:v>19.1037</c:v>
                </c:pt>
                <c:pt idx="4075">
                  <c:v>19.181899999999999</c:v>
                </c:pt>
                <c:pt idx="4076">
                  <c:v>19.217199999999998</c:v>
                </c:pt>
                <c:pt idx="4077">
                  <c:v>19.086500000000001</c:v>
                </c:pt>
                <c:pt idx="4078">
                  <c:v>19.128</c:v>
                </c:pt>
                <c:pt idx="4079">
                  <c:v>18.869700000000002</c:v>
                </c:pt>
                <c:pt idx="4080">
                  <c:v>18.468800000000002</c:v>
                </c:pt>
                <c:pt idx="4081">
                  <c:v>18.436499999999999</c:v>
                </c:pt>
                <c:pt idx="4082">
                  <c:v>18.528600000000001</c:v>
                </c:pt>
                <c:pt idx="4083">
                  <c:v>18.7972</c:v>
                </c:pt>
                <c:pt idx="4084">
                  <c:v>18.166799999999999</c:v>
                </c:pt>
                <c:pt idx="4085">
                  <c:v>18.0261</c:v>
                </c:pt>
                <c:pt idx="4086">
                  <c:v>17.827100000000002</c:v>
                </c:pt>
                <c:pt idx="4087">
                  <c:v>17.697700000000001</c:v>
                </c:pt>
                <c:pt idx="4088">
                  <c:v>17.7636</c:v>
                </c:pt>
                <c:pt idx="4089">
                  <c:v>17.5747</c:v>
                </c:pt>
                <c:pt idx="4090">
                  <c:v>17.576899999999998</c:v>
                </c:pt>
                <c:pt idx="4091">
                  <c:v>17.5077</c:v>
                </c:pt>
                <c:pt idx="4092">
                  <c:v>17.836600000000001</c:v>
                </c:pt>
                <c:pt idx="4093">
                  <c:v>17.953900000000001</c:v>
                </c:pt>
                <c:pt idx="4094">
                  <c:v>18.2271</c:v>
                </c:pt>
                <c:pt idx="4095">
                  <c:v>18.4224</c:v>
                </c:pt>
                <c:pt idx="4096">
                  <c:v>17.6448</c:v>
                </c:pt>
                <c:pt idx="4097">
                  <c:v>17.716200000000001</c:v>
                </c:pt>
                <c:pt idx="4098">
                  <c:v>17.525099999999998</c:v>
                </c:pt>
                <c:pt idx="4099">
                  <c:v>17.405100000000001</c:v>
                </c:pt>
                <c:pt idx="4100">
                  <c:v>17.519600000000001</c:v>
                </c:pt>
                <c:pt idx="4101">
                  <c:v>17.326000000000001</c:v>
                </c:pt>
                <c:pt idx="4102">
                  <c:v>17.025700000000001</c:v>
                </c:pt>
                <c:pt idx="4103">
                  <c:v>16.8857</c:v>
                </c:pt>
                <c:pt idx="4104">
                  <c:v>16.597300000000001</c:v>
                </c:pt>
                <c:pt idx="4105">
                  <c:v>16.430199999999999</c:v>
                </c:pt>
                <c:pt idx="4106">
                  <c:v>16.3992</c:v>
                </c:pt>
                <c:pt idx="4107">
                  <c:v>16.720400000000001</c:v>
                </c:pt>
                <c:pt idx="4108">
                  <c:v>16.3751</c:v>
                </c:pt>
                <c:pt idx="4109">
                  <c:v>16.141400000000001</c:v>
                </c:pt>
                <c:pt idx="4110">
                  <c:v>16.559799999999999</c:v>
                </c:pt>
                <c:pt idx="4111">
                  <c:v>17.0656</c:v>
                </c:pt>
                <c:pt idx="4112">
                  <c:v>17.0352</c:v>
                </c:pt>
                <c:pt idx="4113">
                  <c:v>16.857299999999999</c:v>
                </c:pt>
                <c:pt idx="4114">
                  <c:v>16.393899999999999</c:v>
                </c:pt>
                <c:pt idx="4115">
                  <c:v>16.279</c:v>
                </c:pt>
                <c:pt idx="4116">
                  <c:v>16.189299999999999</c:v>
                </c:pt>
                <c:pt idx="4117">
                  <c:v>16.148199999999999</c:v>
                </c:pt>
                <c:pt idx="4118">
                  <c:v>16.578199999999999</c:v>
                </c:pt>
                <c:pt idx="4119">
                  <c:v>16.190899999999999</c:v>
                </c:pt>
                <c:pt idx="4120">
                  <c:v>16.642800000000001</c:v>
                </c:pt>
                <c:pt idx="4121">
                  <c:v>16.844899999999999</c:v>
                </c:pt>
                <c:pt idx="4122">
                  <c:v>16.728100000000001</c:v>
                </c:pt>
                <c:pt idx="4123">
                  <c:v>16.601400000000002</c:v>
                </c:pt>
                <c:pt idx="4124">
                  <c:v>17.006399999999999</c:v>
                </c:pt>
                <c:pt idx="4125">
                  <c:v>17.212700000000002</c:v>
                </c:pt>
                <c:pt idx="4126">
                  <c:v>17.4876</c:v>
                </c:pt>
                <c:pt idx="4127">
                  <c:v>17.402999999999999</c:v>
                </c:pt>
                <c:pt idx="4128">
                  <c:v>17.311399999999999</c:v>
                </c:pt>
                <c:pt idx="4129">
                  <c:v>17.7333</c:v>
                </c:pt>
                <c:pt idx="4130">
                  <c:v>17.607600000000001</c:v>
                </c:pt>
                <c:pt idx="4131">
                  <c:v>17.528600000000001</c:v>
                </c:pt>
                <c:pt idx="4132">
                  <c:v>17.102699999999999</c:v>
                </c:pt>
                <c:pt idx="4133">
                  <c:v>16.9892</c:v>
                </c:pt>
                <c:pt idx="4134">
                  <c:v>17.227499999999999</c:v>
                </c:pt>
                <c:pt idx="4135">
                  <c:v>17.407599999999999</c:v>
                </c:pt>
                <c:pt idx="4136">
                  <c:v>17.5198</c:v>
                </c:pt>
                <c:pt idx="4137">
                  <c:v>17.168700000000001</c:v>
                </c:pt>
                <c:pt idx="4138">
                  <c:v>18.129100000000001</c:v>
                </c:pt>
                <c:pt idx="4139">
                  <c:v>18.294599999999999</c:v>
                </c:pt>
                <c:pt idx="4140">
                  <c:v>18.140699999999999</c:v>
                </c:pt>
                <c:pt idx="4141">
                  <c:v>18.313300000000002</c:v>
                </c:pt>
                <c:pt idx="4142">
                  <c:v>18.18</c:v>
                </c:pt>
                <c:pt idx="4143">
                  <c:v>18.119800000000001</c:v>
                </c:pt>
                <c:pt idx="4144">
                  <c:v>18.197199999999999</c:v>
                </c:pt>
                <c:pt idx="4145">
                  <c:v>18.1252</c:v>
                </c:pt>
                <c:pt idx="4146">
                  <c:v>18.3688</c:v>
                </c:pt>
                <c:pt idx="4147">
                  <c:v>18.4876</c:v>
                </c:pt>
                <c:pt idx="4148">
                  <c:v>18.4877</c:v>
                </c:pt>
                <c:pt idx="4149">
                  <c:v>18.483899999999998</c:v>
                </c:pt>
                <c:pt idx="4150">
                  <c:v>18.202100000000002</c:v>
                </c:pt>
                <c:pt idx="4151">
                  <c:v>18.187899999999999</c:v>
                </c:pt>
                <c:pt idx="4152">
                  <c:v>18.748200000000001</c:v>
                </c:pt>
                <c:pt idx="4153">
                  <c:v>18.732600000000001</c:v>
                </c:pt>
                <c:pt idx="4154">
                  <c:v>18.715599999999998</c:v>
                </c:pt>
                <c:pt idx="4155">
                  <c:v>18.375599999999999</c:v>
                </c:pt>
                <c:pt idx="4156">
                  <c:v>18.1145</c:v>
                </c:pt>
                <c:pt idx="4157">
                  <c:v>18.078299999999999</c:v>
                </c:pt>
                <c:pt idx="4158">
                  <c:v>18.227799999999998</c:v>
                </c:pt>
                <c:pt idx="4159">
                  <c:v>18.098099999999999</c:v>
                </c:pt>
                <c:pt idx="4160">
                  <c:v>18.382100000000001</c:v>
                </c:pt>
                <c:pt idx="4161">
                  <c:v>18.515499999999999</c:v>
                </c:pt>
                <c:pt idx="4162">
                  <c:v>18.407299999999999</c:v>
                </c:pt>
                <c:pt idx="4163">
                  <c:v>17.957599999999999</c:v>
                </c:pt>
                <c:pt idx="4164">
                  <c:v>17.759</c:v>
                </c:pt>
                <c:pt idx="4165">
                  <c:v>17.537299999999998</c:v>
                </c:pt>
                <c:pt idx="4166">
                  <c:v>17.556000000000001</c:v>
                </c:pt>
                <c:pt idx="4167">
                  <c:v>17.821300000000001</c:v>
                </c:pt>
                <c:pt idx="4168">
                  <c:v>17.532299999999999</c:v>
                </c:pt>
                <c:pt idx="4169">
                  <c:v>17.635000000000002</c:v>
                </c:pt>
                <c:pt idx="4170">
                  <c:v>17.634799999999998</c:v>
                </c:pt>
                <c:pt idx="4171">
                  <c:v>17.564599999999999</c:v>
                </c:pt>
                <c:pt idx="4172">
                  <c:v>17.3536</c:v>
                </c:pt>
                <c:pt idx="4173">
                  <c:v>17.6571</c:v>
                </c:pt>
                <c:pt idx="4174">
                  <c:v>17.613900000000001</c:v>
                </c:pt>
                <c:pt idx="4175">
                  <c:v>17.616199999999999</c:v>
                </c:pt>
                <c:pt idx="4176">
                  <c:v>17.547799999999999</c:v>
                </c:pt>
                <c:pt idx="4177">
                  <c:v>17.691099999999999</c:v>
                </c:pt>
                <c:pt idx="4178">
                  <c:v>17.499700000000001</c:v>
                </c:pt>
                <c:pt idx="4179">
                  <c:v>17.900600000000001</c:v>
                </c:pt>
                <c:pt idx="4180">
                  <c:v>17.907800000000002</c:v>
                </c:pt>
                <c:pt idx="4181">
                  <c:v>18.029399999999999</c:v>
                </c:pt>
                <c:pt idx="4182">
                  <c:v>18.268899999999999</c:v>
                </c:pt>
                <c:pt idx="4183">
                  <c:v>18.3399</c:v>
                </c:pt>
                <c:pt idx="4184">
                  <c:v>18.422999999999998</c:v>
                </c:pt>
                <c:pt idx="4185">
                  <c:v>18.4236</c:v>
                </c:pt>
                <c:pt idx="4186">
                  <c:v>18.374700000000001</c:v>
                </c:pt>
                <c:pt idx="4187">
                  <c:v>18.104900000000001</c:v>
                </c:pt>
                <c:pt idx="4188">
                  <c:v>17.987300000000001</c:v>
                </c:pt>
                <c:pt idx="4189">
                  <c:v>18.315899999999999</c:v>
                </c:pt>
                <c:pt idx="4190">
                  <c:v>18.5381</c:v>
                </c:pt>
                <c:pt idx="4191">
                  <c:v>18.575299999999999</c:v>
                </c:pt>
                <c:pt idx="4192">
                  <c:v>18.6646</c:v>
                </c:pt>
                <c:pt idx="4193">
                  <c:v>18.874700000000001</c:v>
                </c:pt>
                <c:pt idx="4194">
                  <c:v>18.9299</c:v>
                </c:pt>
                <c:pt idx="4195">
                  <c:v>18.684100000000001</c:v>
                </c:pt>
                <c:pt idx="4196">
                  <c:v>19.0319</c:v>
                </c:pt>
                <c:pt idx="4197">
                  <c:v>19.203399999999998</c:v>
                </c:pt>
                <c:pt idx="4198">
                  <c:v>19.747599999999998</c:v>
                </c:pt>
                <c:pt idx="4199">
                  <c:v>19.5611</c:v>
                </c:pt>
                <c:pt idx="4200">
                  <c:v>19.450600000000001</c:v>
                </c:pt>
                <c:pt idx="4201">
                  <c:v>19.715599999999998</c:v>
                </c:pt>
                <c:pt idx="4202">
                  <c:v>19.526499999999999</c:v>
                </c:pt>
                <c:pt idx="4203">
                  <c:v>19.459399999999999</c:v>
                </c:pt>
                <c:pt idx="4204">
                  <c:v>19.522600000000001</c:v>
                </c:pt>
                <c:pt idx="4205">
                  <c:v>18.714600000000001</c:v>
                </c:pt>
                <c:pt idx="4206">
                  <c:v>18.719899999999999</c:v>
                </c:pt>
                <c:pt idx="4207">
                  <c:v>18.8154</c:v>
                </c:pt>
                <c:pt idx="4208">
                  <c:v>18.5778</c:v>
                </c:pt>
                <c:pt idx="4209">
                  <c:v>18.522200000000002</c:v>
                </c:pt>
                <c:pt idx="4210">
                  <c:v>18.5319</c:v>
                </c:pt>
                <c:pt idx="4211">
                  <c:v>18.1663</c:v>
                </c:pt>
                <c:pt idx="4212">
                  <c:v>18.1509</c:v>
                </c:pt>
                <c:pt idx="4213">
                  <c:v>18.259699999999999</c:v>
                </c:pt>
                <c:pt idx="4214">
                  <c:v>18.0732</c:v>
                </c:pt>
                <c:pt idx="4215">
                  <c:v>18.083300000000001</c:v>
                </c:pt>
                <c:pt idx="4216">
                  <c:v>18.036200000000001</c:v>
                </c:pt>
                <c:pt idx="4217">
                  <c:v>17.950700000000001</c:v>
                </c:pt>
                <c:pt idx="4218">
                  <c:v>18.097799999999999</c:v>
                </c:pt>
                <c:pt idx="4219">
                  <c:v>18.3888</c:v>
                </c:pt>
                <c:pt idx="4220">
                  <c:v>18.413699999999999</c:v>
                </c:pt>
                <c:pt idx="4221">
                  <c:v>18.129000000000001</c:v>
                </c:pt>
                <c:pt idx="4222">
                  <c:v>18.159400000000002</c:v>
                </c:pt>
                <c:pt idx="4223">
                  <c:v>17.832100000000001</c:v>
                </c:pt>
                <c:pt idx="4224">
                  <c:v>17.580300000000001</c:v>
                </c:pt>
                <c:pt idx="4225">
                  <c:v>17.5532</c:v>
                </c:pt>
                <c:pt idx="4226">
                  <c:v>17.839500000000001</c:v>
                </c:pt>
                <c:pt idx="4227">
                  <c:v>17.728300000000001</c:v>
                </c:pt>
                <c:pt idx="4228">
                  <c:v>18.040500000000002</c:v>
                </c:pt>
                <c:pt idx="4229">
                  <c:v>17.850200000000001</c:v>
                </c:pt>
                <c:pt idx="4230">
                  <c:v>18.0181</c:v>
                </c:pt>
                <c:pt idx="4231">
                  <c:v>18.246200000000002</c:v>
                </c:pt>
                <c:pt idx="4232">
                  <c:v>17.9496</c:v>
                </c:pt>
                <c:pt idx="4233">
                  <c:v>18.023399999999999</c:v>
                </c:pt>
                <c:pt idx="4234">
                  <c:v>18.133900000000001</c:v>
                </c:pt>
                <c:pt idx="4235">
                  <c:v>18.169799999999999</c:v>
                </c:pt>
                <c:pt idx="4236">
                  <c:v>18.1675</c:v>
                </c:pt>
                <c:pt idx="4237">
                  <c:v>18.440000000000001</c:v>
                </c:pt>
                <c:pt idx="4238">
                  <c:v>18.5489</c:v>
                </c:pt>
                <c:pt idx="4239">
                  <c:v>18.823399999999999</c:v>
                </c:pt>
                <c:pt idx="4240">
                  <c:v>18.9039</c:v>
                </c:pt>
                <c:pt idx="4241">
                  <c:v>18.8172</c:v>
                </c:pt>
                <c:pt idx="4242">
                  <c:v>18.7712</c:v>
                </c:pt>
                <c:pt idx="4243">
                  <c:v>18.8401</c:v>
                </c:pt>
                <c:pt idx="4244">
                  <c:v>18.839500000000001</c:v>
                </c:pt>
                <c:pt idx="4245">
                  <c:v>18.868500000000001</c:v>
                </c:pt>
                <c:pt idx="4246">
                  <c:v>18.881399999999999</c:v>
                </c:pt>
                <c:pt idx="4247">
                  <c:v>18.822600000000001</c:v>
                </c:pt>
                <c:pt idx="4248">
                  <c:v>19.0808</c:v>
                </c:pt>
                <c:pt idx="4249">
                  <c:v>19.0396</c:v>
                </c:pt>
                <c:pt idx="4250">
                  <c:v>19.084800000000001</c:v>
                </c:pt>
                <c:pt idx="4251">
                  <c:v>19.114599999999999</c:v>
                </c:pt>
                <c:pt idx="4252">
                  <c:v>19.1233</c:v>
                </c:pt>
                <c:pt idx="4253">
                  <c:v>19.0307</c:v>
                </c:pt>
                <c:pt idx="4254">
                  <c:v>19.044899999999998</c:v>
                </c:pt>
                <c:pt idx="4255">
                  <c:v>19.056799999999999</c:v>
                </c:pt>
                <c:pt idx="4256">
                  <c:v>18.7271</c:v>
                </c:pt>
                <c:pt idx="4257">
                  <c:v>18.627400000000002</c:v>
                </c:pt>
                <c:pt idx="4258">
                  <c:v>18.9998</c:v>
                </c:pt>
                <c:pt idx="4259">
                  <c:v>19.107800000000001</c:v>
                </c:pt>
                <c:pt idx="4260">
                  <c:v>19.0916</c:v>
                </c:pt>
                <c:pt idx="4261">
                  <c:v>18.880400000000002</c:v>
                </c:pt>
                <c:pt idx="4262">
                  <c:v>18.739699999999999</c:v>
                </c:pt>
                <c:pt idx="4263">
                  <c:v>18.610499999999998</c:v>
                </c:pt>
                <c:pt idx="4264">
                  <c:v>18.947800000000001</c:v>
                </c:pt>
                <c:pt idx="4265">
                  <c:v>18.980499999999999</c:v>
                </c:pt>
                <c:pt idx="4266">
                  <c:v>18.902100000000001</c:v>
                </c:pt>
                <c:pt idx="4267">
                  <c:v>18.993099999999998</c:v>
                </c:pt>
                <c:pt idx="4268">
                  <c:v>18.962399999999999</c:v>
                </c:pt>
                <c:pt idx="4269">
                  <c:v>18.939299999999999</c:v>
                </c:pt>
                <c:pt idx="4270">
                  <c:v>18.981999999999999</c:v>
                </c:pt>
                <c:pt idx="4271">
                  <c:v>18.867899999999999</c:v>
                </c:pt>
                <c:pt idx="4272">
                  <c:v>19.138100000000001</c:v>
                </c:pt>
                <c:pt idx="4273">
                  <c:v>19.316099999999999</c:v>
                </c:pt>
                <c:pt idx="4274">
                  <c:v>19.2425</c:v>
                </c:pt>
                <c:pt idx="4275">
                  <c:v>19.2423</c:v>
                </c:pt>
                <c:pt idx="4276">
                  <c:v>19.030899999999999</c:v>
                </c:pt>
                <c:pt idx="4277">
                  <c:v>18.865400000000001</c:v>
                </c:pt>
                <c:pt idx="4278">
                  <c:v>19.006</c:v>
                </c:pt>
                <c:pt idx="4279">
                  <c:v>19.265799999999999</c:v>
                </c:pt>
                <c:pt idx="4280">
                  <c:v>19.268000000000001</c:v>
                </c:pt>
                <c:pt idx="4281">
                  <c:v>19.278099999999998</c:v>
                </c:pt>
                <c:pt idx="4282">
                  <c:v>19.172000000000001</c:v>
                </c:pt>
                <c:pt idx="4283">
                  <c:v>19.370899999999999</c:v>
                </c:pt>
                <c:pt idx="4284">
                  <c:v>19.651199999999999</c:v>
                </c:pt>
                <c:pt idx="4285">
                  <c:v>19.611999999999998</c:v>
                </c:pt>
                <c:pt idx="4286">
                  <c:v>19.662800000000001</c:v>
                </c:pt>
                <c:pt idx="4287">
                  <c:v>19.586300000000001</c:v>
                </c:pt>
                <c:pt idx="4288">
                  <c:v>19.686499999999999</c:v>
                </c:pt>
                <c:pt idx="4289">
                  <c:v>19.7195</c:v>
                </c:pt>
                <c:pt idx="4290">
                  <c:v>19.9148</c:v>
                </c:pt>
                <c:pt idx="4291">
                  <c:v>20.058700000000002</c:v>
                </c:pt>
                <c:pt idx="4292">
                  <c:v>20.0794</c:v>
                </c:pt>
                <c:pt idx="4293">
                  <c:v>20.3261</c:v>
                </c:pt>
                <c:pt idx="4294">
                  <c:v>20.261600000000001</c:v>
                </c:pt>
                <c:pt idx="4295">
                  <c:v>20.260999999999999</c:v>
                </c:pt>
                <c:pt idx="4296">
                  <c:v>20.1313</c:v>
                </c:pt>
                <c:pt idx="4297">
                  <c:v>20.0275</c:v>
                </c:pt>
                <c:pt idx="4298">
                  <c:v>20.088000000000001</c:v>
                </c:pt>
                <c:pt idx="4299">
                  <c:v>19.9389</c:v>
                </c:pt>
                <c:pt idx="4300">
                  <c:v>19.8582</c:v>
                </c:pt>
                <c:pt idx="4301">
                  <c:v>20.0989</c:v>
                </c:pt>
                <c:pt idx="4302">
                  <c:v>20.099399999999999</c:v>
                </c:pt>
                <c:pt idx="4303">
                  <c:v>20.198699999999999</c:v>
                </c:pt>
                <c:pt idx="4304">
                  <c:v>20.453800000000001</c:v>
                </c:pt>
                <c:pt idx="4305">
                  <c:v>20.490200000000002</c:v>
                </c:pt>
                <c:pt idx="4306">
                  <c:v>20.490200000000002</c:v>
                </c:pt>
                <c:pt idx="4307">
                  <c:v>20.479800000000001</c:v>
                </c:pt>
                <c:pt idx="4308">
                  <c:v>20.313300000000002</c:v>
                </c:pt>
                <c:pt idx="4309">
                  <c:v>20.263000000000002</c:v>
                </c:pt>
                <c:pt idx="4310">
                  <c:v>20.3386</c:v>
                </c:pt>
                <c:pt idx="4311">
                  <c:v>20.567799999999998</c:v>
                </c:pt>
                <c:pt idx="4312">
                  <c:v>20.739599999999999</c:v>
                </c:pt>
                <c:pt idx="4313">
                  <c:v>20.9147</c:v>
                </c:pt>
                <c:pt idx="4314">
                  <c:v>20.896799999999999</c:v>
                </c:pt>
                <c:pt idx="4315">
                  <c:v>20.994199999999999</c:v>
                </c:pt>
                <c:pt idx="4316">
                  <c:v>21.1692</c:v>
                </c:pt>
                <c:pt idx="4317">
                  <c:v>21.2516</c:v>
                </c:pt>
                <c:pt idx="4318">
                  <c:v>21.127400000000002</c:v>
                </c:pt>
                <c:pt idx="4319">
                  <c:v>21.135200000000001</c:v>
                </c:pt>
                <c:pt idx="4320">
                  <c:v>21.239699999999999</c:v>
                </c:pt>
                <c:pt idx="4321">
                  <c:v>21.2698</c:v>
                </c:pt>
                <c:pt idx="4322">
                  <c:v>21.2364</c:v>
                </c:pt>
                <c:pt idx="4323">
                  <c:v>21.0623</c:v>
                </c:pt>
                <c:pt idx="4324">
                  <c:v>21.270800000000001</c:v>
                </c:pt>
                <c:pt idx="4325">
                  <c:v>21.2943</c:v>
                </c:pt>
                <c:pt idx="4326">
                  <c:v>21.219000000000001</c:v>
                </c:pt>
                <c:pt idx="4327">
                  <c:v>20.927199999999999</c:v>
                </c:pt>
                <c:pt idx="4328">
                  <c:v>20.828499999999998</c:v>
                </c:pt>
                <c:pt idx="4329">
                  <c:v>20.694900000000001</c:v>
                </c:pt>
                <c:pt idx="4330">
                  <c:v>20.859500000000001</c:v>
                </c:pt>
                <c:pt idx="4331">
                  <c:v>20.779699999999998</c:v>
                </c:pt>
                <c:pt idx="4332">
                  <c:v>20.6266</c:v>
                </c:pt>
                <c:pt idx="4333">
                  <c:v>20.626200000000001</c:v>
                </c:pt>
                <c:pt idx="4334">
                  <c:v>20.604800000000001</c:v>
                </c:pt>
                <c:pt idx="4335">
                  <c:v>20.709299999999999</c:v>
                </c:pt>
                <c:pt idx="4336">
                  <c:v>20.463699999999999</c:v>
                </c:pt>
                <c:pt idx="4337">
                  <c:v>20.309000000000001</c:v>
                </c:pt>
                <c:pt idx="4338">
                  <c:v>20.140799999999999</c:v>
                </c:pt>
                <c:pt idx="4339">
                  <c:v>20.076599999999999</c:v>
                </c:pt>
                <c:pt idx="4340">
                  <c:v>20.213999999999999</c:v>
                </c:pt>
                <c:pt idx="4341">
                  <c:v>20.161000000000001</c:v>
                </c:pt>
                <c:pt idx="4342">
                  <c:v>20.351299999999998</c:v>
                </c:pt>
                <c:pt idx="4343">
                  <c:v>20.061699999999998</c:v>
                </c:pt>
                <c:pt idx="4344">
                  <c:v>20.173300000000001</c:v>
                </c:pt>
                <c:pt idx="4345">
                  <c:v>20.296399999999998</c:v>
                </c:pt>
                <c:pt idx="4346">
                  <c:v>20.564800000000002</c:v>
                </c:pt>
                <c:pt idx="4347">
                  <c:v>20.6585</c:v>
                </c:pt>
                <c:pt idx="4348">
                  <c:v>20.640599999999999</c:v>
                </c:pt>
                <c:pt idx="4349">
                  <c:v>20.808599999999998</c:v>
                </c:pt>
                <c:pt idx="4350">
                  <c:v>20.800999999999998</c:v>
                </c:pt>
                <c:pt idx="4351">
                  <c:v>20.729800000000001</c:v>
                </c:pt>
                <c:pt idx="4352">
                  <c:v>20.581199999999999</c:v>
                </c:pt>
                <c:pt idx="4353">
                  <c:v>20.505600000000001</c:v>
                </c:pt>
                <c:pt idx="4354">
                  <c:v>20.539400000000001</c:v>
                </c:pt>
                <c:pt idx="4355">
                  <c:v>20.6829</c:v>
                </c:pt>
                <c:pt idx="4356">
                  <c:v>20.5701</c:v>
                </c:pt>
                <c:pt idx="4357">
                  <c:v>20.599599999999999</c:v>
                </c:pt>
                <c:pt idx="4358">
                  <c:v>20.782</c:v>
                </c:pt>
                <c:pt idx="4359">
                  <c:v>20.537700000000001</c:v>
                </c:pt>
                <c:pt idx="4360">
                  <c:v>20.553100000000001</c:v>
                </c:pt>
                <c:pt idx="4361">
                  <c:v>20.5091</c:v>
                </c:pt>
                <c:pt idx="4362">
                  <c:v>20.315200000000001</c:v>
                </c:pt>
                <c:pt idx="4363">
                  <c:v>19.9877</c:v>
                </c:pt>
                <c:pt idx="4364">
                  <c:v>19.947800000000001</c:v>
                </c:pt>
                <c:pt idx="4365">
                  <c:v>20.020199999999999</c:v>
                </c:pt>
                <c:pt idx="4366">
                  <c:v>19.731200000000001</c:v>
                </c:pt>
                <c:pt idx="4367">
                  <c:v>19.7258</c:v>
                </c:pt>
                <c:pt idx="4368">
                  <c:v>19.842600000000001</c:v>
                </c:pt>
                <c:pt idx="4369">
                  <c:v>19.7196</c:v>
                </c:pt>
                <c:pt idx="4370">
                  <c:v>19.717700000000001</c:v>
                </c:pt>
                <c:pt idx="4371">
                  <c:v>19.4558</c:v>
                </c:pt>
                <c:pt idx="4372">
                  <c:v>19.613299999999999</c:v>
                </c:pt>
                <c:pt idx="4373">
                  <c:v>19.608599999999999</c:v>
                </c:pt>
                <c:pt idx="4374">
                  <c:v>19.838899999999999</c:v>
                </c:pt>
                <c:pt idx="4375">
                  <c:v>19.9815</c:v>
                </c:pt>
                <c:pt idx="4376">
                  <c:v>20.090199999999999</c:v>
                </c:pt>
                <c:pt idx="4377">
                  <c:v>20.187000000000001</c:v>
                </c:pt>
                <c:pt idx="4378">
                  <c:v>20.067599999999999</c:v>
                </c:pt>
                <c:pt idx="4379">
                  <c:v>19.965499999999999</c:v>
                </c:pt>
                <c:pt idx="4380">
                  <c:v>20.223099999999999</c:v>
                </c:pt>
                <c:pt idx="4381">
                  <c:v>20.254899999999999</c:v>
                </c:pt>
                <c:pt idx="4382">
                  <c:v>20.0122</c:v>
                </c:pt>
                <c:pt idx="4383">
                  <c:v>19.849799999999998</c:v>
                </c:pt>
                <c:pt idx="4384">
                  <c:v>19.5869</c:v>
                </c:pt>
                <c:pt idx="4385">
                  <c:v>19.560700000000001</c:v>
                </c:pt>
                <c:pt idx="4386">
                  <c:v>19.6831</c:v>
                </c:pt>
                <c:pt idx="4387">
                  <c:v>19.387</c:v>
                </c:pt>
                <c:pt idx="4388">
                  <c:v>19.132899999999999</c:v>
                </c:pt>
                <c:pt idx="4389">
                  <c:v>19.034800000000001</c:v>
                </c:pt>
                <c:pt idx="4390">
                  <c:v>19.269400000000001</c:v>
                </c:pt>
                <c:pt idx="4391">
                  <c:v>19.405200000000001</c:v>
                </c:pt>
                <c:pt idx="4392">
                  <c:v>19.502800000000001</c:v>
                </c:pt>
                <c:pt idx="4393">
                  <c:v>19.8704</c:v>
                </c:pt>
                <c:pt idx="4394">
                  <c:v>20.066199999999998</c:v>
                </c:pt>
                <c:pt idx="4395">
                  <c:v>20.256499999999999</c:v>
                </c:pt>
                <c:pt idx="4396">
                  <c:v>20.306699999999999</c:v>
                </c:pt>
                <c:pt idx="4397">
                  <c:v>20.342700000000001</c:v>
                </c:pt>
                <c:pt idx="4398">
                  <c:v>20.193100000000001</c:v>
                </c:pt>
                <c:pt idx="4399">
                  <c:v>20.51</c:v>
                </c:pt>
                <c:pt idx="4400">
                  <c:v>20.480399999999999</c:v>
                </c:pt>
                <c:pt idx="4401">
                  <c:v>20.871600000000001</c:v>
                </c:pt>
                <c:pt idx="4402">
                  <c:v>20.893699999999999</c:v>
                </c:pt>
                <c:pt idx="4403">
                  <c:v>20.915099999999999</c:v>
                </c:pt>
                <c:pt idx="4404">
                  <c:v>20.921700000000001</c:v>
                </c:pt>
                <c:pt idx="4405">
                  <c:v>21.072500000000002</c:v>
                </c:pt>
                <c:pt idx="4406">
                  <c:v>21.013200000000001</c:v>
                </c:pt>
                <c:pt idx="4407">
                  <c:v>21.096900000000002</c:v>
                </c:pt>
                <c:pt idx="4408">
                  <c:v>21.099</c:v>
                </c:pt>
                <c:pt idx="4409">
                  <c:v>21.112200000000001</c:v>
                </c:pt>
                <c:pt idx="4410">
                  <c:v>21.0702</c:v>
                </c:pt>
                <c:pt idx="4411">
                  <c:v>21.1203</c:v>
                </c:pt>
                <c:pt idx="4412">
                  <c:v>21.04</c:v>
                </c:pt>
                <c:pt idx="4413">
                  <c:v>21.124400000000001</c:v>
                </c:pt>
                <c:pt idx="4414">
                  <c:v>21.249099999999999</c:v>
                </c:pt>
                <c:pt idx="4415">
                  <c:v>21.138100000000001</c:v>
                </c:pt>
                <c:pt idx="4416">
                  <c:v>21.1264</c:v>
                </c:pt>
                <c:pt idx="4417">
                  <c:v>21.045300000000001</c:v>
                </c:pt>
                <c:pt idx="4418">
                  <c:v>21.2273</c:v>
                </c:pt>
                <c:pt idx="4419">
                  <c:v>21.320699999999999</c:v>
                </c:pt>
                <c:pt idx="4420">
                  <c:v>21.414100000000001</c:v>
                </c:pt>
                <c:pt idx="4421">
                  <c:v>21.516100000000002</c:v>
                </c:pt>
                <c:pt idx="4422">
                  <c:v>21.815799999999999</c:v>
                </c:pt>
                <c:pt idx="4423">
                  <c:v>21.883099999999999</c:v>
                </c:pt>
                <c:pt idx="4424">
                  <c:v>21.8841</c:v>
                </c:pt>
                <c:pt idx="4425">
                  <c:v>21.991299999999999</c:v>
                </c:pt>
                <c:pt idx="4426">
                  <c:v>22.123699999999999</c:v>
                </c:pt>
                <c:pt idx="4427">
                  <c:v>21.799800000000001</c:v>
                </c:pt>
                <c:pt idx="4428">
                  <c:v>22.024100000000001</c:v>
                </c:pt>
                <c:pt idx="4429">
                  <c:v>22.066099999999999</c:v>
                </c:pt>
                <c:pt idx="4430">
                  <c:v>22.062100000000001</c:v>
                </c:pt>
                <c:pt idx="4431">
                  <c:v>22.155200000000001</c:v>
                </c:pt>
                <c:pt idx="4432">
                  <c:v>22.178599999999999</c:v>
                </c:pt>
                <c:pt idx="4433">
                  <c:v>22.191199999999998</c:v>
                </c:pt>
                <c:pt idx="4434">
                  <c:v>22.128</c:v>
                </c:pt>
                <c:pt idx="4435">
                  <c:v>22.128599999999999</c:v>
                </c:pt>
                <c:pt idx="4436">
                  <c:v>22.0016</c:v>
                </c:pt>
                <c:pt idx="4437">
                  <c:v>21.8172</c:v>
                </c:pt>
                <c:pt idx="4438">
                  <c:v>21.751799999999999</c:v>
                </c:pt>
                <c:pt idx="4439">
                  <c:v>21.790800000000001</c:v>
                </c:pt>
                <c:pt idx="4440">
                  <c:v>22.109300000000001</c:v>
                </c:pt>
                <c:pt idx="4441">
                  <c:v>22.066199999999998</c:v>
                </c:pt>
                <c:pt idx="4442">
                  <c:v>22.195900000000002</c:v>
                </c:pt>
                <c:pt idx="4443">
                  <c:v>22.1767</c:v>
                </c:pt>
                <c:pt idx="4444">
                  <c:v>22.253299999999999</c:v>
                </c:pt>
                <c:pt idx="4445">
                  <c:v>22.256499999999999</c:v>
                </c:pt>
                <c:pt idx="4446">
                  <c:v>22.173200000000001</c:v>
                </c:pt>
                <c:pt idx="4447">
                  <c:v>22.0533</c:v>
                </c:pt>
                <c:pt idx="4448">
                  <c:v>22.254000000000001</c:v>
                </c:pt>
                <c:pt idx="4449">
                  <c:v>22.520499999999998</c:v>
                </c:pt>
                <c:pt idx="4450">
                  <c:v>22.573899999999998</c:v>
                </c:pt>
                <c:pt idx="4451">
                  <c:v>22.682200000000002</c:v>
                </c:pt>
                <c:pt idx="4452">
                  <c:v>22.758099999999999</c:v>
                </c:pt>
                <c:pt idx="4453">
                  <c:v>22.96</c:v>
                </c:pt>
                <c:pt idx="4454">
                  <c:v>22.917400000000001</c:v>
                </c:pt>
                <c:pt idx="4455">
                  <c:v>23.081299999999999</c:v>
                </c:pt>
                <c:pt idx="4456">
                  <c:v>23.0883</c:v>
                </c:pt>
                <c:pt idx="4457">
                  <c:v>22.744700000000002</c:v>
                </c:pt>
                <c:pt idx="4458">
                  <c:v>23.050599999999999</c:v>
                </c:pt>
                <c:pt idx="4459">
                  <c:v>23.471299999999999</c:v>
                </c:pt>
                <c:pt idx="4460">
                  <c:v>23.394100000000002</c:v>
                </c:pt>
                <c:pt idx="4461">
                  <c:v>23.5379</c:v>
                </c:pt>
                <c:pt idx="4462">
                  <c:v>23.777000000000001</c:v>
                </c:pt>
                <c:pt idx="4463">
                  <c:v>23.868200000000002</c:v>
                </c:pt>
                <c:pt idx="4464">
                  <c:v>24.005299999999998</c:v>
                </c:pt>
                <c:pt idx="4465">
                  <c:v>24.000499999999999</c:v>
                </c:pt>
                <c:pt idx="4466">
                  <c:v>23.686199999999999</c:v>
                </c:pt>
                <c:pt idx="4467">
                  <c:v>23.909300000000002</c:v>
                </c:pt>
                <c:pt idx="4468">
                  <c:v>24.052199999999999</c:v>
                </c:pt>
                <c:pt idx="4469">
                  <c:v>23.9496</c:v>
                </c:pt>
                <c:pt idx="4470">
                  <c:v>23.949400000000001</c:v>
                </c:pt>
                <c:pt idx="4471">
                  <c:v>23.8155</c:v>
                </c:pt>
                <c:pt idx="4472">
                  <c:v>20.6768</c:v>
                </c:pt>
                <c:pt idx="4473">
                  <c:v>21.0884</c:v>
                </c:pt>
                <c:pt idx="4474">
                  <c:v>21.101400000000002</c:v>
                </c:pt>
                <c:pt idx="4475">
                  <c:v>21.008400000000002</c:v>
                </c:pt>
                <c:pt idx="4476">
                  <c:v>21.045100000000001</c:v>
                </c:pt>
                <c:pt idx="4477">
                  <c:v>21.0137</c:v>
                </c:pt>
                <c:pt idx="4478">
                  <c:v>21.123200000000001</c:v>
                </c:pt>
                <c:pt idx="4479">
                  <c:v>21.291899999999998</c:v>
                </c:pt>
                <c:pt idx="4480">
                  <c:v>21.273</c:v>
                </c:pt>
                <c:pt idx="4481">
                  <c:v>21.057200000000002</c:v>
                </c:pt>
                <c:pt idx="4482">
                  <c:v>21.167300000000001</c:v>
                </c:pt>
                <c:pt idx="4483">
                  <c:v>21.3934</c:v>
                </c:pt>
                <c:pt idx="4484">
                  <c:v>21.250299999999999</c:v>
                </c:pt>
                <c:pt idx="4485">
                  <c:v>21.2319</c:v>
                </c:pt>
                <c:pt idx="4486">
                  <c:v>21.473600000000001</c:v>
                </c:pt>
                <c:pt idx="4487">
                  <c:v>21.426600000000001</c:v>
                </c:pt>
                <c:pt idx="4488">
                  <c:v>21.3691</c:v>
                </c:pt>
                <c:pt idx="4489">
                  <c:v>21.229099999999999</c:v>
                </c:pt>
                <c:pt idx="4490">
                  <c:v>21.336600000000001</c:v>
                </c:pt>
                <c:pt idx="4491">
                  <c:v>21.454899999999999</c:v>
                </c:pt>
                <c:pt idx="4492">
                  <c:v>21.632899999999999</c:v>
                </c:pt>
                <c:pt idx="4493">
                  <c:v>21.690100000000001</c:v>
                </c:pt>
                <c:pt idx="4494">
                  <c:v>21.660799999999998</c:v>
                </c:pt>
                <c:pt idx="4495">
                  <c:v>21.5886</c:v>
                </c:pt>
                <c:pt idx="4496">
                  <c:v>21.527000000000001</c:v>
                </c:pt>
                <c:pt idx="4497">
                  <c:v>21.714099999999998</c:v>
                </c:pt>
                <c:pt idx="4498">
                  <c:v>21.735800000000001</c:v>
                </c:pt>
                <c:pt idx="4499">
                  <c:v>21.738</c:v>
                </c:pt>
                <c:pt idx="4500">
                  <c:v>21.7013</c:v>
                </c:pt>
                <c:pt idx="4501">
                  <c:v>21.5337</c:v>
                </c:pt>
                <c:pt idx="4502">
                  <c:v>21.558499999999999</c:v>
                </c:pt>
                <c:pt idx="4503">
                  <c:v>21.290900000000001</c:v>
                </c:pt>
                <c:pt idx="4504">
                  <c:v>21.529599999999999</c:v>
                </c:pt>
                <c:pt idx="4505">
                  <c:v>21.5138</c:v>
                </c:pt>
                <c:pt idx="4506">
                  <c:v>21.56</c:v>
                </c:pt>
                <c:pt idx="4507">
                  <c:v>21.372199999999999</c:v>
                </c:pt>
                <c:pt idx="4508">
                  <c:v>21.553999999999998</c:v>
                </c:pt>
                <c:pt idx="4509">
                  <c:v>21.2456</c:v>
                </c:pt>
                <c:pt idx="4510">
                  <c:v>20.983899999999998</c:v>
                </c:pt>
                <c:pt idx="4511">
                  <c:v>20.9255</c:v>
                </c:pt>
                <c:pt idx="4512">
                  <c:v>20.810300000000002</c:v>
                </c:pt>
                <c:pt idx="4513">
                  <c:v>20.773099999999999</c:v>
                </c:pt>
                <c:pt idx="4514">
                  <c:v>20.573899999999998</c:v>
                </c:pt>
                <c:pt idx="4515">
                  <c:v>20.752700000000001</c:v>
                </c:pt>
                <c:pt idx="4516">
                  <c:v>20.9937</c:v>
                </c:pt>
                <c:pt idx="4517">
                  <c:v>20.992899999999999</c:v>
                </c:pt>
                <c:pt idx="4518">
                  <c:v>20.8826</c:v>
                </c:pt>
                <c:pt idx="4519">
                  <c:v>21.082599999999999</c:v>
                </c:pt>
                <c:pt idx="4520">
                  <c:v>21.206</c:v>
                </c:pt>
                <c:pt idx="4521">
                  <c:v>20.775099999999998</c:v>
                </c:pt>
                <c:pt idx="4522">
                  <c:v>20.7136</c:v>
                </c:pt>
                <c:pt idx="4523">
                  <c:v>20.866599999999998</c:v>
                </c:pt>
                <c:pt idx="4524">
                  <c:v>21.1325</c:v>
                </c:pt>
                <c:pt idx="4525">
                  <c:v>21.329699999999999</c:v>
                </c:pt>
                <c:pt idx="4526">
                  <c:v>21.3583</c:v>
                </c:pt>
                <c:pt idx="4527">
                  <c:v>21.414300000000001</c:v>
                </c:pt>
                <c:pt idx="4528">
                  <c:v>21.525600000000001</c:v>
                </c:pt>
                <c:pt idx="4529">
                  <c:v>21.561299999999999</c:v>
                </c:pt>
                <c:pt idx="4530">
                  <c:v>21.565200000000001</c:v>
                </c:pt>
                <c:pt idx="4531">
                  <c:v>21.6538</c:v>
                </c:pt>
                <c:pt idx="4532">
                  <c:v>21.976299999999998</c:v>
                </c:pt>
                <c:pt idx="4533">
                  <c:v>21.928599999999999</c:v>
                </c:pt>
                <c:pt idx="4534">
                  <c:v>21.959199999999999</c:v>
                </c:pt>
                <c:pt idx="4535">
                  <c:v>21.976700000000001</c:v>
                </c:pt>
                <c:pt idx="4536">
                  <c:v>22.034300000000002</c:v>
                </c:pt>
                <c:pt idx="4537">
                  <c:v>21.951000000000001</c:v>
                </c:pt>
                <c:pt idx="4538">
                  <c:v>21.785699999999999</c:v>
                </c:pt>
                <c:pt idx="4539">
                  <c:v>21.937000000000001</c:v>
                </c:pt>
                <c:pt idx="4540">
                  <c:v>21.9343</c:v>
                </c:pt>
                <c:pt idx="4541">
                  <c:v>21.941299999999998</c:v>
                </c:pt>
                <c:pt idx="4542">
                  <c:v>21.7896</c:v>
                </c:pt>
                <c:pt idx="4543">
                  <c:v>21.6631</c:v>
                </c:pt>
                <c:pt idx="4544">
                  <c:v>21.837900000000001</c:v>
                </c:pt>
                <c:pt idx="4545">
                  <c:v>21.863299999999999</c:v>
                </c:pt>
                <c:pt idx="4546">
                  <c:v>21.901299999999999</c:v>
                </c:pt>
                <c:pt idx="4547">
                  <c:v>22.160499999999999</c:v>
                </c:pt>
                <c:pt idx="4548">
                  <c:v>22.151599999999998</c:v>
                </c:pt>
                <c:pt idx="4549">
                  <c:v>22.1267</c:v>
                </c:pt>
                <c:pt idx="4550">
                  <c:v>22.179600000000001</c:v>
                </c:pt>
                <c:pt idx="4551">
                  <c:v>22.248100000000001</c:v>
                </c:pt>
                <c:pt idx="4552">
                  <c:v>22.468</c:v>
                </c:pt>
                <c:pt idx="4553">
                  <c:v>22.523800000000001</c:v>
                </c:pt>
                <c:pt idx="4554">
                  <c:v>22.511099999999999</c:v>
                </c:pt>
                <c:pt idx="4555">
                  <c:v>22.680800000000001</c:v>
                </c:pt>
                <c:pt idx="4556">
                  <c:v>22.737300000000001</c:v>
                </c:pt>
                <c:pt idx="4557">
                  <c:v>22.738</c:v>
                </c:pt>
                <c:pt idx="4558">
                  <c:v>22.691099999999999</c:v>
                </c:pt>
                <c:pt idx="4559">
                  <c:v>22.652999999999999</c:v>
                </c:pt>
                <c:pt idx="4560">
                  <c:v>22.5563</c:v>
                </c:pt>
                <c:pt idx="4561">
                  <c:v>22.6387</c:v>
                </c:pt>
                <c:pt idx="4562">
                  <c:v>22.677800000000001</c:v>
                </c:pt>
                <c:pt idx="4563">
                  <c:v>22.700299999999999</c:v>
                </c:pt>
                <c:pt idx="4564">
                  <c:v>22.6236</c:v>
                </c:pt>
                <c:pt idx="4565">
                  <c:v>22.6937</c:v>
                </c:pt>
                <c:pt idx="4566">
                  <c:v>22.8429</c:v>
                </c:pt>
                <c:pt idx="4567">
                  <c:v>22.961200000000002</c:v>
                </c:pt>
                <c:pt idx="4568">
                  <c:v>22.963699999999999</c:v>
                </c:pt>
                <c:pt idx="4569">
                  <c:v>23.086600000000001</c:v>
                </c:pt>
                <c:pt idx="4570">
                  <c:v>23.119299999999999</c:v>
                </c:pt>
                <c:pt idx="4571">
                  <c:v>23.153600000000001</c:v>
                </c:pt>
                <c:pt idx="4572">
                  <c:v>23.395700000000001</c:v>
                </c:pt>
                <c:pt idx="4573">
                  <c:v>23.213999999999999</c:v>
                </c:pt>
                <c:pt idx="4574">
                  <c:v>23.350300000000001</c:v>
                </c:pt>
                <c:pt idx="4575">
                  <c:v>23.4084</c:v>
                </c:pt>
                <c:pt idx="4576">
                  <c:v>23.565200000000001</c:v>
                </c:pt>
                <c:pt idx="4577">
                  <c:v>23.229800000000001</c:v>
                </c:pt>
                <c:pt idx="4578">
                  <c:v>23.0581</c:v>
                </c:pt>
                <c:pt idx="4579">
                  <c:v>22.889900000000001</c:v>
                </c:pt>
                <c:pt idx="4580">
                  <c:v>23.1435</c:v>
                </c:pt>
                <c:pt idx="4581">
                  <c:v>23.104199999999999</c:v>
                </c:pt>
                <c:pt idx="4582">
                  <c:v>22.5625</c:v>
                </c:pt>
                <c:pt idx="4583">
                  <c:v>22.449000000000002</c:v>
                </c:pt>
                <c:pt idx="4584">
                  <c:v>22.696000000000002</c:v>
                </c:pt>
                <c:pt idx="4585">
                  <c:v>22.716899999999999</c:v>
                </c:pt>
                <c:pt idx="4586">
                  <c:v>22.577400000000001</c:v>
                </c:pt>
                <c:pt idx="4587">
                  <c:v>22.9331</c:v>
                </c:pt>
              </c:numCache>
            </c:numRef>
          </c:val>
          <c:smooth val="0"/>
          <c:extLst>
            <c:ext xmlns:c16="http://schemas.microsoft.com/office/drawing/2014/chart" uri="{C3380CC4-5D6E-409C-BE32-E72D297353CC}">
              <c16:uniqueId val="{00000000-21D4-4464-AA71-6481D7758C48}"/>
            </c:ext>
          </c:extLst>
        </c:ser>
        <c:ser>
          <c:idx val="1"/>
          <c:order val="1"/>
          <c:tx>
            <c:strRef>
              <c:f>Worksheet!$D$6</c:f>
              <c:strCache>
                <c:ptCount val="1"/>
                <c:pt idx="0">
                  <c:v>Europa</c:v>
                </c:pt>
              </c:strCache>
            </c:strRef>
          </c:tx>
          <c:spPr>
            <a:ln w="25400" cap="rnd">
              <a:solidFill>
                <a:schemeClr val="accent2"/>
              </a:solidFill>
              <a:round/>
            </a:ln>
            <a:effectLst/>
          </c:spPr>
          <c:marker>
            <c:symbol val="none"/>
          </c:marker>
          <c:cat>
            <c:numRef>
              <c:f>Worksheet!$A$8:$A$6089</c:f>
              <c:numCache>
                <c:formatCode>dd\.mm\.yyyy</c:formatCode>
                <c:ptCount val="6082"/>
                <c:pt idx="0">
                  <c:v>39083</c:v>
                </c:pt>
                <c:pt idx="1">
                  <c:v>39084</c:v>
                </c:pt>
                <c:pt idx="2">
                  <c:v>39085</c:v>
                </c:pt>
                <c:pt idx="3">
                  <c:v>39086</c:v>
                </c:pt>
                <c:pt idx="4">
                  <c:v>39087</c:v>
                </c:pt>
                <c:pt idx="5">
                  <c:v>39090</c:v>
                </c:pt>
                <c:pt idx="6">
                  <c:v>39091</c:v>
                </c:pt>
                <c:pt idx="7">
                  <c:v>39092</c:v>
                </c:pt>
                <c:pt idx="8">
                  <c:v>39093</c:v>
                </c:pt>
                <c:pt idx="9">
                  <c:v>39094</c:v>
                </c:pt>
                <c:pt idx="10">
                  <c:v>39097</c:v>
                </c:pt>
                <c:pt idx="11">
                  <c:v>39098</c:v>
                </c:pt>
                <c:pt idx="12">
                  <c:v>39099</c:v>
                </c:pt>
                <c:pt idx="13">
                  <c:v>39100</c:v>
                </c:pt>
                <c:pt idx="14">
                  <c:v>39101</c:v>
                </c:pt>
                <c:pt idx="15">
                  <c:v>39104</c:v>
                </c:pt>
                <c:pt idx="16">
                  <c:v>39105</c:v>
                </c:pt>
                <c:pt idx="17">
                  <c:v>39106</c:v>
                </c:pt>
                <c:pt idx="18">
                  <c:v>39107</c:v>
                </c:pt>
                <c:pt idx="19">
                  <c:v>39108</c:v>
                </c:pt>
                <c:pt idx="20">
                  <c:v>39111</c:v>
                </c:pt>
                <c:pt idx="21">
                  <c:v>39112</c:v>
                </c:pt>
                <c:pt idx="22">
                  <c:v>39113</c:v>
                </c:pt>
                <c:pt idx="23">
                  <c:v>39114</c:v>
                </c:pt>
                <c:pt idx="24">
                  <c:v>39115</c:v>
                </c:pt>
                <c:pt idx="25">
                  <c:v>39118</c:v>
                </c:pt>
                <c:pt idx="26">
                  <c:v>39119</c:v>
                </c:pt>
                <c:pt idx="27">
                  <c:v>39120</c:v>
                </c:pt>
                <c:pt idx="28">
                  <c:v>39121</c:v>
                </c:pt>
                <c:pt idx="29">
                  <c:v>39122</c:v>
                </c:pt>
                <c:pt idx="30">
                  <c:v>39125</c:v>
                </c:pt>
                <c:pt idx="31">
                  <c:v>39126</c:v>
                </c:pt>
                <c:pt idx="32">
                  <c:v>39127</c:v>
                </c:pt>
                <c:pt idx="33">
                  <c:v>39128</c:v>
                </c:pt>
                <c:pt idx="34">
                  <c:v>39129</c:v>
                </c:pt>
                <c:pt idx="35">
                  <c:v>39132</c:v>
                </c:pt>
                <c:pt idx="36">
                  <c:v>39133</c:v>
                </c:pt>
                <c:pt idx="37">
                  <c:v>39134</c:v>
                </c:pt>
                <c:pt idx="38">
                  <c:v>39135</c:v>
                </c:pt>
                <c:pt idx="39">
                  <c:v>39136</c:v>
                </c:pt>
                <c:pt idx="40">
                  <c:v>39139</c:v>
                </c:pt>
                <c:pt idx="41">
                  <c:v>39140</c:v>
                </c:pt>
                <c:pt idx="42">
                  <c:v>39141</c:v>
                </c:pt>
                <c:pt idx="43">
                  <c:v>39142</c:v>
                </c:pt>
                <c:pt idx="44">
                  <c:v>39143</c:v>
                </c:pt>
                <c:pt idx="45">
                  <c:v>39146</c:v>
                </c:pt>
                <c:pt idx="46">
                  <c:v>39147</c:v>
                </c:pt>
                <c:pt idx="47">
                  <c:v>39148</c:v>
                </c:pt>
                <c:pt idx="48">
                  <c:v>39149</c:v>
                </c:pt>
                <c:pt idx="49">
                  <c:v>39150</c:v>
                </c:pt>
                <c:pt idx="50">
                  <c:v>39153</c:v>
                </c:pt>
                <c:pt idx="51">
                  <c:v>39154</c:v>
                </c:pt>
                <c:pt idx="52">
                  <c:v>39155</c:v>
                </c:pt>
                <c:pt idx="53">
                  <c:v>39156</c:v>
                </c:pt>
                <c:pt idx="54">
                  <c:v>39157</c:v>
                </c:pt>
                <c:pt idx="55">
                  <c:v>39160</c:v>
                </c:pt>
                <c:pt idx="56">
                  <c:v>39161</c:v>
                </c:pt>
                <c:pt idx="57">
                  <c:v>39162</c:v>
                </c:pt>
                <c:pt idx="58">
                  <c:v>39163</c:v>
                </c:pt>
                <c:pt idx="59">
                  <c:v>39164</c:v>
                </c:pt>
                <c:pt idx="60">
                  <c:v>39167</c:v>
                </c:pt>
                <c:pt idx="61">
                  <c:v>39168</c:v>
                </c:pt>
                <c:pt idx="62">
                  <c:v>39169</c:v>
                </c:pt>
                <c:pt idx="63">
                  <c:v>39170</c:v>
                </c:pt>
                <c:pt idx="64">
                  <c:v>39171</c:v>
                </c:pt>
                <c:pt idx="65">
                  <c:v>39174</c:v>
                </c:pt>
                <c:pt idx="66">
                  <c:v>39175</c:v>
                </c:pt>
                <c:pt idx="67">
                  <c:v>39176</c:v>
                </c:pt>
                <c:pt idx="68">
                  <c:v>39177</c:v>
                </c:pt>
                <c:pt idx="69">
                  <c:v>39178</c:v>
                </c:pt>
                <c:pt idx="70">
                  <c:v>39181</c:v>
                </c:pt>
                <c:pt idx="71">
                  <c:v>39182</c:v>
                </c:pt>
                <c:pt idx="72">
                  <c:v>39183</c:v>
                </c:pt>
                <c:pt idx="73">
                  <c:v>39184</c:v>
                </c:pt>
                <c:pt idx="74">
                  <c:v>39185</c:v>
                </c:pt>
                <c:pt idx="75">
                  <c:v>39188</c:v>
                </c:pt>
                <c:pt idx="76">
                  <c:v>39189</c:v>
                </c:pt>
                <c:pt idx="77">
                  <c:v>39190</c:v>
                </c:pt>
                <c:pt idx="78">
                  <c:v>39191</c:v>
                </c:pt>
                <c:pt idx="79">
                  <c:v>39192</c:v>
                </c:pt>
                <c:pt idx="80">
                  <c:v>39195</c:v>
                </c:pt>
                <c:pt idx="81">
                  <c:v>39196</c:v>
                </c:pt>
                <c:pt idx="82">
                  <c:v>39197</c:v>
                </c:pt>
                <c:pt idx="83">
                  <c:v>39198</c:v>
                </c:pt>
                <c:pt idx="84">
                  <c:v>39199</c:v>
                </c:pt>
                <c:pt idx="85">
                  <c:v>39202</c:v>
                </c:pt>
                <c:pt idx="86">
                  <c:v>39203</c:v>
                </c:pt>
                <c:pt idx="87">
                  <c:v>39204</c:v>
                </c:pt>
                <c:pt idx="88">
                  <c:v>39205</c:v>
                </c:pt>
                <c:pt idx="89">
                  <c:v>39206</c:v>
                </c:pt>
                <c:pt idx="90">
                  <c:v>39209</c:v>
                </c:pt>
                <c:pt idx="91">
                  <c:v>39210</c:v>
                </c:pt>
                <c:pt idx="92">
                  <c:v>39211</c:v>
                </c:pt>
                <c:pt idx="93">
                  <c:v>39212</c:v>
                </c:pt>
                <c:pt idx="94">
                  <c:v>39213</c:v>
                </c:pt>
                <c:pt idx="95">
                  <c:v>39216</c:v>
                </c:pt>
                <c:pt idx="96">
                  <c:v>39217</c:v>
                </c:pt>
                <c:pt idx="97">
                  <c:v>39218</c:v>
                </c:pt>
                <c:pt idx="98">
                  <c:v>39219</c:v>
                </c:pt>
                <c:pt idx="99">
                  <c:v>39220</c:v>
                </c:pt>
                <c:pt idx="100">
                  <c:v>39223</c:v>
                </c:pt>
                <c:pt idx="101">
                  <c:v>39224</c:v>
                </c:pt>
                <c:pt idx="102">
                  <c:v>39225</c:v>
                </c:pt>
                <c:pt idx="103">
                  <c:v>39226</c:v>
                </c:pt>
                <c:pt idx="104">
                  <c:v>39227</c:v>
                </c:pt>
                <c:pt idx="105">
                  <c:v>39230</c:v>
                </c:pt>
                <c:pt idx="106">
                  <c:v>39231</c:v>
                </c:pt>
                <c:pt idx="107">
                  <c:v>39232</c:v>
                </c:pt>
                <c:pt idx="108">
                  <c:v>39233</c:v>
                </c:pt>
                <c:pt idx="109">
                  <c:v>39234</c:v>
                </c:pt>
                <c:pt idx="110">
                  <c:v>39237</c:v>
                </c:pt>
                <c:pt idx="111">
                  <c:v>39238</c:v>
                </c:pt>
                <c:pt idx="112">
                  <c:v>39239</c:v>
                </c:pt>
                <c:pt idx="113">
                  <c:v>39240</c:v>
                </c:pt>
                <c:pt idx="114">
                  <c:v>39241</c:v>
                </c:pt>
                <c:pt idx="115">
                  <c:v>39244</c:v>
                </c:pt>
                <c:pt idx="116">
                  <c:v>39245</c:v>
                </c:pt>
                <c:pt idx="117">
                  <c:v>39246</c:v>
                </c:pt>
                <c:pt idx="118">
                  <c:v>39247</c:v>
                </c:pt>
                <c:pt idx="119">
                  <c:v>39248</c:v>
                </c:pt>
                <c:pt idx="120">
                  <c:v>39251</c:v>
                </c:pt>
                <c:pt idx="121">
                  <c:v>39252</c:v>
                </c:pt>
                <c:pt idx="122">
                  <c:v>39253</c:v>
                </c:pt>
                <c:pt idx="123">
                  <c:v>39254</c:v>
                </c:pt>
                <c:pt idx="124">
                  <c:v>39255</c:v>
                </c:pt>
                <c:pt idx="125">
                  <c:v>39258</c:v>
                </c:pt>
                <c:pt idx="126">
                  <c:v>39259</c:v>
                </c:pt>
                <c:pt idx="127">
                  <c:v>39260</c:v>
                </c:pt>
                <c:pt idx="128">
                  <c:v>39261</c:v>
                </c:pt>
                <c:pt idx="129">
                  <c:v>39262</c:v>
                </c:pt>
                <c:pt idx="130">
                  <c:v>39265</c:v>
                </c:pt>
                <c:pt idx="131">
                  <c:v>39266</c:v>
                </c:pt>
                <c:pt idx="132">
                  <c:v>39267</c:v>
                </c:pt>
                <c:pt idx="133">
                  <c:v>39268</c:v>
                </c:pt>
                <c:pt idx="134">
                  <c:v>39269</c:v>
                </c:pt>
                <c:pt idx="135">
                  <c:v>39272</c:v>
                </c:pt>
                <c:pt idx="136">
                  <c:v>39273</c:v>
                </c:pt>
                <c:pt idx="137">
                  <c:v>39274</c:v>
                </c:pt>
                <c:pt idx="138">
                  <c:v>39275</c:v>
                </c:pt>
                <c:pt idx="139">
                  <c:v>39276</c:v>
                </c:pt>
                <c:pt idx="140">
                  <c:v>39279</c:v>
                </c:pt>
                <c:pt idx="141">
                  <c:v>39280</c:v>
                </c:pt>
                <c:pt idx="142">
                  <c:v>39281</c:v>
                </c:pt>
                <c:pt idx="143">
                  <c:v>39282</c:v>
                </c:pt>
                <c:pt idx="144">
                  <c:v>39283</c:v>
                </c:pt>
                <c:pt idx="145">
                  <c:v>39286</c:v>
                </c:pt>
                <c:pt idx="146">
                  <c:v>39287</c:v>
                </c:pt>
                <c:pt idx="147">
                  <c:v>39288</c:v>
                </c:pt>
                <c:pt idx="148">
                  <c:v>39289</c:v>
                </c:pt>
                <c:pt idx="149">
                  <c:v>39290</c:v>
                </c:pt>
                <c:pt idx="150">
                  <c:v>39293</c:v>
                </c:pt>
                <c:pt idx="151">
                  <c:v>39294</c:v>
                </c:pt>
                <c:pt idx="152">
                  <c:v>39295</c:v>
                </c:pt>
                <c:pt idx="153">
                  <c:v>39296</c:v>
                </c:pt>
                <c:pt idx="154">
                  <c:v>39297</c:v>
                </c:pt>
                <c:pt idx="155">
                  <c:v>39300</c:v>
                </c:pt>
                <c:pt idx="156">
                  <c:v>39301</c:v>
                </c:pt>
                <c:pt idx="157">
                  <c:v>39302</c:v>
                </c:pt>
                <c:pt idx="158">
                  <c:v>39303</c:v>
                </c:pt>
                <c:pt idx="159">
                  <c:v>39304</c:v>
                </c:pt>
                <c:pt idx="160">
                  <c:v>39307</c:v>
                </c:pt>
                <c:pt idx="161">
                  <c:v>39308</c:v>
                </c:pt>
                <c:pt idx="162">
                  <c:v>39309</c:v>
                </c:pt>
                <c:pt idx="163">
                  <c:v>39310</c:v>
                </c:pt>
                <c:pt idx="164">
                  <c:v>39311</c:v>
                </c:pt>
                <c:pt idx="165">
                  <c:v>39314</c:v>
                </c:pt>
                <c:pt idx="166">
                  <c:v>39315</c:v>
                </c:pt>
                <c:pt idx="167">
                  <c:v>39316</c:v>
                </c:pt>
                <c:pt idx="168">
                  <c:v>39317</c:v>
                </c:pt>
                <c:pt idx="169">
                  <c:v>39318</c:v>
                </c:pt>
                <c:pt idx="170">
                  <c:v>39321</c:v>
                </c:pt>
                <c:pt idx="171">
                  <c:v>39322</c:v>
                </c:pt>
                <c:pt idx="172">
                  <c:v>39323</c:v>
                </c:pt>
                <c:pt idx="173">
                  <c:v>39324</c:v>
                </c:pt>
                <c:pt idx="174">
                  <c:v>39325</c:v>
                </c:pt>
                <c:pt idx="175">
                  <c:v>39328</c:v>
                </c:pt>
                <c:pt idx="176">
                  <c:v>39329</c:v>
                </c:pt>
                <c:pt idx="177">
                  <c:v>39330</c:v>
                </c:pt>
                <c:pt idx="178">
                  <c:v>39331</c:v>
                </c:pt>
                <c:pt idx="179">
                  <c:v>39332</c:v>
                </c:pt>
                <c:pt idx="180">
                  <c:v>39335</c:v>
                </c:pt>
                <c:pt idx="181">
                  <c:v>39336</c:v>
                </c:pt>
                <c:pt idx="182">
                  <c:v>39337</c:v>
                </c:pt>
                <c:pt idx="183">
                  <c:v>39338</c:v>
                </c:pt>
                <c:pt idx="184">
                  <c:v>39339</c:v>
                </c:pt>
                <c:pt idx="185">
                  <c:v>39342</c:v>
                </c:pt>
                <c:pt idx="186">
                  <c:v>39343</c:v>
                </c:pt>
                <c:pt idx="187">
                  <c:v>39344</c:v>
                </c:pt>
                <c:pt idx="188">
                  <c:v>39345</c:v>
                </c:pt>
                <c:pt idx="189">
                  <c:v>39346</c:v>
                </c:pt>
                <c:pt idx="190">
                  <c:v>39349</c:v>
                </c:pt>
                <c:pt idx="191">
                  <c:v>39350</c:v>
                </c:pt>
                <c:pt idx="192">
                  <c:v>39351</c:v>
                </c:pt>
                <c:pt idx="193">
                  <c:v>39352</c:v>
                </c:pt>
                <c:pt idx="194">
                  <c:v>39353</c:v>
                </c:pt>
                <c:pt idx="195">
                  <c:v>39356</c:v>
                </c:pt>
                <c:pt idx="196">
                  <c:v>39357</c:v>
                </c:pt>
                <c:pt idx="197">
                  <c:v>39358</c:v>
                </c:pt>
                <c:pt idx="198">
                  <c:v>39359</c:v>
                </c:pt>
                <c:pt idx="199">
                  <c:v>39360</c:v>
                </c:pt>
                <c:pt idx="200">
                  <c:v>39363</c:v>
                </c:pt>
                <c:pt idx="201">
                  <c:v>39364</c:v>
                </c:pt>
                <c:pt idx="202">
                  <c:v>39365</c:v>
                </c:pt>
                <c:pt idx="203">
                  <c:v>39366</c:v>
                </c:pt>
                <c:pt idx="204">
                  <c:v>39367</c:v>
                </c:pt>
                <c:pt idx="205">
                  <c:v>39370</c:v>
                </c:pt>
                <c:pt idx="206">
                  <c:v>39371</c:v>
                </c:pt>
                <c:pt idx="207">
                  <c:v>39372</c:v>
                </c:pt>
                <c:pt idx="208">
                  <c:v>39373</c:v>
                </c:pt>
                <c:pt idx="209">
                  <c:v>39374</c:v>
                </c:pt>
                <c:pt idx="210">
                  <c:v>39377</c:v>
                </c:pt>
                <c:pt idx="211">
                  <c:v>39378</c:v>
                </c:pt>
                <c:pt idx="212">
                  <c:v>39379</c:v>
                </c:pt>
                <c:pt idx="213">
                  <c:v>39380</c:v>
                </c:pt>
                <c:pt idx="214">
                  <c:v>39381</c:v>
                </c:pt>
                <c:pt idx="215">
                  <c:v>39384</c:v>
                </c:pt>
                <c:pt idx="216">
                  <c:v>39385</c:v>
                </c:pt>
                <c:pt idx="217">
                  <c:v>39386</c:v>
                </c:pt>
                <c:pt idx="218">
                  <c:v>39387</c:v>
                </c:pt>
                <c:pt idx="219">
                  <c:v>39388</c:v>
                </c:pt>
                <c:pt idx="220">
                  <c:v>39391</c:v>
                </c:pt>
                <c:pt idx="221">
                  <c:v>39392</c:v>
                </c:pt>
                <c:pt idx="222">
                  <c:v>39393</c:v>
                </c:pt>
                <c:pt idx="223">
                  <c:v>39394</c:v>
                </c:pt>
                <c:pt idx="224">
                  <c:v>39395</c:v>
                </c:pt>
                <c:pt idx="225">
                  <c:v>39398</c:v>
                </c:pt>
                <c:pt idx="226">
                  <c:v>39399</c:v>
                </c:pt>
                <c:pt idx="227">
                  <c:v>39400</c:v>
                </c:pt>
                <c:pt idx="228">
                  <c:v>39401</c:v>
                </c:pt>
                <c:pt idx="229">
                  <c:v>39402</c:v>
                </c:pt>
                <c:pt idx="230">
                  <c:v>39405</c:v>
                </c:pt>
                <c:pt idx="231">
                  <c:v>39406</c:v>
                </c:pt>
                <c:pt idx="232">
                  <c:v>39407</c:v>
                </c:pt>
                <c:pt idx="233">
                  <c:v>39408</c:v>
                </c:pt>
                <c:pt idx="234">
                  <c:v>39409</c:v>
                </c:pt>
                <c:pt idx="235">
                  <c:v>39412</c:v>
                </c:pt>
                <c:pt idx="236">
                  <c:v>39413</c:v>
                </c:pt>
                <c:pt idx="237">
                  <c:v>39414</c:v>
                </c:pt>
                <c:pt idx="238">
                  <c:v>39415</c:v>
                </c:pt>
                <c:pt idx="239">
                  <c:v>39416</c:v>
                </c:pt>
                <c:pt idx="240">
                  <c:v>39419</c:v>
                </c:pt>
                <c:pt idx="241">
                  <c:v>39420</c:v>
                </c:pt>
                <c:pt idx="242">
                  <c:v>39421</c:v>
                </c:pt>
                <c:pt idx="243">
                  <c:v>39422</c:v>
                </c:pt>
                <c:pt idx="244">
                  <c:v>39423</c:v>
                </c:pt>
                <c:pt idx="245">
                  <c:v>39426</c:v>
                </c:pt>
                <c:pt idx="246">
                  <c:v>39427</c:v>
                </c:pt>
                <c:pt idx="247">
                  <c:v>39428</c:v>
                </c:pt>
                <c:pt idx="248">
                  <c:v>39429</c:v>
                </c:pt>
                <c:pt idx="249">
                  <c:v>39430</c:v>
                </c:pt>
                <c:pt idx="250">
                  <c:v>39433</c:v>
                </c:pt>
                <c:pt idx="251">
                  <c:v>39434</c:v>
                </c:pt>
                <c:pt idx="252">
                  <c:v>39435</c:v>
                </c:pt>
                <c:pt idx="253">
                  <c:v>39436</c:v>
                </c:pt>
                <c:pt idx="254">
                  <c:v>39437</c:v>
                </c:pt>
                <c:pt idx="255">
                  <c:v>39440</c:v>
                </c:pt>
                <c:pt idx="256">
                  <c:v>39441</c:v>
                </c:pt>
                <c:pt idx="257">
                  <c:v>39442</c:v>
                </c:pt>
                <c:pt idx="258">
                  <c:v>39443</c:v>
                </c:pt>
                <c:pt idx="259">
                  <c:v>39444</c:v>
                </c:pt>
                <c:pt idx="260">
                  <c:v>39447</c:v>
                </c:pt>
                <c:pt idx="261">
                  <c:v>39448</c:v>
                </c:pt>
                <c:pt idx="262">
                  <c:v>39449</c:v>
                </c:pt>
                <c:pt idx="263">
                  <c:v>39450</c:v>
                </c:pt>
                <c:pt idx="264">
                  <c:v>39451</c:v>
                </c:pt>
                <c:pt idx="265">
                  <c:v>39454</c:v>
                </c:pt>
                <c:pt idx="266">
                  <c:v>39455</c:v>
                </c:pt>
                <c:pt idx="267">
                  <c:v>39456</c:v>
                </c:pt>
                <c:pt idx="268">
                  <c:v>39457</c:v>
                </c:pt>
                <c:pt idx="269">
                  <c:v>39458</c:v>
                </c:pt>
                <c:pt idx="270">
                  <c:v>39461</c:v>
                </c:pt>
                <c:pt idx="271">
                  <c:v>39462</c:v>
                </c:pt>
                <c:pt idx="272">
                  <c:v>39463</c:v>
                </c:pt>
                <c:pt idx="273">
                  <c:v>39464</c:v>
                </c:pt>
                <c:pt idx="274">
                  <c:v>39465</c:v>
                </c:pt>
                <c:pt idx="275">
                  <c:v>39468</c:v>
                </c:pt>
                <c:pt idx="276">
                  <c:v>39469</c:v>
                </c:pt>
                <c:pt idx="277">
                  <c:v>39470</c:v>
                </c:pt>
                <c:pt idx="278">
                  <c:v>39471</c:v>
                </c:pt>
                <c:pt idx="279">
                  <c:v>39472</c:v>
                </c:pt>
                <c:pt idx="280">
                  <c:v>39475</c:v>
                </c:pt>
                <c:pt idx="281">
                  <c:v>39476</c:v>
                </c:pt>
                <c:pt idx="282">
                  <c:v>39477</c:v>
                </c:pt>
                <c:pt idx="283">
                  <c:v>39478</c:v>
                </c:pt>
                <c:pt idx="284">
                  <c:v>39479</c:v>
                </c:pt>
                <c:pt idx="285">
                  <c:v>39482</c:v>
                </c:pt>
                <c:pt idx="286">
                  <c:v>39483</c:v>
                </c:pt>
                <c:pt idx="287">
                  <c:v>39484</c:v>
                </c:pt>
                <c:pt idx="288">
                  <c:v>39485</c:v>
                </c:pt>
                <c:pt idx="289">
                  <c:v>39486</c:v>
                </c:pt>
                <c:pt idx="290">
                  <c:v>39489</c:v>
                </c:pt>
                <c:pt idx="291">
                  <c:v>39490</c:v>
                </c:pt>
                <c:pt idx="292">
                  <c:v>39491</c:v>
                </c:pt>
                <c:pt idx="293">
                  <c:v>39492</c:v>
                </c:pt>
                <c:pt idx="294">
                  <c:v>39493</c:v>
                </c:pt>
                <c:pt idx="295">
                  <c:v>39496</c:v>
                </c:pt>
                <c:pt idx="296">
                  <c:v>39497</c:v>
                </c:pt>
                <c:pt idx="297">
                  <c:v>39498</c:v>
                </c:pt>
                <c:pt idx="298">
                  <c:v>39499</c:v>
                </c:pt>
                <c:pt idx="299">
                  <c:v>39500</c:v>
                </c:pt>
                <c:pt idx="300">
                  <c:v>39503</c:v>
                </c:pt>
                <c:pt idx="301">
                  <c:v>39504</c:v>
                </c:pt>
                <c:pt idx="302">
                  <c:v>39505</c:v>
                </c:pt>
                <c:pt idx="303">
                  <c:v>39506</c:v>
                </c:pt>
                <c:pt idx="304">
                  <c:v>39507</c:v>
                </c:pt>
                <c:pt idx="305">
                  <c:v>39510</c:v>
                </c:pt>
                <c:pt idx="306">
                  <c:v>39511</c:v>
                </c:pt>
                <c:pt idx="307">
                  <c:v>39512</c:v>
                </c:pt>
                <c:pt idx="308">
                  <c:v>39513</c:v>
                </c:pt>
                <c:pt idx="309">
                  <c:v>39514</c:v>
                </c:pt>
                <c:pt idx="310">
                  <c:v>39517</c:v>
                </c:pt>
                <c:pt idx="311">
                  <c:v>39518</c:v>
                </c:pt>
                <c:pt idx="312">
                  <c:v>39519</c:v>
                </c:pt>
                <c:pt idx="313">
                  <c:v>39520</c:v>
                </c:pt>
                <c:pt idx="314">
                  <c:v>39521</c:v>
                </c:pt>
                <c:pt idx="315">
                  <c:v>39524</c:v>
                </c:pt>
                <c:pt idx="316">
                  <c:v>39525</c:v>
                </c:pt>
                <c:pt idx="317">
                  <c:v>39526</c:v>
                </c:pt>
                <c:pt idx="318">
                  <c:v>39527</c:v>
                </c:pt>
                <c:pt idx="319">
                  <c:v>39528</c:v>
                </c:pt>
                <c:pt idx="320">
                  <c:v>39531</c:v>
                </c:pt>
                <c:pt idx="321">
                  <c:v>39532</c:v>
                </c:pt>
                <c:pt idx="322">
                  <c:v>39533</c:v>
                </c:pt>
                <c:pt idx="323">
                  <c:v>39534</c:v>
                </c:pt>
                <c:pt idx="324">
                  <c:v>39535</c:v>
                </c:pt>
                <c:pt idx="325">
                  <c:v>39538</c:v>
                </c:pt>
                <c:pt idx="326">
                  <c:v>39539</c:v>
                </c:pt>
                <c:pt idx="327">
                  <c:v>39540</c:v>
                </c:pt>
                <c:pt idx="328">
                  <c:v>39541</c:v>
                </c:pt>
                <c:pt idx="329">
                  <c:v>39542</c:v>
                </c:pt>
                <c:pt idx="330">
                  <c:v>39545</c:v>
                </c:pt>
                <c:pt idx="331">
                  <c:v>39546</c:v>
                </c:pt>
                <c:pt idx="332">
                  <c:v>39547</c:v>
                </c:pt>
                <c:pt idx="333">
                  <c:v>39548</c:v>
                </c:pt>
                <c:pt idx="334">
                  <c:v>39549</c:v>
                </c:pt>
                <c:pt idx="335">
                  <c:v>39552</c:v>
                </c:pt>
                <c:pt idx="336">
                  <c:v>39553</c:v>
                </c:pt>
                <c:pt idx="337">
                  <c:v>39554</c:v>
                </c:pt>
                <c:pt idx="338">
                  <c:v>39555</c:v>
                </c:pt>
                <c:pt idx="339">
                  <c:v>39556</c:v>
                </c:pt>
                <c:pt idx="340">
                  <c:v>39559</c:v>
                </c:pt>
                <c:pt idx="341">
                  <c:v>39560</c:v>
                </c:pt>
                <c:pt idx="342">
                  <c:v>39561</c:v>
                </c:pt>
                <c:pt idx="343">
                  <c:v>39562</c:v>
                </c:pt>
                <c:pt idx="344">
                  <c:v>39563</c:v>
                </c:pt>
                <c:pt idx="345">
                  <c:v>39566</c:v>
                </c:pt>
                <c:pt idx="346">
                  <c:v>39567</c:v>
                </c:pt>
                <c:pt idx="347">
                  <c:v>39568</c:v>
                </c:pt>
                <c:pt idx="348">
                  <c:v>39569</c:v>
                </c:pt>
                <c:pt idx="349">
                  <c:v>39570</c:v>
                </c:pt>
                <c:pt idx="350">
                  <c:v>39573</c:v>
                </c:pt>
                <c:pt idx="351">
                  <c:v>39574</c:v>
                </c:pt>
                <c:pt idx="352">
                  <c:v>39575</c:v>
                </c:pt>
                <c:pt idx="353">
                  <c:v>39576</c:v>
                </c:pt>
                <c:pt idx="354">
                  <c:v>39577</c:v>
                </c:pt>
                <c:pt idx="355">
                  <c:v>39580</c:v>
                </c:pt>
                <c:pt idx="356">
                  <c:v>39581</c:v>
                </c:pt>
                <c:pt idx="357">
                  <c:v>39582</c:v>
                </c:pt>
                <c:pt idx="358">
                  <c:v>39583</c:v>
                </c:pt>
                <c:pt idx="359">
                  <c:v>39584</c:v>
                </c:pt>
                <c:pt idx="360">
                  <c:v>39587</c:v>
                </c:pt>
                <c:pt idx="361">
                  <c:v>39588</c:v>
                </c:pt>
                <c:pt idx="362">
                  <c:v>39589</c:v>
                </c:pt>
                <c:pt idx="363">
                  <c:v>39590</c:v>
                </c:pt>
                <c:pt idx="364">
                  <c:v>39591</c:v>
                </c:pt>
                <c:pt idx="365">
                  <c:v>39594</c:v>
                </c:pt>
                <c:pt idx="366">
                  <c:v>39595</c:v>
                </c:pt>
                <c:pt idx="367">
                  <c:v>39596</c:v>
                </c:pt>
                <c:pt idx="368">
                  <c:v>39597</c:v>
                </c:pt>
                <c:pt idx="369">
                  <c:v>39598</c:v>
                </c:pt>
                <c:pt idx="370">
                  <c:v>39601</c:v>
                </c:pt>
                <c:pt idx="371">
                  <c:v>39602</c:v>
                </c:pt>
                <c:pt idx="372">
                  <c:v>39603</c:v>
                </c:pt>
                <c:pt idx="373">
                  <c:v>39604</c:v>
                </c:pt>
                <c:pt idx="374">
                  <c:v>39605</c:v>
                </c:pt>
                <c:pt idx="375">
                  <c:v>39608</c:v>
                </c:pt>
                <c:pt idx="376">
                  <c:v>39609</c:v>
                </c:pt>
                <c:pt idx="377">
                  <c:v>39610</c:v>
                </c:pt>
                <c:pt idx="378">
                  <c:v>39611</c:v>
                </c:pt>
                <c:pt idx="379">
                  <c:v>39612</c:v>
                </c:pt>
                <c:pt idx="380">
                  <c:v>39615</c:v>
                </c:pt>
                <c:pt idx="381">
                  <c:v>39616</c:v>
                </c:pt>
                <c:pt idx="382">
                  <c:v>39617</c:v>
                </c:pt>
                <c:pt idx="383">
                  <c:v>39618</c:v>
                </c:pt>
                <c:pt idx="384">
                  <c:v>39619</c:v>
                </c:pt>
                <c:pt idx="385">
                  <c:v>39622</c:v>
                </c:pt>
                <c:pt idx="386">
                  <c:v>39623</c:v>
                </c:pt>
                <c:pt idx="387">
                  <c:v>39624</c:v>
                </c:pt>
                <c:pt idx="388">
                  <c:v>39625</c:v>
                </c:pt>
                <c:pt idx="389">
                  <c:v>39626</c:v>
                </c:pt>
                <c:pt idx="390">
                  <c:v>39629</c:v>
                </c:pt>
                <c:pt idx="391">
                  <c:v>39630</c:v>
                </c:pt>
                <c:pt idx="392">
                  <c:v>39631</c:v>
                </c:pt>
                <c:pt idx="393">
                  <c:v>39632</c:v>
                </c:pt>
                <c:pt idx="394">
                  <c:v>39633</c:v>
                </c:pt>
                <c:pt idx="395">
                  <c:v>39636</c:v>
                </c:pt>
                <c:pt idx="396">
                  <c:v>39637</c:v>
                </c:pt>
                <c:pt idx="397">
                  <c:v>39638</c:v>
                </c:pt>
                <c:pt idx="398">
                  <c:v>39639</c:v>
                </c:pt>
                <c:pt idx="399">
                  <c:v>39640</c:v>
                </c:pt>
                <c:pt idx="400">
                  <c:v>39643</c:v>
                </c:pt>
                <c:pt idx="401">
                  <c:v>39644</c:v>
                </c:pt>
                <c:pt idx="402">
                  <c:v>39645</c:v>
                </c:pt>
                <c:pt idx="403">
                  <c:v>39646</c:v>
                </c:pt>
                <c:pt idx="404">
                  <c:v>39647</c:v>
                </c:pt>
                <c:pt idx="405">
                  <c:v>39650</c:v>
                </c:pt>
                <c:pt idx="406">
                  <c:v>39651</c:v>
                </c:pt>
                <c:pt idx="407">
                  <c:v>39652</c:v>
                </c:pt>
                <c:pt idx="408">
                  <c:v>39653</c:v>
                </c:pt>
                <c:pt idx="409">
                  <c:v>39654</c:v>
                </c:pt>
                <c:pt idx="410">
                  <c:v>39657</c:v>
                </c:pt>
                <c:pt idx="411">
                  <c:v>39658</c:v>
                </c:pt>
                <c:pt idx="412">
                  <c:v>39659</c:v>
                </c:pt>
                <c:pt idx="413">
                  <c:v>39660</c:v>
                </c:pt>
                <c:pt idx="414">
                  <c:v>39661</c:v>
                </c:pt>
                <c:pt idx="415">
                  <c:v>39664</c:v>
                </c:pt>
                <c:pt idx="416">
                  <c:v>39665</c:v>
                </c:pt>
                <c:pt idx="417">
                  <c:v>39666</c:v>
                </c:pt>
                <c:pt idx="418">
                  <c:v>39667</c:v>
                </c:pt>
                <c:pt idx="419">
                  <c:v>39668</c:v>
                </c:pt>
                <c:pt idx="420">
                  <c:v>39671</c:v>
                </c:pt>
                <c:pt idx="421">
                  <c:v>39672</c:v>
                </c:pt>
                <c:pt idx="422">
                  <c:v>39673</c:v>
                </c:pt>
                <c:pt idx="423">
                  <c:v>39674</c:v>
                </c:pt>
                <c:pt idx="424">
                  <c:v>39675</c:v>
                </c:pt>
                <c:pt idx="425">
                  <c:v>39678</c:v>
                </c:pt>
                <c:pt idx="426">
                  <c:v>39679</c:v>
                </c:pt>
                <c:pt idx="427">
                  <c:v>39680</c:v>
                </c:pt>
                <c:pt idx="428">
                  <c:v>39681</c:v>
                </c:pt>
                <c:pt idx="429">
                  <c:v>39682</c:v>
                </c:pt>
                <c:pt idx="430">
                  <c:v>39685</c:v>
                </c:pt>
                <c:pt idx="431">
                  <c:v>39686</c:v>
                </c:pt>
                <c:pt idx="432">
                  <c:v>39687</c:v>
                </c:pt>
                <c:pt idx="433">
                  <c:v>39688</c:v>
                </c:pt>
                <c:pt idx="434">
                  <c:v>39689</c:v>
                </c:pt>
                <c:pt idx="435">
                  <c:v>39692</c:v>
                </c:pt>
                <c:pt idx="436">
                  <c:v>39693</c:v>
                </c:pt>
                <c:pt idx="437">
                  <c:v>39694</c:v>
                </c:pt>
                <c:pt idx="438">
                  <c:v>39695</c:v>
                </c:pt>
                <c:pt idx="439">
                  <c:v>39696</c:v>
                </c:pt>
                <c:pt idx="440">
                  <c:v>39699</c:v>
                </c:pt>
                <c:pt idx="441">
                  <c:v>39700</c:v>
                </c:pt>
                <c:pt idx="442">
                  <c:v>39701</c:v>
                </c:pt>
                <c:pt idx="443">
                  <c:v>39702</c:v>
                </c:pt>
                <c:pt idx="444">
                  <c:v>39703</c:v>
                </c:pt>
                <c:pt idx="445">
                  <c:v>39706</c:v>
                </c:pt>
                <c:pt idx="446">
                  <c:v>39707</c:v>
                </c:pt>
                <c:pt idx="447">
                  <c:v>39708</c:v>
                </c:pt>
                <c:pt idx="448">
                  <c:v>39709</c:v>
                </c:pt>
                <c:pt idx="449">
                  <c:v>39710</c:v>
                </c:pt>
                <c:pt idx="450">
                  <c:v>39713</c:v>
                </c:pt>
                <c:pt idx="451">
                  <c:v>39714</c:v>
                </c:pt>
                <c:pt idx="452">
                  <c:v>39715</c:v>
                </c:pt>
                <c:pt idx="453">
                  <c:v>39716</c:v>
                </c:pt>
                <c:pt idx="454">
                  <c:v>39717</c:v>
                </c:pt>
                <c:pt idx="455">
                  <c:v>39720</c:v>
                </c:pt>
                <c:pt idx="456">
                  <c:v>39721</c:v>
                </c:pt>
                <c:pt idx="457">
                  <c:v>39722</c:v>
                </c:pt>
                <c:pt idx="458">
                  <c:v>39723</c:v>
                </c:pt>
                <c:pt idx="459">
                  <c:v>39724</c:v>
                </c:pt>
                <c:pt idx="460">
                  <c:v>39727</c:v>
                </c:pt>
                <c:pt idx="461">
                  <c:v>39728</c:v>
                </c:pt>
                <c:pt idx="462">
                  <c:v>39729</c:v>
                </c:pt>
                <c:pt idx="463">
                  <c:v>39730</c:v>
                </c:pt>
                <c:pt idx="464">
                  <c:v>39731</c:v>
                </c:pt>
                <c:pt idx="465">
                  <c:v>39734</c:v>
                </c:pt>
                <c:pt idx="466">
                  <c:v>39735</c:v>
                </c:pt>
                <c:pt idx="467">
                  <c:v>39736</c:v>
                </c:pt>
                <c:pt idx="468">
                  <c:v>39737</c:v>
                </c:pt>
                <c:pt idx="469">
                  <c:v>39738</c:v>
                </c:pt>
                <c:pt idx="470">
                  <c:v>39741</c:v>
                </c:pt>
                <c:pt idx="471">
                  <c:v>39742</c:v>
                </c:pt>
                <c:pt idx="472">
                  <c:v>39743</c:v>
                </c:pt>
                <c:pt idx="473">
                  <c:v>39744</c:v>
                </c:pt>
                <c:pt idx="474">
                  <c:v>39745</c:v>
                </c:pt>
                <c:pt idx="475">
                  <c:v>39748</c:v>
                </c:pt>
                <c:pt idx="476">
                  <c:v>39749</c:v>
                </c:pt>
                <c:pt idx="477">
                  <c:v>39750</c:v>
                </c:pt>
                <c:pt idx="478">
                  <c:v>39751</c:v>
                </c:pt>
                <c:pt idx="479">
                  <c:v>39752</c:v>
                </c:pt>
                <c:pt idx="480">
                  <c:v>39755</c:v>
                </c:pt>
                <c:pt idx="481">
                  <c:v>39756</c:v>
                </c:pt>
                <c:pt idx="482">
                  <c:v>39757</c:v>
                </c:pt>
                <c:pt idx="483">
                  <c:v>39758</c:v>
                </c:pt>
                <c:pt idx="484">
                  <c:v>39759</c:v>
                </c:pt>
                <c:pt idx="485">
                  <c:v>39762</c:v>
                </c:pt>
                <c:pt idx="486">
                  <c:v>39763</c:v>
                </c:pt>
                <c:pt idx="487">
                  <c:v>39764</c:v>
                </c:pt>
                <c:pt idx="488">
                  <c:v>39765</c:v>
                </c:pt>
                <c:pt idx="489">
                  <c:v>39766</c:v>
                </c:pt>
                <c:pt idx="490">
                  <c:v>39769</c:v>
                </c:pt>
                <c:pt idx="491">
                  <c:v>39770</c:v>
                </c:pt>
                <c:pt idx="492">
                  <c:v>39771</c:v>
                </c:pt>
                <c:pt idx="493">
                  <c:v>39772</c:v>
                </c:pt>
                <c:pt idx="494">
                  <c:v>39773</c:v>
                </c:pt>
                <c:pt idx="495">
                  <c:v>39776</c:v>
                </c:pt>
                <c:pt idx="496">
                  <c:v>39777</c:v>
                </c:pt>
                <c:pt idx="497">
                  <c:v>39778</c:v>
                </c:pt>
                <c:pt idx="498">
                  <c:v>39779</c:v>
                </c:pt>
                <c:pt idx="499">
                  <c:v>39780</c:v>
                </c:pt>
                <c:pt idx="500">
                  <c:v>39783</c:v>
                </c:pt>
                <c:pt idx="501">
                  <c:v>39784</c:v>
                </c:pt>
                <c:pt idx="502">
                  <c:v>39785</c:v>
                </c:pt>
                <c:pt idx="503">
                  <c:v>39786</c:v>
                </c:pt>
                <c:pt idx="504">
                  <c:v>39787</c:v>
                </c:pt>
                <c:pt idx="505">
                  <c:v>39790</c:v>
                </c:pt>
                <c:pt idx="506">
                  <c:v>39791</c:v>
                </c:pt>
                <c:pt idx="507">
                  <c:v>39792</c:v>
                </c:pt>
                <c:pt idx="508">
                  <c:v>39793</c:v>
                </c:pt>
                <c:pt idx="509">
                  <c:v>39794</c:v>
                </c:pt>
                <c:pt idx="510">
                  <c:v>39797</c:v>
                </c:pt>
                <c:pt idx="511">
                  <c:v>39798</c:v>
                </c:pt>
                <c:pt idx="512">
                  <c:v>39799</c:v>
                </c:pt>
                <c:pt idx="513">
                  <c:v>39800</c:v>
                </c:pt>
                <c:pt idx="514">
                  <c:v>39801</c:v>
                </c:pt>
                <c:pt idx="515">
                  <c:v>39804</c:v>
                </c:pt>
                <c:pt idx="516">
                  <c:v>39805</c:v>
                </c:pt>
                <c:pt idx="517">
                  <c:v>39806</c:v>
                </c:pt>
                <c:pt idx="518">
                  <c:v>39807</c:v>
                </c:pt>
                <c:pt idx="519">
                  <c:v>39808</c:v>
                </c:pt>
                <c:pt idx="520">
                  <c:v>39811</c:v>
                </c:pt>
                <c:pt idx="521">
                  <c:v>39812</c:v>
                </c:pt>
                <c:pt idx="522">
                  <c:v>39813</c:v>
                </c:pt>
                <c:pt idx="523">
                  <c:v>39814</c:v>
                </c:pt>
                <c:pt idx="524">
                  <c:v>39815</c:v>
                </c:pt>
                <c:pt idx="525">
                  <c:v>39818</c:v>
                </c:pt>
                <c:pt idx="526">
                  <c:v>39819</c:v>
                </c:pt>
                <c:pt idx="527">
                  <c:v>39820</c:v>
                </c:pt>
                <c:pt idx="528">
                  <c:v>39821</c:v>
                </c:pt>
                <c:pt idx="529">
                  <c:v>39822</c:v>
                </c:pt>
                <c:pt idx="530">
                  <c:v>39825</c:v>
                </c:pt>
                <c:pt idx="531">
                  <c:v>39826</c:v>
                </c:pt>
                <c:pt idx="532">
                  <c:v>39827</c:v>
                </c:pt>
                <c:pt idx="533">
                  <c:v>39828</c:v>
                </c:pt>
                <c:pt idx="534">
                  <c:v>39829</c:v>
                </c:pt>
                <c:pt idx="535">
                  <c:v>39832</c:v>
                </c:pt>
                <c:pt idx="536">
                  <c:v>39833</c:v>
                </c:pt>
                <c:pt idx="537">
                  <c:v>39834</c:v>
                </c:pt>
                <c:pt idx="538">
                  <c:v>39835</c:v>
                </c:pt>
                <c:pt idx="539">
                  <c:v>39836</c:v>
                </c:pt>
                <c:pt idx="540">
                  <c:v>39839</c:v>
                </c:pt>
                <c:pt idx="541">
                  <c:v>39840</c:v>
                </c:pt>
                <c:pt idx="542">
                  <c:v>39841</c:v>
                </c:pt>
                <c:pt idx="543">
                  <c:v>39842</c:v>
                </c:pt>
                <c:pt idx="544">
                  <c:v>39843</c:v>
                </c:pt>
                <c:pt idx="545">
                  <c:v>39846</c:v>
                </c:pt>
                <c:pt idx="546">
                  <c:v>39847</c:v>
                </c:pt>
                <c:pt idx="547">
                  <c:v>39848</c:v>
                </c:pt>
                <c:pt idx="548">
                  <c:v>39849</c:v>
                </c:pt>
                <c:pt idx="549">
                  <c:v>39850</c:v>
                </c:pt>
                <c:pt idx="550">
                  <c:v>39853</c:v>
                </c:pt>
                <c:pt idx="551">
                  <c:v>39854</c:v>
                </c:pt>
                <c:pt idx="552">
                  <c:v>39855</c:v>
                </c:pt>
                <c:pt idx="553">
                  <c:v>39856</c:v>
                </c:pt>
                <c:pt idx="554">
                  <c:v>39857</c:v>
                </c:pt>
                <c:pt idx="555">
                  <c:v>39860</c:v>
                </c:pt>
                <c:pt idx="556">
                  <c:v>39861</c:v>
                </c:pt>
                <c:pt idx="557">
                  <c:v>39862</c:v>
                </c:pt>
                <c:pt idx="558">
                  <c:v>39863</c:v>
                </c:pt>
                <c:pt idx="559">
                  <c:v>39864</c:v>
                </c:pt>
                <c:pt idx="560">
                  <c:v>39867</c:v>
                </c:pt>
                <c:pt idx="561">
                  <c:v>39868</c:v>
                </c:pt>
                <c:pt idx="562">
                  <c:v>39869</c:v>
                </c:pt>
                <c:pt idx="563">
                  <c:v>39870</c:v>
                </c:pt>
                <c:pt idx="564">
                  <c:v>39871</c:v>
                </c:pt>
                <c:pt idx="565">
                  <c:v>39874</c:v>
                </c:pt>
                <c:pt idx="566">
                  <c:v>39875</c:v>
                </c:pt>
                <c:pt idx="567">
                  <c:v>39876</c:v>
                </c:pt>
                <c:pt idx="568">
                  <c:v>39877</c:v>
                </c:pt>
                <c:pt idx="569">
                  <c:v>39878</c:v>
                </c:pt>
                <c:pt idx="570">
                  <c:v>39881</c:v>
                </c:pt>
                <c:pt idx="571">
                  <c:v>39882</c:v>
                </c:pt>
                <c:pt idx="572">
                  <c:v>39883</c:v>
                </c:pt>
                <c:pt idx="573">
                  <c:v>39884</c:v>
                </c:pt>
                <c:pt idx="574">
                  <c:v>39885</c:v>
                </c:pt>
                <c:pt idx="575">
                  <c:v>39888</c:v>
                </c:pt>
                <c:pt idx="576">
                  <c:v>39889</c:v>
                </c:pt>
                <c:pt idx="577">
                  <c:v>39890</c:v>
                </c:pt>
                <c:pt idx="578">
                  <c:v>39891</c:v>
                </c:pt>
                <c:pt idx="579">
                  <c:v>39892</c:v>
                </c:pt>
                <c:pt idx="580">
                  <c:v>39895</c:v>
                </c:pt>
                <c:pt idx="581">
                  <c:v>39896</c:v>
                </c:pt>
                <c:pt idx="582">
                  <c:v>39897</c:v>
                </c:pt>
                <c:pt idx="583">
                  <c:v>39898</c:v>
                </c:pt>
                <c:pt idx="584">
                  <c:v>39899</c:v>
                </c:pt>
                <c:pt idx="585">
                  <c:v>39902</c:v>
                </c:pt>
                <c:pt idx="586">
                  <c:v>39903</c:v>
                </c:pt>
                <c:pt idx="587">
                  <c:v>39904</c:v>
                </c:pt>
                <c:pt idx="588">
                  <c:v>39905</c:v>
                </c:pt>
                <c:pt idx="589">
                  <c:v>39906</c:v>
                </c:pt>
                <c:pt idx="590">
                  <c:v>39909</c:v>
                </c:pt>
                <c:pt idx="591">
                  <c:v>39910</c:v>
                </c:pt>
                <c:pt idx="592">
                  <c:v>39911</c:v>
                </c:pt>
                <c:pt idx="593">
                  <c:v>39912</c:v>
                </c:pt>
                <c:pt idx="594">
                  <c:v>39913</c:v>
                </c:pt>
                <c:pt idx="595">
                  <c:v>39916</c:v>
                </c:pt>
                <c:pt idx="596">
                  <c:v>39917</c:v>
                </c:pt>
                <c:pt idx="597">
                  <c:v>39918</c:v>
                </c:pt>
                <c:pt idx="598">
                  <c:v>39919</c:v>
                </c:pt>
                <c:pt idx="599">
                  <c:v>39920</c:v>
                </c:pt>
                <c:pt idx="600">
                  <c:v>39923</c:v>
                </c:pt>
                <c:pt idx="601">
                  <c:v>39924</c:v>
                </c:pt>
                <c:pt idx="602">
                  <c:v>39925</c:v>
                </c:pt>
                <c:pt idx="603">
                  <c:v>39926</c:v>
                </c:pt>
                <c:pt idx="604">
                  <c:v>39927</c:v>
                </c:pt>
                <c:pt idx="605">
                  <c:v>39930</c:v>
                </c:pt>
                <c:pt idx="606">
                  <c:v>39931</c:v>
                </c:pt>
                <c:pt idx="607">
                  <c:v>39932</c:v>
                </c:pt>
                <c:pt idx="608">
                  <c:v>39933</c:v>
                </c:pt>
                <c:pt idx="609">
                  <c:v>39934</c:v>
                </c:pt>
                <c:pt idx="610">
                  <c:v>39937</c:v>
                </c:pt>
                <c:pt idx="611">
                  <c:v>39938</c:v>
                </c:pt>
                <c:pt idx="612">
                  <c:v>39939</c:v>
                </c:pt>
                <c:pt idx="613">
                  <c:v>39940</c:v>
                </c:pt>
                <c:pt idx="614">
                  <c:v>39941</c:v>
                </c:pt>
                <c:pt idx="615">
                  <c:v>39944</c:v>
                </c:pt>
                <c:pt idx="616">
                  <c:v>39945</c:v>
                </c:pt>
                <c:pt idx="617">
                  <c:v>39946</c:v>
                </c:pt>
                <c:pt idx="618">
                  <c:v>39947</c:v>
                </c:pt>
                <c:pt idx="619">
                  <c:v>39948</c:v>
                </c:pt>
                <c:pt idx="620">
                  <c:v>39951</c:v>
                </c:pt>
                <c:pt idx="621">
                  <c:v>39952</c:v>
                </c:pt>
                <c:pt idx="622">
                  <c:v>39953</c:v>
                </c:pt>
                <c:pt idx="623">
                  <c:v>39954</c:v>
                </c:pt>
                <c:pt idx="624">
                  <c:v>39955</c:v>
                </c:pt>
                <c:pt idx="625">
                  <c:v>39958</c:v>
                </c:pt>
                <c:pt idx="626">
                  <c:v>39959</c:v>
                </c:pt>
                <c:pt idx="627">
                  <c:v>39960</c:v>
                </c:pt>
                <c:pt idx="628">
                  <c:v>39961</c:v>
                </c:pt>
                <c:pt idx="629">
                  <c:v>39962</c:v>
                </c:pt>
                <c:pt idx="630">
                  <c:v>39965</c:v>
                </c:pt>
                <c:pt idx="631">
                  <c:v>39966</c:v>
                </c:pt>
                <c:pt idx="632">
                  <c:v>39967</c:v>
                </c:pt>
                <c:pt idx="633">
                  <c:v>39968</c:v>
                </c:pt>
                <c:pt idx="634">
                  <c:v>39969</c:v>
                </c:pt>
                <c:pt idx="635">
                  <c:v>39972</c:v>
                </c:pt>
                <c:pt idx="636">
                  <c:v>39973</c:v>
                </c:pt>
                <c:pt idx="637">
                  <c:v>39974</c:v>
                </c:pt>
                <c:pt idx="638">
                  <c:v>39975</c:v>
                </c:pt>
                <c:pt idx="639">
                  <c:v>39976</c:v>
                </c:pt>
                <c:pt idx="640">
                  <c:v>39979</c:v>
                </c:pt>
                <c:pt idx="641">
                  <c:v>39980</c:v>
                </c:pt>
                <c:pt idx="642">
                  <c:v>39981</c:v>
                </c:pt>
                <c:pt idx="643">
                  <c:v>39982</c:v>
                </c:pt>
                <c:pt idx="644">
                  <c:v>39983</c:v>
                </c:pt>
                <c:pt idx="645">
                  <c:v>39986</c:v>
                </c:pt>
                <c:pt idx="646">
                  <c:v>39987</c:v>
                </c:pt>
                <c:pt idx="647">
                  <c:v>39988</c:v>
                </c:pt>
                <c:pt idx="648">
                  <c:v>39989</c:v>
                </c:pt>
                <c:pt idx="649">
                  <c:v>39990</c:v>
                </c:pt>
                <c:pt idx="650">
                  <c:v>39993</c:v>
                </c:pt>
                <c:pt idx="651">
                  <c:v>39994</c:v>
                </c:pt>
                <c:pt idx="652">
                  <c:v>39995</c:v>
                </c:pt>
                <c:pt idx="653">
                  <c:v>39996</c:v>
                </c:pt>
                <c:pt idx="654">
                  <c:v>39997</c:v>
                </c:pt>
                <c:pt idx="655">
                  <c:v>40000</c:v>
                </c:pt>
                <c:pt idx="656">
                  <c:v>40001</c:v>
                </c:pt>
                <c:pt idx="657">
                  <c:v>40002</c:v>
                </c:pt>
                <c:pt idx="658">
                  <c:v>40003</c:v>
                </c:pt>
                <c:pt idx="659">
                  <c:v>40004</c:v>
                </c:pt>
                <c:pt idx="660">
                  <c:v>40007</c:v>
                </c:pt>
                <c:pt idx="661">
                  <c:v>40008</c:v>
                </c:pt>
                <c:pt idx="662">
                  <c:v>40009</c:v>
                </c:pt>
                <c:pt idx="663">
                  <c:v>40010</c:v>
                </c:pt>
                <c:pt idx="664">
                  <c:v>40011</c:v>
                </c:pt>
                <c:pt idx="665">
                  <c:v>40014</c:v>
                </c:pt>
                <c:pt idx="666">
                  <c:v>40015</c:v>
                </c:pt>
                <c:pt idx="667">
                  <c:v>40016</c:v>
                </c:pt>
                <c:pt idx="668">
                  <c:v>40017</c:v>
                </c:pt>
                <c:pt idx="669">
                  <c:v>40018</c:v>
                </c:pt>
                <c:pt idx="670">
                  <c:v>40021</c:v>
                </c:pt>
                <c:pt idx="671">
                  <c:v>40022</c:v>
                </c:pt>
                <c:pt idx="672">
                  <c:v>40023</c:v>
                </c:pt>
                <c:pt idx="673">
                  <c:v>40024</c:v>
                </c:pt>
                <c:pt idx="674">
                  <c:v>40025</c:v>
                </c:pt>
                <c:pt idx="675">
                  <c:v>40028</c:v>
                </c:pt>
                <c:pt idx="676">
                  <c:v>40029</c:v>
                </c:pt>
                <c:pt idx="677">
                  <c:v>40030</c:v>
                </c:pt>
                <c:pt idx="678">
                  <c:v>40031</c:v>
                </c:pt>
                <c:pt idx="679">
                  <c:v>40032</c:v>
                </c:pt>
                <c:pt idx="680">
                  <c:v>40035</c:v>
                </c:pt>
                <c:pt idx="681">
                  <c:v>40036</c:v>
                </c:pt>
                <c:pt idx="682">
                  <c:v>40037</c:v>
                </c:pt>
                <c:pt idx="683">
                  <c:v>40038</c:v>
                </c:pt>
                <c:pt idx="684">
                  <c:v>40039</c:v>
                </c:pt>
                <c:pt idx="685">
                  <c:v>40042</c:v>
                </c:pt>
                <c:pt idx="686">
                  <c:v>40043</c:v>
                </c:pt>
                <c:pt idx="687">
                  <c:v>40044</c:v>
                </c:pt>
                <c:pt idx="688">
                  <c:v>40045</c:v>
                </c:pt>
                <c:pt idx="689">
                  <c:v>40046</c:v>
                </c:pt>
                <c:pt idx="690">
                  <c:v>40049</c:v>
                </c:pt>
                <c:pt idx="691">
                  <c:v>40050</c:v>
                </c:pt>
                <c:pt idx="692">
                  <c:v>40051</c:v>
                </c:pt>
                <c:pt idx="693">
                  <c:v>40052</c:v>
                </c:pt>
                <c:pt idx="694">
                  <c:v>40053</c:v>
                </c:pt>
                <c:pt idx="695">
                  <c:v>40056</c:v>
                </c:pt>
                <c:pt idx="696">
                  <c:v>40057</c:v>
                </c:pt>
                <c:pt idx="697">
                  <c:v>40058</c:v>
                </c:pt>
                <c:pt idx="698">
                  <c:v>40059</c:v>
                </c:pt>
                <c:pt idx="699">
                  <c:v>40060</c:v>
                </c:pt>
                <c:pt idx="700">
                  <c:v>40063</c:v>
                </c:pt>
                <c:pt idx="701">
                  <c:v>40064</c:v>
                </c:pt>
                <c:pt idx="702">
                  <c:v>40065</c:v>
                </c:pt>
                <c:pt idx="703">
                  <c:v>40066</c:v>
                </c:pt>
                <c:pt idx="704">
                  <c:v>40067</c:v>
                </c:pt>
                <c:pt idx="705">
                  <c:v>40070</c:v>
                </c:pt>
                <c:pt idx="706">
                  <c:v>40071</c:v>
                </c:pt>
                <c:pt idx="707">
                  <c:v>40072</c:v>
                </c:pt>
                <c:pt idx="708">
                  <c:v>40073</c:v>
                </c:pt>
                <c:pt idx="709">
                  <c:v>40074</c:v>
                </c:pt>
                <c:pt idx="710">
                  <c:v>40077</c:v>
                </c:pt>
                <c:pt idx="711">
                  <c:v>40078</c:v>
                </c:pt>
                <c:pt idx="712">
                  <c:v>40079</c:v>
                </c:pt>
                <c:pt idx="713">
                  <c:v>40080</c:v>
                </c:pt>
                <c:pt idx="714">
                  <c:v>40081</c:v>
                </c:pt>
                <c:pt idx="715">
                  <c:v>40084</c:v>
                </c:pt>
                <c:pt idx="716">
                  <c:v>40085</c:v>
                </c:pt>
                <c:pt idx="717">
                  <c:v>40086</c:v>
                </c:pt>
                <c:pt idx="718">
                  <c:v>40087</c:v>
                </c:pt>
                <c:pt idx="719">
                  <c:v>40088</c:v>
                </c:pt>
                <c:pt idx="720">
                  <c:v>40091</c:v>
                </c:pt>
                <c:pt idx="721">
                  <c:v>40092</c:v>
                </c:pt>
                <c:pt idx="722">
                  <c:v>40093</c:v>
                </c:pt>
                <c:pt idx="723">
                  <c:v>40094</c:v>
                </c:pt>
                <c:pt idx="724">
                  <c:v>40095</c:v>
                </c:pt>
                <c:pt idx="725">
                  <c:v>40098</c:v>
                </c:pt>
                <c:pt idx="726">
                  <c:v>40099</c:v>
                </c:pt>
                <c:pt idx="727">
                  <c:v>40100</c:v>
                </c:pt>
                <c:pt idx="728">
                  <c:v>40101</c:v>
                </c:pt>
                <c:pt idx="729">
                  <c:v>40102</c:v>
                </c:pt>
                <c:pt idx="730">
                  <c:v>40105</c:v>
                </c:pt>
                <c:pt idx="731">
                  <c:v>40106</c:v>
                </c:pt>
                <c:pt idx="732">
                  <c:v>40107</c:v>
                </c:pt>
                <c:pt idx="733">
                  <c:v>40108</c:v>
                </c:pt>
                <c:pt idx="734">
                  <c:v>40109</c:v>
                </c:pt>
                <c:pt idx="735">
                  <c:v>40112</c:v>
                </c:pt>
                <c:pt idx="736">
                  <c:v>40113</c:v>
                </c:pt>
                <c:pt idx="737">
                  <c:v>40114</c:v>
                </c:pt>
                <c:pt idx="738">
                  <c:v>40115</c:v>
                </c:pt>
                <c:pt idx="739">
                  <c:v>40116</c:v>
                </c:pt>
                <c:pt idx="740">
                  <c:v>40119</c:v>
                </c:pt>
                <c:pt idx="741">
                  <c:v>40120</c:v>
                </c:pt>
                <c:pt idx="742">
                  <c:v>40121</c:v>
                </c:pt>
                <c:pt idx="743">
                  <c:v>40122</c:v>
                </c:pt>
                <c:pt idx="744">
                  <c:v>40123</c:v>
                </c:pt>
                <c:pt idx="745">
                  <c:v>40126</c:v>
                </c:pt>
                <c:pt idx="746">
                  <c:v>40127</c:v>
                </c:pt>
                <c:pt idx="747">
                  <c:v>40128</c:v>
                </c:pt>
                <c:pt idx="748">
                  <c:v>40129</c:v>
                </c:pt>
                <c:pt idx="749">
                  <c:v>40130</c:v>
                </c:pt>
                <c:pt idx="750">
                  <c:v>40133</c:v>
                </c:pt>
                <c:pt idx="751">
                  <c:v>40134</c:v>
                </c:pt>
                <c:pt idx="752">
                  <c:v>40135</c:v>
                </c:pt>
                <c:pt idx="753">
                  <c:v>40136</c:v>
                </c:pt>
                <c:pt idx="754">
                  <c:v>40137</c:v>
                </c:pt>
                <c:pt idx="755">
                  <c:v>40140</c:v>
                </c:pt>
                <c:pt idx="756">
                  <c:v>40141</c:v>
                </c:pt>
                <c:pt idx="757">
                  <c:v>40142</c:v>
                </c:pt>
                <c:pt idx="758">
                  <c:v>40143</c:v>
                </c:pt>
                <c:pt idx="759">
                  <c:v>40144</c:v>
                </c:pt>
                <c:pt idx="760">
                  <c:v>40147</c:v>
                </c:pt>
                <c:pt idx="761">
                  <c:v>40148</c:v>
                </c:pt>
                <c:pt idx="762">
                  <c:v>40149</c:v>
                </c:pt>
                <c:pt idx="763">
                  <c:v>40150</c:v>
                </c:pt>
                <c:pt idx="764">
                  <c:v>40151</c:v>
                </c:pt>
                <c:pt idx="765">
                  <c:v>40154</c:v>
                </c:pt>
                <c:pt idx="766">
                  <c:v>40155</c:v>
                </c:pt>
                <c:pt idx="767">
                  <c:v>40156</c:v>
                </c:pt>
                <c:pt idx="768">
                  <c:v>40157</c:v>
                </c:pt>
                <c:pt idx="769">
                  <c:v>40158</c:v>
                </c:pt>
                <c:pt idx="770">
                  <c:v>40161</c:v>
                </c:pt>
                <c:pt idx="771">
                  <c:v>40162</c:v>
                </c:pt>
                <c:pt idx="772">
                  <c:v>40163</c:v>
                </c:pt>
                <c:pt idx="773">
                  <c:v>40164</c:v>
                </c:pt>
                <c:pt idx="774">
                  <c:v>40165</c:v>
                </c:pt>
                <c:pt idx="775">
                  <c:v>40168</c:v>
                </c:pt>
                <c:pt idx="776">
                  <c:v>40169</c:v>
                </c:pt>
                <c:pt idx="777">
                  <c:v>40170</c:v>
                </c:pt>
                <c:pt idx="778">
                  <c:v>40171</c:v>
                </c:pt>
                <c:pt idx="779">
                  <c:v>40172</c:v>
                </c:pt>
                <c:pt idx="780">
                  <c:v>40175</c:v>
                </c:pt>
                <c:pt idx="781">
                  <c:v>40176</c:v>
                </c:pt>
                <c:pt idx="782">
                  <c:v>40177</c:v>
                </c:pt>
                <c:pt idx="783">
                  <c:v>40178</c:v>
                </c:pt>
                <c:pt idx="784">
                  <c:v>40179</c:v>
                </c:pt>
                <c:pt idx="785">
                  <c:v>40182</c:v>
                </c:pt>
                <c:pt idx="786">
                  <c:v>40183</c:v>
                </c:pt>
                <c:pt idx="787">
                  <c:v>40184</c:v>
                </c:pt>
                <c:pt idx="788">
                  <c:v>40185</c:v>
                </c:pt>
                <c:pt idx="789">
                  <c:v>40186</c:v>
                </c:pt>
                <c:pt idx="790">
                  <c:v>40189</c:v>
                </c:pt>
                <c:pt idx="791">
                  <c:v>40190</c:v>
                </c:pt>
                <c:pt idx="792">
                  <c:v>40191</c:v>
                </c:pt>
                <c:pt idx="793">
                  <c:v>40192</c:v>
                </c:pt>
                <c:pt idx="794">
                  <c:v>40193</c:v>
                </c:pt>
                <c:pt idx="795">
                  <c:v>40196</c:v>
                </c:pt>
                <c:pt idx="796">
                  <c:v>40197</c:v>
                </c:pt>
                <c:pt idx="797">
                  <c:v>40198</c:v>
                </c:pt>
                <c:pt idx="798">
                  <c:v>40199</c:v>
                </c:pt>
                <c:pt idx="799">
                  <c:v>40200</c:v>
                </c:pt>
                <c:pt idx="800">
                  <c:v>40203</c:v>
                </c:pt>
                <c:pt idx="801">
                  <c:v>40204</c:v>
                </c:pt>
                <c:pt idx="802">
                  <c:v>40205</c:v>
                </c:pt>
                <c:pt idx="803">
                  <c:v>40206</c:v>
                </c:pt>
                <c:pt idx="804">
                  <c:v>40207</c:v>
                </c:pt>
                <c:pt idx="805">
                  <c:v>40210</c:v>
                </c:pt>
                <c:pt idx="806">
                  <c:v>40211</c:v>
                </c:pt>
                <c:pt idx="807">
                  <c:v>40212</c:v>
                </c:pt>
                <c:pt idx="808">
                  <c:v>40213</c:v>
                </c:pt>
                <c:pt idx="809">
                  <c:v>40214</c:v>
                </c:pt>
                <c:pt idx="810">
                  <c:v>40217</c:v>
                </c:pt>
                <c:pt idx="811">
                  <c:v>40218</c:v>
                </c:pt>
                <c:pt idx="812">
                  <c:v>40219</c:v>
                </c:pt>
                <c:pt idx="813">
                  <c:v>40220</c:v>
                </c:pt>
                <c:pt idx="814">
                  <c:v>40221</c:v>
                </c:pt>
                <c:pt idx="815">
                  <c:v>40224</c:v>
                </c:pt>
                <c:pt idx="816">
                  <c:v>40225</c:v>
                </c:pt>
                <c:pt idx="817">
                  <c:v>40226</c:v>
                </c:pt>
                <c:pt idx="818">
                  <c:v>40227</c:v>
                </c:pt>
                <c:pt idx="819">
                  <c:v>40228</c:v>
                </c:pt>
                <c:pt idx="820">
                  <c:v>40231</c:v>
                </c:pt>
                <c:pt idx="821">
                  <c:v>40232</c:v>
                </c:pt>
                <c:pt idx="822">
                  <c:v>40233</c:v>
                </c:pt>
                <c:pt idx="823">
                  <c:v>40234</c:v>
                </c:pt>
                <c:pt idx="824">
                  <c:v>40235</c:v>
                </c:pt>
                <c:pt idx="825">
                  <c:v>40238</c:v>
                </c:pt>
                <c:pt idx="826">
                  <c:v>40239</c:v>
                </c:pt>
                <c:pt idx="827">
                  <c:v>40240</c:v>
                </c:pt>
                <c:pt idx="828">
                  <c:v>40241</c:v>
                </c:pt>
                <c:pt idx="829">
                  <c:v>40242</c:v>
                </c:pt>
                <c:pt idx="830">
                  <c:v>40245</c:v>
                </c:pt>
                <c:pt idx="831">
                  <c:v>40246</c:v>
                </c:pt>
                <c:pt idx="832">
                  <c:v>40247</c:v>
                </c:pt>
                <c:pt idx="833">
                  <c:v>40248</c:v>
                </c:pt>
                <c:pt idx="834">
                  <c:v>40249</c:v>
                </c:pt>
                <c:pt idx="835">
                  <c:v>40252</c:v>
                </c:pt>
                <c:pt idx="836">
                  <c:v>40253</c:v>
                </c:pt>
                <c:pt idx="837">
                  <c:v>40254</c:v>
                </c:pt>
                <c:pt idx="838">
                  <c:v>40255</c:v>
                </c:pt>
                <c:pt idx="839">
                  <c:v>40256</c:v>
                </c:pt>
                <c:pt idx="840">
                  <c:v>40259</c:v>
                </c:pt>
                <c:pt idx="841">
                  <c:v>40260</c:v>
                </c:pt>
                <c:pt idx="842">
                  <c:v>40261</c:v>
                </c:pt>
                <c:pt idx="843">
                  <c:v>40262</c:v>
                </c:pt>
                <c:pt idx="844">
                  <c:v>40263</c:v>
                </c:pt>
                <c:pt idx="845">
                  <c:v>40266</c:v>
                </c:pt>
                <c:pt idx="846">
                  <c:v>40267</c:v>
                </c:pt>
                <c:pt idx="847">
                  <c:v>40268</c:v>
                </c:pt>
                <c:pt idx="848">
                  <c:v>40269</c:v>
                </c:pt>
                <c:pt idx="849">
                  <c:v>40270</c:v>
                </c:pt>
                <c:pt idx="850">
                  <c:v>40273</c:v>
                </c:pt>
                <c:pt idx="851">
                  <c:v>40274</c:v>
                </c:pt>
                <c:pt idx="852">
                  <c:v>40275</c:v>
                </c:pt>
                <c:pt idx="853">
                  <c:v>40276</c:v>
                </c:pt>
                <c:pt idx="854">
                  <c:v>40277</c:v>
                </c:pt>
                <c:pt idx="855">
                  <c:v>40280</c:v>
                </c:pt>
                <c:pt idx="856">
                  <c:v>40281</c:v>
                </c:pt>
                <c:pt idx="857">
                  <c:v>40282</c:v>
                </c:pt>
                <c:pt idx="858">
                  <c:v>40283</c:v>
                </c:pt>
                <c:pt idx="859">
                  <c:v>40284</c:v>
                </c:pt>
                <c:pt idx="860">
                  <c:v>40287</c:v>
                </c:pt>
                <c:pt idx="861">
                  <c:v>40288</c:v>
                </c:pt>
                <c:pt idx="862">
                  <c:v>40289</c:v>
                </c:pt>
                <c:pt idx="863">
                  <c:v>40290</c:v>
                </c:pt>
                <c:pt idx="864">
                  <c:v>40291</c:v>
                </c:pt>
                <c:pt idx="865">
                  <c:v>40294</c:v>
                </c:pt>
                <c:pt idx="866">
                  <c:v>40295</c:v>
                </c:pt>
                <c:pt idx="867">
                  <c:v>40296</c:v>
                </c:pt>
                <c:pt idx="868">
                  <c:v>40297</c:v>
                </c:pt>
                <c:pt idx="869">
                  <c:v>40298</c:v>
                </c:pt>
                <c:pt idx="870">
                  <c:v>40301</c:v>
                </c:pt>
                <c:pt idx="871">
                  <c:v>40302</c:v>
                </c:pt>
                <c:pt idx="872">
                  <c:v>40303</c:v>
                </c:pt>
                <c:pt idx="873">
                  <c:v>40304</c:v>
                </c:pt>
                <c:pt idx="874">
                  <c:v>40305</c:v>
                </c:pt>
                <c:pt idx="875">
                  <c:v>40308</c:v>
                </c:pt>
                <c:pt idx="876">
                  <c:v>40309</c:v>
                </c:pt>
                <c:pt idx="877">
                  <c:v>40310</c:v>
                </c:pt>
                <c:pt idx="878">
                  <c:v>40311</c:v>
                </c:pt>
                <c:pt idx="879">
                  <c:v>40312</c:v>
                </c:pt>
                <c:pt idx="880">
                  <c:v>40315</c:v>
                </c:pt>
                <c:pt idx="881">
                  <c:v>40316</c:v>
                </c:pt>
                <c:pt idx="882">
                  <c:v>40317</c:v>
                </c:pt>
                <c:pt idx="883">
                  <c:v>40318</c:v>
                </c:pt>
                <c:pt idx="884">
                  <c:v>40319</c:v>
                </c:pt>
                <c:pt idx="885">
                  <c:v>40322</c:v>
                </c:pt>
                <c:pt idx="886">
                  <c:v>40323</c:v>
                </c:pt>
                <c:pt idx="887">
                  <c:v>40324</c:v>
                </c:pt>
                <c:pt idx="888">
                  <c:v>40325</c:v>
                </c:pt>
                <c:pt idx="889">
                  <c:v>40326</c:v>
                </c:pt>
                <c:pt idx="890">
                  <c:v>40329</c:v>
                </c:pt>
                <c:pt idx="891">
                  <c:v>40330</c:v>
                </c:pt>
                <c:pt idx="892">
                  <c:v>40331</c:v>
                </c:pt>
                <c:pt idx="893">
                  <c:v>40332</c:v>
                </c:pt>
                <c:pt idx="894">
                  <c:v>40333</c:v>
                </c:pt>
                <c:pt idx="895">
                  <c:v>40336</c:v>
                </c:pt>
                <c:pt idx="896">
                  <c:v>40337</c:v>
                </c:pt>
                <c:pt idx="897">
                  <c:v>40338</c:v>
                </c:pt>
                <c:pt idx="898">
                  <c:v>40339</c:v>
                </c:pt>
                <c:pt idx="899">
                  <c:v>40340</c:v>
                </c:pt>
                <c:pt idx="900">
                  <c:v>40343</c:v>
                </c:pt>
                <c:pt idx="901">
                  <c:v>40344</c:v>
                </c:pt>
                <c:pt idx="902">
                  <c:v>40345</c:v>
                </c:pt>
                <c:pt idx="903">
                  <c:v>40346</c:v>
                </c:pt>
                <c:pt idx="904">
                  <c:v>40347</c:v>
                </c:pt>
                <c:pt idx="905">
                  <c:v>40350</c:v>
                </c:pt>
                <c:pt idx="906">
                  <c:v>40351</c:v>
                </c:pt>
                <c:pt idx="907">
                  <c:v>40352</c:v>
                </c:pt>
                <c:pt idx="908">
                  <c:v>40353</c:v>
                </c:pt>
                <c:pt idx="909">
                  <c:v>40354</c:v>
                </c:pt>
                <c:pt idx="910">
                  <c:v>40357</c:v>
                </c:pt>
                <c:pt idx="911">
                  <c:v>40358</c:v>
                </c:pt>
                <c:pt idx="912">
                  <c:v>40359</c:v>
                </c:pt>
                <c:pt idx="913">
                  <c:v>40360</c:v>
                </c:pt>
                <c:pt idx="914">
                  <c:v>40361</c:v>
                </c:pt>
                <c:pt idx="915">
                  <c:v>40364</c:v>
                </c:pt>
                <c:pt idx="916">
                  <c:v>40365</c:v>
                </c:pt>
                <c:pt idx="917">
                  <c:v>40366</c:v>
                </c:pt>
                <c:pt idx="918">
                  <c:v>40367</c:v>
                </c:pt>
                <c:pt idx="919">
                  <c:v>40368</c:v>
                </c:pt>
                <c:pt idx="920">
                  <c:v>40371</c:v>
                </c:pt>
                <c:pt idx="921">
                  <c:v>40372</c:v>
                </c:pt>
                <c:pt idx="922">
                  <c:v>40373</c:v>
                </c:pt>
                <c:pt idx="923">
                  <c:v>40374</c:v>
                </c:pt>
                <c:pt idx="924">
                  <c:v>40375</c:v>
                </c:pt>
                <c:pt idx="925">
                  <c:v>40378</c:v>
                </c:pt>
                <c:pt idx="926">
                  <c:v>40379</c:v>
                </c:pt>
                <c:pt idx="927">
                  <c:v>40380</c:v>
                </c:pt>
                <c:pt idx="928">
                  <c:v>40381</c:v>
                </c:pt>
                <c:pt idx="929">
                  <c:v>40382</c:v>
                </c:pt>
                <c:pt idx="930">
                  <c:v>40385</c:v>
                </c:pt>
                <c:pt idx="931">
                  <c:v>40386</c:v>
                </c:pt>
                <c:pt idx="932">
                  <c:v>40387</c:v>
                </c:pt>
                <c:pt idx="933">
                  <c:v>40388</c:v>
                </c:pt>
                <c:pt idx="934">
                  <c:v>40389</c:v>
                </c:pt>
                <c:pt idx="935">
                  <c:v>40392</c:v>
                </c:pt>
                <c:pt idx="936">
                  <c:v>40393</c:v>
                </c:pt>
                <c:pt idx="937">
                  <c:v>40394</c:v>
                </c:pt>
                <c:pt idx="938">
                  <c:v>40395</c:v>
                </c:pt>
                <c:pt idx="939">
                  <c:v>40396</c:v>
                </c:pt>
                <c:pt idx="940">
                  <c:v>40399</c:v>
                </c:pt>
                <c:pt idx="941">
                  <c:v>40400</c:v>
                </c:pt>
                <c:pt idx="942">
                  <c:v>40401</c:v>
                </c:pt>
                <c:pt idx="943">
                  <c:v>40402</c:v>
                </c:pt>
                <c:pt idx="944">
                  <c:v>40403</c:v>
                </c:pt>
                <c:pt idx="945">
                  <c:v>40406</c:v>
                </c:pt>
                <c:pt idx="946">
                  <c:v>40407</c:v>
                </c:pt>
                <c:pt idx="947">
                  <c:v>40408</c:v>
                </c:pt>
                <c:pt idx="948">
                  <c:v>40409</c:v>
                </c:pt>
                <c:pt idx="949">
                  <c:v>40410</c:v>
                </c:pt>
                <c:pt idx="950">
                  <c:v>40413</c:v>
                </c:pt>
                <c:pt idx="951">
                  <c:v>40414</c:v>
                </c:pt>
                <c:pt idx="952">
                  <c:v>40415</c:v>
                </c:pt>
                <c:pt idx="953">
                  <c:v>40416</c:v>
                </c:pt>
                <c:pt idx="954">
                  <c:v>40417</c:v>
                </c:pt>
                <c:pt idx="955">
                  <c:v>40420</c:v>
                </c:pt>
                <c:pt idx="956">
                  <c:v>40421</c:v>
                </c:pt>
                <c:pt idx="957">
                  <c:v>40422</c:v>
                </c:pt>
                <c:pt idx="958">
                  <c:v>40423</c:v>
                </c:pt>
                <c:pt idx="959">
                  <c:v>40424</c:v>
                </c:pt>
                <c:pt idx="960">
                  <c:v>40427</c:v>
                </c:pt>
                <c:pt idx="961">
                  <c:v>40428</c:v>
                </c:pt>
                <c:pt idx="962">
                  <c:v>40429</c:v>
                </c:pt>
                <c:pt idx="963">
                  <c:v>40430</c:v>
                </c:pt>
                <c:pt idx="964">
                  <c:v>40431</c:v>
                </c:pt>
                <c:pt idx="965">
                  <c:v>40434</c:v>
                </c:pt>
                <c:pt idx="966">
                  <c:v>40435</c:v>
                </c:pt>
                <c:pt idx="967">
                  <c:v>40436</c:v>
                </c:pt>
                <c:pt idx="968">
                  <c:v>40437</c:v>
                </c:pt>
                <c:pt idx="969">
                  <c:v>40438</c:v>
                </c:pt>
                <c:pt idx="970">
                  <c:v>40441</c:v>
                </c:pt>
                <c:pt idx="971">
                  <c:v>40442</c:v>
                </c:pt>
                <c:pt idx="972">
                  <c:v>40443</c:v>
                </c:pt>
                <c:pt idx="973">
                  <c:v>40444</c:v>
                </c:pt>
                <c:pt idx="974">
                  <c:v>40445</c:v>
                </c:pt>
                <c:pt idx="975">
                  <c:v>40448</c:v>
                </c:pt>
                <c:pt idx="976">
                  <c:v>40449</c:v>
                </c:pt>
                <c:pt idx="977">
                  <c:v>40450</c:v>
                </c:pt>
                <c:pt idx="978">
                  <c:v>40451</c:v>
                </c:pt>
                <c:pt idx="979">
                  <c:v>40452</c:v>
                </c:pt>
                <c:pt idx="980">
                  <c:v>40455</c:v>
                </c:pt>
                <c:pt idx="981">
                  <c:v>40456</c:v>
                </c:pt>
                <c:pt idx="982">
                  <c:v>40457</c:v>
                </c:pt>
                <c:pt idx="983">
                  <c:v>40458</c:v>
                </c:pt>
                <c:pt idx="984">
                  <c:v>40459</c:v>
                </c:pt>
                <c:pt idx="985">
                  <c:v>40462</c:v>
                </c:pt>
                <c:pt idx="986">
                  <c:v>40463</c:v>
                </c:pt>
                <c:pt idx="987">
                  <c:v>40464</c:v>
                </c:pt>
                <c:pt idx="988">
                  <c:v>40465</c:v>
                </c:pt>
                <c:pt idx="989">
                  <c:v>40466</c:v>
                </c:pt>
                <c:pt idx="990">
                  <c:v>40469</c:v>
                </c:pt>
                <c:pt idx="991">
                  <c:v>40470</c:v>
                </c:pt>
                <c:pt idx="992">
                  <c:v>40471</c:v>
                </c:pt>
                <c:pt idx="993">
                  <c:v>40472</c:v>
                </c:pt>
                <c:pt idx="994">
                  <c:v>40473</c:v>
                </c:pt>
                <c:pt idx="995">
                  <c:v>40476</c:v>
                </c:pt>
                <c:pt idx="996">
                  <c:v>40477</c:v>
                </c:pt>
                <c:pt idx="997">
                  <c:v>40478</c:v>
                </c:pt>
                <c:pt idx="998">
                  <c:v>40479</c:v>
                </c:pt>
                <c:pt idx="999">
                  <c:v>40480</c:v>
                </c:pt>
                <c:pt idx="1000">
                  <c:v>40483</c:v>
                </c:pt>
                <c:pt idx="1001">
                  <c:v>40484</c:v>
                </c:pt>
                <c:pt idx="1002">
                  <c:v>40485</c:v>
                </c:pt>
                <c:pt idx="1003">
                  <c:v>40486</c:v>
                </c:pt>
                <c:pt idx="1004">
                  <c:v>40487</c:v>
                </c:pt>
                <c:pt idx="1005">
                  <c:v>40490</c:v>
                </c:pt>
                <c:pt idx="1006">
                  <c:v>40491</c:v>
                </c:pt>
                <c:pt idx="1007">
                  <c:v>40492</c:v>
                </c:pt>
                <c:pt idx="1008">
                  <c:v>40493</c:v>
                </c:pt>
                <c:pt idx="1009">
                  <c:v>40494</c:v>
                </c:pt>
                <c:pt idx="1010">
                  <c:v>40497</c:v>
                </c:pt>
                <c:pt idx="1011">
                  <c:v>40498</c:v>
                </c:pt>
                <c:pt idx="1012">
                  <c:v>40499</c:v>
                </c:pt>
                <c:pt idx="1013">
                  <c:v>40500</c:v>
                </c:pt>
                <c:pt idx="1014">
                  <c:v>40501</c:v>
                </c:pt>
                <c:pt idx="1015">
                  <c:v>40504</c:v>
                </c:pt>
                <c:pt idx="1016">
                  <c:v>40505</c:v>
                </c:pt>
                <c:pt idx="1017">
                  <c:v>40506</c:v>
                </c:pt>
                <c:pt idx="1018">
                  <c:v>40507</c:v>
                </c:pt>
                <c:pt idx="1019">
                  <c:v>40508</c:v>
                </c:pt>
                <c:pt idx="1020">
                  <c:v>40511</c:v>
                </c:pt>
                <c:pt idx="1021">
                  <c:v>40512</c:v>
                </c:pt>
                <c:pt idx="1022">
                  <c:v>40513</c:v>
                </c:pt>
                <c:pt idx="1023">
                  <c:v>40514</c:v>
                </c:pt>
                <c:pt idx="1024">
                  <c:v>40515</c:v>
                </c:pt>
                <c:pt idx="1025">
                  <c:v>40518</c:v>
                </c:pt>
                <c:pt idx="1026">
                  <c:v>40519</c:v>
                </c:pt>
                <c:pt idx="1027">
                  <c:v>40520</c:v>
                </c:pt>
                <c:pt idx="1028">
                  <c:v>40521</c:v>
                </c:pt>
                <c:pt idx="1029">
                  <c:v>40522</c:v>
                </c:pt>
                <c:pt idx="1030">
                  <c:v>40525</c:v>
                </c:pt>
                <c:pt idx="1031">
                  <c:v>40526</c:v>
                </c:pt>
                <c:pt idx="1032">
                  <c:v>40527</c:v>
                </c:pt>
                <c:pt idx="1033">
                  <c:v>40528</c:v>
                </c:pt>
                <c:pt idx="1034">
                  <c:v>40529</c:v>
                </c:pt>
                <c:pt idx="1035">
                  <c:v>40532</c:v>
                </c:pt>
                <c:pt idx="1036">
                  <c:v>40533</c:v>
                </c:pt>
                <c:pt idx="1037">
                  <c:v>40534</c:v>
                </c:pt>
                <c:pt idx="1038">
                  <c:v>40535</c:v>
                </c:pt>
                <c:pt idx="1039">
                  <c:v>40536</c:v>
                </c:pt>
                <c:pt idx="1040">
                  <c:v>40539</c:v>
                </c:pt>
                <c:pt idx="1041">
                  <c:v>40540</c:v>
                </c:pt>
                <c:pt idx="1042">
                  <c:v>40541</c:v>
                </c:pt>
                <c:pt idx="1043">
                  <c:v>40542</c:v>
                </c:pt>
                <c:pt idx="1044">
                  <c:v>40543</c:v>
                </c:pt>
                <c:pt idx="1045">
                  <c:v>40546</c:v>
                </c:pt>
                <c:pt idx="1046">
                  <c:v>40547</c:v>
                </c:pt>
                <c:pt idx="1047">
                  <c:v>40548</c:v>
                </c:pt>
                <c:pt idx="1048">
                  <c:v>40549</c:v>
                </c:pt>
                <c:pt idx="1049">
                  <c:v>40550</c:v>
                </c:pt>
                <c:pt idx="1050">
                  <c:v>40553</c:v>
                </c:pt>
                <c:pt idx="1051">
                  <c:v>40554</c:v>
                </c:pt>
                <c:pt idx="1052">
                  <c:v>40555</c:v>
                </c:pt>
                <c:pt idx="1053">
                  <c:v>40556</c:v>
                </c:pt>
                <c:pt idx="1054">
                  <c:v>40557</c:v>
                </c:pt>
                <c:pt idx="1055">
                  <c:v>40560</c:v>
                </c:pt>
                <c:pt idx="1056">
                  <c:v>40561</c:v>
                </c:pt>
                <c:pt idx="1057">
                  <c:v>40562</c:v>
                </c:pt>
                <c:pt idx="1058">
                  <c:v>40563</c:v>
                </c:pt>
                <c:pt idx="1059">
                  <c:v>40564</c:v>
                </c:pt>
                <c:pt idx="1060">
                  <c:v>40567</c:v>
                </c:pt>
                <c:pt idx="1061">
                  <c:v>40568</c:v>
                </c:pt>
                <c:pt idx="1062">
                  <c:v>40569</c:v>
                </c:pt>
                <c:pt idx="1063">
                  <c:v>40570</c:v>
                </c:pt>
                <c:pt idx="1064">
                  <c:v>40571</c:v>
                </c:pt>
                <c:pt idx="1065">
                  <c:v>40574</c:v>
                </c:pt>
                <c:pt idx="1066">
                  <c:v>40575</c:v>
                </c:pt>
                <c:pt idx="1067">
                  <c:v>40576</c:v>
                </c:pt>
                <c:pt idx="1068">
                  <c:v>40577</c:v>
                </c:pt>
                <c:pt idx="1069">
                  <c:v>40578</c:v>
                </c:pt>
                <c:pt idx="1070">
                  <c:v>40581</c:v>
                </c:pt>
                <c:pt idx="1071">
                  <c:v>40582</c:v>
                </c:pt>
                <c:pt idx="1072">
                  <c:v>40583</c:v>
                </c:pt>
                <c:pt idx="1073">
                  <c:v>40584</c:v>
                </c:pt>
                <c:pt idx="1074">
                  <c:v>40585</c:v>
                </c:pt>
                <c:pt idx="1075">
                  <c:v>40588</c:v>
                </c:pt>
                <c:pt idx="1076">
                  <c:v>40589</c:v>
                </c:pt>
                <c:pt idx="1077">
                  <c:v>40590</c:v>
                </c:pt>
                <c:pt idx="1078">
                  <c:v>40591</c:v>
                </c:pt>
                <c:pt idx="1079">
                  <c:v>40592</c:v>
                </c:pt>
                <c:pt idx="1080">
                  <c:v>40595</c:v>
                </c:pt>
                <c:pt idx="1081">
                  <c:v>40596</c:v>
                </c:pt>
                <c:pt idx="1082">
                  <c:v>40597</c:v>
                </c:pt>
                <c:pt idx="1083">
                  <c:v>40598</c:v>
                </c:pt>
                <c:pt idx="1084">
                  <c:v>40599</c:v>
                </c:pt>
                <c:pt idx="1085">
                  <c:v>40602</c:v>
                </c:pt>
                <c:pt idx="1086">
                  <c:v>40603</c:v>
                </c:pt>
                <c:pt idx="1087">
                  <c:v>40604</c:v>
                </c:pt>
                <c:pt idx="1088">
                  <c:v>40605</c:v>
                </c:pt>
                <c:pt idx="1089">
                  <c:v>40606</c:v>
                </c:pt>
                <c:pt idx="1090">
                  <c:v>40609</c:v>
                </c:pt>
                <c:pt idx="1091">
                  <c:v>40610</c:v>
                </c:pt>
                <c:pt idx="1092">
                  <c:v>40611</c:v>
                </c:pt>
                <c:pt idx="1093">
                  <c:v>40612</c:v>
                </c:pt>
                <c:pt idx="1094">
                  <c:v>40613</c:v>
                </c:pt>
                <c:pt idx="1095">
                  <c:v>40616</c:v>
                </c:pt>
                <c:pt idx="1096">
                  <c:v>40617</c:v>
                </c:pt>
                <c:pt idx="1097">
                  <c:v>40618</c:v>
                </c:pt>
                <c:pt idx="1098">
                  <c:v>40619</c:v>
                </c:pt>
                <c:pt idx="1099">
                  <c:v>40620</c:v>
                </c:pt>
                <c:pt idx="1100">
                  <c:v>40623</c:v>
                </c:pt>
                <c:pt idx="1101">
                  <c:v>40624</c:v>
                </c:pt>
                <c:pt idx="1102">
                  <c:v>40625</c:v>
                </c:pt>
                <c:pt idx="1103">
                  <c:v>40626</c:v>
                </c:pt>
                <c:pt idx="1104">
                  <c:v>40627</c:v>
                </c:pt>
                <c:pt idx="1105">
                  <c:v>40630</c:v>
                </c:pt>
                <c:pt idx="1106">
                  <c:v>40631</c:v>
                </c:pt>
                <c:pt idx="1107">
                  <c:v>40632</c:v>
                </c:pt>
                <c:pt idx="1108">
                  <c:v>40633</c:v>
                </c:pt>
                <c:pt idx="1109">
                  <c:v>40634</c:v>
                </c:pt>
                <c:pt idx="1110">
                  <c:v>40637</c:v>
                </c:pt>
                <c:pt idx="1111">
                  <c:v>40638</c:v>
                </c:pt>
                <c:pt idx="1112">
                  <c:v>40639</c:v>
                </c:pt>
                <c:pt idx="1113">
                  <c:v>40640</c:v>
                </c:pt>
                <c:pt idx="1114">
                  <c:v>40641</c:v>
                </c:pt>
                <c:pt idx="1115">
                  <c:v>40644</c:v>
                </c:pt>
                <c:pt idx="1116">
                  <c:v>40645</c:v>
                </c:pt>
                <c:pt idx="1117">
                  <c:v>40646</c:v>
                </c:pt>
                <c:pt idx="1118">
                  <c:v>40647</c:v>
                </c:pt>
                <c:pt idx="1119">
                  <c:v>40648</c:v>
                </c:pt>
                <c:pt idx="1120">
                  <c:v>40651</c:v>
                </c:pt>
                <c:pt idx="1121">
                  <c:v>40652</c:v>
                </c:pt>
                <c:pt idx="1122">
                  <c:v>40653</c:v>
                </c:pt>
                <c:pt idx="1123">
                  <c:v>40654</c:v>
                </c:pt>
                <c:pt idx="1124">
                  <c:v>40655</c:v>
                </c:pt>
                <c:pt idx="1125">
                  <c:v>40658</c:v>
                </c:pt>
                <c:pt idx="1126">
                  <c:v>40659</c:v>
                </c:pt>
                <c:pt idx="1127">
                  <c:v>40660</c:v>
                </c:pt>
                <c:pt idx="1128">
                  <c:v>40661</c:v>
                </c:pt>
                <c:pt idx="1129">
                  <c:v>40662</c:v>
                </c:pt>
                <c:pt idx="1130">
                  <c:v>40665</c:v>
                </c:pt>
                <c:pt idx="1131">
                  <c:v>40666</c:v>
                </c:pt>
                <c:pt idx="1132">
                  <c:v>40667</c:v>
                </c:pt>
                <c:pt idx="1133">
                  <c:v>40668</c:v>
                </c:pt>
                <c:pt idx="1134">
                  <c:v>40669</c:v>
                </c:pt>
                <c:pt idx="1135">
                  <c:v>40672</c:v>
                </c:pt>
                <c:pt idx="1136">
                  <c:v>40673</c:v>
                </c:pt>
                <c:pt idx="1137">
                  <c:v>40674</c:v>
                </c:pt>
                <c:pt idx="1138">
                  <c:v>40675</c:v>
                </c:pt>
                <c:pt idx="1139">
                  <c:v>40676</c:v>
                </c:pt>
                <c:pt idx="1140">
                  <c:v>40679</c:v>
                </c:pt>
                <c:pt idx="1141">
                  <c:v>40680</c:v>
                </c:pt>
                <c:pt idx="1142">
                  <c:v>40681</c:v>
                </c:pt>
                <c:pt idx="1143">
                  <c:v>40682</c:v>
                </c:pt>
                <c:pt idx="1144">
                  <c:v>40683</c:v>
                </c:pt>
                <c:pt idx="1145">
                  <c:v>40686</c:v>
                </c:pt>
                <c:pt idx="1146">
                  <c:v>40687</c:v>
                </c:pt>
                <c:pt idx="1147">
                  <c:v>40688</c:v>
                </c:pt>
                <c:pt idx="1148">
                  <c:v>40689</c:v>
                </c:pt>
                <c:pt idx="1149">
                  <c:v>40690</c:v>
                </c:pt>
                <c:pt idx="1150">
                  <c:v>40693</c:v>
                </c:pt>
                <c:pt idx="1151">
                  <c:v>40694</c:v>
                </c:pt>
                <c:pt idx="1152">
                  <c:v>40695</c:v>
                </c:pt>
                <c:pt idx="1153">
                  <c:v>40696</c:v>
                </c:pt>
                <c:pt idx="1154">
                  <c:v>40697</c:v>
                </c:pt>
                <c:pt idx="1155">
                  <c:v>40700</c:v>
                </c:pt>
                <c:pt idx="1156">
                  <c:v>40701</c:v>
                </c:pt>
                <c:pt idx="1157">
                  <c:v>40702</c:v>
                </c:pt>
                <c:pt idx="1158">
                  <c:v>40703</c:v>
                </c:pt>
                <c:pt idx="1159">
                  <c:v>40704</c:v>
                </c:pt>
                <c:pt idx="1160">
                  <c:v>40707</c:v>
                </c:pt>
                <c:pt idx="1161">
                  <c:v>40708</c:v>
                </c:pt>
                <c:pt idx="1162">
                  <c:v>40709</c:v>
                </c:pt>
                <c:pt idx="1163">
                  <c:v>40710</c:v>
                </c:pt>
                <c:pt idx="1164">
                  <c:v>40711</c:v>
                </c:pt>
                <c:pt idx="1165">
                  <c:v>40714</c:v>
                </c:pt>
                <c:pt idx="1166">
                  <c:v>40715</c:v>
                </c:pt>
                <c:pt idx="1167">
                  <c:v>40716</c:v>
                </c:pt>
                <c:pt idx="1168">
                  <c:v>40717</c:v>
                </c:pt>
                <c:pt idx="1169">
                  <c:v>40718</c:v>
                </c:pt>
                <c:pt idx="1170">
                  <c:v>40721</c:v>
                </c:pt>
                <c:pt idx="1171">
                  <c:v>40722</c:v>
                </c:pt>
                <c:pt idx="1172">
                  <c:v>40723</c:v>
                </c:pt>
                <c:pt idx="1173">
                  <c:v>40724</c:v>
                </c:pt>
                <c:pt idx="1174">
                  <c:v>40725</c:v>
                </c:pt>
                <c:pt idx="1175">
                  <c:v>40728</c:v>
                </c:pt>
                <c:pt idx="1176">
                  <c:v>40729</c:v>
                </c:pt>
                <c:pt idx="1177">
                  <c:v>40730</c:v>
                </c:pt>
                <c:pt idx="1178">
                  <c:v>40731</c:v>
                </c:pt>
                <c:pt idx="1179">
                  <c:v>40732</c:v>
                </c:pt>
                <c:pt idx="1180">
                  <c:v>40735</c:v>
                </c:pt>
                <c:pt idx="1181">
                  <c:v>40736</c:v>
                </c:pt>
                <c:pt idx="1182">
                  <c:v>40737</c:v>
                </c:pt>
                <c:pt idx="1183">
                  <c:v>40738</c:v>
                </c:pt>
                <c:pt idx="1184">
                  <c:v>40739</c:v>
                </c:pt>
                <c:pt idx="1185">
                  <c:v>40742</c:v>
                </c:pt>
                <c:pt idx="1186">
                  <c:v>40743</c:v>
                </c:pt>
                <c:pt idx="1187">
                  <c:v>40744</c:v>
                </c:pt>
                <c:pt idx="1188">
                  <c:v>40745</c:v>
                </c:pt>
                <c:pt idx="1189">
                  <c:v>40746</c:v>
                </c:pt>
                <c:pt idx="1190">
                  <c:v>40749</c:v>
                </c:pt>
                <c:pt idx="1191">
                  <c:v>40750</c:v>
                </c:pt>
                <c:pt idx="1192">
                  <c:v>40751</c:v>
                </c:pt>
                <c:pt idx="1193">
                  <c:v>40752</c:v>
                </c:pt>
                <c:pt idx="1194">
                  <c:v>40753</c:v>
                </c:pt>
                <c:pt idx="1195">
                  <c:v>40756</c:v>
                </c:pt>
                <c:pt idx="1196">
                  <c:v>40757</c:v>
                </c:pt>
                <c:pt idx="1197">
                  <c:v>40758</c:v>
                </c:pt>
                <c:pt idx="1198">
                  <c:v>40759</c:v>
                </c:pt>
                <c:pt idx="1199">
                  <c:v>40760</c:v>
                </c:pt>
                <c:pt idx="1200">
                  <c:v>40763</c:v>
                </c:pt>
                <c:pt idx="1201">
                  <c:v>40764</c:v>
                </c:pt>
                <c:pt idx="1202">
                  <c:v>40765</c:v>
                </c:pt>
                <c:pt idx="1203">
                  <c:v>40766</c:v>
                </c:pt>
                <c:pt idx="1204">
                  <c:v>40767</c:v>
                </c:pt>
                <c:pt idx="1205">
                  <c:v>40770</c:v>
                </c:pt>
                <c:pt idx="1206">
                  <c:v>40771</c:v>
                </c:pt>
                <c:pt idx="1207">
                  <c:v>40772</c:v>
                </c:pt>
                <c:pt idx="1208">
                  <c:v>40773</c:v>
                </c:pt>
                <c:pt idx="1209">
                  <c:v>40774</c:v>
                </c:pt>
                <c:pt idx="1210">
                  <c:v>40777</c:v>
                </c:pt>
                <c:pt idx="1211">
                  <c:v>40778</c:v>
                </c:pt>
                <c:pt idx="1212">
                  <c:v>40779</c:v>
                </c:pt>
                <c:pt idx="1213">
                  <c:v>40780</c:v>
                </c:pt>
                <c:pt idx="1214">
                  <c:v>40781</c:v>
                </c:pt>
                <c:pt idx="1215">
                  <c:v>40784</c:v>
                </c:pt>
                <c:pt idx="1216">
                  <c:v>40785</c:v>
                </c:pt>
                <c:pt idx="1217">
                  <c:v>40786</c:v>
                </c:pt>
                <c:pt idx="1218">
                  <c:v>40787</c:v>
                </c:pt>
                <c:pt idx="1219">
                  <c:v>40788</c:v>
                </c:pt>
                <c:pt idx="1220">
                  <c:v>40791</c:v>
                </c:pt>
                <c:pt idx="1221">
                  <c:v>40792</c:v>
                </c:pt>
                <c:pt idx="1222">
                  <c:v>40793</c:v>
                </c:pt>
                <c:pt idx="1223">
                  <c:v>40794</c:v>
                </c:pt>
                <c:pt idx="1224">
                  <c:v>40795</c:v>
                </c:pt>
                <c:pt idx="1225">
                  <c:v>40798</c:v>
                </c:pt>
                <c:pt idx="1226">
                  <c:v>40799</c:v>
                </c:pt>
                <c:pt idx="1227">
                  <c:v>40800</c:v>
                </c:pt>
                <c:pt idx="1228">
                  <c:v>40801</c:v>
                </c:pt>
                <c:pt idx="1229">
                  <c:v>40802</c:v>
                </c:pt>
                <c:pt idx="1230">
                  <c:v>40805</c:v>
                </c:pt>
                <c:pt idx="1231">
                  <c:v>40806</c:v>
                </c:pt>
                <c:pt idx="1232">
                  <c:v>40807</c:v>
                </c:pt>
                <c:pt idx="1233">
                  <c:v>40808</c:v>
                </c:pt>
                <c:pt idx="1234">
                  <c:v>40809</c:v>
                </c:pt>
                <c:pt idx="1235">
                  <c:v>40812</c:v>
                </c:pt>
                <c:pt idx="1236">
                  <c:v>40813</c:v>
                </c:pt>
                <c:pt idx="1237">
                  <c:v>40814</c:v>
                </c:pt>
                <c:pt idx="1238">
                  <c:v>40815</c:v>
                </c:pt>
                <c:pt idx="1239">
                  <c:v>40816</c:v>
                </c:pt>
                <c:pt idx="1240">
                  <c:v>40819</c:v>
                </c:pt>
                <c:pt idx="1241">
                  <c:v>40820</c:v>
                </c:pt>
                <c:pt idx="1242">
                  <c:v>40821</c:v>
                </c:pt>
                <c:pt idx="1243">
                  <c:v>40822</c:v>
                </c:pt>
                <c:pt idx="1244">
                  <c:v>40823</c:v>
                </c:pt>
                <c:pt idx="1245">
                  <c:v>40826</c:v>
                </c:pt>
                <c:pt idx="1246">
                  <c:v>40827</c:v>
                </c:pt>
                <c:pt idx="1247">
                  <c:v>40828</c:v>
                </c:pt>
                <c:pt idx="1248">
                  <c:v>40829</c:v>
                </c:pt>
                <c:pt idx="1249">
                  <c:v>40830</c:v>
                </c:pt>
                <c:pt idx="1250">
                  <c:v>40833</c:v>
                </c:pt>
                <c:pt idx="1251">
                  <c:v>40834</c:v>
                </c:pt>
                <c:pt idx="1252">
                  <c:v>40835</c:v>
                </c:pt>
                <c:pt idx="1253">
                  <c:v>40836</c:v>
                </c:pt>
                <c:pt idx="1254">
                  <c:v>40837</c:v>
                </c:pt>
                <c:pt idx="1255">
                  <c:v>40840</c:v>
                </c:pt>
                <c:pt idx="1256">
                  <c:v>40841</c:v>
                </c:pt>
                <c:pt idx="1257">
                  <c:v>40842</c:v>
                </c:pt>
                <c:pt idx="1258">
                  <c:v>40843</c:v>
                </c:pt>
                <c:pt idx="1259">
                  <c:v>40844</c:v>
                </c:pt>
                <c:pt idx="1260">
                  <c:v>40847</c:v>
                </c:pt>
                <c:pt idx="1261">
                  <c:v>40848</c:v>
                </c:pt>
                <c:pt idx="1262">
                  <c:v>40849</c:v>
                </c:pt>
                <c:pt idx="1263">
                  <c:v>40850</c:v>
                </c:pt>
                <c:pt idx="1264">
                  <c:v>40851</c:v>
                </c:pt>
                <c:pt idx="1265">
                  <c:v>40854</c:v>
                </c:pt>
                <c:pt idx="1266">
                  <c:v>40855</c:v>
                </c:pt>
                <c:pt idx="1267">
                  <c:v>40856</c:v>
                </c:pt>
                <c:pt idx="1268">
                  <c:v>40857</c:v>
                </c:pt>
                <c:pt idx="1269">
                  <c:v>40858</c:v>
                </c:pt>
                <c:pt idx="1270">
                  <c:v>40861</c:v>
                </c:pt>
                <c:pt idx="1271">
                  <c:v>40862</c:v>
                </c:pt>
                <c:pt idx="1272">
                  <c:v>40863</c:v>
                </c:pt>
                <c:pt idx="1273">
                  <c:v>40864</c:v>
                </c:pt>
                <c:pt idx="1274">
                  <c:v>40865</c:v>
                </c:pt>
                <c:pt idx="1275">
                  <c:v>40868</c:v>
                </c:pt>
                <c:pt idx="1276">
                  <c:v>40869</c:v>
                </c:pt>
                <c:pt idx="1277">
                  <c:v>40870</c:v>
                </c:pt>
                <c:pt idx="1278">
                  <c:v>40871</c:v>
                </c:pt>
                <c:pt idx="1279">
                  <c:v>40872</c:v>
                </c:pt>
                <c:pt idx="1280">
                  <c:v>40875</c:v>
                </c:pt>
                <c:pt idx="1281">
                  <c:v>40876</c:v>
                </c:pt>
                <c:pt idx="1282">
                  <c:v>40877</c:v>
                </c:pt>
                <c:pt idx="1283">
                  <c:v>40878</c:v>
                </c:pt>
                <c:pt idx="1284">
                  <c:v>40879</c:v>
                </c:pt>
                <c:pt idx="1285">
                  <c:v>40882</c:v>
                </c:pt>
                <c:pt idx="1286">
                  <c:v>40883</c:v>
                </c:pt>
                <c:pt idx="1287">
                  <c:v>40884</c:v>
                </c:pt>
                <c:pt idx="1288">
                  <c:v>40885</c:v>
                </c:pt>
                <c:pt idx="1289">
                  <c:v>40886</c:v>
                </c:pt>
                <c:pt idx="1290">
                  <c:v>40889</c:v>
                </c:pt>
                <c:pt idx="1291">
                  <c:v>40890</c:v>
                </c:pt>
                <c:pt idx="1292">
                  <c:v>40891</c:v>
                </c:pt>
                <c:pt idx="1293">
                  <c:v>40892</c:v>
                </c:pt>
                <c:pt idx="1294">
                  <c:v>40893</c:v>
                </c:pt>
                <c:pt idx="1295">
                  <c:v>40896</c:v>
                </c:pt>
                <c:pt idx="1296">
                  <c:v>40897</c:v>
                </c:pt>
                <c:pt idx="1297">
                  <c:v>40898</c:v>
                </c:pt>
                <c:pt idx="1298">
                  <c:v>40899</c:v>
                </c:pt>
                <c:pt idx="1299">
                  <c:v>40900</c:v>
                </c:pt>
                <c:pt idx="1300">
                  <c:v>40903</c:v>
                </c:pt>
                <c:pt idx="1301">
                  <c:v>40904</c:v>
                </c:pt>
                <c:pt idx="1302">
                  <c:v>40905</c:v>
                </c:pt>
                <c:pt idx="1303">
                  <c:v>40906</c:v>
                </c:pt>
                <c:pt idx="1304">
                  <c:v>40907</c:v>
                </c:pt>
                <c:pt idx="1305">
                  <c:v>40910</c:v>
                </c:pt>
                <c:pt idx="1306">
                  <c:v>40911</c:v>
                </c:pt>
                <c:pt idx="1307">
                  <c:v>40912</c:v>
                </c:pt>
                <c:pt idx="1308">
                  <c:v>40913</c:v>
                </c:pt>
                <c:pt idx="1309">
                  <c:v>40914</c:v>
                </c:pt>
                <c:pt idx="1310">
                  <c:v>40917</c:v>
                </c:pt>
                <c:pt idx="1311">
                  <c:v>40918</c:v>
                </c:pt>
                <c:pt idx="1312">
                  <c:v>40919</c:v>
                </c:pt>
                <c:pt idx="1313">
                  <c:v>40920</c:v>
                </c:pt>
                <c:pt idx="1314">
                  <c:v>40921</c:v>
                </c:pt>
                <c:pt idx="1315">
                  <c:v>40924</c:v>
                </c:pt>
                <c:pt idx="1316">
                  <c:v>40925</c:v>
                </c:pt>
                <c:pt idx="1317">
                  <c:v>40926</c:v>
                </c:pt>
                <c:pt idx="1318">
                  <c:v>40927</c:v>
                </c:pt>
                <c:pt idx="1319">
                  <c:v>40928</c:v>
                </c:pt>
                <c:pt idx="1320">
                  <c:v>40931</c:v>
                </c:pt>
                <c:pt idx="1321">
                  <c:v>40932</c:v>
                </c:pt>
                <c:pt idx="1322">
                  <c:v>40933</c:v>
                </c:pt>
                <c:pt idx="1323">
                  <c:v>40934</c:v>
                </c:pt>
                <c:pt idx="1324">
                  <c:v>40935</c:v>
                </c:pt>
                <c:pt idx="1325">
                  <c:v>40938</c:v>
                </c:pt>
                <c:pt idx="1326">
                  <c:v>40939</c:v>
                </c:pt>
                <c:pt idx="1327">
                  <c:v>40940</c:v>
                </c:pt>
                <c:pt idx="1328">
                  <c:v>40941</c:v>
                </c:pt>
                <c:pt idx="1329">
                  <c:v>40942</c:v>
                </c:pt>
                <c:pt idx="1330">
                  <c:v>40945</c:v>
                </c:pt>
                <c:pt idx="1331">
                  <c:v>40946</c:v>
                </c:pt>
                <c:pt idx="1332">
                  <c:v>40947</c:v>
                </c:pt>
                <c:pt idx="1333">
                  <c:v>40948</c:v>
                </c:pt>
                <c:pt idx="1334">
                  <c:v>40949</c:v>
                </c:pt>
                <c:pt idx="1335">
                  <c:v>40952</c:v>
                </c:pt>
                <c:pt idx="1336">
                  <c:v>40953</c:v>
                </c:pt>
                <c:pt idx="1337">
                  <c:v>40954</c:v>
                </c:pt>
                <c:pt idx="1338">
                  <c:v>40955</c:v>
                </c:pt>
                <c:pt idx="1339">
                  <c:v>40956</c:v>
                </c:pt>
                <c:pt idx="1340">
                  <c:v>40959</c:v>
                </c:pt>
                <c:pt idx="1341">
                  <c:v>40960</c:v>
                </c:pt>
                <c:pt idx="1342">
                  <c:v>40961</c:v>
                </c:pt>
                <c:pt idx="1343">
                  <c:v>40962</c:v>
                </c:pt>
                <c:pt idx="1344">
                  <c:v>40963</c:v>
                </c:pt>
                <c:pt idx="1345">
                  <c:v>40966</c:v>
                </c:pt>
                <c:pt idx="1346">
                  <c:v>40967</c:v>
                </c:pt>
                <c:pt idx="1347">
                  <c:v>40968</c:v>
                </c:pt>
                <c:pt idx="1348">
                  <c:v>40969</c:v>
                </c:pt>
                <c:pt idx="1349">
                  <c:v>40970</c:v>
                </c:pt>
                <c:pt idx="1350">
                  <c:v>40973</c:v>
                </c:pt>
                <c:pt idx="1351">
                  <c:v>40974</c:v>
                </c:pt>
                <c:pt idx="1352">
                  <c:v>40975</c:v>
                </c:pt>
                <c:pt idx="1353">
                  <c:v>40976</c:v>
                </c:pt>
                <c:pt idx="1354">
                  <c:v>40977</c:v>
                </c:pt>
                <c:pt idx="1355">
                  <c:v>40980</c:v>
                </c:pt>
                <c:pt idx="1356">
                  <c:v>40981</c:v>
                </c:pt>
                <c:pt idx="1357">
                  <c:v>40982</c:v>
                </c:pt>
                <c:pt idx="1358">
                  <c:v>40983</c:v>
                </c:pt>
                <c:pt idx="1359">
                  <c:v>40984</c:v>
                </c:pt>
                <c:pt idx="1360">
                  <c:v>40987</c:v>
                </c:pt>
                <c:pt idx="1361">
                  <c:v>40988</c:v>
                </c:pt>
                <c:pt idx="1362">
                  <c:v>40989</c:v>
                </c:pt>
                <c:pt idx="1363">
                  <c:v>40990</c:v>
                </c:pt>
                <c:pt idx="1364">
                  <c:v>40991</c:v>
                </c:pt>
                <c:pt idx="1365">
                  <c:v>40994</c:v>
                </c:pt>
                <c:pt idx="1366">
                  <c:v>40995</c:v>
                </c:pt>
                <c:pt idx="1367">
                  <c:v>40996</c:v>
                </c:pt>
                <c:pt idx="1368">
                  <c:v>40997</c:v>
                </c:pt>
                <c:pt idx="1369">
                  <c:v>40998</c:v>
                </c:pt>
                <c:pt idx="1370">
                  <c:v>41001</c:v>
                </c:pt>
                <c:pt idx="1371">
                  <c:v>41002</c:v>
                </c:pt>
                <c:pt idx="1372">
                  <c:v>41003</c:v>
                </c:pt>
                <c:pt idx="1373">
                  <c:v>41004</c:v>
                </c:pt>
                <c:pt idx="1374">
                  <c:v>41005</c:v>
                </c:pt>
                <c:pt idx="1375">
                  <c:v>41008</c:v>
                </c:pt>
                <c:pt idx="1376">
                  <c:v>41009</c:v>
                </c:pt>
                <c:pt idx="1377">
                  <c:v>41010</c:v>
                </c:pt>
                <c:pt idx="1378">
                  <c:v>41011</c:v>
                </c:pt>
                <c:pt idx="1379">
                  <c:v>41012</c:v>
                </c:pt>
                <c:pt idx="1380">
                  <c:v>41015</c:v>
                </c:pt>
                <c:pt idx="1381">
                  <c:v>41016</c:v>
                </c:pt>
                <c:pt idx="1382">
                  <c:v>41017</c:v>
                </c:pt>
                <c:pt idx="1383">
                  <c:v>41018</c:v>
                </c:pt>
                <c:pt idx="1384">
                  <c:v>41019</c:v>
                </c:pt>
                <c:pt idx="1385">
                  <c:v>41022</c:v>
                </c:pt>
                <c:pt idx="1386">
                  <c:v>41023</c:v>
                </c:pt>
                <c:pt idx="1387">
                  <c:v>41024</c:v>
                </c:pt>
                <c:pt idx="1388">
                  <c:v>41025</c:v>
                </c:pt>
                <c:pt idx="1389">
                  <c:v>41026</c:v>
                </c:pt>
                <c:pt idx="1390">
                  <c:v>41029</c:v>
                </c:pt>
                <c:pt idx="1391">
                  <c:v>41030</c:v>
                </c:pt>
                <c:pt idx="1392">
                  <c:v>41031</c:v>
                </c:pt>
                <c:pt idx="1393">
                  <c:v>41032</c:v>
                </c:pt>
                <c:pt idx="1394">
                  <c:v>41033</c:v>
                </c:pt>
                <c:pt idx="1395">
                  <c:v>41036</c:v>
                </c:pt>
                <c:pt idx="1396">
                  <c:v>41037</c:v>
                </c:pt>
                <c:pt idx="1397">
                  <c:v>41038</c:v>
                </c:pt>
                <c:pt idx="1398">
                  <c:v>41039</c:v>
                </c:pt>
                <c:pt idx="1399">
                  <c:v>41040</c:v>
                </c:pt>
                <c:pt idx="1400">
                  <c:v>41043</c:v>
                </c:pt>
                <c:pt idx="1401">
                  <c:v>41044</c:v>
                </c:pt>
                <c:pt idx="1402">
                  <c:v>41045</c:v>
                </c:pt>
                <c:pt idx="1403">
                  <c:v>41046</c:v>
                </c:pt>
                <c:pt idx="1404">
                  <c:v>41047</c:v>
                </c:pt>
                <c:pt idx="1405">
                  <c:v>41050</c:v>
                </c:pt>
                <c:pt idx="1406">
                  <c:v>41051</c:v>
                </c:pt>
                <c:pt idx="1407">
                  <c:v>41052</c:v>
                </c:pt>
                <c:pt idx="1408">
                  <c:v>41053</c:v>
                </c:pt>
                <c:pt idx="1409">
                  <c:v>41054</c:v>
                </c:pt>
                <c:pt idx="1410">
                  <c:v>41057</c:v>
                </c:pt>
                <c:pt idx="1411">
                  <c:v>41058</c:v>
                </c:pt>
                <c:pt idx="1412">
                  <c:v>41059</c:v>
                </c:pt>
                <c:pt idx="1413">
                  <c:v>41060</c:v>
                </c:pt>
                <c:pt idx="1414">
                  <c:v>41061</c:v>
                </c:pt>
                <c:pt idx="1415">
                  <c:v>41064</c:v>
                </c:pt>
                <c:pt idx="1416">
                  <c:v>41065</c:v>
                </c:pt>
                <c:pt idx="1417">
                  <c:v>41066</c:v>
                </c:pt>
                <c:pt idx="1418">
                  <c:v>41067</c:v>
                </c:pt>
                <c:pt idx="1419">
                  <c:v>41068</c:v>
                </c:pt>
                <c:pt idx="1420">
                  <c:v>41071</c:v>
                </c:pt>
                <c:pt idx="1421">
                  <c:v>41072</c:v>
                </c:pt>
                <c:pt idx="1422">
                  <c:v>41073</c:v>
                </c:pt>
                <c:pt idx="1423">
                  <c:v>41074</c:v>
                </c:pt>
                <c:pt idx="1424">
                  <c:v>41075</c:v>
                </c:pt>
                <c:pt idx="1425">
                  <c:v>41078</c:v>
                </c:pt>
                <c:pt idx="1426">
                  <c:v>41079</c:v>
                </c:pt>
                <c:pt idx="1427">
                  <c:v>41080</c:v>
                </c:pt>
                <c:pt idx="1428">
                  <c:v>41081</c:v>
                </c:pt>
                <c:pt idx="1429">
                  <c:v>41082</c:v>
                </c:pt>
                <c:pt idx="1430">
                  <c:v>41085</c:v>
                </c:pt>
                <c:pt idx="1431">
                  <c:v>41086</c:v>
                </c:pt>
                <c:pt idx="1432">
                  <c:v>41087</c:v>
                </c:pt>
                <c:pt idx="1433">
                  <c:v>41088</c:v>
                </c:pt>
                <c:pt idx="1434">
                  <c:v>41089</c:v>
                </c:pt>
                <c:pt idx="1435">
                  <c:v>41092</c:v>
                </c:pt>
                <c:pt idx="1436">
                  <c:v>41093</c:v>
                </c:pt>
                <c:pt idx="1437">
                  <c:v>41094</c:v>
                </c:pt>
                <c:pt idx="1438">
                  <c:v>41095</c:v>
                </c:pt>
                <c:pt idx="1439">
                  <c:v>41096</c:v>
                </c:pt>
                <c:pt idx="1440">
                  <c:v>41099</c:v>
                </c:pt>
                <c:pt idx="1441">
                  <c:v>41100</c:v>
                </c:pt>
                <c:pt idx="1442">
                  <c:v>41101</c:v>
                </c:pt>
                <c:pt idx="1443">
                  <c:v>41102</c:v>
                </c:pt>
                <c:pt idx="1444">
                  <c:v>41103</c:v>
                </c:pt>
                <c:pt idx="1445">
                  <c:v>41106</c:v>
                </c:pt>
                <c:pt idx="1446">
                  <c:v>41107</c:v>
                </c:pt>
                <c:pt idx="1447">
                  <c:v>41108</c:v>
                </c:pt>
                <c:pt idx="1448">
                  <c:v>41109</c:v>
                </c:pt>
                <c:pt idx="1449">
                  <c:v>41110</c:v>
                </c:pt>
                <c:pt idx="1450">
                  <c:v>41113</c:v>
                </c:pt>
                <c:pt idx="1451">
                  <c:v>41114</c:v>
                </c:pt>
                <c:pt idx="1452">
                  <c:v>41115</c:v>
                </c:pt>
                <c:pt idx="1453">
                  <c:v>41116</c:v>
                </c:pt>
                <c:pt idx="1454">
                  <c:v>41117</c:v>
                </c:pt>
                <c:pt idx="1455">
                  <c:v>41120</c:v>
                </c:pt>
                <c:pt idx="1456">
                  <c:v>41121</c:v>
                </c:pt>
                <c:pt idx="1457">
                  <c:v>41122</c:v>
                </c:pt>
                <c:pt idx="1458">
                  <c:v>41123</c:v>
                </c:pt>
                <c:pt idx="1459">
                  <c:v>41124</c:v>
                </c:pt>
                <c:pt idx="1460">
                  <c:v>41127</c:v>
                </c:pt>
                <c:pt idx="1461">
                  <c:v>41128</c:v>
                </c:pt>
                <c:pt idx="1462">
                  <c:v>41129</c:v>
                </c:pt>
                <c:pt idx="1463">
                  <c:v>41130</c:v>
                </c:pt>
                <c:pt idx="1464">
                  <c:v>41131</c:v>
                </c:pt>
                <c:pt idx="1465">
                  <c:v>41134</c:v>
                </c:pt>
                <c:pt idx="1466">
                  <c:v>41135</c:v>
                </c:pt>
                <c:pt idx="1467">
                  <c:v>41136</c:v>
                </c:pt>
                <c:pt idx="1468">
                  <c:v>41137</c:v>
                </c:pt>
                <c:pt idx="1469">
                  <c:v>41138</c:v>
                </c:pt>
                <c:pt idx="1470">
                  <c:v>41141</c:v>
                </c:pt>
                <c:pt idx="1471">
                  <c:v>41142</c:v>
                </c:pt>
                <c:pt idx="1472">
                  <c:v>41143</c:v>
                </c:pt>
                <c:pt idx="1473">
                  <c:v>41144</c:v>
                </c:pt>
                <c:pt idx="1474">
                  <c:v>41145</c:v>
                </c:pt>
                <c:pt idx="1475">
                  <c:v>41148</c:v>
                </c:pt>
                <c:pt idx="1476">
                  <c:v>41149</c:v>
                </c:pt>
                <c:pt idx="1477">
                  <c:v>41150</c:v>
                </c:pt>
                <c:pt idx="1478">
                  <c:v>41151</c:v>
                </c:pt>
                <c:pt idx="1479">
                  <c:v>41152</c:v>
                </c:pt>
                <c:pt idx="1480">
                  <c:v>41155</c:v>
                </c:pt>
                <c:pt idx="1481">
                  <c:v>41156</c:v>
                </c:pt>
                <c:pt idx="1482">
                  <c:v>41157</c:v>
                </c:pt>
                <c:pt idx="1483">
                  <c:v>41158</c:v>
                </c:pt>
                <c:pt idx="1484">
                  <c:v>41159</c:v>
                </c:pt>
                <c:pt idx="1485">
                  <c:v>41162</c:v>
                </c:pt>
                <c:pt idx="1486">
                  <c:v>41163</c:v>
                </c:pt>
                <c:pt idx="1487">
                  <c:v>41164</c:v>
                </c:pt>
                <c:pt idx="1488">
                  <c:v>41165</c:v>
                </c:pt>
                <c:pt idx="1489">
                  <c:v>41166</c:v>
                </c:pt>
                <c:pt idx="1490">
                  <c:v>41169</c:v>
                </c:pt>
                <c:pt idx="1491">
                  <c:v>41170</c:v>
                </c:pt>
                <c:pt idx="1492">
                  <c:v>41171</c:v>
                </c:pt>
                <c:pt idx="1493">
                  <c:v>41172</c:v>
                </c:pt>
                <c:pt idx="1494">
                  <c:v>41173</c:v>
                </c:pt>
                <c:pt idx="1495">
                  <c:v>41176</c:v>
                </c:pt>
                <c:pt idx="1496">
                  <c:v>41177</c:v>
                </c:pt>
                <c:pt idx="1497">
                  <c:v>41178</c:v>
                </c:pt>
                <c:pt idx="1498">
                  <c:v>41179</c:v>
                </c:pt>
                <c:pt idx="1499">
                  <c:v>41180</c:v>
                </c:pt>
                <c:pt idx="1500">
                  <c:v>41183</c:v>
                </c:pt>
                <c:pt idx="1501">
                  <c:v>41184</c:v>
                </c:pt>
                <c:pt idx="1502">
                  <c:v>41185</c:v>
                </c:pt>
                <c:pt idx="1503">
                  <c:v>41186</c:v>
                </c:pt>
                <c:pt idx="1504">
                  <c:v>41187</c:v>
                </c:pt>
                <c:pt idx="1505">
                  <c:v>41190</c:v>
                </c:pt>
                <c:pt idx="1506">
                  <c:v>41191</c:v>
                </c:pt>
                <c:pt idx="1507">
                  <c:v>41192</c:v>
                </c:pt>
                <c:pt idx="1508">
                  <c:v>41193</c:v>
                </c:pt>
                <c:pt idx="1509">
                  <c:v>41194</c:v>
                </c:pt>
                <c:pt idx="1510">
                  <c:v>41197</c:v>
                </c:pt>
                <c:pt idx="1511">
                  <c:v>41198</c:v>
                </c:pt>
                <c:pt idx="1512">
                  <c:v>41199</c:v>
                </c:pt>
                <c:pt idx="1513">
                  <c:v>41200</c:v>
                </c:pt>
                <c:pt idx="1514">
                  <c:v>41201</c:v>
                </c:pt>
                <c:pt idx="1515">
                  <c:v>41204</c:v>
                </c:pt>
                <c:pt idx="1516">
                  <c:v>41205</c:v>
                </c:pt>
                <c:pt idx="1517">
                  <c:v>41206</c:v>
                </c:pt>
                <c:pt idx="1518">
                  <c:v>41207</c:v>
                </c:pt>
                <c:pt idx="1519">
                  <c:v>41208</c:v>
                </c:pt>
                <c:pt idx="1520">
                  <c:v>41211</c:v>
                </c:pt>
                <c:pt idx="1521">
                  <c:v>41212</c:v>
                </c:pt>
                <c:pt idx="1522">
                  <c:v>41213</c:v>
                </c:pt>
                <c:pt idx="1523">
                  <c:v>41214</c:v>
                </c:pt>
                <c:pt idx="1524">
                  <c:v>41215</c:v>
                </c:pt>
                <c:pt idx="1525">
                  <c:v>41218</c:v>
                </c:pt>
                <c:pt idx="1526">
                  <c:v>41219</c:v>
                </c:pt>
                <c:pt idx="1527">
                  <c:v>41220</c:v>
                </c:pt>
                <c:pt idx="1528">
                  <c:v>41221</c:v>
                </c:pt>
                <c:pt idx="1529">
                  <c:v>41222</c:v>
                </c:pt>
                <c:pt idx="1530">
                  <c:v>41225</c:v>
                </c:pt>
                <c:pt idx="1531">
                  <c:v>41226</c:v>
                </c:pt>
                <c:pt idx="1532">
                  <c:v>41227</c:v>
                </c:pt>
                <c:pt idx="1533">
                  <c:v>41228</c:v>
                </c:pt>
                <c:pt idx="1534">
                  <c:v>41229</c:v>
                </c:pt>
                <c:pt idx="1535">
                  <c:v>41232</c:v>
                </c:pt>
                <c:pt idx="1536">
                  <c:v>41233</c:v>
                </c:pt>
                <c:pt idx="1537">
                  <c:v>41234</c:v>
                </c:pt>
                <c:pt idx="1538">
                  <c:v>41235</c:v>
                </c:pt>
                <c:pt idx="1539">
                  <c:v>41236</c:v>
                </c:pt>
                <c:pt idx="1540">
                  <c:v>41239</c:v>
                </c:pt>
                <c:pt idx="1541">
                  <c:v>41240</c:v>
                </c:pt>
                <c:pt idx="1542">
                  <c:v>41241</c:v>
                </c:pt>
                <c:pt idx="1543">
                  <c:v>41242</c:v>
                </c:pt>
                <c:pt idx="1544">
                  <c:v>41243</c:v>
                </c:pt>
                <c:pt idx="1545">
                  <c:v>41246</c:v>
                </c:pt>
                <c:pt idx="1546">
                  <c:v>41247</c:v>
                </c:pt>
                <c:pt idx="1547">
                  <c:v>41248</c:v>
                </c:pt>
                <c:pt idx="1548">
                  <c:v>41249</c:v>
                </c:pt>
                <c:pt idx="1549">
                  <c:v>41250</c:v>
                </c:pt>
                <c:pt idx="1550">
                  <c:v>41253</c:v>
                </c:pt>
                <c:pt idx="1551">
                  <c:v>41254</c:v>
                </c:pt>
                <c:pt idx="1552">
                  <c:v>41255</c:v>
                </c:pt>
                <c:pt idx="1553">
                  <c:v>41256</c:v>
                </c:pt>
                <c:pt idx="1554">
                  <c:v>41257</c:v>
                </c:pt>
                <c:pt idx="1555">
                  <c:v>41260</c:v>
                </c:pt>
                <c:pt idx="1556">
                  <c:v>41261</c:v>
                </c:pt>
                <c:pt idx="1557">
                  <c:v>41262</c:v>
                </c:pt>
                <c:pt idx="1558">
                  <c:v>41263</c:v>
                </c:pt>
                <c:pt idx="1559">
                  <c:v>41264</c:v>
                </c:pt>
                <c:pt idx="1560">
                  <c:v>41267</c:v>
                </c:pt>
                <c:pt idx="1561">
                  <c:v>41268</c:v>
                </c:pt>
                <c:pt idx="1562">
                  <c:v>41269</c:v>
                </c:pt>
                <c:pt idx="1563">
                  <c:v>41270</c:v>
                </c:pt>
                <c:pt idx="1564">
                  <c:v>41271</c:v>
                </c:pt>
                <c:pt idx="1565">
                  <c:v>41274</c:v>
                </c:pt>
                <c:pt idx="1566">
                  <c:v>41275</c:v>
                </c:pt>
                <c:pt idx="1567">
                  <c:v>41276</c:v>
                </c:pt>
                <c:pt idx="1568">
                  <c:v>41277</c:v>
                </c:pt>
                <c:pt idx="1569">
                  <c:v>41278</c:v>
                </c:pt>
                <c:pt idx="1570">
                  <c:v>41281</c:v>
                </c:pt>
                <c:pt idx="1571">
                  <c:v>41282</c:v>
                </c:pt>
                <c:pt idx="1572">
                  <c:v>41283</c:v>
                </c:pt>
                <c:pt idx="1573">
                  <c:v>41284</c:v>
                </c:pt>
                <c:pt idx="1574">
                  <c:v>41285</c:v>
                </c:pt>
                <c:pt idx="1575">
                  <c:v>41288</c:v>
                </c:pt>
                <c:pt idx="1576">
                  <c:v>41289</c:v>
                </c:pt>
                <c:pt idx="1577">
                  <c:v>41290</c:v>
                </c:pt>
                <c:pt idx="1578">
                  <c:v>41291</c:v>
                </c:pt>
                <c:pt idx="1579">
                  <c:v>41292</c:v>
                </c:pt>
                <c:pt idx="1580">
                  <c:v>41295</c:v>
                </c:pt>
                <c:pt idx="1581">
                  <c:v>41296</c:v>
                </c:pt>
                <c:pt idx="1582">
                  <c:v>41297</c:v>
                </c:pt>
                <c:pt idx="1583">
                  <c:v>41298</c:v>
                </c:pt>
                <c:pt idx="1584">
                  <c:v>41299</c:v>
                </c:pt>
                <c:pt idx="1585">
                  <c:v>41302</c:v>
                </c:pt>
                <c:pt idx="1586">
                  <c:v>41303</c:v>
                </c:pt>
                <c:pt idx="1587">
                  <c:v>41304</c:v>
                </c:pt>
                <c:pt idx="1588">
                  <c:v>41305</c:v>
                </c:pt>
                <c:pt idx="1589">
                  <c:v>41306</c:v>
                </c:pt>
                <c:pt idx="1590">
                  <c:v>41309</c:v>
                </c:pt>
                <c:pt idx="1591">
                  <c:v>41310</c:v>
                </c:pt>
                <c:pt idx="1592">
                  <c:v>41311</c:v>
                </c:pt>
                <c:pt idx="1593">
                  <c:v>41312</c:v>
                </c:pt>
                <c:pt idx="1594">
                  <c:v>41313</c:v>
                </c:pt>
                <c:pt idx="1595">
                  <c:v>41316</c:v>
                </c:pt>
                <c:pt idx="1596">
                  <c:v>41317</c:v>
                </c:pt>
                <c:pt idx="1597">
                  <c:v>41318</c:v>
                </c:pt>
                <c:pt idx="1598">
                  <c:v>41319</c:v>
                </c:pt>
                <c:pt idx="1599">
                  <c:v>41320</c:v>
                </c:pt>
                <c:pt idx="1600">
                  <c:v>41323</c:v>
                </c:pt>
                <c:pt idx="1601">
                  <c:v>41324</c:v>
                </c:pt>
                <c:pt idx="1602">
                  <c:v>41325</c:v>
                </c:pt>
                <c:pt idx="1603">
                  <c:v>41326</c:v>
                </c:pt>
                <c:pt idx="1604">
                  <c:v>41327</c:v>
                </c:pt>
                <c:pt idx="1605">
                  <c:v>41330</c:v>
                </c:pt>
                <c:pt idx="1606">
                  <c:v>41331</c:v>
                </c:pt>
                <c:pt idx="1607">
                  <c:v>41332</c:v>
                </c:pt>
                <c:pt idx="1608">
                  <c:v>41333</c:v>
                </c:pt>
                <c:pt idx="1609">
                  <c:v>41334</c:v>
                </c:pt>
                <c:pt idx="1610">
                  <c:v>41337</c:v>
                </c:pt>
                <c:pt idx="1611">
                  <c:v>41338</c:v>
                </c:pt>
                <c:pt idx="1612">
                  <c:v>41339</c:v>
                </c:pt>
                <c:pt idx="1613">
                  <c:v>41340</c:v>
                </c:pt>
                <c:pt idx="1614">
                  <c:v>41341</c:v>
                </c:pt>
                <c:pt idx="1615">
                  <c:v>41344</c:v>
                </c:pt>
                <c:pt idx="1616">
                  <c:v>41345</c:v>
                </c:pt>
                <c:pt idx="1617">
                  <c:v>41346</c:v>
                </c:pt>
                <c:pt idx="1618">
                  <c:v>41347</c:v>
                </c:pt>
                <c:pt idx="1619">
                  <c:v>41348</c:v>
                </c:pt>
                <c:pt idx="1620">
                  <c:v>41351</c:v>
                </c:pt>
                <c:pt idx="1621">
                  <c:v>41352</c:v>
                </c:pt>
                <c:pt idx="1622">
                  <c:v>41353</c:v>
                </c:pt>
                <c:pt idx="1623">
                  <c:v>41354</c:v>
                </c:pt>
                <c:pt idx="1624">
                  <c:v>41355</c:v>
                </c:pt>
                <c:pt idx="1625">
                  <c:v>41358</c:v>
                </c:pt>
                <c:pt idx="1626">
                  <c:v>41359</c:v>
                </c:pt>
                <c:pt idx="1627">
                  <c:v>41360</c:v>
                </c:pt>
                <c:pt idx="1628">
                  <c:v>41361</c:v>
                </c:pt>
                <c:pt idx="1629">
                  <c:v>41362</c:v>
                </c:pt>
                <c:pt idx="1630">
                  <c:v>41365</c:v>
                </c:pt>
                <c:pt idx="1631">
                  <c:v>41366</c:v>
                </c:pt>
                <c:pt idx="1632">
                  <c:v>41367</c:v>
                </c:pt>
                <c:pt idx="1633">
                  <c:v>41368</c:v>
                </c:pt>
                <c:pt idx="1634">
                  <c:v>41369</c:v>
                </c:pt>
                <c:pt idx="1635">
                  <c:v>41372</c:v>
                </c:pt>
                <c:pt idx="1636">
                  <c:v>41373</c:v>
                </c:pt>
                <c:pt idx="1637">
                  <c:v>41374</c:v>
                </c:pt>
                <c:pt idx="1638">
                  <c:v>41375</c:v>
                </c:pt>
                <c:pt idx="1639">
                  <c:v>41376</c:v>
                </c:pt>
                <c:pt idx="1640">
                  <c:v>41379</c:v>
                </c:pt>
                <c:pt idx="1641">
                  <c:v>41380</c:v>
                </c:pt>
                <c:pt idx="1642">
                  <c:v>41381</c:v>
                </c:pt>
                <c:pt idx="1643">
                  <c:v>41382</c:v>
                </c:pt>
                <c:pt idx="1644">
                  <c:v>41383</c:v>
                </c:pt>
                <c:pt idx="1645">
                  <c:v>41386</c:v>
                </c:pt>
                <c:pt idx="1646">
                  <c:v>41387</c:v>
                </c:pt>
                <c:pt idx="1647">
                  <c:v>41388</c:v>
                </c:pt>
                <c:pt idx="1648">
                  <c:v>41389</c:v>
                </c:pt>
                <c:pt idx="1649">
                  <c:v>41390</c:v>
                </c:pt>
                <c:pt idx="1650">
                  <c:v>41393</c:v>
                </c:pt>
                <c:pt idx="1651">
                  <c:v>41394</c:v>
                </c:pt>
                <c:pt idx="1652">
                  <c:v>41395</c:v>
                </c:pt>
                <c:pt idx="1653">
                  <c:v>41396</c:v>
                </c:pt>
                <c:pt idx="1654">
                  <c:v>41397</c:v>
                </c:pt>
                <c:pt idx="1655">
                  <c:v>41400</c:v>
                </c:pt>
                <c:pt idx="1656">
                  <c:v>41401</c:v>
                </c:pt>
                <c:pt idx="1657">
                  <c:v>41402</c:v>
                </c:pt>
                <c:pt idx="1658">
                  <c:v>41403</c:v>
                </c:pt>
                <c:pt idx="1659">
                  <c:v>41404</c:v>
                </c:pt>
                <c:pt idx="1660">
                  <c:v>41407</c:v>
                </c:pt>
                <c:pt idx="1661">
                  <c:v>41408</c:v>
                </c:pt>
                <c:pt idx="1662">
                  <c:v>41409</c:v>
                </c:pt>
                <c:pt idx="1663">
                  <c:v>41410</c:v>
                </c:pt>
                <c:pt idx="1664">
                  <c:v>41411</c:v>
                </c:pt>
                <c:pt idx="1665">
                  <c:v>41414</c:v>
                </c:pt>
                <c:pt idx="1666">
                  <c:v>41415</c:v>
                </c:pt>
                <c:pt idx="1667">
                  <c:v>41416</c:v>
                </c:pt>
                <c:pt idx="1668">
                  <c:v>41417</c:v>
                </c:pt>
                <c:pt idx="1669">
                  <c:v>41418</c:v>
                </c:pt>
                <c:pt idx="1670">
                  <c:v>41421</c:v>
                </c:pt>
                <c:pt idx="1671">
                  <c:v>41422</c:v>
                </c:pt>
                <c:pt idx="1672">
                  <c:v>41423</c:v>
                </c:pt>
                <c:pt idx="1673">
                  <c:v>41424</c:v>
                </c:pt>
                <c:pt idx="1674">
                  <c:v>41425</c:v>
                </c:pt>
                <c:pt idx="1675">
                  <c:v>41428</c:v>
                </c:pt>
                <c:pt idx="1676">
                  <c:v>41429</c:v>
                </c:pt>
                <c:pt idx="1677">
                  <c:v>41430</c:v>
                </c:pt>
                <c:pt idx="1678">
                  <c:v>41431</c:v>
                </c:pt>
                <c:pt idx="1679">
                  <c:v>41432</c:v>
                </c:pt>
                <c:pt idx="1680">
                  <c:v>41435</c:v>
                </c:pt>
                <c:pt idx="1681">
                  <c:v>41436</c:v>
                </c:pt>
                <c:pt idx="1682">
                  <c:v>41437</c:v>
                </c:pt>
                <c:pt idx="1683">
                  <c:v>41438</c:v>
                </c:pt>
                <c:pt idx="1684">
                  <c:v>41439</c:v>
                </c:pt>
                <c:pt idx="1685">
                  <c:v>41442</c:v>
                </c:pt>
                <c:pt idx="1686">
                  <c:v>41443</c:v>
                </c:pt>
                <c:pt idx="1687">
                  <c:v>41444</c:v>
                </c:pt>
                <c:pt idx="1688">
                  <c:v>41445</c:v>
                </c:pt>
                <c:pt idx="1689">
                  <c:v>41446</c:v>
                </c:pt>
                <c:pt idx="1690">
                  <c:v>41449</c:v>
                </c:pt>
                <c:pt idx="1691">
                  <c:v>41450</c:v>
                </c:pt>
                <c:pt idx="1692">
                  <c:v>41451</c:v>
                </c:pt>
                <c:pt idx="1693">
                  <c:v>41452</c:v>
                </c:pt>
                <c:pt idx="1694">
                  <c:v>41453</c:v>
                </c:pt>
                <c:pt idx="1695">
                  <c:v>41456</c:v>
                </c:pt>
                <c:pt idx="1696">
                  <c:v>41457</c:v>
                </c:pt>
                <c:pt idx="1697">
                  <c:v>41458</c:v>
                </c:pt>
                <c:pt idx="1698">
                  <c:v>41459</c:v>
                </c:pt>
                <c:pt idx="1699">
                  <c:v>41460</c:v>
                </c:pt>
                <c:pt idx="1700">
                  <c:v>41463</c:v>
                </c:pt>
                <c:pt idx="1701">
                  <c:v>41464</c:v>
                </c:pt>
                <c:pt idx="1702">
                  <c:v>41465</c:v>
                </c:pt>
                <c:pt idx="1703">
                  <c:v>41466</c:v>
                </c:pt>
                <c:pt idx="1704">
                  <c:v>41467</c:v>
                </c:pt>
                <c:pt idx="1705">
                  <c:v>41470</c:v>
                </c:pt>
                <c:pt idx="1706">
                  <c:v>41471</c:v>
                </c:pt>
                <c:pt idx="1707">
                  <c:v>41472</c:v>
                </c:pt>
                <c:pt idx="1708">
                  <c:v>41473</c:v>
                </c:pt>
                <c:pt idx="1709">
                  <c:v>41474</c:v>
                </c:pt>
                <c:pt idx="1710">
                  <c:v>41477</c:v>
                </c:pt>
                <c:pt idx="1711">
                  <c:v>41478</c:v>
                </c:pt>
                <c:pt idx="1712">
                  <c:v>41479</c:v>
                </c:pt>
                <c:pt idx="1713">
                  <c:v>41480</c:v>
                </c:pt>
                <c:pt idx="1714">
                  <c:v>41481</c:v>
                </c:pt>
                <c:pt idx="1715">
                  <c:v>41484</c:v>
                </c:pt>
                <c:pt idx="1716">
                  <c:v>41485</c:v>
                </c:pt>
                <c:pt idx="1717">
                  <c:v>41486</c:v>
                </c:pt>
                <c:pt idx="1718">
                  <c:v>41487</c:v>
                </c:pt>
                <c:pt idx="1719">
                  <c:v>41488</c:v>
                </c:pt>
                <c:pt idx="1720">
                  <c:v>41491</c:v>
                </c:pt>
                <c:pt idx="1721">
                  <c:v>41492</c:v>
                </c:pt>
                <c:pt idx="1722">
                  <c:v>41493</c:v>
                </c:pt>
                <c:pt idx="1723">
                  <c:v>41494</c:v>
                </c:pt>
                <c:pt idx="1724">
                  <c:v>41495</c:v>
                </c:pt>
                <c:pt idx="1725">
                  <c:v>41498</c:v>
                </c:pt>
                <c:pt idx="1726">
                  <c:v>41499</c:v>
                </c:pt>
                <c:pt idx="1727">
                  <c:v>41500</c:v>
                </c:pt>
                <c:pt idx="1728">
                  <c:v>41501</c:v>
                </c:pt>
                <c:pt idx="1729">
                  <c:v>41502</c:v>
                </c:pt>
                <c:pt idx="1730">
                  <c:v>41505</c:v>
                </c:pt>
                <c:pt idx="1731">
                  <c:v>41506</c:v>
                </c:pt>
                <c:pt idx="1732">
                  <c:v>41507</c:v>
                </c:pt>
                <c:pt idx="1733">
                  <c:v>41508</c:v>
                </c:pt>
                <c:pt idx="1734">
                  <c:v>41509</c:v>
                </c:pt>
                <c:pt idx="1735">
                  <c:v>41512</c:v>
                </c:pt>
                <c:pt idx="1736">
                  <c:v>41513</c:v>
                </c:pt>
                <c:pt idx="1737">
                  <c:v>41514</c:v>
                </c:pt>
                <c:pt idx="1738">
                  <c:v>41515</c:v>
                </c:pt>
                <c:pt idx="1739">
                  <c:v>41516</c:v>
                </c:pt>
                <c:pt idx="1740">
                  <c:v>41519</c:v>
                </c:pt>
                <c:pt idx="1741">
                  <c:v>41520</c:v>
                </c:pt>
                <c:pt idx="1742">
                  <c:v>41521</c:v>
                </c:pt>
                <c:pt idx="1743">
                  <c:v>41522</c:v>
                </c:pt>
                <c:pt idx="1744">
                  <c:v>41523</c:v>
                </c:pt>
                <c:pt idx="1745">
                  <c:v>41526</c:v>
                </c:pt>
                <c:pt idx="1746">
                  <c:v>41527</c:v>
                </c:pt>
                <c:pt idx="1747">
                  <c:v>41528</c:v>
                </c:pt>
                <c:pt idx="1748">
                  <c:v>41529</c:v>
                </c:pt>
                <c:pt idx="1749">
                  <c:v>41530</c:v>
                </c:pt>
                <c:pt idx="1750">
                  <c:v>41533</c:v>
                </c:pt>
                <c:pt idx="1751">
                  <c:v>41534</c:v>
                </c:pt>
                <c:pt idx="1752">
                  <c:v>41535</c:v>
                </c:pt>
                <c:pt idx="1753">
                  <c:v>41536</c:v>
                </c:pt>
                <c:pt idx="1754">
                  <c:v>41537</c:v>
                </c:pt>
                <c:pt idx="1755">
                  <c:v>41540</c:v>
                </c:pt>
                <c:pt idx="1756">
                  <c:v>41541</c:v>
                </c:pt>
                <c:pt idx="1757">
                  <c:v>41542</c:v>
                </c:pt>
                <c:pt idx="1758">
                  <c:v>41543</c:v>
                </c:pt>
                <c:pt idx="1759">
                  <c:v>41544</c:v>
                </c:pt>
                <c:pt idx="1760">
                  <c:v>41547</c:v>
                </c:pt>
                <c:pt idx="1761">
                  <c:v>41548</c:v>
                </c:pt>
                <c:pt idx="1762">
                  <c:v>41549</c:v>
                </c:pt>
                <c:pt idx="1763">
                  <c:v>41550</c:v>
                </c:pt>
                <c:pt idx="1764">
                  <c:v>41551</c:v>
                </c:pt>
                <c:pt idx="1765">
                  <c:v>41554</c:v>
                </c:pt>
                <c:pt idx="1766">
                  <c:v>41555</c:v>
                </c:pt>
                <c:pt idx="1767">
                  <c:v>41556</c:v>
                </c:pt>
                <c:pt idx="1768">
                  <c:v>41557</c:v>
                </c:pt>
                <c:pt idx="1769">
                  <c:v>41558</c:v>
                </c:pt>
                <c:pt idx="1770">
                  <c:v>41561</c:v>
                </c:pt>
                <c:pt idx="1771">
                  <c:v>41562</c:v>
                </c:pt>
                <c:pt idx="1772">
                  <c:v>41563</c:v>
                </c:pt>
                <c:pt idx="1773">
                  <c:v>41564</c:v>
                </c:pt>
                <c:pt idx="1774">
                  <c:v>41565</c:v>
                </c:pt>
                <c:pt idx="1775">
                  <c:v>41568</c:v>
                </c:pt>
                <c:pt idx="1776">
                  <c:v>41569</c:v>
                </c:pt>
                <c:pt idx="1777">
                  <c:v>41570</c:v>
                </c:pt>
                <c:pt idx="1778">
                  <c:v>41571</c:v>
                </c:pt>
                <c:pt idx="1779">
                  <c:v>41572</c:v>
                </c:pt>
                <c:pt idx="1780">
                  <c:v>41575</c:v>
                </c:pt>
                <c:pt idx="1781">
                  <c:v>41576</c:v>
                </c:pt>
                <c:pt idx="1782">
                  <c:v>41577</c:v>
                </c:pt>
                <c:pt idx="1783">
                  <c:v>41578</c:v>
                </c:pt>
                <c:pt idx="1784">
                  <c:v>41579</c:v>
                </c:pt>
                <c:pt idx="1785">
                  <c:v>41582</c:v>
                </c:pt>
                <c:pt idx="1786">
                  <c:v>41583</c:v>
                </c:pt>
                <c:pt idx="1787">
                  <c:v>41584</c:v>
                </c:pt>
                <c:pt idx="1788">
                  <c:v>41585</c:v>
                </c:pt>
                <c:pt idx="1789">
                  <c:v>41586</c:v>
                </c:pt>
                <c:pt idx="1790">
                  <c:v>41589</c:v>
                </c:pt>
                <c:pt idx="1791">
                  <c:v>41590</c:v>
                </c:pt>
                <c:pt idx="1792">
                  <c:v>41591</c:v>
                </c:pt>
                <c:pt idx="1793">
                  <c:v>41592</c:v>
                </c:pt>
                <c:pt idx="1794">
                  <c:v>41593</c:v>
                </c:pt>
                <c:pt idx="1795">
                  <c:v>41596</c:v>
                </c:pt>
                <c:pt idx="1796">
                  <c:v>41597</c:v>
                </c:pt>
                <c:pt idx="1797">
                  <c:v>41598</c:v>
                </c:pt>
                <c:pt idx="1798">
                  <c:v>41599</c:v>
                </c:pt>
                <c:pt idx="1799">
                  <c:v>41600</c:v>
                </c:pt>
                <c:pt idx="1800">
                  <c:v>41603</c:v>
                </c:pt>
                <c:pt idx="1801">
                  <c:v>41604</c:v>
                </c:pt>
                <c:pt idx="1802">
                  <c:v>41605</c:v>
                </c:pt>
                <c:pt idx="1803">
                  <c:v>41606</c:v>
                </c:pt>
                <c:pt idx="1804">
                  <c:v>41607</c:v>
                </c:pt>
                <c:pt idx="1805">
                  <c:v>41610</c:v>
                </c:pt>
                <c:pt idx="1806">
                  <c:v>41611</c:v>
                </c:pt>
                <c:pt idx="1807">
                  <c:v>41612</c:v>
                </c:pt>
                <c:pt idx="1808">
                  <c:v>41613</c:v>
                </c:pt>
                <c:pt idx="1809">
                  <c:v>41614</c:v>
                </c:pt>
                <c:pt idx="1810">
                  <c:v>41617</c:v>
                </c:pt>
                <c:pt idx="1811">
                  <c:v>41618</c:v>
                </c:pt>
                <c:pt idx="1812">
                  <c:v>41619</c:v>
                </c:pt>
                <c:pt idx="1813">
                  <c:v>41620</c:v>
                </c:pt>
                <c:pt idx="1814">
                  <c:v>41621</c:v>
                </c:pt>
                <c:pt idx="1815">
                  <c:v>41624</c:v>
                </c:pt>
                <c:pt idx="1816">
                  <c:v>41625</c:v>
                </c:pt>
                <c:pt idx="1817">
                  <c:v>41626</c:v>
                </c:pt>
                <c:pt idx="1818">
                  <c:v>41627</c:v>
                </c:pt>
                <c:pt idx="1819">
                  <c:v>41628</c:v>
                </c:pt>
                <c:pt idx="1820">
                  <c:v>41631</c:v>
                </c:pt>
                <c:pt idx="1821">
                  <c:v>41632</c:v>
                </c:pt>
                <c:pt idx="1822">
                  <c:v>41633</c:v>
                </c:pt>
                <c:pt idx="1823">
                  <c:v>41634</c:v>
                </c:pt>
                <c:pt idx="1824">
                  <c:v>41635</c:v>
                </c:pt>
                <c:pt idx="1825">
                  <c:v>41638</c:v>
                </c:pt>
                <c:pt idx="1826">
                  <c:v>41639</c:v>
                </c:pt>
                <c:pt idx="1827">
                  <c:v>41640</c:v>
                </c:pt>
                <c:pt idx="1828">
                  <c:v>41641</c:v>
                </c:pt>
                <c:pt idx="1829">
                  <c:v>41642</c:v>
                </c:pt>
                <c:pt idx="1830">
                  <c:v>41645</c:v>
                </c:pt>
                <c:pt idx="1831">
                  <c:v>41646</c:v>
                </c:pt>
                <c:pt idx="1832">
                  <c:v>41647</c:v>
                </c:pt>
                <c:pt idx="1833">
                  <c:v>41648</c:v>
                </c:pt>
                <c:pt idx="1834">
                  <c:v>41649</c:v>
                </c:pt>
                <c:pt idx="1835">
                  <c:v>41652</c:v>
                </c:pt>
                <c:pt idx="1836">
                  <c:v>41653</c:v>
                </c:pt>
                <c:pt idx="1837">
                  <c:v>41654</c:v>
                </c:pt>
                <c:pt idx="1838">
                  <c:v>41655</c:v>
                </c:pt>
                <c:pt idx="1839">
                  <c:v>41656</c:v>
                </c:pt>
                <c:pt idx="1840">
                  <c:v>41659</c:v>
                </c:pt>
                <c:pt idx="1841">
                  <c:v>41660</c:v>
                </c:pt>
                <c:pt idx="1842">
                  <c:v>41661</c:v>
                </c:pt>
                <c:pt idx="1843">
                  <c:v>41662</c:v>
                </c:pt>
                <c:pt idx="1844">
                  <c:v>41663</c:v>
                </c:pt>
                <c:pt idx="1845">
                  <c:v>41666</c:v>
                </c:pt>
                <c:pt idx="1846">
                  <c:v>41667</c:v>
                </c:pt>
                <c:pt idx="1847">
                  <c:v>41668</c:v>
                </c:pt>
                <c:pt idx="1848">
                  <c:v>41669</c:v>
                </c:pt>
                <c:pt idx="1849">
                  <c:v>41670</c:v>
                </c:pt>
                <c:pt idx="1850">
                  <c:v>41673</c:v>
                </c:pt>
                <c:pt idx="1851">
                  <c:v>41674</c:v>
                </c:pt>
                <c:pt idx="1852">
                  <c:v>41675</c:v>
                </c:pt>
                <c:pt idx="1853">
                  <c:v>41676</c:v>
                </c:pt>
                <c:pt idx="1854">
                  <c:v>41677</c:v>
                </c:pt>
                <c:pt idx="1855">
                  <c:v>41680</c:v>
                </c:pt>
                <c:pt idx="1856">
                  <c:v>41681</c:v>
                </c:pt>
                <c:pt idx="1857">
                  <c:v>41682</c:v>
                </c:pt>
                <c:pt idx="1858">
                  <c:v>41683</c:v>
                </c:pt>
                <c:pt idx="1859">
                  <c:v>41684</c:v>
                </c:pt>
                <c:pt idx="1860">
                  <c:v>41687</c:v>
                </c:pt>
                <c:pt idx="1861">
                  <c:v>41688</c:v>
                </c:pt>
                <c:pt idx="1862">
                  <c:v>41689</c:v>
                </c:pt>
                <c:pt idx="1863">
                  <c:v>41690</c:v>
                </c:pt>
                <c:pt idx="1864">
                  <c:v>41691</c:v>
                </c:pt>
                <c:pt idx="1865">
                  <c:v>41694</c:v>
                </c:pt>
                <c:pt idx="1866">
                  <c:v>41695</c:v>
                </c:pt>
                <c:pt idx="1867">
                  <c:v>41696</c:v>
                </c:pt>
                <c:pt idx="1868">
                  <c:v>41697</c:v>
                </c:pt>
                <c:pt idx="1869">
                  <c:v>41698</c:v>
                </c:pt>
                <c:pt idx="1870">
                  <c:v>41701</c:v>
                </c:pt>
                <c:pt idx="1871">
                  <c:v>41702</c:v>
                </c:pt>
                <c:pt idx="1872">
                  <c:v>41703</c:v>
                </c:pt>
                <c:pt idx="1873">
                  <c:v>41704</c:v>
                </c:pt>
                <c:pt idx="1874">
                  <c:v>41705</c:v>
                </c:pt>
                <c:pt idx="1875">
                  <c:v>41708</c:v>
                </c:pt>
                <c:pt idx="1876">
                  <c:v>41709</c:v>
                </c:pt>
                <c:pt idx="1877">
                  <c:v>41710</c:v>
                </c:pt>
                <c:pt idx="1878">
                  <c:v>41711</c:v>
                </c:pt>
                <c:pt idx="1879">
                  <c:v>41712</c:v>
                </c:pt>
                <c:pt idx="1880">
                  <c:v>41715</c:v>
                </c:pt>
                <c:pt idx="1881">
                  <c:v>41716</c:v>
                </c:pt>
                <c:pt idx="1882">
                  <c:v>41717</c:v>
                </c:pt>
                <c:pt idx="1883">
                  <c:v>41718</c:v>
                </c:pt>
                <c:pt idx="1884">
                  <c:v>41719</c:v>
                </c:pt>
                <c:pt idx="1885">
                  <c:v>41722</c:v>
                </c:pt>
                <c:pt idx="1886">
                  <c:v>41723</c:v>
                </c:pt>
                <c:pt idx="1887">
                  <c:v>41724</c:v>
                </c:pt>
                <c:pt idx="1888">
                  <c:v>41725</c:v>
                </c:pt>
                <c:pt idx="1889">
                  <c:v>41726</c:v>
                </c:pt>
                <c:pt idx="1890">
                  <c:v>41729</c:v>
                </c:pt>
                <c:pt idx="1891">
                  <c:v>41730</c:v>
                </c:pt>
                <c:pt idx="1892">
                  <c:v>41731</c:v>
                </c:pt>
                <c:pt idx="1893">
                  <c:v>41732</c:v>
                </c:pt>
                <c:pt idx="1894">
                  <c:v>41733</c:v>
                </c:pt>
                <c:pt idx="1895">
                  <c:v>41736</c:v>
                </c:pt>
                <c:pt idx="1896">
                  <c:v>41737</c:v>
                </c:pt>
                <c:pt idx="1897">
                  <c:v>41738</c:v>
                </c:pt>
                <c:pt idx="1898">
                  <c:v>41739</c:v>
                </c:pt>
                <c:pt idx="1899">
                  <c:v>41740</c:v>
                </c:pt>
                <c:pt idx="1900">
                  <c:v>41743</c:v>
                </c:pt>
                <c:pt idx="1901">
                  <c:v>41744</c:v>
                </c:pt>
                <c:pt idx="1902">
                  <c:v>41745</c:v>
                </c:pt>
                <c:pt idx="1903">
                  <c:v>41746</c:v>
                </c:pt>
                <c:pt idx="1904">
                  <c:v>41747</c:v>
                </c:pt>
                <c:pt idx="1905">
                  <c:v>41750</c:v>
                </c:pt>
                <c:pt idx="1906">
                  <c:v>41751</c:v>
                </c:pt>
                <c:pt idx="1907">
                  <c:v>41752</c:v>
                </c:pt>
                <c:pt idx="1908">
                  <c:v>41753</c:v>
                </c:pt>
                <c:pt idx="1909">
                  <c:v>41754</c:v>
                </c:pt>
                <c:pt idx="1910">
                  <c:v>41757</c:v>
                </c:pt>
                <c:pt idx="1911">
                  <c:v>41758</c:v>
                </c:pt>
                <c:pt idx="1912">
                  <c:v>41759</c:v>
                </c:pt>
                <c:pt idx="1913">
                  <c:v>41760</c:v>
                </c:pt>
                <c:pt idx="1914">
                  <c:v>41761</c:v>
                </c:pt>
                <c:pt idx="1915">
                  <c:v>41764</c:v>
                </c:pt>
                <c:pt idx="1916">
                  <c:v>41765</c:v>
                </c:pt>
                <c:pt idx="1917">
                  <c:v>41766</c:v>
                </c:pt>
                <c:pt idx="1918">
                  <c:v>41767</c:v>
                </c:pt>
                <c:pt idx="1919">
                  <c:v>41768</c:v>
                </c:pt>
                <c:pt idx="1920">
                  <c:v>41771</c:v>
                </c:pt>
                <c:pt idx="1921">
                  <c:v>41772</c:v>
                </c:pt>
                <c:pt idx="1922">
                  <c:v>41773</c:v>
                </c:pt>
                <c:pt idx="1923">
                  <c:v>41774</c:v>
                </c:pt>
                <c:pt idx="1924">
                  <c:v>41775</c:v>
                </c:pt>
                <c:pt idx="1925">
                  <c:v>41778</c:v>
                </c:pt>
                <c:pt idx="1926">
                  <c:v>41779</c:v>
                </c:pt>
                <c:pt idx="1927">
                  <c:v>41780</c:v>
                </c:pt>
                <c:pt idx="1928">
                  <c:v>41781</c:v>
                </c:pt>
                <c:pt idx="1929">
                  <c:v>41782</c:v>
                </c:pt>
                <c:pt idx="1930">
                  <c:v>41785</c:v>
                </c:pt>
                <c:pt idx="1931">
                  <c:v>41786</c:v>
                </c:pt>
                <c:pt idx="1932">
                  <c:v>41787</c:v>
                </c:pt>
                <c:pt idx="1933">
                  <c:v>41788</c:v>
                </c:pt>
                <c:pt idx="1934">
                  <c:v>41789</c:v>
                </c:pt>
                <c:pt idx="1935">
                  <c:v>41792</c:v>
                </c:pt>
                <c:pt idx="1936">
                  <c:v>41793</c:v>
                </c:pt>
                <c:pt idx="1937">
                  <c:v>41794</c:v>
                </c:pt>
                <c:pt idx="1938">
                  <c:v>41795</c:v>
                </c:pt>
                <c:pt idx="1939">
                  <c:v>41796</c:v>
                </c:pt>
                <c:pt idx="1940">
                  <c:v>41799</c:v>
                </c:pt>
                <c:pt idx="1941">
                  <c:v>41800</c:v>
                </c:pt>
                <c:pt idx="1942">
                  <c:v>41801</c:v>
                </c:pt>
                <c:pt idx="1943">
                  <c:v>41802</c:v>
                </c:pt>
                <c:pt idx="1944">
                  <c:v>41803</c:v>
                </c:pt>
                <c:pt idx="1945">
                  <c:v>41806</c:v>
                </c:pt>
                <c:pt idx="1946">
                  <c:v>41807</c:v>
                </c:pt>
                <c:pt idx="1947">
                  <c:v>41808</c:v>
                </c:pt>
                <c:pt idx="1948">
                  <c:v>41809</c:v>
                </c:pt>
                <c:pt idx="1949">
                  <c:v>41810</c:v>
                </c:pt>
                <c:pt idx="1950">
                  <c:v>41813</c:v>
                </c:pt>
                <c:pt idx="1951">
                  <c:v>41814</c:v>
                </c:pt>
                <c:pt idx="1952">
                  <c:v>41815</c:v>
                </c:pt>
                <c:pt idx="1953">
                  <c:v>41816</c:v>
                </c:pt>
                <c:pt idx="1954">
                  <c:v>41817</c:v>
                </c:pt>
                <c:pt idx="1955">
                  <c:v>41820</c:v>
                </c:pt>
                <c:pt idx="1956">
                  <c:v>41821</c:v>
                </c:pt>
                <c:pt idx="1957">
                  <c:v>41822</c:v>
                </c:pt>
                <c:pt idx="1958">
                  <c:v>41823</c:v>
                </c:pt>
                <c:pt idx="1959">
                  <c:v>41824</c:v>
                </c:pt>
                <c:pt idx="1960">
                  <c:v>41827</c:v>
                </c:pt>
                <c:pt idx="1961">
                  <c:v>41828</c:v>
                </c:pt>
                <c:pt idx="1962">
                  <c:v>41829</c:v>
                </c:pt>
                <c:pt idx="1963">
                  <c:v>41830</c:v>
                </c:pt>
                <c:pt idx="1964">
                  <c:v>41831</c:v>
                </c:pt>
                <c:pt idx="1965">
                  <c:v>41834</c:v>
                </c:pt>
                <c:pt idx="1966">
                  <c:v>41835</c:v>
                </c:pt>
                <c:pt idx="1967">
                  <c:v>41836</c:v>
                </c:pt>
                <c:pt idx="1968">
                  <c:v>41837</c:v>
                </c:pt>
                <c:pt idx="1969">
                  <c:v>41838</c:v>
                </c:pt>
                <c:pt idx="1970">
                  <c:v>41841</c:v>
                </c:pt>
                <c:pt idx="1971">
                  <c:v>41842</c:v>
                </c:pt>
                <c:pt idx="1972">
                  <c:v>41843</c:v>
                </c:pt>
                <c:pt idx="1973">
                  <c:v>41844</c:v>
                </c:pt>
                <c:pt idx="1974">
                  <c:v>41845</c:v>
                </c:pt>
                <c:pt idx="1975">
                  <c:v>41848</c:v>
                </c:pt>
                <c:pt idx="1976">
                  <c:v>41849</c:v>
                </c:pt>
                <c:pt idx="1977">
                  <c:v>41850</c:v>
                </c:pt>
                <c:pt idx="1978">
                  <c:v>41851</c:v>
                </c:pt>
                <c:pt idx="1979">
                  <c:v>41852</c:v>
                </c:pt>
                <c:pt idx="1980">
                  <c:v>41855</c:v>
                </c:pt>
                <c:pt idx="1981">
                  <c:v>41856</c:v>
                </c:pt>
                <c:pt idx="1982">
                  <c:v>41857</c:v>
                </c:pt>
                <c:pt idx="1983">
                  <c:v>41858</c:v>
                </c:pt>
                <c:pt idx="1984">
                  <c:v>41859</c:v>
                </c:pt>
                <c:pt idx="1985">
                  <c:v>41862</c:v>
                </c:pt>
                <c:pt idx="1986">
                  <c:v>41863</c:v>
                </c:pt>
                <c:pt idx="1987">
                  <c:v>41864</c:v>
                </c:pt>
                <c:pt idx="1988">
                  <c:v>41865</c:v>
                </c:pt>
                <c:pt idx="1989">
                  <c:v>41866</c:v>
                </c:pt>
                <c:pt idx="1990">
                  <c:v>41869</c:v>
                </c:pt>
                <c:pt idx="1991">
                  <c:v>41870</c:v>
                </c:pt>
                <c:pt idx="1992">
                  <c:v>41871</c:v>
                </c:pt>
                <c:pt idx="1993">
                  <c:v>41872</c:v>
                </c:pt>
                <c:pt idx="1994">
                  <c:v>41873</c:v>
                </c:pt>
                <c:pt idx="1995">
                  <c:v>41876</c:v>
                </c:pt>
                <c:pt idx="1996">
                  <c:v>41877</c:v>
                </c:pt>
                <c:pt idx="1997">
                  <c:v>41878</c:v>
                </c:pt>
                <c:pt idx="1998">
                  <c:v>41879</c:v>
                </c:pt>
                <c:pt idx="1999">
                  <c:v>41880</c:v>
                </c:pt>
                <c:pt idx="2000">
                  <c:v>41883</c:v>
                </c:pt>
                <c:pt idx="2001">
                  <c:v>41884</c:v>
                </c:pt>
                <c:pt idx="2002">
                  <c:v>41885</c:v>
                </c:pt>
                <c:pt idx="2003">
                  <c:v>41886</c:v>
                </c:pt>
                <c:pt idx="2004">
                  <c:v>41887</c:v>
                </c:pt>
                <c:pt idx="2005">
                  <c:v>41890</c:v>
                </c:pt>
                <c:pt idx="2006">
                  <c:v>41891</c:v>
                </c:pt>
                <c:pt idx="2007">
                  <c:v>41892</c:v>
                </c:pt>
                <c:pt idx="2008">
                  <c:v>41893</c:v>
                </c:pt>
                <c:pt idx="2009">
                  <c:v>41894</c:v>
                </c:pt>
                <c:pt idx="2010">
                  <c:v>41897</c:v>
                </c:pt>
                <c:pt idx="2011">
                  <c:v>41898</c:v>
                </c:pt>
                <c:pt idx="2012">
                  <c:v>41899</c:v>
                </c:pt>
                <c:pt idx="2013">
                  <c:v>41900</c:v>
                </c:pt>
                <c:pt idx="2014">
                  <c:v>41901</c:v>
                </c:pt>
                <c:pt idx="2015">
                  <c:v>41904</c:v>
                </c:pt>
                <c:pt idx="2016">
                  <c:v>41905</c:v>
                </c:pt>
                <c:pt idx="2017">
                  <c:v>41906</c:v>
                </c:pt>
                <c:pt idx="2018">
                  <c:v>41907</c:v>
                </c:pt>
                <c:pt idx="2019">
                  <c:v>41908</c:v>
                </c:pt>
                <c:pt idx="2020">
                  <c:v>41911</c:v>
                </c:pt>
                <c:pt idx="2021">
                  <c:v>41912</c:v>
                </c:pt>
                <c:pt idx="2022">
                  <c:v>41913</c:v>
                </c:pt>
                <c:pt idx="2023">
                  <c:v>41914</c:v>
                </c:pt>
                <c:pt idx="2024">
                  <c:v>41915</c:v>
                </c:pt>
                <c:pt idx="2025">
                  <c:v>41918</c:v>
                </c:pt>
                <c:pt idx="2026">
                  <c:v>41919</c:v>
                </c:pt>
                <c:pt idx="2027">
                  <c:v>41920</c:v>
                </c:pt>
                <c:pt idx="2028">
                  <c:v>41921</c:v>
                </c:pt>
                <c:pt idx="2029">
                  <c:v>41922</c:v>
                </c:pt>
                <c:pt idx="2030">
                  <c:v>41925</c:v>
                </c:pt>
                <c:pt idx="2031">
                  <c:v>41926</c:v>
                </c:pt>
                <c:pt idx="2032">
                  <c:v>41927</c:v>
                </c:pt>
                <c:pt idx="2033">
                  <c:v>41928</c:v>
                </c:pt>
                <c:pt idx="2034">
                  <c:v>41929</c:v>
                </c:pt>
                <c:pt idx="2035">
                  <c:v>41932</c:v>
                </c:pt>
                <c:pt idx="2036">
                  <c:v>41933</c:v>
                </c:pt>
                <c:pt idx="2037">
                  <c:v>41934</c:v>
                </c:pt>
                <c:pt idx="2038">
                  <c:v>41935</c:v>
                </c:pt>
                <c:pt idx="2039">
                  <c:v>41936</c:v>
                </c:pt>
                <c:pt idx="2040">
                  <c:v>41939</c:v>
                </c:pt>
                <c:pt idx="2041">
                  <c:v>41940</c:v>
                </c:pt>
                <c:pt idx="2042">
                  <c:v>41941</c:v>
                </c:pt>
                <c:pt idx="2043">
                  <c:v>41942</c:v>
                </c:pt>
                <c:pt idx="2044">
                  <c:v>41943</c:v>
                </c:pt>
                <c:pt idx="2045">
                  <c:v>41946</c:v>
                </c:pt>
                <c:pt idx="2046">
                  <c:v>41947</c:v>
                </c:pt>
                <c:pt idx="2047">
                  <c:v>41948</c:v>
                </c:pt>
                <c:pt idx="2048">
                  <c:v>41949</c:v>
                </c:pt>
                <c:pt idx="2049">
                  <c:v>41950</c:v>
                </c:pt>
                <c:pt idx="2050">
                  <c:v>41953</c:v>
                </c:pt>
                <c:pt idx="2051">
                  <c:v>41954</c:v>
                </c:pt>
                <c:pt idx="2052">
                  <c:v>41955</c:v>
                </c:pt>
                <c:pt idx="2053">
                  <c:v>41956</c:v>
                </c:pt>
                <c:pt idx="2054">
                  <c:v>41957</c:v>
                </c:pt>
                <c:pt idx="2055">
                  <c:v>41960</c:v>
                </c:pt>
                <c:pt idx="2056">
                  <c:v>41961</c:v>
                </c:pt>
                <c:pt idx="2057">
                  <c:v>41962</c:v>
                </c:pt>
                <c:pt idx="2058">
                  <c:v>41963</c:v>
                </c:pt>
                <c:pt idx="2059">
                  <c:v>41964</c:v>
                </c:pt>
                <c:pt idx="2060">
                  <c:v>41967</c:v>
                </c:pt>
                <c:pt idx="2061">
                  <c:v>41968</c:v>
                </c:pt>
                <c:pt idx="2062">
                  <c:v>41969</c:v>
                </c:pt>
                <c:pt idx="2063">
                  <c:v>41970</c:v>
                </c:pt>
                <c:pt idx="2064">
                  <c:v>41971</c:v>
                </c:pt>
                <c:pt idx="2065">
                  <c:v>41974</c:v>
                </c:pt>
                <c:pt idx="2066">
                  <c:v>41975</c:v>
                </c:pt>
                <c:pt idx="2067">
                  <c:v>41976</c:v>
                </c:pt>
                <c:pt idx="2068">
                  <c:v>41977</c:v>
                </c:pt>
                <c:pt idx="2069">
                  <c:v>41978</c:v>
                </c:pt>
                <c:pt idx="2070">
                  <c:v>41981</c:v>
                </c:pt>
                <c:pt idx="2071">
                  <c:v>41982</c:v>
                </c:pt>
                <c:pt idx="2072">
                  <c:v>41983</c:v>
                </c:pt>
                <c:pt idx="2073">
                  <c:v>41984</c:v>
                </c:pt>
                <c:pt idx="2074">
                  <c:v>41985</c:v>
                </c:pt>
                <c:pt idx="2075">
                  <c:v>41988</c:v>
                </c:pt>
                <c:pt idx="2076">
                  <c:v>41989</c:v>
                </c:pt>
                <c:pt idx="2077">
                  <c:v>41990</c:v>
                </c:pt>
                <c:pt idx="2078">
                  <c:v>41991</c:v>
                </c:pt>
                <c:pt idx="2079">
                  <c:v>41992</c:v>
                </c:pt>
                <c:pt idx="2080">
                  <c:v>41995</c:v>
                </c:pt>
                <c:pt idx="2081">
                  <c:v>41996</c:v>
                </c:pt>
                <c:pt idx="2082">
                  <c:v>41997</c:v>
                </c:pt>
                <c:pt idx="2083">
                  <c:v>41998</c:v>
                </c:pt>
                <c:pt idx="2084">
                  <c:v>41999</c:v>
                </c:pt>
                <c:pt idx="2085">
                  <c:v>42002</c:v>
                </c:pt>
                <c:pt idx="2086">
                  <c:v>42003</c:v>
                </c:pt>
                <c:pt idx="2087">
                  <c:v>42004</c:v>
                </c:pt>
                <c:pt idx="2088">
                  <c:v>42005</c:v>
                </c:pt>
                <c:pt idx="2089">
                  <c:v>42006</c:v>
                </c:pt>
                <c:pt idx="2090">
                  <c:v>42009</c:v>
                </c:pt>
                <c:pt idx="2091">
                  <c:v>42010</c:v>
                </c:pt>
                <c:pt idx="2092">
                  <c:v>42011</c:v>
                </c:pt>
                <c:pt idx="2093">
                  <c:v>42012</c:v>
                </c:pt>
                <c:pt idx="2094">
                  <c:v>42013</c:v>
                </c:pt>
                <c:pt idx="2095">
                  <c:v>42016</c:v>
                </c:pt>
                <c:pt idx="2096">
                  <c:v>42017</c:v>
                </c:pt>
                <c:pt idx="2097">
                  <c:v>42018</c:v>
                </c:pt>
                <c:pt idx="2098">
                  <c:v>42019</c:v>
                </c:pt>
                <c:pt idx="2099">
                  <c:v>42020</c:v>
                </c:pt>
                <c:pt idx="2100">
                  <c:v>42023</c:v>
                </c:pt>
                <c:pt idx="2101">
                  <c:v>42024</c:v>
                </c:pt>
                <c:pt idx="2102">
                  <c:v>42025</c:v>
                </c:pt>
                <c:pt idx="2103">
                  <c:v>42026</c:v>
                </c:pt>
                <c:pt idx="2104">
                  <c:v>42027</c:v>
                </c:pt>
                <c:pt idx="2105">
                  <c:v>42030</c:v>
                </c:pt>
                <c:pt idx="2106">
                  <c:v>42031</c:v>
                </c:pt>
                <c:pt idx="2107">
                  <c:v>42032</c:v>
                </c:pt>
                <c:pt idx="2108">
                  <c:v>42033</c:v>
                </c:pt>
                <c:pt idx="2109">
                  <c:v>42034</c:v>
                </c:pt>
                <c:pt idx="2110">
                  <c:v>42037</c:v>
                </c:pt>
                <c:pt idx="2111">
                  <c:v>42038</c:v>
                </c:pt>
                <c:pt idx="2112">
                  <c:v>42039</c:v>
                </c:pt>
                <c:pt idx="2113">
                  <c:v>42040</c:v>
                </c:pt>
                <c:pt idx="2114">
                  <c:v>42041</c:v>
                </c:pt>
                <c:pt idx="2115">
                  <c:v>42044</c:v>
                </c:pt>
                <c:pt idx="2116">
                  <c:v>42045</c:v>
                </c:pt>
                <c:pt idx="2117">
                  <c:v>42046</c:v>
                </c:pt>
                <c:pt idx="2118">
                  <c:v>42047</c:v>
                </c:pt>
                <c:pt idx="2119">
                  <c:v>42048</c:v>
                </c:pt>
                <c:pt idx="2120">
                  <c:v>42051</c:v>
                </c:pt>
                <c:pt idx="2121">
                  <c:v>42052</c:v>
                </c:pt>
                <c:pt idx="2122">
                  <c:v>42053</c:v>
                </c:pt>
                <c:pt idx="2123">
                  <c:v>42054</c:v>
                </c:pt>
                <c:pt idx="2124">
                  <c:v>42055</c:v>
                </c:pt>
                <c:pt idx="2125">
                  <c:v>42058</c:v>
                </c:pt>
                <c:pt idx="2126">
                  <c:v>42059</c:v>
                </c:pt>
                <c:pt idx="2127">
                  <c:v>42060</c:v>
                </c:pt>
                <c:pt idx="2128">
                  <c:v>42061</c:v>
                </c:pt>
                <c:pt idx="2129">
                  <c:v>42062</c:v>
                </c:pt>
                <c:pt idx="2130">
                  <c:v>42065</c:v>
                </c:pt>
                <c:pt idx="2131">
                  <c:v>42066</c:v>
                </c:pt>
                <c:pt idx="2132">
                  <c:v>42067</c:v>
                </c:pt>
                <c:pt idx="2133">
                  <c:v>42068</c:v>
                </c:pt>
                <c:pt idx="2134">
                  <c:v>42069</c:v>
                </c:pt>
                <c:pt idx="2135">
                  <c:v>42072</c:v>
                </c:pt>
                <c:pt idx="2136">
                  <c:v>42073</c:v>
                </c:pt>
                <c:pt idx="2137">
                  <c:v>42074</c:v>
                </c:pt>
                <c:pt idx="2138">
                  <c:v>42075</c:v>
                </c:pt>
                <c:pt idx="2139">
                  <c:v>42076</c:v>
                </c:pt>
                <c:pt idx="2140">
                  <c:v>42079</c:v>
                </c:pt>
                <c:pt idx="2141">
                  <c:v>42080</c:v>
                </c:pt>
                <c:pt idx="2142">
                  <c:v>42081</c:v>
                </c:pt>
                <c:pt idx="2143">
                  <c:v>42082</c:v>
                </c:pt>
                <c:pt idx="2144">
                  <c:v>42083</c:v>
                </c:pt>
                <c:pt idx="2145">
                  <c:v>42086</c:v>
                </c:pt>
                <c:pt idx="2146">
                  <c:v>42087</c:v>
                </c:pt>
                <c:pt idx="2147">
                  <c:v>42088</c:v>
                </c:pt>
                <c:pt idx="2148">
                  <c:v>42089</c:v>
                </c:pt>
                <c:pt idx="2149">
                  <c:v>42090</c:v>
                </c:pt>
                <c:pt idx="2150">
                  <c:v>42093</c:v>
                </c:pt>
                <c:pt idx="2151">
                  <c:v>42094</c:v>
                </c:pt>
                <c:pt idx="2152">
                  <c:v>42095</c:v>
                </c:pt>
                <c:pt idx="2153">
                  <c:v>42096</c:v>
                </c:pt>
                <c:pt idx="2154">
                  <c:v>42097</c:v>
                </c:pt>
                <c:pt idx="2155">
                  <c:v>42100</c:v>
                </c:pt>
                <c:pt idx="2156">
                  <c:v>42101</c:v>
                </c:pt>
                <c:pt idx="2157">
                  <c:v>42102</c:v>
                </c:pt>
                <c:pt idx="2158">
                  <c:v>42103</c:v>
                </c:pt>
                <c:pt idx="2159">
                  <c:v>42104</c:v>
                </c:pt>
                <c:pt idx="2160">
                  <c:v>42107</c:v>
                </c:pt>
                <c:pt idx="2161">
                  <c:v>42108</c:v>
                </c:pt>
                <c:pt idx="2162">
                  <c:v>42109</c:v>
                </c:pt>
                <c:pt idx="2163">
                  <c:v>42110</c:v>
                </c:pt>
                <c:pt idx="2164">
                  <c:v>42111</c:v>
                </c:pt>
                <c:pt idx="2165">
                  <c:v>42114</c:v>
                </c:pt>
                <c:pt idx="2166">
                  <c:v>42115</c:v>
                </c:pt>
                <c:pt idx="2167">
                  <c:v>42116</c:v>
                </c:pt>
                <c:pt idx="2168">
                  <c:v>42117</c:v>
                </c:pt>
                <c:pt idx="2169">
                  <c:v>42118</c:v>
                </c:pt>
                <c:pt idx="2170">
                  <c:v>42121</c:v>
                </c:pt>
                <c:pt idx="2171">
                  <c:v>42122</c:v>
                </c:pt>
                <c:pt idx="2172">
                  <c:v>42123</c:v>
                </c:pt>
                <c:pt idx="2173">
                  <c:v>42124</c:v>
                </c:pt>
                <c:pt idx="2174">
                  <c:v>42125</c:v>
                </c:pt>
                <c:pt idx="2175">
                  <c:v>42128</c:v>
                </c:pt>
                <c:pt idx="2176">
                  <c:v>42129</c:v>
                </c:pt>
                <c:pt idx="2177">
                  <c:v>42130</c:v>
                </c:pt>
                <c:pt idx="2178">
                  <c:v>42131</c:v>
                </c:pt>
                <c:pt idx="2179">
                  <c:v>42132</c:v>
                </c:pt>
                <c:pt idx="2180">
                  <c:v>42135</c:v>
                </c:pt>
                <c:pt idx="2181">
                  <c:v>42136</c:v>
                </c:pt>
                <c:pt idx="2182">
                  <c:v>42137</c:v>
                </c:pt>
                <c:pt idx="2183">
                  <c:v>42138</c:v>
                </c:pt>
                <c:pt idx="2184">
                  <c:v>42139</c:v>
                </c:pt>
                <c:pt idx="2185">
                  <c:v>42142</c:v>
                </c:pt>
                <c:pt idx="2186">
                  <c:v>42143</c:v>
                </c:pt>
                <c:pt idx="2187">
                  <c:v>42144</c:v>
                </c:pt>
                <c:pt idx="2188">
                  <c:v>42145</c:v>
                </c:pt>
                <c:pt idx="2189">
                  <c:v>42146</c:v>
                </c:pt>
                <c:pt idx="2190">
                  <c:v>42149</c:v>
                </c:pt>
                <c:pt idx="2191">
                  <c:v>42150</c:v>
                </c:pt>
                <c:pt idx="2192">
                  <c:v>42151</c:v>
                </c:pt>
                <c:pt idx="2193">
                  <c:v>42152</c:v>
                </c:pt>
                <c:pt idx="2194">
                  <c:v>42153</c:v>
                </c:pt>
                <c:pt idx="2195">
                  <c:v>42156</c:v>
                </c:pt>
                <c:pt idx="2196">
                  <c:v>42157</c:v>
                </c:pt>
                <c:pt idx="2197">
                  <c:v>42158</c:v>
                </c:pt>
                <c:pt idx="2198">
                  <c:v>42159</c:v>
                </c:pt>
                <c:pt idx="2199">
                  <c:v>42160</c:v>
                </c:pt>
                <c:pt idx="2200">
                  <c:v>42163</c:v>
                </c:pt>
                <c:pt idx="2201">
                  <c:v>42164</c:v>
                </c:pt>
                <c:pt idx="2202">
                  <c:v>42165</c:v>
                </c:pt>
                <c:pt idx="2203">
                  <c:v>42166</c:v>
                </c:pt>
                <c:pt idx="2204">
                  <c:v>42167</c:v>
                </c:pt>
                <c:pt idx="2205">
                  <c:v>42170</c:v>
                </c:pt>
                <c:pt idx="2206">
                  <c:v>42171</c:v>
                </c:pt>
                <c:pt idx="2207">
                  <c:v>42172</c:v>
                </c:pt>
                <c:pt idx="2208">
                  <c:v>42173</c:v>
                </c:pt>
                <c:pt idx="2209">
                  <c:v>42174</c:v>
                </c:pt>
                <c:pt idx="2210">
                  <c:v>42177</c:v>
                </c:pt>
                <c:pt idx="2211">
                  <c:v>42178</c:v>
                </c:pt>
                <c:pt idx="2212">
                  <c:v>42179</c:v>
                </c:pt>
                <c:pt idx="2213">
                  <c:v>42180</c:v>
                </c:pt>
                <c:pt idx="2214">
                  <c:v>42181</c:v>
                </c:pt>
                <c:pt idx="2215">
                  <c:v>42184</c:v>
                </c:pt>
                <c:pt idx="2216">
                  <c:v>42185</c:v>
                </c:pt>
                <c:pt idx="2217">
                  <c:v>42186</c:v>
                </c:pt>
                <c:pt idx="2218">
                  <c:v>42187</c:v>
                </c:pt>
                <c:pt idx="2219">
                  <c:v>42188</c:v>
                </c:pt>
                <c:pt idx="2220">
                  <c:v>42191</c:v>
                </c:pt>
                <c:pt idx="2221">
                  <c:v>42192</c:v>
                </c:pt>
                <c:pt idx="2222">
                  <c:v>42193</c:v>
                </c:pt>
                <c:pt idx="2223">
                  <c:v>42194</c:v>
                </c:pt>
                <c:pt idx="2224">
                  <c:v>42195</c:v>
                </c:pt>
                <c:pt idx="2225">
                  <c:v>42198</c:v>
                </c:pt>
                <c:pt idx="2226">
                  <c:v>42199</c:v>
                </c:pt>
                <c:pt idx="2227">
                  <c:v>42200</c:v>
                </c:pt>
                <c:pt idx="2228">
                  <c:v>42201</c:v>
                </c:pt>
                <c:pt idx="2229">
                  <c:v>42202</c:v>
                </c:pt>
                <c:pt idx="2230">
                  <c:v>42205</c:v>
                </c:pt>
                <c:pt idx="2231">
                  <c:v>42206</c:v>
                </c:pt>
                <c:pt idx="2232">
                  <c:v>42207</c:v>
                </c:pt>
                <c:pt idx="2233">
                  <c:v>42208</c:v>
                </c:pt>
                <c:pt idx="2234">
                  <c:v>42209</c:v>
                </c:pt>
                <c:pt idx="2235">
                  <c:v>42212</c:v>
                </c:pt>
                <c:pt idx="2236">
                  <c:v>42213</c:v>
                </c:pt>
                <c:pt idx="2237">
                  <c:v>42214</c:v>
                </c:pt>
                <c:pt idx="2238">
                  <c:v>42215</c:v>
                </c:pt>
                <c:pt idx="2239">
                  <c:v>42216</c:v>
                </c:pt>
                <c:pt idx="2240">
                  <c:v>42219</c:v>
                </c:pt>
                <c:pt idx="2241">
                  <c:v>42220</c:v>
                </c:pt>
                <c:pt idx="2242">
                  <c:v>42221</c:v>
                </c:pt>
                <c:pt idx="2243">
                  <c:v>42222</c:v>
                </c:pt>
                <c:pt idx="2244">
                  <c:v>42223</c:v>
                </c:pt>
                <c:pt idx="2245">
                  <c:v>42226</c:v>
                </c:pt>
                <c:pt idx="2246">
                  <c:v>42227</c:v>
                </c:pt>
                <c:pt idx="2247">
                  <c:v>42228</c:v>
                </c:pt>
                <c:pt idx="2248">
                  <c:v>42229</c:v>
                </c:pt>
                <c:pt idx="2249">
                  <c:v>42230</c:v>
                </c:pt>
                <c:pt idx="2250">
                  <c:v>42233</c:v>
                </c:pt>
                <c:pt idx="2251">
                  <c:v>42234</c:v>
                </c:pt>
                <c:pt idx="2252">
                  <c:v>42235</c:v>
                </c:pt>
                <c:pt idx="2253">
                  <c:v>42236</c:v>
                </c:pt>
                <c:pt idx="2254">
                  <c:v>42237</c:v>
                </c:pt>
                <c:pt idx="2255">
                  <c:v>42240</c:v>
                </c:pt>
                <c:pt idx="2256">
                  <c:v>42241</c:v>
                </c:pt>
                <c:pt idx="2257">
                  <c:v>42242</c:v>
                </c:pt>
                <c:pt idx="2258">
                  <c:v>42243</c:v>
                </c:pt>
                <c:pt idx="2259">
                  <c:v>42244</c:v>
                </c:pt>
                <c:pt idx="2260">
                  <c:v>42247</c:v>
                </c:pt>
                <c:pt idx="2261">
                  <c:v>42248</c:v>
                </c:pt>
                <c:pt idx="2262">
                  <c:v>42249</c:v>
                </c:pt>
                <c:pt idx="2263">
                  <c:v>42250</c:v>
                </c:pt>
                <c:pt idx="2264">
                  <c:v>42251</c:v>
                </c:pt>
                <c:pt idx="2265">
                  <c:v>42254</c:v>
                </c:pt>
                <c:pt idx="2266">
                  <c:v>42255</c:v>
                </c:pt>
                <c:pt idx="2267">
                  <c:v>42256</c:v>
                </c:pt>
                <c:pt idx="2268">
                  <c:v>42257</c:v>
                </c:pt>
                <c:pt idx="2269">
                  <c:v>42258</c:v>
                </c:pt>
                <c:pt idx="2270">
                  <c:v>42261</c:v>
                </c:pt>
                <c:pt idx="2271">
                  <c:v>42262</c:v>
                </c:pt>
                <c:pt idx="2272">
                  <c:v>42263</c:v>
                </c:pt>
                <c:pt idx="2273">
                  <c:v>42264</c:v>
                </c:pt>
                <c:pt idx="2274">
                  <c:v>42265</c:v>
                </c:pt>
                <c:pt idx="2275">
                  <c:v>42268</c:v>
                </c:pt>
                <c:pt idx="2276">
                  <c:v>42269</c:v>
                </c:pt>
                <c:pt idx="2277">
                  <c:v>42270</c:v>
                </c:pt>
                <c:pt idx="2278">
                  <c:v>42271</c:v>
                </c:pt>
                <c:pt idx="2279">
                  <c:v>42272</c:v>
                </c:pt>
                <c:pt idx="2280">
                  <c:v>42275</c:v>
                </c:pt>
                <c:pt idx="2281">
                  <c:v>42276</c:v>
                </c:pt>
                <c:pt idx="2282">
                  <c:v>42277</c:v>
                </c:pt>
                <c:pt idx="2283">
                  <c:v>42278</c:v>
                </c:pt>
                <c:pt idx="2284">
                  <c:v>42279</c:v>
                </c:pt>
                <c:pt idx="2285">
                  <c:v>42282</c:v>
                </c:pt>
                <c:pt idx="2286">
                  <c:v>42283</c:v>
                </c:pt>
                <c:pt idx="2287">
                  <c:v>42284</c:v>
                </c:pt>
                <c:pt idx="2288">
                  <c:v>42285</c:v>
                </c:pt>
                <c:pt idx="2289">
                  <c:v>42286</c:v>
                </c:pt>
                <c:pt idx="2290">
                  <c:v>42289</c:v>
                </c:pt>
                <c:pt idx="2291">
                  <c:v>42290</c:v>
                </c:pt>
                <c:pt idx="2292">
                  <c:v>42291</c:v>
                </c:pt>
                <c:pt idx="2293">
                  <c:v>42292</c:v>
                </c:pt>
                <c:pt idx="2294">
                  <c:v>42293</c:v>
                </c:pt>
                <c:pt idx="2295">
                  <c:v>42296</c:v>
                </c:pt>
                <c:pt idx="2296">
                  <c:v>42297</c:v>
                </c:pt>
                <c:pt idx="2297">
                  <c:v>42298</c:v>
                </c:pt>
                <c:pt idx="2298">
                  <c:v>42299</c:v>
                </c:pt>
                <c:pt idx="2299">
                  <c:v>42300</c:v>
                </c:pt>
                <c:pt idx="2300">
                  <c:v>42303</c:v>
                </c:pt>
                <c:pt idx="2301">
                  <c:v>42304</c:v>
                </c:pt>
                <c:pt idx="2302">
                  <c:v>42305</c:v>
                </c:pt>
                <c:pt idx="2303">
                  <c:v>42306</c:v>
                </c:pt>
                <c:pt idx="2304">
                  <c:v>42307</c:v>
                </c:pt>
                <c:pt idx="2305">
                  <c:v>42310</c:v>
                </c:pt>
                <c:pt idx="2306">
                  <c:v>42311</c:v>
                </c:pt>
                <c:pt idx="2307">
                  <c:v>42312</c:v>
                </c:pt>
                <c:pt idx="2308">
                  <c:v>42313</c:v>
                </c:pt>
                <c:pt idx="2309">
                  <c:v>42314</c:v>
                </c:pt>
                <c:pt idx="2310">
                  <c:v>42317</c:v>
                </c:pt>
                <c:pt idx="2311">
                  <c:v>42318</c:v>
                </c:pt>
                <c:pt idx="2312">
                  <c:v>42319</c:v>
                </c:pt>
                <c:pt idx="2313">
                  <c:v>42320</c:v>
                </c:pt>
                <c:pt idx="2314">
                  <c:v>42321</c:v>
                </c:pt>
                <c:pt idx="2315">
                  <c:v>42324</c:v>
                </c:pt>
                <c:pt idx="2316">
                  <c:v>42325</c:v>
                </c:pt>
                <c:pt idx="2317">
                  <c:v>42326</c:v>
                </c:pt>
                <c:pt idx="2318">
                  <c:v>42327</c:v>
                </c:pt>
                <c:pt idx="2319">
                  <c:v>42328</c:v>
                </c:pt>
                <c:pt idx="2320">
                  <c:v>42331</c:v>
                </c:pt>
                <c:pt idx="2321">
                  <c:v>42332</c:v>
                </c:pt>
                <c:pt idx="2322">
                  <c:v>42333</c:v>
                </c:pt>
                <c:pt idx="2323">
                  <c:v>42334</c:v>
                </c:pt>
                <c:pt idx="2324">
                  <c:v>42335</c:v>
                </c:pt>
                <c:pt idx="2325">
                  <c:v>42338</c:v>
                </c:pt>
                <c:pt idx="2326">
                  <c:v>42339</c:v>
                </c:pt>
                <c:pt idx="2327">
                  <c:v>42340</c:v>
                </c:pt>
                <c:pt idx="2328">
                  <c:v>42341</c:v>
                </c:pt>
                <c:pt idx="2329">
                  <c:v>42342</c:v>
                </c:pt>
                <c:pt idx="2330">
                  <c:v>42345</c:v>
                </c:pt>
                <c:pt idx="2331">
                  <c:v>42346</c:v>
                </c:pt>
                <c:pt idx="2332">
                  <c:v>42347</c:v>
                </c:pt>
                <c:pt idx="2333">
                  <c:v>42348</c:v>
                </c:pt>
                <c:pt idx="2334">
                  <c:v>42349</c:v>
                </c:pt>
                <c:pt idx="2335">
                  <c:v>42352</c:v>
                </c:pt>
                <c:pt idx="2336">
                  <c:v>42353</c:v>
                </c:pt>
                <c:pt idx="2337">
                  <c:v>42354</c:v>
                </c:pt>
                <c:pt idx="2338">
                  <c:v>42355</c:v>
                </c:pt>
                <c:pt idx="2339">
                  <c:v>42356</c:v>
                </c:pt>
                <c:pt idx="2340">
                  <c:v>42359</c:v>
                </c:pt>
                <c:pt idx="2341">
                  <c:v>42360</c:v>
                </c:pt>
                <c:pt idx="2342">
                  <c:v>42361</c:v>
                </c:pt>
                <c:pt idx="2343">
                  <c:v>42362</c:v>
                </c:pt>
                <c:pt idx="2344">
                  <c:v>42363</c:v>
                </c:pt>
                <c:pt idx="2345">
                  <c:v>42366</c:v>
                </c:pt>
                <c:pt idx="2346">
                  <c:v>42367</c:v>
                </c:pt>
                <c:pt idx="2347">
                  <c:v>42368</c:v>
                </c:pt>
                <c:pt idx="2348">
                  <c:v>42369</c:v>
                </c:pt>
                <c:pt idx="2349">
                  <c:v>42370</c:v>
                </c:pt>
                <c:pt idx="2350">
                  <c:v>42373</c:v>
                </c:pt>
                <c:pt idx="2351">
                  <c:v>42374</c:v>
                </c:pt>
                <c:pt idx="2352">
                  <c:v>42375</c:v>
                </c:pt>
                <c:pt idx="2353">
                  <c:v>42376</c:v>
                </c:pt>
                <c:pt idx="2354">
                  <c:v>42377</c:v>
                </c:pt>
                <c:pt idx="2355">
                  <c:v>42380</c:v>
                </c:pt>
                <c:pt idx="2356">
                  <c:v>42381</c:v>
                </c:pt>
                <c:pt idx="2357">
                  <c:v>42382</c:v>
                </c:pt>
                <c:pt idx="2358">
                  <c:v>42383</c:v>
                </c:pt>
                <c:pt idx="2359">
                  <c:v>42384</c:v>
                </c:pt>
                <c:pt idx="2360">
                  <c:v>42387</c:v>
                </c:pt>
                <c:pt idx="2361">
                  <c:v>42388</c:v>
                </c:pt>
                <c:pt idx="2362">
                  <c:v>42389</c:v>
                </c:pt>
                <c:pt idx="2363">
                  <c:v>42390</c:v>
                </c:pt>
                <c:pt idx="2364">
                  <c:v>42391</c:v>
                </c:pt>
                <c:pt idx="2365">
                  <c:v>42394</c:v>
                </c:pt>
                <c:pt idx="2366">
                  <c:v>42395</c:v>
                </c:pt>
                <c:pt idx="2367">
                  <c:v>42396</c:v>
                </c:pt>
                <c:pt idx="2368">
                  <c:v>42397</c:v>
                </c:pt>
                <c:pt idx="2369">
                  <c:v>42398</c:v>
                </c:pt>
                <c:pt idx="2370">
                  <c:v>42401</c:v>
                </c:pt>
                <c:pt idx="2371">
                  <c:v>42402</c:v>
                </c:pt>
                <c:pt idx="2372">
                  <c:v>42403</c:v>
                </c:pt>
                <c:pt idx="2373">
                  <c:v>42404</c:v>
                </c:pt>
                <c:pt idx="2374">
                  <c:v>42405</c:v>
                </c:pt>
                <c:pt idx="2375">
                  <c:v>42408</c:v>
                </c:pt>
                <c:pt idx="2376">
                  <c:v>42409</c:v>
                </c:pt>
                <c:pt idx="2377">
                  <c:v>42410</c:v>
                </c:pt>
                <c:pt idx="2378">
                  <c:v>42411</c:v>
                </c:pt>
                <c:pt idx="2379">
                  <c:v>42412</c:v>
                </c:pt>
                <c:pt idx="2380">
                  <c:v>42415</c:v>
                </c:pt>
                <c:pt idx="2381">
                  <c:v>42416</c:v>
                </c:pt>
                <c:pt idx="2382">
                  <c:v>42417</c:v>
                </c:pt>
                <c:pt idx="2383">
                  <c:v>42418</c:v>
                </c:pt>
                <c:pt idx="2384">
                  <c:v>42419</c:v>
                </c:pt>
                <c:pt idx="2385">
                  <c:v>42422</c:v>
                </c:pt>
                <c:pt idx="2386">
                  <c:v>42423</c:v>
                </c:pt>
                <c:pt idx="2387">
                  <c:v>42424</c:v>
                </c:pt>
                <c:pt idx="2388">
                  <c:v>42425</c:v>
                </c:pt>
                <c:pt idx="2389">
                  <c:v>42426</c:v>
                </c:pt>
                <c:pt idx="2390">
                  <c:v>42429</c:v>
                </c:pt>
                <c:pt idx="2391">
                  <c:v>42430</c:v>
                </c:pt>
                <c:pt idx="2392">
                  <c:v>42431</c:v>
                </c:pt>
                <c:pt idx="2393">
                  <c:v>42432</c:v>
                </c:pt>
                <c:pt idx="2394">
                  <c:v>42433</c:v>
                </c:pt>
                <c:pt idx="2395">
                  <c:v>42436</c:v>
                </c:pt>
                <c:pt idx="2396">
                  <c:v>42437</c:v>
                </c:pt>
                <c:pt idx="2397">
                  <c:v>42438</c:v>
                </c:pt>
                <c:pt idx="2398">
                  <c:v>42439</c:v>
                </c:pt>
                <c:pt idx="2399">
                  <c:v>42440</c:v>
                </c:pt>
                <c:pt idx="2400">
                  <c:v>42443</c:v>
                </c:pt>
                <c:pt idx="2401">
                  <c:v>42444</c:v>
                </c:pt>
                <c:pt idx="2402">
                  <c:v>42445</c:v>
                </c:pt>
                <c:pt idx="2403">
                  <c:v>42446</c:v>
                </c:pt>
                <c:pt idx="2404">
                  <c:v>42447</c:v>
                </c:pt>
                <c:pt idx="2405">
                  <c:v>42450</c:v>
                </c:pt>
                <c:pt idx="2406">
                  <c:v>42451</c:v>
                </c:pt>
                <c:pt idx="2407">
                  <c:v>42452</c:v>
                </c:pt>
                <c:pt idx="2408">
                  <c:v>42453</c:v>
                </c:pt>
                <c:pt idx="2409">
                  <c:v>42454</c:v>
                </c:pt>
                <c:pt idx="2410">
                  <c:v>42457</c:v>
                </c:pt>
                <c:pt idx="2411">
                  <c:v>42458</c:v>
                </c:pt>
                <c:pt idx="2412">
                  <c:v>42459</c:v>
                </c:pt>
                <c:pt idx="2413">
                  <c:v>42460</c:v>
                </c:pt>
                <c:pt idx="2414">
                  <c:v>42461</c:v>
                </c:pt>
                <c:pt idx="2415">
                  <c:v>42464</c:v>
                </c:pt>
                <c:pt idx="2416">
                  <c:v>42465</c:v>
                </c:pt>
                <c:pt idx="2417">
                  <c:v>42466</c:v>
                </c:pt>
                <c:pt idx="2418">
                  <c:v>42467</c:v>
                </c:pt>
                <c:pt idx="2419">
                  <c:v>42468</c:v>
                </c:pt>
                <c:pt idx="2420">
                  <c:v>42471</c:v>
                </c:pt>
                <c:pt idx="2421">
                  <c:v>42472</c:v>
                </c:pt>
                <c:pt idx="2422">
                  <c:v>42473</c:v>
                </c:pt>
                <c:pt idx="2423">
                  <c:v>42474</c:v>
                </c:pt>
                <c:pt idx="2424">
                  <c:v>42475</c:v>
                </c:pt>
                <c:pt idx="2425">
                  <c:v>42478</c:v>
                </c:pt>
                <c:pt idx="2426">
                  <c:v>42479</c:v>
                </c:pt>
                <c:pt idx="2427">
                  <c:v>42480</c:v>
                </c:pt>
                <c:pt idx="2428">
                  <c:v>42481</c:v>
                </c:pt>
                <c:pt idx="2429">
                  <c:v>42482</c:v>
                </c:pt>
                <c:pt idx="2430">
                  <c:v>42485</c:v>
                </c:pt>
                <c:pt idx="2431">
                  <c:v>42486</c:v>
                </c:pt>
                <c:pt idx="2432">
                  <c:v>42487</c:v>
                </c:pt>
                <c:pt idx="2433">
                  <c:v>42488</c:v>
                </c:pt>
                <c:pt idx="2434">
                  <c:v>42489</c:v>
                </c:pt>
                <c:pt idx="2435">
                  <c:v>42492</c:v>
                </c:pt>
                <c:pt idx="2436">
                  <c:v>42493</c:v>
                </c:pt>
                <c:pt idx="2437">
                  <c:v>42494</c:v>
                </c:pt>
                <c:pt idx="2438">
                  <c:v>42495</c:v>
                </c:pt>
                <c:pt idx="2439">
                  <c:v>42496</c:v>
                </c:pt>
                <c:pt idx="2440">
                  <c:v>42499</c:v>
                </c:pt>
                <c:pt idx="2441">
                  <c:v>42500</c:v>
                </c:pt>
                <c:pt idx="2442">
                  <c:v>42501</c:v>
                </c:pt>
                <c:pt idx="2443">
                  <c:v>42502</c:v>
                </c:pt>
                <c:pt idx="2444">
                  <c:v>42503</c:v>
                </c:pt>
                <c:pt idx="2445">
                  <c:v>42506</c:v>
                </c:pt>
                <c:pt idx="2446">
                  <c:v>42507</c:v>
                </c:pt>
                <c:pt idx="2447">
                  <c:v>42508</c:v>
                </c:pt>
                <c:pt idx="2448">
                  <c:v>42509</c:v>
                </c:pt>
                <c:pt idx="2449">
                  <c:v>42510</c:v>
                </c:pt>
                <c:pt idx="2450">
                  <c:v>42513</c:v>
                </c:pt>
                <c:pt idx="2451">
                  <c:v>42514</c:v>
                </c:pt>
                <c:pt idx="2452">
                  <c:v>42515</c:v>
                </c:pt>
                <c:pt idx="2453">
                  <c:v>42516</c:v>
                </c:pt>
                <c:pt idx="2454">
                  <c:v>42517</c:v>
                </c:pt>
                <c:pt idx="2455">
                  <c:v>42520</c:v>
                </c:pt>
                <c:pt idx="2456">
                  <c:v>42521</c:v>
                </c:pt>
                <c:pt idx="2457">
                  <c:v>42522</c:v>
                </c:pt>
                <c:pt idx="2458">
                  <c:v>42523</c:v>
                </c:pt>
                <c:pt idx="2459">
                  <c:v>42524</c:v>
                </c:pt>
                <c:pt idx="2460">
                  <c:v>42527</c:v>
                </c:pt>
                <c:pt idx="2461">
                  <c:v>42528</c:v>
                </c:pt>
                <c:pt idx="2462">
                  <c:v>42529</c:v>
                </c:pt>
                <c:pt idx="2463">
                  <c:v>42530</c:v>
                </c:pt>
                <c:pt idx="2464">
                  <c:v>42531</c:v>
                </c:pt>
                <c:pt idx="2465">
                  <c:v>42534</c:v>
                </c:pt>
                <c:pt idx="2466">
                  <c:v>42535</c:v>
                </c:pt>
                <c:pt idx="2467">
                  <c:v>42536</c:v>
                </c:pt>
                <c:pt idx="2468">
                  <c:v>42537</c:v>
                </c:pt>
                <c:pt idx="2469">
                  <c:v>42538</c:v>
                </c:pt>
                <c:pt idx="2470">
                  <c:v>42541</c:v>
                </c:pt>
                <c:pt idx="2471">
                  <c:v>42542</c:v>
                </c:pt>
                <c:pt idx="2472">
                  <c:v>42543</c:v>
                </c:pt>
                <c:pt idx="2473">
                  <c:v>42544</c:v>
                </c:pt>
                <c:pt idx="2474">
                  <c:v>42545</c:v>
                </c:pt>
                <c:pt idx="2475">
                  <c:v>42548</c:v>
                </c:pt>
                <c:pt idx="2476">
                  <c:v>42549</c:v>
                </c:pt>
                <c:pt idx="2477">
                  <c:v>42550</c:v>
                </c:pt>
                <c:pt idx="2478">
                  <c:v>42551</c:v>
                </c:pt>
                <c:pt idx="2479">
                  <c:v>42552</c:v>
                </c:pt>
                <c:pt idx="2480">
                  <c:v>42555</c:v>
                </c:pt>
                <c:pt idx="2481">
                  <c:v>42556</c:v>
                </c:pt>
                <c:pt idx="2482">
                  <c:v>42557</c:v>
                </c:pt>
                <c:pt idx="2483">
                  <c:v>42558</c:v>
                </c:pt>
                <c:pt idx="2484">
                  <c:v>42559</c:v>
                </c:pt>
                <c:pt idx="2485">
                  <c:v>42562</c:v>
                </c:pt>
                <c:pt idx="2486">
                  <c:v>42563</c:v>
                </c:pt>
                <c:pt idx="2487">
                  <c:v>42564</c:v>
                </c:pt>
                <c:pt idx="2488">
                  <c:v>42565</c:v>
                </c:pt>
                <c:pt idx="2489">
                  <c:v>42566</c:v>
                </c:pt>
                <c:pt idx="2490">
                  <c:v>42569</c:v>
                </c:pt>
                <c:pt idx="2491">
                  <c:v>42570</c:v>
                </c:pt>
                <c:pt idx="2492">
                  <c:v>42571</c:v>
                </c:pt>
                <c:pt idx="2493">
                  <c:v>42572</c:v>
                </c:pt>
                <c:pt idx="2494">
                  <c:v>42573</c:v>
                </c:pt>
                <c:pt idx="2495">
                  <c:v>42576</c:v>
                </c:pt>
                <c:pt idx="2496">
                  <c:v>42577</c:v>
                </c:pt>
                <c:pt idx="2497">
                  <c:v>42578</c:v>
                </c:pt>
                <c:pt idx="2498">
                  <c:v>42579</c:v>
                </c:pt>
                <c:pt idx="2499">
                  <c:v>42580</c:v>
                </c:pt>
                <c:pt idx="2500">
                  <c:v>42583</c:v>
                </c:pt>
                <c:pt idx="2501">
                  <c:v>42584</c:v>
                </c:pt>
                <c:pt idx="2502">
                  <c:v>42585</c:v>
                </c:pt>
                <c:pt idx="2503">
                  <c:v>42586</c:v>
                </c:pt>
                <c:pt idx="2504">
                  <c:v>42587</c:v>
                </c:pt>
                <c:pt idx="2505">
                  <c:v>42590</c:v>
                </c:pt>
                <c:pt idx="2506">
                  <c:v>42591</c:v>
                </c:pt>
                <c:pt idx="2507">
                  <c:v>42592</c:v>
                </c:pt>
                <c:pt idx="2508">
                  <c:v>42593</c:v>
                </c:pt>
                <c:pt idx="2509">
                  <c:v>42594</c:v>
                </c:pt>
                <c:pt idx="2510">
                  <c:v>42597</c:v>
                </c:pt>
                <c:pt idx="2511">
                  <c:v>42598</c:v>
                </c:pt>
                <c:pt idx="2512">
                  <c:v>42599</c:v>
                </c:pt>
                <c:pt idx="2513">
                  <c:v>42600</c:v>
                </c:pt>
                <c:pt idx="2514">
                  <c:v>42601</c:v>
                </c:pt>
                <c:pt idx="2515">
                  <c:v>42604</c:v>
                </c:pt>
                <c:pt idx="2516">
                  <c:v>42605</c:v>
                </c:pt>
                <c:pt idx="2517">
                  <c:v>42606</c:v>
                </c:pt>
                <c:pt idx="2518">
                  <c:v>42607</c:v>
                </c:pt>
                <c:pt idx="2519">
                  <c:v>42608</c:v>
                </c:pt>
                <c:pt idx="2520">
                  <c:v>42611</c:v>
                </c:pt>
                <c:pt idx="2521">
                  <c:v>42612</c:v>
                </c:pt>
                <c:pt idx="2522">
                  <c:v>42613</c:v>
                </c:pt>
                <c:pt idx="2523">
                  <c:v>42614</c:v>
                </c:pt>
                <c:pt idx="2524">
                  <c:v>42615</c:v>
                </c:pt>
                <c:pt idx="2525">
                  <c:v>42618</c:v>
                </c:pt>
                <c:pt idx="2526">
                  <c:v>42619</c:v>
                </c:pt>
                <c:pt idx="2527">
                  <c:v>42620</c:v>
                </c:pt>
                <c:pt idx="2528">
                  <c:v>42621</c:v>
                </c:pt>
                <c:pt idx="2529">
                  <c:v>42622</c:v>
                </c:pt>
                <c:pt idx="2530">
                  <c:v>42625</c:v>
                </c:pt>
                <c:pt idx="2531">
                  <c:v>42626</c:v>
                </c:pt>
                <c:pt idx="2532">
                  <c:v>42627</c:v>
                </c:pt>
                <c:pt idx="2533">
                  <c:v>42628</c:v>
                </c:pt>
                <c:pt idx="2534">
                  <c:v>42629</c:v>
                </c:pt>
                <c:pt idx="2535">
                  <c:v>42632</c:v>
                </c:pt>
                <c:pt idx="2536">
                  <c:v>42633</c:v>
                </c:pt>
                <c:pt idx="2537">
                  <c:v>42634</c:v>
                </c:pt>
                <c:pt idx="2538">
                  <c:v>42635</c:v>
                </c:pt>
                <c:pt idx="2539">
                  <c:v>42636</c:v>
                </c:pt>
                <c:pt idx="2540">
                  <c:v>42639</c:v>
                </c:pt>
                <c:pt idx="2541">
                  <c:v>42640</c:v>
                </c:pt>
                <c:pt idx="2542">
                  <c:v>42641</c:v>
                </c:pt>
                <c:pt idx="2543">
                  <c:v>42642</c:v>
                </c:pt>
                <c:pt idx="2544">
                  <c:v>42643</c:v>
                </c:pt>
                <c:pt idx="2545">
                  <c:v>42646</c:v>
                </c:pt>
                <c:pt idx="2546">
                  <c:v>42647</c:v>
                </c:pt>
                <c:pt idx="2547">
                  <c:v>42648</c:v>
                </c:pt>
                <c:pt idx="2548">
                  <c:v>42649</c:v>
                </c:pt>
                <c:pt idx="2549">
                  <c:v>42650</c:v>
                </c:pt>
                <c:pt idx="2550">
                  <c:v>42653</c:v>
                </c:pt>
                <c:pt idx="2551">
                  <c:v>42654</c:v>
                </c:pt>
                <c:pt idx="2552">
                  <c:v>42655</c:v>
                </c:pt>
                <c:pt idx="2553">
                  <c:v>42656</c:v>
                </c:pt>
                <c:pt idx="2554">
                  <c:v>42657</c:v>
                </c:pt>
                <c:pt idx="2555">
                  <c:v>42660</c:v>
                </c:pt>
                <c:pt idx="2556">
                  <c:v>42661</c:v>
                </c:pt>
                <c:pt idx="2557">
                  <c:v>42662</c:v>
                </c:pt>
                <c:pt idx="2558">
                  <c:v>42663</c:v>
                </c:pt>
                <c:pt idx="2559">
                  <c:v>42664</c:v>
                </c:pt>
                <c:pt idx="2560">
                  <c:v>42667</c:v>
                </c:pt>
                <c:pt idx="2561">
                  <c:v>42668</c:v>
                </c:pt>
                <c:pt idx="2562">
                  <c:v>42669</c:v>
                </c:pt>
                <c:pt idx="2563">
                  <c:v>42670</c:v>
                </c:pt>
                <c:pt idx="2564">
                  <c:v>42671</c:v>
                </c:pt>
                <c:pt idx="2565">
                  <c:v>42674</c:v>
                </c:pt>
                <c:pt idx="2566">
                  <c:v>42675</c:v>
                </c:pt>
                <c:pt idx="2567">
                  <c:v>42676</c:v>
                </c:pt>
                <c:pt idx="2568">
                  <c:v>42677</c:v>
                </c:pt>
                <c:pt idx="2569">
                  <c:v>42678</c:v>
                </c:pt>
                <c:pt idx="2570">
                  <c:v>42681</c:v>
                </c:pt>
                <c:pt idx="2571">
                  <c:v>42682</c:v>
                </c:pt>
                <c:pt idx="2572">
                  <c:v>42683</c:v>
                </c:pt>
                <c:pt idx="2573">
                  <c:v>42684</c:v>
                </c:pt>
                <c:pt idx="2574">
                  <c:v>42685</c:v>
                </c:pt>
                <c:pt idx="2575">
                  <c:v>42688</c:v>
                </c:pt>
                <c:pt idx="2576">
                  <c:v>42689</c:v>
                </c:pt>
                <c:pt idx="2577">
                  <c:v>42690</c:v>
                </c:pt>
                <c:pt idx="2578">
                  <c:v>42691</c:v>
                </c:pt>
                <c:pt idx="2579">
                  <c:v>42692</c:v>
                </c:pt>
                <c:pt idx="2580">
                  <c:v>42695</c:v>
                </c:pt>
                <c:pt idx="2581">
                  <c:v>42696</c:v>
                </c:pt>
                <c:pt idx="2582">
                  <c:v>42697</c:v>
                </c:pt>
                <c:pt idx="2583">
                  <c:v>42698</c:v>
                </c:pt>
                <c:pt idx="2584">
                  <c:v>42699</c:v>
                </c:pt>
                <c:pt idx="2585">
                  <c:v>42702</c:v>
                </c:pt>
                <c:pt idx="2586">
                  <c:v>42703</c:v>
                </c:pt>
                <c:pt idx="2587">
                  <c:v>42704</c:v>
                </c:pt>
                <c:pt idx="2588">
                  <c:v>42705</c:v>
                </c:pt>
                <c:pt idx="2589">
                  <c:v>42706</c:v>
                </c:pt>
                <c:pt idx="2590">
                  <c:v>42709</c:v>
                </c:pt>
                <c:pt idx="2591">
                  <c:v>42710</c:v>
                </c:pt>
                <c:pt idx="2592">
                  <c:v>42711</c:v>
                </c:pt>
                <c:pt idx="2593">
                  <c:v>42712</c:v>
                </c:pt>
                <c:pt idx="2594">
                  <c:v>42713</c:v>
                </c:pt>
                <c:pt idx="2595">
                  <c:v>42716</c:v>
                </c:pt>
                <c:pt idx="2596">
                  <c:v>42717</c:v>
                </c:pt>
                <c:pt idx="2597">
                  <c:v>42718</c:v>
                </c:pt>
                <c:pt idx="2598">
                  <c:v>42719</c:v>
                </c:pt>
                <c:pt idx="2599">
                  <c:v>42720</c:v>
                </c:pt>
                <c:pt idx="2600">
                  <c:v>42723</c:v>
                </c:pt>
                <c:pt idx="2601">
                  <c:v>42724</c:v>
                </c:pt>
                <c:pt idx="2602">
                  <c:v>42725</c:v>
                </c:pt>
                <c:pt idx="2603">
                  <c:v>42726</c:v>
                </c:pt>
                <c:pt idx="2604">
                  <c:v>42727</c:v>
                </c:pt>
                <c:pt idx="2605">
                  <c:v>42730</c:v>
                </c:pt>
                <c:pt idx="2606">
                  <c:v>42731</c:v>
                </c:pt>
                <c:pt idx="2607">
                  <c:v>42732</c:v>
                </c:pt>
                <c:pt idx="2608">
                  <c:v>42733</c:v>
                </c:pt>
                <c:pt idx="2609">
                  <c:v>42734</c:v>
                </c:pt>
                <c:pt idx="2610">
                  <c:v>42737</c:v>
                </c:pt>
                <c:pt idx="2611">
                  <c:v>42738</c:v>
                </c:pt>
                <c:pt idx="2612">
                  <c:v>42739</c:v>
                </c:pt>
                <c:pt idx="2613">
                  <c:v>42740</c:v>
                </c:pt>
                <c:pt idx="2614">
                  <c:v>42741</c:v>
                </c:pt>
                <c:pt idx="2615">
                  <c:v>42744</c:v>
                </c:pt>
                <c:pt idx="2616">
                  <c:v>42745</c:v>
                </c:pt>
                <c:pt idx="2617">
                  <c:v>42746</c:v>
                </c:pt>
                <c:pt idx="2618">
                  <c:v>42747</c:v>
                </c:pt>
                <c:pt idx="2619">
                  <c:v>42748</c:v>
                </c:pt>
                <c:pt idx="2620">
                  <c:v>42751</c:v>
                </c:pt>
                <c:pt idx="2621">
                  <c:v>42752</c:v>
                </c:pt>
                <c:pt idx="2622">
                  <c:v>42753</c:v>
                </c:pt>
                <c:pt idx="2623">
                  <c:v>42754</c:v>
                </c:pt>
                <c:pt idx="2624">
                  <c:v>42755</c:v>
                </c:pt>
                <c:pt idx="2625">
                  <c:v>42758</c:v>
                </c:pt>
                <c:pt idx="2626">
                  <c:v>42759</c:v>
                </c:pt>
                <c:pt idx="2627">
                  <c:v>42760</c:v>
                </c:pt>
                <c:pt idx="2628">
                  <c:v>42761</c:v>
                </c:pt>
                <c:pt idx="2629">
                  <c:v>42762</c:v>
                </c:pt>
                <c:pt idx="2630">
                  <c:v>42765</c:v>
                </c:pt>
                <c:pt idx="2631">
                  <c:v>42766</c:v>
                </c:pt>
                <c:pt idx="2632">
                  <c:v>42767</c:v>
                </c:pt>
                <c:pt idx="2633">
                  <c:v>42768</c:v>
                </c:pt>
                <c:pt idx="2634">
                  <c:v>42769</c:v>
                </c:pt>
                <c:pt idx="2635">
                  <c:v>42772</c:v>
                </c:pt>
                <c:pt idx="2636">
                  <c:v>42773</c:v>
                </c:pt>
                <c:pt idx="2637">
                  <c:v>42774</c:v>
                </c:pt>
                <c:pt idx="2638">
                  <c:v>42775</c:v>
                </c:pt>
                <c:pt idx="2639">
                  <c:v>42776</c:v>
                </c:pt>
                <c:pt idx="2640">
                  <c:v>42779</c:v>
                </c:pt>
                <c:pt idx="2641">
                  <c:v>42780</c:v>
                </c:pt>
                <c:pt idx="2642">
                  <c:v>42781</c:v>
                </c:pt>
                <c:pt idx="2643">
                  <c:v>42782</c:v>
                </c:pt>
                <c:pt idx="2644">
                  <c:v>42783</c:v>
                </c:pt>
                <c:pt idx="2645">
                  <c:v>42786</c:v>
                </c:pt>
                <c:pt idx="2646">
                  <c:v>42787</c:v>
                </c:pt>
                <c:pt idx="2647">
                  <c:v>42788</c:v>
                </c:pt>
                <c:pt idx="2648">
                  <c:v>42789</c:v>
                </c:pt>
                <c:pt idx="2649">
                  <c:v>42790</c:v>
                </c:pt>
                <c:pt idx="2650">
                  <c:v>42793</c:v>
                </c:pt>
                <c:pt idx="2651">
                  <c:v>42794</c:v>
                </c:pt>
                <c:pt idx="2652">
                  <c:v>42795</c:v>
                </c:pt>
                <c:pt idx="2653">
                  <c:v>42796</c:v>
                </c:pt>
                <c:pt idx="2654">
                  <c:v>42797</c:v>
                </c:pt>
                <c:pt idx="2655">
                  <c:v>42800</c:v>
                </c:pt>
                <c:pt idx="2656">
                  <c:v>42801</c:v>
                </c:pt>
                <c:pt idx="2657">
                  <c:v>42802</c:v>
                </c:pt>
                <c:pt idx="2658">
                  <c:v>42803</c:v>
                </c:pt>
                <c:pt idx="2659">
                  <c:v>42804</c:v>
                </c:pt>
                <c:pt idx="2660">
                  <c:v>42807</c:v>
                </c:pt>
                <c:pt idx="2661">
                  <c:v>42808</c:v>
                </c:pt>
                <c:pt idx="2662">
                  <c:v>42809</c:v>
                </c:pt>
                <c:pt idx="2663">
                  <c:v>42810</c:v>
                </c:pt>
                <c:pt idx="2664">
                  <c:v>42811</c:v>
                </c:pt>
                <c:pt idx="2665">
                  <c:v>42814</c:v>
                </c:pt>
                <c:pt idx="2666">
                  <c:v>42815</c:v>
                </c:pt>
                <c:pt idx="2667">
                  <c:v>42816</c:v>
                </c:pt>
                <c:pt idx="2668">
                  <c:v>42817</c:v>
                </c:pt>
                <c:pt idx="2669">
                  <c:v>42818</c:v>
                </c:pt>
                <c:pt idx="2670">
                  <c:v>42821</c:v>
                </c:pt>
                <c:pt idx="2671">
                  <c:v>42822</c:v>
                </c:pt>
                <c:pt idx="2672">
                  <c:v>42823</c:v>
                </c:pt>
                <c:pt idx="2673">
                  <c:v>42824</c:v>
                </c:pt>
                <c:pt idx="2674">
                  <c:v>42825</c:v>
                </c:pt>
                <c:pt idx="2675">
                  <c:v>42828</c:v>
                </c:pt>
                <c:pt idx="2676">
                  <c:v>42829</c:v>
                </c:pt>
                <c:pt idx="2677">
                  <c:v>42830</c:v>
                </c:pt>
                <c:pt idx="2678">
                  <c:v>42831</c:v>
                </c:pt>
                <c:pt idx="2679">
                  <c:v>42832</c:v>
                </c:pt>
                <c:pt idx="2680">
                  <c:v>42835</c:v>
                </c:pt>
                <c:pt idx="2681">
                  <c:v>42836</c:v>
                </c:pt>
                <c:pt idx="2682">
                  <c:v>42837</c:v>
                </c:pt>
                <c:pt idx="2683">
                  <c:v>42838</c:v>
                </c:pt>
                <c:pt idx="2684">
                  <c:v>42839</c:v>
                </c:pt>
                <c:pt idx="2685">
                  <c:v>42842</c:v>
                </c:pt>
                <c:pt idx="2686">
                  <c:v>42843</c:v>
                </c:pt>
                <c:pt idx="2687">
                  <c:v>42844</c:v>
                </c:pt>
                <c:pt idx="2688">
                  <c:v>42845</c:v>
                </c:pt>
                <c:pt idx="2689">
                  <c:v>42846</c:v>
                </c:pt>
                <c:pt idx="2690">
                  <c:v>42849</c:v>
                </c:pt>
                <c:pt idx="2691">
                  <c:v>42850</c:v>
                </c:pt>
                <c:pt idx="2692">
                  <c:v>42851</c:v>
                </c:pt>
                <c:pt idx="2693">
                  <c:v>42852</c:v>
                </c:pt>
                <c:pt idx="2694">
                  <c:v>42853</c:v>
                </c:pt>
                <c:pt idx="2695">
                  <c:v>42856</c:v>
                </c:pt>
                <c:pt idx="2696">
                  <c:v>42857</c:v>
                </c:pt>
                <c:pt idx="2697">
                  <c:v>42858</c:v>
                </c:pt>
                <c:pt idx="2698">
                  <c:v>42859</c:v>
                </c:pt>
                <c:pt idx="2699">
                  <c:v>42860</c:v>
                </c:pt>
                <c:pt idx="2700">
                  <c:v>42863</c:v>
                </c:pt>
                <c:pt idx="2701">
                  <c:v>42864</c:v>
                </c:pt>
                <c:pt idx="2702">
                  <c:v>42865</c:v>
                </c:pt>
                <c:pt idx="2703">
                  <c:v>42866</c:v>
                </c:pt>
                <c:pt idx="2704">
                  <c:v>42867</c:v>
                </c:pt>
                <c:pt idx="2705">
                  <c:v>42870</c:v>
                </c:pt>
                <c:pt idx="2706">
                  <c:v>42871</c:v>
                </c:pt>
                <c:pt idx="2707">
                  <c:v>42872</c:v>
                </c:pt>
                <c:pt idx="2708">
                  <c:v>42873</c:v>
                </c:pt>
                <c:pt idx="2709">
                  <c:v>42874</c:v>
                </c:pt>
                <c:pt idx="2710">
                  <c:v>42877</c:v>
                </c:pt>
                <c:pt idx="2711">
                  <c:v>42878</c:v>
                </c:pt>
                <c:pt idx="2712">
                  <c:v>42879</c:v>
                </c:pt>
                <c:pt idx="2713">
                  <c:v>42880</c:v>
                </c:pt>
                <c:pt idx="2714">
                  <c:v>42881</c:v>
                </c:pt>
                <c:pt idx="2715">
                  <c:v>42884</c:v>
                </c:pt>
                <c:pt idx="2716">
                  <c:v>42885</c:v>
                </c:pt>
                <c:pt idx="2717">
                  <c:v>42886</c:v>
                </c:pt>
                <c:pt idx="2718">
                  <c:v>42887</c:v>
                </c:pt>
                <c:pt idx="2719">
                  <c:v>42888</c:v>
                </c:pt>
                <c:pt idx="2720">
                  <c:v>42891</c:v>
                </c:pt>
                <c:pt idx="2721">
                  <c:v>42892</c:v>
                </c:pt>
                <c:pt idx="2722">
                  <c:v>42893</c:v>
                </c:pt>
                <c:pt idx="2723">
                  <c:v>42894</c:v>
                </c:pt>
                <c:pt idx="2724">
                  <c:v>42895</c:v>
                </c:pt>
                <c:pt idx="2725">
                  <c:v>42898</c:v>
                </c:pt>
                <c:pt idx="2726">
                  <c:v>42899</c:v>
                </c:pt>
                <c:pt idx="2727">
                  <c:v>42900</c:v>
                </c:pt>
                <c:pt idx="2728">
                  <c:v>42901</c:v>
                </c:pt>
                <c:pt idx="2729">
                  <c:v>42902</c:v>
                </c:pt>
                <c:pt idx="2730">
                  <c:v>42905</c:v>
                </c:pt>
                <c:pt idx="2731">
                  <c:v>42906</c:v>
                </c:pt>
                <c:pt idx="2732">
                  <c:v>42907</c:v>
                </c:pt>
                <c:pt idx="2733">
                  <c:v>42908</c:v>
                </c:pt>
                <c:pt idx="2734">
                  <c:v>42909</c:v>
                </c:pt>
                <c:pt idx="2735">
                  <c:v>42912</c:v>
                </c:pt>
                <c:pt idx="2736">
                  <c:v>42913</c:v>
                </c:pt>
                <c:pt idx="2737">
                  <c:v>42914</c:v>
                </c:pt>
                <c:pt idx="2738">
                  <c:v>42915</c:v>
                </c:pt>
                <c:pt idx="2739">
                  <c:v>42916</c:v>
                </c:pt>
                <c:pt idx="2740">
                  <c:v>42919</c:v>
                </c:pt>
                <c:pt idx="2741">
                  <c:v>42920</c:v>
                </c:pt>
                <c:pt idx="2742">
                  <c:v>42921</c:v>
                </c:pt>
                <c:pt idx="2743">
                  <c:v>42922</c:v>
                </c:pt>
                <c:pt idx="2744">
                  <c:v>42923</c:v>
                </c:pt>
                <c:pt idx="2745">
                  <c:v>42926</c:v>
                </c:pt>
                <c:pt idx="2746">
                  <c:v>42927</c:v>
                </c:pt>
                <c:pt idx="2747">
                  <c:v>42928</c:v>
                </c:pt>
                <c:pt idx="2748">
                  <c:v>42929</c:v>
                </c:pt>
                <c:pt idx="2749">
                  <c:v>42930</c:v>
                </c:pt>
                <c:pt idx="2750">
                  <c:v>42933</c:v>
                </c:pt>
                <c:pt idx="2751">
                  <c:v>42934</c:v>
                </c:pt>
                <c:pt idx="2752">
                  <c:v>42935</c:v>
                </c:pt>
                <c:pt idx="2753">
                  <c:v>42936</c:v>
                </c:pt>
                <c:pt idx="2754">
                  <c:v>42937</c:v>
                </c:pt>
                <c:pt idx="2755">
                  <c:v>42940</c:v>
                </c:pt>
                <c:pt idx="2756">
                  <c:v>42941</c:v>
                </c:pt>
                <c:pt idx="2757">
                  <c:v>42942</c:v>
                </c:pt>
                <c:pt idx="2758">
                  <c:v>42943</c:v>
                </c:pt>
                <c:pt idx="2759">
                  <c:v>42944</c:v>
                </c:pt>
                <c:pt idx="2760">
                  <c:v>42947</c:v>
                </c:pt>
                <c:pt idx="2761">
                  <c:v>42948</c:v>
                </c:pt>
                <c:pt idx="2762">
                  <c:v>42949</c:v>
                </c:pt>
                <c:pt idx="2763">
                  <c:v>42950</c:v>
                </c:pt>
                <c:pt idx="2764">
                  <c:v>42951</c:v>
                </c:pt>
                <c:pt idx="2765">
                  <c:v>42954</c:v>
                </c:pt>
                <c:pt idx="2766">
                  <c:v>42955</c:v>
                </c:pt>
                <c:pt idx="2767">
                  <c:v>42956</c:v>
                </c:pt>
                <c:pt idx="2768">
                  <c:v>42957</c:v>
                </c:pt>
                <c:pt idx="2769">
                  <c:v>42958</c:v>
                </c:pt>
                <c:pt idx="2770">
                  <c:v>42961</c:v>
                </c:pt>
                <c:pt idx="2771">
                  <c:v>42962</c:v>
                </c:pt>
                <c:pt idx="2772">
                  <c:v>42963</c:v>
                </c:pt>
                <c:pt idx="2773">
                  <c:v>42964</c:v>
                </c:pt>
                <c:pt idx="2774">
                  <c:v>42965</c:v>
                </c:pt>
                <c:pt idx="2775">
                  <c:v>42968</c:v>
                </c:pt>
                <c:pt idx="2776">
                  <c:v>42969</c:v>
                </c:pt>
                <c:pt idx="2777">
                  <c:v>42970</c:v>
                </c:pt>
                <c:pt idx="2778">
                  <c:v>42971</c:v>
                </c:pt>
                <c:pt idx="2779">
                  <c:v>42972</c:v>
                </c:pt>
                <c:pt idx="2780">
                  <c:v>42975</c:v>
                </c:pt>
                <c:pt idx="2781">
                  <c:v>42976</c:v>
                </c:pt>
                <c:pt idx="2782">
                  <c:v>42977</c:v>
                </c:pt>
                <c:pt idx="2783">
                  <c:v>42978</c:v>
                </c:pt>
                <c:pt idx="2784">
                  <c:v>42979</c:v>
                </c:pt>
                <c:pt idx="2785">
                  <c:v>42982</c:v>
                </c:pt>
                <c:pt idx="2786">
                  <c:v>42983</c:v>
                </c:pt>
                <c:pt idx="2787">
                  <c:v>42984</c:v>
                </c:pt>
                <c:pt idx="2788">
                  <c:v>42985</c:v>
                </c:pt>
                <c:pt idx="2789">
                  <c:v>42986</c:v>
                </c:pt>
                <c:pt idx="2790">
                  <c:v>42989</c:v>
                </c:pt>
                <c:pt idx="2791">
                  <c:v>42990</c:v>
                </c:pt>
                <c:pt idx="2792">
                  <c:v>42991</c:v>
                </c:pt>
                <c:pt idx="2793">
                  <c:v>42992</c:v>
                </c:pt>
                <c:pt idx="2794">
                  <c:v>42993</c:v>
                </c:pt>
                <c:pt idx="2795">
                  <c:v>42996</c:v>
                </c:pt>
                <c:pt idx="2796">
                  <c:v>42997</c:v>
                </c:pt>
                <c:pt idx="2797">
                  <c:v>42998</c:v>
                </c:pt>
                <c:pt idx="2798">
                  <c:v>42999</c:v>
                </c:pt>
                <c:pt idx="2799">
                  <c:v>43000</c:v>
                </c:pt>
                <c:pt idx="2800">
                  <c:v>43003</c:v>
                </c:pt>
                <c:pt idx="2801">
                  <c:v>43004</c:v>
                </c:pt>
                <c:pt idx="2802">
                  <c:v>43005</c:v>
                </c:pt>
                <c:pt idx="2803">
                  <c:v>43006</c:v>
                </c:pt>
                <c:pt idx="2804">
                  <c:v>43007</c:v>
                </c:pt>
                <c:pt idx="2805">
                  <c:v>43010</c:v>
                </c:pt>
                <c:pt idx="2806">
                  <c:v>43011</c:v>
                </c:pt>
                <c:pt idx="2807">
                  <c:v>43012</c:v>
                </c:pt>
                <c:pt idx="2808">
                  <c:v>43013</c:v>
                </c:pt>
                <c:pt idx="2809">
                  <c:v>43014</c:v>
                </c:pt>
                <c:pt idx="2810">
                  <c:v>43017</c:v>
                </c:pt>
                <c:pt idx="2811">
                  <c:v>43018</c:v>
                </c:pt>
                <c:pt idx="2812">
                  <c:v>43019</c:v>
                </c:pt>
                <c:pt idx="2813">
                  <c:v>43020</c:v>
                </c:pt>
                <c:pt idx="2814">
                  <c:v>43021</c:v>
                </c:pt>
                <c:pt idx="2815">
                  <c:v>43024</c:v>
                </c:pt>
                <c:pt idx="2816">
                  <c:v>43025</c:v>
                </c:pt>
                <c:pt idx="2817">
                  <c:v>43026</c:v>
                </c:pt>
                <c:pt idx="2818">
                  <c:v>43027</c:v>
                </c:pt>
                <c:pt idx="2819">
                  <c:v>43028</c:v>
                </c:pt>
                <c:pt idx="2820">
                  <c:v>43031</c:v>
                </c:pt>
                <c:pt idx="2821">
                  <c:v>43032</c:v>
                </c:pt>
                <c:pt idx="2822">
                  <c:v>43033</c:v>
                </c:pt>
                <c:pt idx="2823">
                  <c:v>43034</c:v>
                </c:pt>
                <c:pt idx="2824">
                  <c:v>43035</c:v>
                </c:pt>
                <c:pt idx="2825">
                  <c:v>43038</c:v>
                </c:pt>
                <c:pt idx="2826">
                  <c:v>43039</c:v>
                </c:pt>
                <c:pt idx="2827">
                  <c:v>43040</c:v>
                </c:pt>
                <c:pt idx="2828">
                  <c:v>43041</c:v>
                </c:pt>
                <c:pt idx="2829">
                  <c:v>43042</c:v>
                </c:pt>
                <c:pt idx="2830">
                  <c:v>43045</c:v>
                </c:pt>
                <c:pt idx="2831">
                  <c:v>43046</c:v>
                </c:pt>
                <c:pt idx="2832">
                  <c:v>43047</c:v>
                </c:pt>
                <c:pt idx="2833">
                  <c:v>43048</c:v>
                </c:pt>
                <c:pt idx="2834">
                  <c:v>43049</c:v>
                </c:pt>
                <c:pt idx="2835">
                  <c:v>43052</c:v>
                </c:pt>
                <c:pt idx="2836">
                  <c:v>43053</c:v>
                </c:pt>
                <c:pt idx="2837">
                  <c:v>43054</c:v>
                </c:pt>
                <c:pt idx="2838">
                  <c:v>43055</c:v>
                </c:pt>
                <c:pt idx="2839">
                  <c:v>43056</c:v>
                </c:pt>
                <c:pt idx="2840">
                  <c:v>43059</c:v>
                </c:pt>
                <c:pt idx="2841">
                  <c:v>43060</c:v>
                </c:pt>
                <c:pt idx="2842">
                  <c:v>43061</c:v>
                </c:pt>
                <c:pt idx="2843">
                  <c:v>43062</c:v>
                </c:pt>
                <c:pt idx="2844">
                  <c:v>43063</c:v>
                </c:pt>
                <c:pt idx="2845">
                  <c:v>43066</c:v>
                </c:pt>
                <c:pt idx="2846">
                  <c:v>43067</c:v>
                </c:pt>
                <c:pt idx="2847">
                  <c:v>43068</c:v>
                </c:pt>
                <c:pt idx="2848">
                  <c:v>43069</c:v>
                </c:pt>
                <c:pt idx="2849">
                  <c:v>43070</c:v>
                </c:pt>
                <c:pt idx="2850">
                  <c:v>43073</c:v>
                </c:pt>
                <c:pt idx="2851">
                  <c:v>43074</c:v>
                </c:pt>
                <c:pt idx="2852">
                  <c:v>43075</c:v>
                </c:pt>
                <c:pt idx="2853">
                  <c:v>43076</c:v>
                </c:pt>
                <c:pt idx="2854">
                  <c:v>43077</c:v>
                </c:pt>
                <c:pt idx="2855">
                  <c:v>43080</c:v>
                </c:pt>
                <c:pt idx="2856">
                  <c:v>43081</c:v>
                </c:pt>
                <c:pt idx="2857">
                  <c:v>43082</c:v>
                </c:pt>
                <c:pt idx="2858">
                  <c:v>43083</c:v>
                </c:pt>
                <c:pt idx="2859">
                  <c:v>43084</c:v>
                </c:pt>
                <c:pt idx="2860">
                  <c:v>43087</c:v>
                </c:pt>
                <c:pt idx="2861">
                  <c:v>43088</c:v>
                </c:pt>
                <c:pt idx="2862">
                  <c:v>43089</c:v>
                </c:pt>
                <c:pt idx="2863">
                  <c:v>43090</c:v>
                </c:pt>
                <c:pt idx="2864">
                  <c:v>43091</c:v>
                </c:pt>
                <c:pt idx="2865">
                  <c:v>43094</c:v>
                </c:pt>
                <c:pt idx="2866">
                  <c:v>43095</c:v>
                </c:pt>
                <c:pt idx="2867">
                  <c:v>43096</c:v>
                </c:pt>
                <c:pt idx="2868">
                  <c:v>43097</c:v>
                </c:pt>
                <c:pt idx="2869">
                  <c:v>43098</c:v>
                </c:pt>
                <c:pt idx="2870">
                  <c:v>43101</c:v>
                </c:pt>
                <c:pt idx="2871">
                  <c:v>43102</c:v>
                </c:pt>
                <c:pt idx="2872">
                  <c:v>43103</c:v>
                </c:pt>
                <c:pt idx="2873">
                  <c:v>43104</c:v>
                </c:pt>
                <c:pt idx="2874">
                  <c:v>43105</c:v>
                </c:pt>
                <c:pt idx="2875">
                  <c:v>43108</c:v>
                </c:pt>
                <c:pt idx="2876">
                  <c:v>43109</c:v>
                </c:pt>
                <c:pt idx="2877">
                  <c:v>43110</c:v>
                </c:pt>
                <c:pt idx="2878">
                  <c:v>43111</c:v>
                </c:pt>
                <c:pt idx="2879">
                  <c:v>43112</c:v>
                </c:pt>
                <c:pt idx="2880">
                  <c:v>43115</c:v>
                </c:pt>
                <c:pt idx="2881">
                  <c:v>43116</c:v>
                </c:pt>
                <c:pt idx="2882">
                  <c:v>43117</c:v>
                </c:pt>
                <c:pt idx="2883">
                  <c:v>43118</c:v>
                </c:pt>
                <c:pt idx="2884">
                  <c:v>43119</c:v>
                </c:pt>
                <c:pt idx="2885">
                  <c:v>43122</c:v>
                </c:pt>
                <c:pt idx="2886">
                  <c:v>43123</c:v>
                </c:pt>
                <c:pt idx="2887">
                  <c:v>43124</c:v>
                </c:pt>
                <c:pt idx="2888">
                  <c:v>43125</c:v>
                </c:pt>
                <c:pt idx="2889">
                  <c:v>43126</c:v>
                </c:pt>
                <c:pt idx="2890">
                  <c:v>43129</c:v>
                </c:pt>
                <c:pt idx="2891">
                  <c:v>43130</c:v>
                </c:pt>
                <c:pt idx="2892">
                  <c:v>43131</c:v>
                </c:pt>
                <c:pt idx="2893">
                  <c:v>43132</c:v>
                </c:pt>
                <c:pt idx="2894">
                  <c:v>43133</c:v>
                </c:pt>
                <c:pt idx="2895">
                  <c:v>43136</c:v>
                </c:pt>
                <c:pt idx="2896">
                  <c:v>43137</c:v>
                </c:pt>
                <c:pt idx="2897">
                  <c:v>43138</c:v>
                </c:pt>
                <c:pt idx="2898">
                  <c:v>43139</c:v>
                </c:pt>
                <c:pt idx="2899">
                  <c:v>43140</c:v>
                </c:pt>
                <c:pt idx="2900">
                  <c:v>43143</c:v>
                </c:pt>
                <c:pt idx="2901">
                  <c:v>43144</c:v>
                </c:pt>
                <c:pt idx="2902">
                  <c:v>43145</c:v>
                </c:pt>
                <c:pt idx="2903">
                  <c:v>43146</c:v>
                </c:pt>
                <c:pt idx="2904">
                  <c:v>43147</c:v>
                </c:pt>
                <c:pt idx="2905">
                  <c:v>43150</c:v>
                </c:pt>
                <c:pt idx="2906">
                  <c:v>43151</c:v>
                </c:pt>
                <c:pt idx="2907">
                  <c:v>43152</c:v>
                </c:pt>
                <c:pt idx="2908">
                  <c:v>43153</c:v>
                </c:pt>
                <c:pt idx="2909">
                  <c:v>43154</c:v>
                </c:pt>
                <c:pt idx="2910">
                  <c:v>43157</c:v>
                </c:pt>
                <c:pt idx="2911">
                  <c:v>43158</c:v>
                </c:pt>
                <c:pt idx="2912">
                  <c:v>43159</c:v>
                </c:pt>
                <c:pt idx="2913">
                  <c:v>43160</c:v>
                </c:pt>
                <c:pt idx="2914">
                  <c:v>43161</c:v>
                </c:pt>
                <c:pt idx="2915">
                  <c:v>43164</c:v>
                </c:pt>
                <c:pt idx="2916">
                  <c:v>43165</c:v>
                </c:pt>
                <c:pt idx="2917">
                  <c:v>43166</c:v>
                </c:pt>
                <c:pt idx="2918">
                  <c:v>43167</c:v>
                </c:pt>
                <c:pt idx="2919">
                  <c:v>43168</c:v>
                </c:pt>
                <c:pt idx="2920">
                  <c:v>43171</c:v>
                </c:pt>
                <c:pt idx="2921">
                  <c:v>43172</c:v>
                </c:pt>
                <c:pt idx="2922">
                  <c:v>43173</c:v>
                </c:pt>
                <c:pt idx="2923">
                  <c:v>43174</c:v>
                </c:pt>
                <c:pt idx="2924">
                  <c:v>43175</c:v>
                </c:pt>
                <c:pt idx="2925">
                  <c:v>43178</c:v>
                </c:pt>
                <c:pt idx="2926">
                  <c:v>43179</c:v>
                </c:pt>
                <c:pt idx="2927">
                  <c:v>43180</c:v>
                </c:pt>
                <c:pt idx="2928">
                  <c:v>43181</c:v>
                </c:pt>
                <c:pt idx="2929">
                  <c:v>43182</c:v>
                </c:pt>
                <c:pt idx="2930">
                  <c:v>43185</c:v>
                </c:pt>
                <c:pt idx="2931">
                  <c:v>43186</c:v>
                </c:pt>
                <c:pt idx="2932">
                  <c:v>43187</c:v>
                </c:pt>
                <c:pt idx="2933">
                  <c:v>43188</c:v>
                </c:pt>
                <c:pt idx="2934">
                  <c:v>43189</c:v>
                </c:pt>
                <c:pt idx="2935">
                  <c:v>43192</c:v>
                </c:pt>
                <c:pt idx="2936">
                  <c:v>43193</c:v>
                </c:pt>
                <c:pt idx="2937">
                  <c:v>43194</c:v>
                </c:pt>
                <c:pt idx="2938">
                  <c:v>43195</c:v>
                </c:pt>
                <c:pt idx="2939">
                  <c:v>43196</c:v>
                </c:pt>
                <c:pt idx="2940">
                  <c:v>43199</c:v>
                </c:pt>
                <c:pt idx="2941">
                  <c:v>43200</c:v>
                </c:pt>
                <c:pt idx="2942">
                  <c:v>43201</c:v>
                </c:pt>
                <c:pt idx="2943">
                  <c:v>43202</c:v>
                </c:pt>
                <c:pt idx="2944">
                  <c:v>43203</c:v>
                </c:pt>
                <c:pt idx="2945">
                  <c:v>43206</c:v>
                </c:pt>
                <c:pt idx="2946">
                  <c:v>43207</c:v>
                </c:pt>
                <c:pt idx="2947">
                  <c:v>43208</c:v>
                </c:pt>
                <c:pt idx="2948">
                  <c:v>43209</c:v>
                </c:pt>
                <c:pt idx="2949">
                  <c:v>43210</c:v>
                </c:pt>
                <c:pt idx="2950">
                  <c:v>43213</c:v>
                </c:pt>
                <c:pt idx="2951">
                  <c:v>43214</c:v>
                </c:pt>
                <c:pt idx="2952">
                  <c:v>43215</c:v>
                </c:pt>
                <c:pt idx="2953">
                  <c:v>43216</c:v>
                </c:pt>
                <c:pt idx="2954">
                  <c:v>43217</c:v>
                </c:pt>
                <c:pt idx="2955">
                  <c:v>43220</c:v>
                </c:pt>
                <c:pt idx="2956">
                  <c:v>43221</c:v>
                </c:pt>
                <c:pt idx="2957">
                  <c:v>43222</c:v>
                </c:pt>
                <c:pt idx="2958">
                  <c:v>43223</c:v>
                </c:pt>
                <c:pt idx="2959">
                  <c:v>43224</c:v>
                </c:pt>
                <c:pt idx="2960">
                  <c:v>43227</c:v>
                </c:pt>
                <c:pt idx="2961">
                  <c:v>43228</c:v>
                </c:pt>
                <c:pt idx="2962">
                  <c:v>43229</c:v>
                </c:pt>
                <c:pt idx="2963">
                  <c:v>43230</c:v>
                </c:pt>
                <c:pt idx="2964">
                  <c:v>43231</c:v>
                </c:pt>
                <c:pt idx="2965">
                  <c:v>43234</c:v>
                </c:pt>
                <c:pt idx="2966">
                  <c:v>43235</c:v>
                </c:pt>
                <c:pt idx="2967">
                  <c:v>43236</c:v>
                </c:pt>
                <c:pt idx="2968">
                  <c:v>43237</c:v>
                </c:pt>
                <c:pt idx="2969">
                  <c:v>43238</c:v>
                </c:pt>
                <c:pt idx="2970">
                  <c:v>43241</c:v>
                </c:pt>
                <c:pt idx="2971">
                  <c:v>43242</c:v>
                </c:pt>
                <c:pt idx="2972">
                  <c:v>43243</c:v>
                </c:pt>
                <c:pt idx="2973">
                  <c:v>43244</c:v>
                </c:pt>
                <c:pt idx="2974">
                  <c:v>43245</c:v>
                </c:pt>
                <c:pt idx="2975">
                  <c:v>43248</c:v>
                </c:pt>
                <c:pt idx="2976">
                  <c:v>43249</c:v>
                </c:pt>
                <c:pt idx="2977">
                  <c:v>43250</c:v>
                </c:pt>
                <c:pt idx="2978">
                  <c:v>43251</c:v>
                </c:pt>
                <c:pt idx="2979">
                  <c:v>43252</c:v>
                </c:pt>
                <c:pt idx="2980">
                  <c:v>43255</c:v>
                </c:pt>
                <c:pt idx="2981">
                  <c:v>43256</c:v>
                </c:pt>
                <c:pt idx="2982">
                  <c:v>43257</c:v>
                </c:pt>
                <c:pt idx="2983">
                  <c:v>43258</c:v>
                </c:pt>
                <c:pt idx="2984">
                  <c:v>43259</c:v>
                </c:pt>
                <c:pt idx="2985">
                  <c:v>43262</c:v>
                </c:pt>
                <c:pt idx="2986">
                  <c:v>43263</c:v>
                </c:pt>
                <c:pt idx="2987">
                  <c:v>43264</c:v>
                </c:pt>
                <c:pt idx="2988">
                  <c:v>43265</c:v>
                </c:pt>
                <c:pt idx="2989">
                  <c:v>43266</c:v>
                </c:pt>
                <c:pt idx="2990">
                  <c:v>43269</c:v>
                </c:pt>
                <c:pt idx="2991">
                  <c:v>43270</c:v>
                </c:pt>
                <c:pt idx="2992">
                  <c:v>43271</c:v>
                </c:pt>
                <c:pt idx="2993">
                  <c:v>43272</c:v>
                </c:pt>
                <c:pt idx="2994">
                  <c:v>43273</c:v>
                </c:pt>
                <c:pt idx="2995">
                  <c:v>43276</c:v>
                </c:pt>
                <c:pt idx="2996">
                  <c:v>43277</c:v>
                </c:pt>
                <c:pt idx="2997">
                  <c:v>43278</c:v>
                </c:pt>
                <c:pt idx="2998">
                  <c:v>43279</c:v>
                </c:pt>
                <c:pt idx="2999">
                  <c:v>43280</c:v>
                </c:pt>
                <c:pt idx="3000">
                  <c:v>43283</c:v>
                </c:pt>
                <c:pt idx="3001">
                  <c:v>43284</c:v>
                </c:pt>
                <c:pt idx="3002">
                  <c:v>43285</c:v>
                </c:pt>
                <c:pt idx="3003">
                  <c:v>43286</c:v>
                </c:pt>
                <c:pt idx="3004">
                  <c:v>43287</c:v>
                </c:pt>
                <c:pt idx="3005">
                  <c:v>43290</c:v>
                </c:pt>
                <c:pt idx="3006">
                  <c:v>43291</c:v>
                </c:pt>
                <c:pt idx="3007">
                  <c:v>43292</c:v>
                </c:pt>
                <c:pt idx="3008">
                  <c:v>43293</c:v>
                </c:pt>
                <c:pt idx="3009">
                  <c:v>43294</c:v>
                </c:pt>
                <c:pt idx="3010">
                  <c:v>43297</c:v>
                </c:pt>
                <c:pt idx="3011">
                  <c:v>43298</c:v>
                </c:pt>
                <c:pt idx="3012">
                  <c:v>43299</c:v>
                </c:pt>
                <c:pt idx="3013">
                  <c:v>43300</c:v>
                </c:pt>
                <c:pt idx="3014">
                  <c:v>43301</c:v>
                </c:pt>
                <c:pt idx="3015">
                  <c:v>43304</c:v>
                </c:pt>
                <c:pt idx="3016">
                  <c:v>43305</c:v>
                </c:pt>
                <c:pt idx="3017">
                  <c:v>43306</c:v>
                </c:pt>
                <c:pt idx="3018">
                  <c:v>43307</c:v>
                </c:pt>
                <c:pt idx="3019">
                  <c:v>43308</c:v>
                </c:pt>
                <c:pt idx="3020">
                  <c:v>43311</c:v>
                </c:pt>
                <c:pt idx="3021">
                  <c:v>43312</c:v>
                </c:pt>
                <c:pt idx="3022">
                  <c:v>43313</c:v>
                </c:pt>
                <c:pt idx="3023">
                  <c:v>43314</c:v>
                </c:pt>
                <c:pt idx="3024">
                  <c:v>43315</c:v>
                </c:pt>
                <c:pt idx="3025">
                  <c:v>43318</c:v>
                </c:pt>
                <c:pt idx="3026">
                  <c:v>43319</c:v>
                </c:pt>
                <c:pt idx="3027">
                  <c:v>43320</c:v>
                </c:pt>
                <c:pt idx="3028">
                  <c:v>43321</c:v>
                </c:pt>
                <c:pt idx="3029">
                  <c:v>43322</c:v>
                </c:pt>
                <c:pt idx="3030">
                  <c:v>43325</c:v>
                </c:pt>
                <c:pt idx="3031">
                  <c:v>43326</c:v>
                </c:pt>
                <c:pt idx="3032">
                  <c:v>43327</c:v>
                </c:pt>
                <c:pt idx="3033">
                  <c:v>43328</c:v>
                </c:pt>
                <c:pt idx="3034">
                  <c:v>43329</c:v>
                </c:pt>
                <c:pt idx="3035">
                  <c:v>43332</c:v>
                </c:pt>
                <c:pt idx="3036">
                  <c:v>43333</c:v>
                </c:pt>
                <c:pt idx="3037">
                  <c:v>43334</c:v>
                </c:pt>
                <c:pt idx="3038">
                  <c:v>43335</c:v>
                </c:pt>
                <c:pt idx="3039">
                  <c:v>43336</c:v>
                </c:pt>
                <c:pt idx="3040">
                  <c:v>43339</c:v>
                </c:pt>
                <c:pt idx="3041">
                  <c:v>43340</c:v>
                </c:pt>
                <c:pt idx="3042">
                  <c:v>43341</c:v>
                </c:pt>
                <c:pt idx="3043">
                  <c:v>43342</c:v>
                </c:pt>
                <c:pt idx="3044">
                  <c:v>43343</c:v>
                </c:pt>
                <c:pt idx="3045">
                  <c:v>43346</c:v>
                </c:pt>
                <c:pt idx="3046">
                  <c:v>43347</c:v>
                </c:pt>
                <c:pt idx="3047">
                  <c:v>43348</c:v>
                </c:pt>
                <c:pt idx="3048">
                  <c:v>43349</c:v>
                </c:pt>
                <c:pt idx="3049">
                  <c:v>43350</c:v>
                </c:pt>
                <c:pt idx="3050">
                  <c:v>43353</c:v>
                </c:pt>
                <c:pt idx="3051">
                  <c:v>43354</c:v>
                </c:pt>
                <c:pt idx="3052">
                  <c:v>43355</c:v>
                </c:pt>
                <c:pt idx="3053">
                  <c:v>43356</c:v>
                </c:pt>
                <c:pt idx="3054">
                  <c:v>43357</c:v>
                </c:pt>
                <c:pt idx="3055">
                  <c:v>43360</c:v>
                </c:pt>
                <c:pt idx="3056">
                  <c:v>43361</c:v>
                </c:pt>
                <c:pt idx="3057">
                  <c:v>43362</c:v>
                </c:pt>
                <c:pt idx="3058">
                  <c:v>43363</c:v>
                </c:pt>
                <c:pt idx="3059">
                  <c:v>43364</c:v>
                </c:pt>
                <c:pt idx="3060">
                  <c:v>43367</c:v>
                </c:pt>
                <c:pt idx="3061">
                  <c:v>43368</c:v>
                </c:pt>
                <c:pt idx="3062">
                  <c:v>43369</c:v>
                </c:pt>
                <c:pt idx="3063">
                  <c:v>43370</c:v>
                </c:pt>
                <c:pt idx="3064">
                  <c:v>43371</c:v>
                </c:pt>
                <c:pt idx="3065">
                  <c:v>43374</c:v>
                </c:pt>
                <c:pt idx="3066">
                  <c:v>43375</c:v>
                </c:pt>
                <c:pt idx="3067">
                  <c:v>43376</c:v>
                </c:pt>
                <c:pt idx="3068">
                  <c:v>43377</c:v>
                </c:pt>
                <c:pt idx="3069">
                  <c:v>43378</c:v>
                </c:pt>
                <c:pt idx="3070">
                  <c:v>43381</c:v>
                </c:pt>
                <c:pt idx="3071">
                  <c:v>43382</c:v>
                </c:pt>
                <c:pt idx="3072">
                  <c:v>43383</c:v>
                </c:pt>
                <c:pt idx="3073">
                  <c:v>43384</c:v>
                </c:pt>
                <c:pt idx="3074">
                  <c:v>43385</c:v>
                </c:pt>
                <c:pt idx="3075">
                  <c:v>43388</c:v>
                </c:pt>
                <c:pt idx="3076">
                  <c:v>43389</c:v>
                </c:pt>
                <c:pt idx="3077">
                  <c:v>43390</c:v>
                </c:pt>
                <c:pt idx="3078">
                  <c:v>43391</c:v>
                </c:pt>
                <c:pt idx="3079">
                  <c:v>43392</c:v>
                </c:pt>
                <c:pt idx="3080">
                  <c:v>43395</c:v>
                </c:pt>
                <c:pt idx="3081">
                  <c:v>43396</c:v>
                </c:pt>
                <c:pt idx="3082">
                  <c:v>43397</c:v>
                </c:pt>
                <c:pt idx="3083">
                  <c:v>43398</c:v>
                </c:pt>
                <c:pt idx="3084">
                  <c:v>43399</c:v>
                </c:pt>
                <c:pt idx="3085">
                  <c:v>43402</c:v>
                </c:pt>
                <c:pt idx="3086">
                  <c:v>43403</c:v>
                </c:pt>
                <c:pt idx="3087">
                  <c:v>43404</c:v>
                </c:pt>
                <c:pt idx="3088">
                  <c:v>43405</c:v>
                </c:pt>
                <c:pt idx="3089">
                  <c:v>43406</c:v>
                </c:pt>
                <c:pt idx="3090">
                  <c:v>43409</c:v>
                </c:pt>
                <c:pt idx="3091">
                  <c:v>43410</c:v>
                </c:pt>
                <c:pt idx="3092">
                  <c:v>43411</c:v>
                </c:pt>
                <c:pt idx="3093">
                  <c:v>43412</c:v>
                </c:pt>
                <c:pt idx="3094">
                  <c:v>43413</c:v>
                </c:pt>
                <c:pt idx="3095">
                  <c:v>43416</c:v>
                </c:pt>
                <c:pt idx="3096">
                  <c:v>43417</c:v>
                </c:pt>
                <c:pt idx="3097">
                  <c:v>43418</c:v>
                </c:pt>
                <c:pt idx="3098">
                  <c:v>43419</c:v>
                </c:pt>
                <c:pt idx="3099">
                  <c:v>43420</c:v>
                </c:pt>
                <c:pt idx="3100">
                  <c:v>43423</c:v>
                </c:pt>
                <c:pt idx="3101">
                  <c:v>43424</c:v>
                </c:pt>
                <c:pt idx="3102">
                  <c:v>43425</c:v>
                </c:pt>
                <c:pt idx="3103">
                  <c:v>43426</c:v>
                </c:pt>
                <c:pt idx="3104">
                  <c:v>43427</c:v>
                </c:pt>
                <c:pt idx="3105">
                  <c:v>43430</c:v>
                </c:pt>
                <c:pt idx="3106">
                  <c:v>43431</c:v>
                </c:pt>
                <c:pt idx="3107">
                  <c:v>43432</c:v>
                </c:pt>
                <c:pt idx="3108">
                  <c:v>43433</c:v>
                </c:pt>
                <c:pt idx="3109">
                  <c:v>43434</c:v>
                </c:pt>
                <c:pt idx="3110">
                  <c:v>43437</c:v>
                </c:pt>
                <c:pt idx="3111">
                  <c:v>43438</c:v>
                </c:pt>
                <c:pt idx="3112">
                  <c:v>43439</c:v>
                </c:pt>
                <c:pt idx="3113">
                  <c:v>43440</c:v>
                </c:pt>
                <c:pt idx="3114">
                  <c:v>43441</c:v>
                </c:pt>
                <c:pt idx="3115">
                  <c:v>43444</c:v>
                </c:pt>
                <c:pt idx="3116">
                  <c:v>43445</c:v>
                </c:pt>
                <c:pt idx="3117">
                  <c:v>43446</c:v>
                </c:pt>
                <c:pt idx="3118">
                  <c:v>43447</c:v>
                </c:pt>
                <c:pt idx="3119">
                  <c:v>43448</c:v>
                </c:pt>
                <c:pt idx="3120">
                  <c:v>43451</c:v>
                </c:pt>
                <c:pt idx="3121">
                  <c:v>43452</c:v>
                </c:pt>
                <c:pt idx="3122">
                  <c:v>43453</c:v>
                </c:pt>
                <c:pt idx="3123">
                  <c:v>43454</c:v>
                </c:pt>
                <c:pt idx="3124">
                  <c:v>43455</c:v>
                </c:pt>
                <c:pt idx="3125">
                  <c:v>43458</c:v>
                </c:pt>
                <c:pt idx="3126">
                  <c:v>43459</c:v>
                </c:pt>
                <c:pt idx="3127">
                  <c:v>43460</c:v>
                </c:pt>
                <c:pt idx="3128">
                  <c:v>43461</c:v>
                </c:pt>
                <c:pt idx="3129">
                  <c:v>43462</c:v>
                </c:pt>
                <c:pt idx="3130">
                  <c:v>43465</c:v>
                </c:pt>
                <c:pt idx="3131">
                  <c:v>43466</c:v>
                </c:pt>
                <c:pt idx="3132">
                  <c:v>43467</c:v>
                </c:pt>
                <c:pt idx="3133">
                  <c:v>43468</c:v>
                </c:pt>
                <c:pt idx="3134">
                  <c:v>43469</c:v>
                </c:pt>
                <c:pt idx="3135">
                  <c:v>43472</c:v>
                </c:pt>
                <c:pt idx="3136">
                  <c:v>43473</c:v>
                </c:pt>
                <c:pt idx="3137">
                  <c:v>43474</c:v>
                </c:pt>
                <c:pt idx="3138">
                  <c:v>43475</c:v>
                </c:pt>
                <c:pt idx="3139">
                  <c:v>43476</c:v>
                </c:pt>
                <c:pt idx="3140">
                  <c:v>43479</c:v>
                </c:pt>
                <c:pt idx="3141">
                  <c:v>43480</c:v>
                </c:pt>
                <c:pt idx="3142">
                  <c:v>43481</c:v>
                </c:pt>
                <c:pt idx="3143">
                  <c:v>43482</c:v>
                </c:pt>
                <c:pt idx="3144">
                  <c:v>43483</c:v>
                </c:pt>
                <c:pt idx="3145">
                  <c:v>43486</c:v>
                </c:pt>
                <c:pt idx="3146">
                  <c:v>43487</c:v>
                </c:pt>
                <c:pt idx="3147">
                  <c:v>43488</c:v>
                </c:pt>
                <c:pt idx="3148">
                  <c:v>43489</c:v>
                </c:pt>
                <c:pt idx="3149">
                  <c:v>43490</c:v>
                </c:pt>
                <c:pt idx="3150">
                  <c:v>43493</c:v>
                </c:pt>
                <c:pt idx="3151">
                  <c:v>43494</c:v>
                </c:pt>
                <c:pt idx="3152">
                  <c:v>43495</c:v>
                </c:pt>
                <c:pt idx="3153">
                  <c:v>43496</c:v>
                </c:pt>
                <c:pt idx="3154">
                  <c:v>43497</c:v>
                </c:pt>
                <c:pt idx="3155">
                  <c:v>43500</c:v>
                </c:pt>
                <c:pt idx="3156">
                  <c:v>43501</c:v>
                </c:pt>
                <c:pt idx="3157">
                  <c:v>43502</c:v>
                </c:pt>
                <c:pt idx="3158">
                  <c:v>43503</c:v>
                </c:pt>
                <c:pt idx="3159">
                  <c:v>43504</c:v>
                </c:pt>
                <c:pt idx="3160">
                  <c:v>43507</c:v>
                </c:pt>
                <c:pt idx="3161">
                  <c:v>43508</c:v>
                </c:pt>
                <c:pt idx="3162">
                  <c:v>43509</c:v>
                </c:pt>
                <c:pt idx="3163">
                  <c:v>43510</c:v>
                </c:pt>
                <c:pt idx="3164">
                  <c:v>43511</c:v>
                </c:pt>
                <c:pt idx="3165">
                  <c:v>43514</c:v>
                </c:pt>
                <c:pt idx="3166">
                  <c:v>43515</c:v>
                </c:pt>
                <c:pt idx="3167">
                  <c:v>43516</c:v>
                </c:pt>
                <c:pt idx="3168">
                  <c:v>43517</c:v>
                </c:pt>
                <c:pt idx="3169">
                  <c:v>43518</c:v>
                </c:pt>
                <c:pt idx="3170">
                  <c:v>43521</c:v>
                </c:pt>
                <c:pt idx="3171">
                  <c:v>43522</c:v>
                </c:pt>
                <c:pt idx="3172">
                  <c:v>43523</c:v>
                </c:pt>
                <c:pt idx="3173">
                  <c:v>43524</c:v>
                </c:pt>
                <c:pt idx="3174">
                  <c:v>43525</c:v>
                </c:pt>
                <c:pt idx="3175">
                  <c:v>43528</c:v>
                </c:pt>
                <c:pt idx="3176">
                  <c:v>43529</c:v>
                </c:pt>
                <c:pt idx="3177">
                  <c:v>43530</c:v>
                </c:pt>
                <c:pt idx="3178">
                  <c:v>43531</c:v>
                </c:pt>
                <c:pt idx="3179">
                  <c:v>43532</c:v>
                </c:pt>
                <c:pt idx="3180">
                  <c:v>43535</c:v>
                </c:pt>
                <c:pt idx="3181">
                  <c:v>43536</c:v>
                </c:pt>
                <c:pt idx="3182">
                  <c:v>43537</c:v>
                </c:pt>
                <c:pt idx="3183">
                  <c:v>43538</c:v>
                </c:pt>
                <c:pt idx="3184">
                  <c:v>43539</c:v>
                </c:pt>
                <c:pt idx="3185">
                  <c:v>43542</c:v>
                </c:pt>
                <c:pt idx="3186">
                  <c:v>43543</c:v>
                </c:pt>
                <c:pt idx="3187">
                  <c:v>43544</c:v>
                </c:pt>
                <c:pt idx="3188">
                  <c:v>43545</c:v>
                </c:pt>
                <c:pt idx="3189">
                  <c:v>43546</c:v>
                </c:pt>
                <c:pt idx="3190">
                  <c:v>43549</c:v>
                </c:pt>
                <c:pt idx="3191">
                  <c:v>43550</c:v>
                </c:pt>
                <c:pt idx="3192">
                  <c:v>43551</c:v>
                </c:pt>
                <c:pt idx="3193">
                  <c:v>43552</c:v>
                </c:pt>
                <c:pt idx="3194">
                  <c:v>43553</c:v>
                </c:pt>
                <c:pt idx="3195">
                  <c:v>43556</c:v>
                </c:pt>
                <c:pt idx="3196">
                  <c:v>43557</c:v>
                </c:pt>
                <c:pt idx="3197">
                  <c:v>43558</c:v>
                </c:pt>
                <c:pt idx="3198">
                  <c:v>43559</c:v>
                </c:pt>
                <c:pt idx="3199">
                  <c:v>43560</c:v>
                </c:pt>
                <c:pt idx="3200">
                  <c:v>43563</c:v>
                </c:pt>
                <c:pt idx="3201">
                  <c:v>43564</c:v>
                </c:pt>
                <c:pt idx="3202">
                  <c:v>43565</c:v>
                </c:pt>
                <c:pt idx="3203">
                  <c:v>43566</c:v>
                </c:pt>
                <c:pt idx="3204">
                  <c:v>43567</c:v>
                </c:pt>
                <c:pt idx="3205">
                  <c:v>43570</c:v>
                </c:pt>
                <c:pt idx="3206">
                  <c:v>43571</c:v>
                </c:pt>
                <c:pt idx="3207">
                  <c:v>43572</c:v>
                </c:pt>
                <c:pt idx="3208">
                  <c:v>43573</c:v>
                </c:pt>
                <c:pt idx="3209">
                  <c:v>43574</c:v>
                </c:pt>
                <c:pt idx="3210">
                  <c:v>43577</c:v>
                </c:pt>
                <c:pt idx="3211">
                  <c:v>43578</c:v>
                </c:pt>
                <c:pt idx="3212">
                  <c:v>43579</c:v>
                </c:pt>
                <c:pt idx="3213">
                  <c:v>43580</c:v>
                </c:pt>
                <c:pt idx="3214">
                  <c:v>43581</c:v>
                </c:pt>
                <c:pt idx="3215">
                  <c:v>43584</c:v>
                </c:pt>
                <c:pt idx="3216">
                  <c:v>43585</c:v>
                </c:pt>
                <c:pt idx="3217">
                  <c:v>43586</c:v>
                </c:pt>
                <c:pt idx="3218">
                  <c:v>43587</c:v>
                </c:pt>
                <c:pt idx="3219">
                  <c:v>43588</c:v>
                </c:pt>
                <c:pt idx="3220">
                  <c:v>43591</c:v>
                </c:pt>
                <c:pt idx="3221">
                  <c:v>43592</c:v>
                </c:pt>
                <c:pt idx="3222">
                  <c:v>43593</c:v>
                </c:pt>
                <c:pt idx="3223">
                  <c:v>43594</c:v>
                </c:pt>
                <c:pt idx="3224">
                  <c:v>43595</c:v>
                </c:pt>
                <c:pt idx="3225">
                  <c:v>43598</c:v>
                </c:pt>
                <c:pt idx="3226">
                  <c:v>43599</c:v>
                </c:pt>
                <c:pt idx="3227">
                  <c:v>43600</c:v>
                </c:pt>
                <c:pt idx="3228">
                  <c:v>43601</c:v>
                </c:pt>
                <c:pt idx="3229">
                  <c:v>43602</c:v>
                </c:pt>
                <c:pt idx="3230">
                  <c:v>43605</c:v>
                </c:pt>
                <c:pt idx="3231">
                  <c:v>43606</c:v>
                </c:pt>
                <c:pt idx="3232">
                  <c:v>43607</c:v>
                </c:pt>
                <c:pt idx="3233">
                  <c:v>43608</c:v>
                </c:pt>
                <c:pt idx="3234">
                  <c:v>43609</c:v>
                </c:pt>
                <c:pt idx="3235">
                  <c:v>43612</c:v>
                </c:pt>
                <c:pt idx="3236">
                  <c:v>43613</c:v>
                </c:pt>
                <c:pt idx="3237">
                  <c:v>43614</c:v>
                </c:pt>
                <c:pt idx="3238">
                  <c:v>43615</c:v>
                </c:pt>
                <c:pt idx="3239">
                  <c:v>43616</c:v>
                </c:pt>
                <c:pt idx="3240">
                  <c:v>43619</c:v>
                </c:pt>
                <c:pt idx="3241">
                  <c:v>43620</c:v>
                </c:pt>
                <c:pt idx="3242">
                  <c:v>43621</c:v>
                </c:pt>
                <c:pt idx="3243">
                  <c:v>43622</c:v>
                </c:pt>
                <c:pt idx="3244">
                  <c:v>43623</c:v>
                </c:pt>
                <c:pt idx="3245">
                  <c:v>43626</c:v>
                </c:pt>
                <c:pt idx="3246">
                  <c:v>43627</c:v>
                </c:pt>
                <c:pt idx="3247">
                  <c:v>43628</c:v>
                </c:pt>
                <c:pt idx="3248">
                  <c:v>43629</c:v>
                </c:pt>
                <c:pt idx="3249">
                  <c:v>43630</c:v>
                </c:pt>
                <c:pt idx="3250">
                  <c:v>43633</c:v>
                </c:pt>
                <c:pt idx="3251">
                  <c:v>43634</c:v>
                </c:pt>
                <c:pt idx="3252">
                  <c:v>43635</c:v>
                </c:pt>
                <c:pt idx="3253">
                  <c:v>43636</c:v>
                </c:pt>
                <c:pt idx="3254">
                  <c:v>43637</c:v>
                </c:pt>
                <c:pt idx="3255">
                  <c:v>43640</c:v>
                </c:pt>
                <c:pt idx="3256">
                  <c:v>43641</c:v>
                </c:pt>
                <c:pt idx="3257">
                  <c:v>43642</c:v>
                </c:pt>
                <c:pt idx="3258">
                  <c:v>43643</c:v>
                </c:pt>
                <c:pt idx="3259">
                  <c:v>43644</c:v>
                </c:pt>
                <c:pt idx="3260">
                  <c:v>43647</c:v>
                </c:pt>
                <c:pt idx="3261">
                  <c:v>43648</c:v>
                </c:pt>
                <c:pt idx="3262">
                  <c:v>43649</c:v>
                </c:pt>
                <c:pt idx="3263">
                  <c:v>43650</c:v>
                </c:pt>
                <c:pt idx="3264">
                  <c:v>43651</c:v>
                </c:pt>
                <c:pt idx="3265">
                  <c:v>43654</c:v>
                </c:pt>
                <c:pt idx="3266">
                  <c:v>43655</c:v>
                </c:pt>
                <c:pt idx="3267">
                  <c:v>43656</c:v>
                </c:pt>
                <c:pt idx="3268">
                  <c:v>43657</c:v>
                </c:pt>
                <c:pt idx="3269">
                  <c:v>43658</c:v>
                </c:pt>
                <c:pt idx="3270">
                  <c:v>43661</c:v>
                </c:pt>
                <c:pt idx="3271">
                  <c:v>43662</c:v>
                </c:pt>
                <c:pt idx="3272">
                  <c:v>43663</c:v>
                </c:pt>
                <c:pt idx="3273">
                  <c:v>43664</c:v>
                </c:pt>
                <c:pt idx="3274">
                  <c:v>43665</c:v>
                </c:pt>
                <c:pt idx="3275">
                  <c:v>43668</c:v>
                </c:pt>
                <c:pt idx="3276">
                  <c:v>43669</c:v>
                </c:pt>
                <c:pt idx="3277">
                  <c:v>43670</c:v>
                </c:pt>
                <c:pt idx="3278">
                  <c:v>43671</c:v>
                </c:pt>
                <c:pt idx="3279">
                  <c:v>43672</c:v>
                </c:pt>
                <c:pt idx="3280">
                  <c:v>43675</c:v>
                </c:pt>
                <c:pt idx="3281">
                  <c:v>43676</c:v>
                </c:pt>
                <c:pt idx="3282">
                  <c:v>43677</c:v>
                </c:pt>
                <c:pt idx="3283">
                  <c:v>43678</c:v>
                </c:pt>
                <c:pt idx="3284">
                  <c:v>43679</c:v>
                </c:pt>
                <c:pt idx="3285">
                  <c:v>43682</c:v>
                </c:pt>
                <c:pt idx="3286">
                  <c:v>43683</c:v>
                </c:pt>
                <c:pt idx="3287">
                  <c:v>43684</c:v>
                </c:pt>
                <c:pt idx="3288">
                  <c:v>43685</c:v>
                </c:pt>
                <c:pt idx="3289">
                  <c:v>43686</c:v>
                </c:pt>
                <c:pt idx="3290">
                  <c:v>43689</c:v>
                </c:pt>
                <c:pt idx="3291">
                  <c:v>43690</c:v>
                </c:pt>
                <c:pt idx="3292">
                  <c:v>43691</c:v>
                </c:pt>
                <c:pt idx="3293">
                  <c:v>43692</c:v>
                </c:pt>
                <c:pt idx="3294">
                  <c:v>43693</c:v>
                </c:pt>
                <c:pt idx="3295">
                  <c:v>43696</c:v>
                </c:pt>
                <c:pt idx="3296">
                  <c:v>43697</c:v>
                </c:pt>
                <c:pt idx="3297">
                  <c:v>43698</c:v>
                </c:pt>
                <c:pt idx="3298">
                  <c:v>43699</c:v>
                </c:pt>
                <c:pt idx="3299">
                  <c:v>43700</c:v>
                </c:pt>
                <c:pt idx="3300">
                  <c:v>43703</c:v>
                </c:pt>
                <c:pt idx="3301">
                  <c:v>43704</c:v>
                </c:pt>
                <c:pt idx="3302">
                  <c:v>43705</c:v>
                </c:pt>
                <c:pt idx="3303">
                  <c:v>43706</c:v>
                </c:pt>
                <c:pt idx="3304">
                  <c:v>43707</c:v>
                </c:pt>
                <c:pt idx="3305">
                  <c:v>43710</c:v>
                </c:pt>
                <c:pt idx="3306">
                  <c:v>43711</c:v>
                </c:pt>
                <c:pt idx="3307">
                  <c:v>43712</c:v>
                </c:pt>
                <c:pt idx="3308">
                  <c:v>43713</c:v>
                </c:pt>
                <c:pt idx="3309">
                  <c:v>43714</c:v>
                </c:pt>
                <c:pt idx="3310">
                  <c:v>43717</c:v>
                </c:pt>
                <c:pt idx="3311">
                  <c:v>43718</c:v>
                </c:pt>
                <c:pt idx="3312">
                  <c:v>43719</c:v>
                </c:pt>
                <c:pt idx="3313">
                  <c:v>43720</c:v>
                </c:pt>
                <c:pt idx="3314">
                  <c:v>43721</c:v>
                </c:pt>
                <c:pt idx="3315">
                  <c:v>43724</c:v>
                </c:pt>
                <c:pt idx="3316">
                  <c:v>43725</c:v>
                </c:pt>
                <c:pt idx="3317">
                  <c:v>43726</c:v>
                </c:pt>
                <c:pt idx="3318">
                  <c:v>43727</c:v>
                </c:pt>
                <c:pt idx="3319">
                  <c:v>43728</c:v>
                </c:pt>
                <c:pt idx="3320">
                  <c:v>43731</c:v>
                </c:pt>
                <c:pt idx="3321">
                  <c:v>43732</c:v>
                </c:pt>
                <c:pt idx="3322">
                  <c:v>43733</c:v>
                </c:pt>
                <c:pt idx="3323">
                  <c:v>43734</c:v>
                </c:pt>
                <c:pt idx="3324">
                  <c:v>43735</c:v>
                </c:pt>
                <c:pt idx="3325">
                  <c:v>43738</c:v>
                </c:pt>
                <c:pt idx="3326">
                  <c:v>43739</c:v>
                </c:pt>
                <c:pt idx="3327">
                  <c:v>43740</c:v>
                </c:pt>
                <c:pt idx="3328">
                  <c:v>43741</c:v>
                </c:pt>
                <c:pt idx="3329">
                  <c:v>43742</c:v>
                </c:pt>
                <c:pt idx="3330">
                  <c:v>43745</c:v>
                </c:pt>
                <c:pt idx="3331">
                  <c:v>43746</c:v>
                </c:pt>
                <c:pt idx="3332">
                  <c:v>43747</c:v>
                </c:pt>
                <c:pt idx="3333">
                  <c:v>43748</c:v>
                </c:pt>
                <c:pt idx="3334">
                  <c:v>43749</c:v>
                </c:pt>
                <c:pt idx="3335">
                  <c:v>43752</c:v>
                </c:pt>
                <c:pt idx="3336">
                  <c:v>43753</c:v>
                </c:pt>
                <c:pt idx="3337">
                  <c:v>43754</c:v>
                </c:pt>
                <c:pt idx="3338">
                  <c:v>43755</c:v>
                </c:pt>
                <c:pt idx="3339">
                  <c:v>43756</c:v>
                </c:pt>
                <c:pt idx="3340">
                  <c:v>43759</c:v>
                </c:pt>
                <c:pt idx="3341">
                  <c:v>43760</c:v>
                </c:pt>
                <c:pt idx="3342">
                  <c:v>43761</c:v>
                </c:pt>
                <c:pt idx="3343">
                  <c:v>43762</c:v>
                </c:pt>
                <c:pt idx="3344">
                  <c:v>43763</c:v>
                </c:pt>
                <c:pt idx="3345">
                  <c:v>43766</c:v>
                </c:pt>
                <c:pt idx="3346">
                  <c:v>43767</c:v>
                </c:pt>
                <c:pt idx="3347">
                  <c:v>43768</c:v>
                </c:pt>
                <c:pt idx="3348">
                  <c:v>43769</c:v>
                </c:pt>
                <c:pt idx="3349">
                  <c:v>43770</c:v>
                </c:pt>
                <c:pt idx="3350">
                  <c:v>43773</c:v>
                </c:pt>
                <c:pt idx="3351">
                  <c:v>43774</c:v>
                </c:pt>
                <c:pt idx="3352">
                  <c:v>43775</c:v>
                </c:pt>
                <c:pt idx="3353">
                  <c:v>43776</c:v>
                </c:pt>
                <c:pt idx="3354">
                  <c:v>43777</c:v>
                </c:pt>
                <c:pt idx="3355">
                  <c:v>43780</c:v>
                </c:pt>
                <c:pt idx="3356">
                  <c:v>43781</c:v>
                </c:pt>
                <c:pt idx="3357">
                  <c:v>43782</c:v>
                </c:pt>
                <c:pt idx="3358">
                  <c:v>43783</c:v>
                </c:pt>
                <c:pt idx="3359">
                  <c:v>43784</c:v>
                </c:pt>
                <c:pt idx="3360">
                  <c:v>43787</c:v>
                </c:pt>
                <c:pt idx="3361">
                  <c:v>43788</c:v>
                </c:pt>
                <c:pt idx="3362">
                  <c:v>43789</c:v>
                </c:pt>
                <c:pt idx="3363">
                  <c:v>43790</c:v>
                </c:pt>
                <c:pt idx="3364">
                  <c:v>43791</c:v>
                </c:pt>
                <c:pt idx="3365">
                  <c:v>43794</c:v>
                </c:pt>
                <c:pt idx="3366">
                  <c:v>43795</c:v>
                </c:pt>
                <c:pt idx="3367">
                  <c:v>43796</c:v>
                </c:pt>
                <c:pt idx="3368">
                  <c:v>43797</c:v>
                </c:pt>
                <c:pt idx="3369">
                  <c:v>43798</c:v>
                </c:pt>
                <c:pt idx="3370">
                  <c:v>43801</c:v>
                </c:pt>
                <c:pt idx="3371">
                  <c:v>43802</c:v>
                </c:pt>
                <c:pt idx="3372">
                  <c:v>43803</c:v>
                </c:pt>
                <c:pt idx="3373">
                  <c:v>43804</c:v>
                </c:pt>
                <c:pt idx="3374">
                  <c:v>43805</c:v>
                </c:pt>
                <c:pt idx="3375">
                  <c:v>43808</c:v>
                </c:pt>
                <c:pt idx="3376">
                  <c:v>43809</c:v>
                </c:pt>
                <c:pt idx="3377">
                  <c:v>43810</c:v>
                </c:pt>
                <c:pt idx="3378">
                  <c:v>43811</c:v>
                </c:pt>
                <c:pt idx="3379">
                  <c:v>43812</c:v>
                </c:pt>
                <c:pt idx="3380">
                  <c:v>43815</c:v>
                </c:pt>
                <c:pt idx="3381">
                  <c:v>43816</c:v>
                </c:pt>
                <c:pt idx="3382">
                  <c:v>43817</c:v>
                </c:pt>
                <c:pt idx="3383">
                  <c:v>43818</c:v>
                </c:pt>
                <c:pt idx="3384">
                  <c:v>43819</c:v>
                </c:pt>
                <c:pt idx="3385">
                  <c:v>43822</c:v>
                </c:pt>
                <c:pt idx="3386">
                  <c:v>43823</c:v>
                </c:pt>
                <c:pt idx="3387">
                  <c:v>43824</c:v>
                </c:pt>
                <c:pt idx="3388">
                  <c:v>43825</c:v>
                </c:pt>
                <c:pt idx="3389">
                  <c:v>43826</c:v>
                </c:pt>
                <c:pt idx="3390">
                  <c:v>43829</c:v>
                </c:pt>
                <c:pt idx="3391">
                  <c:v>43830</c:v>
                </c:pt>
                <c:pt idx="3392">
                  <c:v>43831</c:v>
                </c:pt>
                <c:pt idx="3393">
                  <c:v>43832</c:v>
                </c:pt>
                <c:pt idx="3394">
                  <c:v>43833</c:v>
                </c:pt>
                <c:pt idx="3395">
                  <c:v>43836</c:v>
                </c:pt>
                <c:pt idx="3396">
                  <c:v>43837</c:v>
                </c:pt>
                <c:pt idx="3397">
                  <c:v>43838</c:v>
                </c:pt>
                <c:pt idx="3398">
                  <c:v>43839</c:v>
                </c:pt>
                <c:pt idx="3399">
                  <c:v>43840</c:v>
                </c:pt>
                <c:pt idx="3400">
                  <c:v>43843</c:v>
                </c:pt>
                <c:pt idx="3401">
                  <c:v>43844</c:v>
                </c:pt>
                <c:pt idx="3402">
                  <c:v>43845</c:v>
                </c:pt>
                <c:pt idx="3403">
                  <c:v>43846</c:v>
                </c:pt>
                <c:pt idx="3404">
                  <c:v>43847</c:v>
                </c:pt>
                <c:pt idx="3405">
                  <c:v>43850</c:v>
                </c:pt>
                <c:pt idx="3406">
                  <c:v>43851</c:v>
                </c:pt>
                <c:pt idx="3407">
                  <c:v>43852</c:v>
                </c:pt>
                <c:pt idx="3408">
                  <c:v>43853</c:v>
                </c:pt>
                <c:pt idx="3409">
                  <c:v>43854</c:v>
                </c:pt>
                <c:pt idx="3410">
                  <c:v>43857</c:v>
                </c:pt>
                <c:pt idx="3411">
                  <c:v>43858</c:v>
                </c:pt>
                <c:pt idx="3412">
                  <c:v>43859</c:v>
                </c:pt>
                <c:pt idx="3413">
                  <c:v>43860</c:v>
                </c:pt>
                <c:pt idx="3414">
                  <c:v>43861</c:v>
                </c:pt>
                <c:pt idx="3415">
                  <c:v>43864</c:v>
                </c:pt>
                <c:pt idx="3416">
                  <c:v>43865</c:v>
                </c:pt>
                <c:pt idx="3417">
                  <c:v>43866</c:v>
                </c:pt>
                <c:pt idx="3418">
                  <c:v>43867</c:v>
                </c:pt>
                <c:pt idx="3419">
                  <c:v>43868</c:v>
                </c:pt>
                <c:pt idx="3420">
                  <c:v>43871</c:v>
                </c:pt>
                <c:pt idx="3421">
                  <c:v>43872</c:v>
                </c:pt>
                <c:pt idx="3422">
                  <c:v>43873</c:v>
                </c:pt>
                <c:pt idx="3423">
                  <c:v>43874</c:v>
                </c:pt>
                <c:pt idx="3424">
                  <c:v>43875</c:v>
                </c:pt>
                <c:pt idx="3425">
                  <c:v>43878</c:v>
                </c:pt>
                <c:pt idx="3426">
                  <c:v>43879</c:v>
                </c:pt>
                <c:pt idx="3427">
                  <c:v>43880</c:v>
                </c:pt>
                <c:pt idx="3428">
                  <c:v>43881</c:v>
                </c:pt>
                <c:pt idx="3429">
                  <c:v>43882</c:v>
                </c:pt>
                <c:pt idx="3430">
                  <c:v>43885</c:v>
                </c:pt>
                <c:pt idx="3431">
                  <c:v>43886</c:v>
                </c:pt>
                <c:pt idx="3432">
                  <c:v>43887</c:v>
                </c:pt>
                <c:pt idx="3433">
                  <c:v>43888</c:v>
                </c:pt>
                <c:pt idx="3434">
                  <c:v>43889</c:v>
                </c:pt>
                <c:pt idx="3435">
                  <c:v>43892</c:v>
                </c:pt>
                <c:pt idx="3436">
                  <c:v>43893</c:v>
                </c:pt>
                <c:pt idx="3437">
                  <c:v>43894</c:v>
                </c:pt>
                <c:pt idx="3438">
                  <c:v>43895</c:v>
                </c:pt>
                <c:pt idx="3439">
                  <c:v>43896</c:v>
                </c:pt>
                <c:pt idx="3440">
                  <c:v>43899</c:v>
                </c:pt>
                <c:pt idx="3441">
                  <c:v>43900</c:v>
                </c:pt>
                <c:pt idx="3442">
                  <c:v>43901</c:v>
                </c:pt>
                <c:pt idx="3443">
                  <c:v>43902</c:v>
                </c:pt>
                <c:pt idx="3444">
                  <c:v>43903</c:v>
                </c:pt>
                <c:pt idx="3445">
                  <c:v>43906</c:v>
                </c:pt>
                <c:pt idx="3446">
                  <c:v>43907</c:v>
                </c:pt>
                <c:pt idx="3447">
                  <c:v>43908</c:v>
                </c:pt>
                <c:pt idx="3448">
                  <c:v>43909</c:v>
                </c:pt>
                <c:pt idx="3449">
                  <c:v>43910</c:v>
                </c:pt>
                <c:pt idx="3450">
                  <c:v>43913</c:v>
                </c:pt>
                <c:pt idx="3451">
                  <c:v>43914</c:v>
                </c:pt>
                <c:pt idx="3452">
                  <c:v>43915</c:v>
                </c:pt>
                <c:pt idx="3453">
                  <c:v>43916</c:v>
                </c:pt>
                <c:pt idx="3454">
                  <c:v>43917</c:v>
                </c:pt>
                <c:pt idx="3455">
                  <c:v>43920</c:v>
                </c:pt>
                <c:pt idx="3456">
                  <c:v>43921</c:v>
                </c:pt>
                <c:pt idx="3457">
                  <c:v>43922</c:v>
                </c:pt>
                <c:pt idx="3458">
                  <c:v>43923</c:v>
                </c:pt>
                <c:pt idx="3459">
                  <c:v>43924</c:v>
                </c:pt>
                <c:pt idx="3460">
                  <c:v>43927</c:v>
                </c:pt>
                <c:pt idx="3461">
                  <c:v>43928</c:v>
                </c:pt>
                <c:pt idx="3462">
                  <c:v>43929</c:v>
                </c:pt>
                <c:pt idx="3463">
                  <c:v>43930</c:v>
                </c:pt>
                <c:pt idx="3464">
                  <c:v>43931</c:v>
                </c:pt>
                <c:pt idx="3465">
                  <c:v>43934</c:v>
                </c:pt>
                <c:pt idx="3466">
                  <c:v>43935</c:v>
                </c:pt>
                <c:pt idx="3467">
                  <c:v>43936</c:v>
                </c:pt>
                <c:pt idx="3468">
                  <c:v>43937</c:v>
                </c:pt>
                <c:pt idx="3469">
                  <c:v>43938</c:v>
                </c:pt>
                <c:pt idx="3470">
                  <c:v>43941</c:v>
                </c:pt>
                <c:pt idx="3471">
                  <c:v>43942</c:v>
                </c:pt>
                <c:pt idx="3472">
                  <c:v>43943</c:v>
                </c:pt>
                <c:pt idx="3473">
                  <c:v>43944</c:v>
                </c:pt>
                <c:pt idx="3474">
                  <c:v>43945</c:v>
                </c:pt>
                <c:pt idx="3475">
                  <c:v>43948</c:v>
                </c:pt>
                <c:pt idx="3476">
                  <c:v>43949</c:v>
                </c:pt>
                <c:pt idx="3477">
                  <c:v>43950</c:v>
                </c:pt>
                <c:pt idx="3478">
                  <c:v>43951</c:v>
                </c:pt>
                <c:pt idx="3479">
                  <c:v>43952</c:v>
                </c:pt>
                <c:pt idx="3480">
                  <c:v>43955</c:v>
                </c:pt>
                <c:pt idx="3481">
                  <c:v>43956</c:v>
                </c:pt>
                <c:pt idx="3482">
                  <c:v>43957</c:v>
                </c:pt>
                <c:pt idx="3483">
                  <c:v>43958</c:v>
                </c:pt>
                <c:pt idx="3484">
                  <c:v>43959</c:v>
                </c:pt>
                <c:pt idx="3485">
                  <c:v>43962</c:v>
                </c:pt>
                <c:pt idx="3486">
                  <c:v>43963</c:v>
                </c:pt>
                <c:pt idx="3487">
                  <c:v>43964</c:v>
                </c:pt>
                <c:pt idx="3488">
                  <c:v>43965</c:v>
                </c:pt>
                <c:pt idx="3489">
                  <c:v>43966</c:v>
                </c:pt>
                <c:pt idx="3490">
                  <c:v>43969</c:v>
                </c:pt>
                <c:pt idx="3491">
                  <c:v>43970</c:v>
                </c:pt>
                <c:pt idx="3492">
                  <c:v>43971</c:v>
                </c:pt>
                <c:pt idx="3493">
                  <c:v>43972</c:v>
                </c:pt>
                <c:pt idx="3494">
                  <c:v>43973</c:v>
                </c:pt>
                <c:pt idx="3495">
                  <c:v>43976</c:v>
                </c:pt>
                <c:pt idx="3496">
                  <c:v>43977</c:v>
                </c:pt>
                <c:pt idx="3497">
                  <c:v>43978</c:v>
                </c:pt>
                <c:pt idx="3498">
                  <c:v>43979</c:v>
                </c:pt>
                <c:pt idx="3499">
                  <c:v>43980</c:v>
                </c:pt>
                <c:pt idx="3500">
                  <c:v>43983</c:v>
                </c:pt>
                <c:pt idx="3501">
                  <c:v>43984</c:v>
                </c:pt>
                <c:pt idx="3502">
                  <c:v>43985</c:v>
                </c:pt>
                <c:pt idx="3503">
                  <c:v>43986</c:v>
                </c:pt>
                <c:pt idx="3504">
                  <c:v>43987</c:v>
                </c:pt>
                <c:pt idx="3505">
                  <c:v>43990</c:v>
                </c:pt>
                <c:pt idx="3506">
                  <c:v>43991</c:v>
                </c:pt>
                <c:pt idx="3507">
                  <c:v>43992</c:v>
                </c:pt>
                <c:pt idx="3508">
                  <c:v>43993</c:v>
                </c:pt>
                <c:pt idx="3509">
                  <c:v>43994</c:v>
                </c:pt>
                <c:pt idx="3510">
                  <c:v>43997</c:v>
                </c:pt>
                <c:pt idx="3511">
                  <c:v>43998</c:v>
                </c:pt>
                <c:pt idx="3512">
                  <c:v>43999</c:v>
                </c:pt>
                <c:pt idx="3513">
                  <c:v>44000</c:v>
                </c:pt>
                <c:pt idx="3514">
                  <c:v>44001</c:v>
                </c:pt>
                <c:pt idx="3515">
                  <c:v>44004</c:v>
                </c:pt>
                <c:pt idx="3516">
                  <c:v>44005</c:v>
                </c:pt>
                <c:pt idx="3517">
                  <c:v>44006</c:v>
                </c:pt>
                <c:pt idx="3518">
                  <c:v>44007</c:v>
                </c:pt>
                <c:pt idx="3519">
                  <c:v>44008</c:v>
                </c:pt>
                <c:pt idx="3520">
                  <c:v>44011</c:v>
                </c:pt>
                <c:pt idx="3521">
                  <c:v>44012</c:v>
                </c:pt>
                <c:pt idx="3522">
                  <c:v>44013</c:v>
                </c:pt>
                <c:pt idx="3523">
                  <c:v>44014</c:v>
                </c:pt>
                <c:pt idx="3524">
                  <c:v>44015</c:v>
                </c:pt>
                <c:pt idx="3525">
                  <c:v>44018</c:v>
                </c:pt>
                <c:pt idx="3526">
                  <c:v>44019</c:v>
                </c:pt>
                <c:pt idx="3527">
                  <c:v>44020</c:v>
                </c:pt>
                <c:pt idx="3528">
                  <c:v>44021</c:v>
                </c:pt>
                <c:pt idx="3529">
                  <c:v>44022</c:v>
                </c:pt>
                <c:pt idx="3530">
                  <c:v>44025</c:v>
                </c:pt>
                <c:pt idx="3531">
                  <c:v>44026</c:v>
                </c:pt>
                <c:pt idx="3532">
                  <c:v>44027</c:v>
                </c:pt>
                <c:pt idx="3533">
                  <c:v>44028</c:v>
                </c:pt>
                <c:pt idx="3534">
                  <c:v>44029</c:v>
                </c:pt>
                <c:pt idx="3535">
                  <c:v>44032</c:v>
                </c:pt>
                <c:pt idx="3536">
                  <c:v>44033</c:v>
                </c:pt>
                <c:pt idx="3537">
                  <c:v>44034</c:v>
                </c:pt>
                <c:pt idx="3538">
                  <c:v>44035</c:v>
                </c:pt>
                <c:pt idx="3539">
                  <c:v>44036</c:v>
                </c:pt>
                <c:pt idx="3540">
                  <c:v>44039</c:v>
                </c:pt>
                <c:pt idx="3541">
                  <c:v>44040</c:v>
                </c:pt>
                <c:pt idx="3542">
                  <c:v>44041</c:v>
                </c:pt>
                <c:pt idx="3543">
                  <c:v>44042</c:v>
                </c:pt>
                <c:pt idx="3544">
                  <c:v>44043</c:v>
                </c:pt>
                <c:pt idx="3545">
                  <c:v>44046</c:v>
                </c:pt>
                <c:pt idx="3546">
                  <c:v>44047</c:v>
                </c:pt>
                <c:pt idx="3547">
                  <c:v>44048</c:v>
                </c:pt>
                <c:pt idx="3548">
                  <c:v>44049</c:v>
                </c:pt>
                <c:pt idx="3549">
                  <c:v>44050</c:v>
                </c:pt>
                <c:pt idx="3550">
                  <c:v>44053</c:v>
                </c:pt>
                <c:pt idx="3551">
                  <c:v>44054</c:v>
                </c:pt>
                <c:pt idx="3552">
                  <c:v>44055</c:v>
                </c:pt>
                <c:pt idx="3553">
                  <c:v>44056</c:v>
                </c:pt>
                <c:pt idx="3554">
                  <c:v>44057</c:v>
                </c:pt>
                <c:pt idx="3555">
                  <c:v>44060</c:v>
                </c:pt>
                <c:pt idx="3556">
                  <c:v>44061</c:v>
                </c:pt>
                <c:pt idx="3557">
                  <c:v>44062</c:v>
                </c:pt>
                <c:pt idx="3558">
                  <c:v>44063</c:v>
                </c:pt>
                <c:pt idx="3559">
                  <c:v>44064</c:v>
                </c:pt>
                <c:pt idx="3560">
                  <c:v>44067</c:v>
                </c:pt>
                <c:pt idx="3561">
                  <c:v>44068</c:v>
                </c:pt>
                <c:pt idx="3562">
                  <c:v>44069</c:v>
                </c:pt>
                <c:pt idx="3563">
                  <c:v>44070</c:v>
                </c:pt>
                <c:pt idx="3564">
                  <c:v>44071</c:v>
                </c:pt>
                <c:pt idx="3565">
                  <c:v>44074</c:v>
                </c:pt>
                <c:pt idx="3566">
                  <c:v>44075</c:v>
                </c:pt>
                <c:pt idx="3567">
                  <c:v>44076</c:v>
                </c:pt>
                <c:pt idx="3568">
                  <c:v>44077</c:v>
                </c:pt>
                <c:pt idx="3569">
                  <c:v>44078</c:v>
                </c:pt>
                <c:pt idx="3570">
                  <c:v>44081</c:v>
                </c:pt>
                <c:pt idx="3571">
                  <c:v>44082</c:v>
                </c:pt>
                <c:pt idx="3572">
                  <c:v>44083</c:v>
                </c:pt>
                <c:pt idx="3573">
                  <c:v>44084</c:v>
                </c:pt>
                <c:pt idx="3574">
                  <c:v>44085</c:v>
                </c:pt>
                <c:pt idx="3575">
                  <c:v>44088</c:v>
                </c:pt>
                <c:pt idx="3576">
                  <c:v>44089</c:v>
                </c:pt>
                <c:pt idx="3577">
                  <c:v>44090</c:v>
                </c:pt>
                <c:pt idx="3578">
                  <c:v>44091</c:v>
                </c:pt>
                <c:pt idx="3579">
                  <c:v>44092</c:v>
                </c:pt>
                <c:pt idx="3580">
                  <c:v>44095</c:v>
                </c:pt>
                <c:pt idx="3581">
                  <c:v>44096</c:v>
                </c:pt>
                <c:pt idx="3582">
                  <c:v>44097</c:v>
                </c:pt>
                <c:pt idx="3583">
                  <c:v>44098</c:v>
                </c:pt>
                <c:pt idx="3584">
                  <c:v>44099</c:v>
                </c:pt>
                <c:pt idx="3585">
                  <c:v>44102</c:v>
                </c:pt>
                <c:pt idx="3586">
                  <c:v>44103</c:v>
                </c:pt>
                <c:pt idx="3587">
                  <c:v>44104</c:v>
                </c:pt>
                <c:pt idx="3588">
                  <c:v>44105</c:v>
                </c:pt>
                <c:pt idx="3589">
                  <c:v>44106</c:v>
                </c:pt>
                <c:pt idx="3590">
                  <c:v>44109</c:v>
                </c:pt>
                <c:pt idx="3591">
                  <c:v>44110</c:v>
                </c:pt>
                <c:pt idx="3592">
                  <c:v>44111</c:v>
                </c:pt>
                <c:pt idx="3593">
                  <c:v>44112</c:v>
                </c:pt>
                <c:pt idx="3594">
                  <c:v>44113</c:v>
                </c:pt>
                <c:pt idx="3595">
                  <c:v>44116</c:v>
                </c:pt>
                <c:pt idx="3596">
                  <c:v>44117</c:v>
                </c:pt>
                <c:pt idx="3597">
                  <c:v>44118</c:v>
                </c:pt>
                <c:pt idx="3598">
                  <c:v>44119</c:v>
                </c:pt>
                <c:pt idx="3599">
                  <c:v>44120</c:v>
                </c:pt>
                <c:pt idx="3600">
                  <c:v>44123</c:v>
                </c:pt>
                <c:pt idx="3601">
                  <c:v>44124</c:v>
                </c:pt>
                <c:pt idx="3602">
                  <c:v>44125</c:v>
                </c:pt>
                <c:pt idx="3603">
                  <c:v>44126</c:v>
                </c:pt>
                <c:pt idx="3604">
                  <c:v>44127</c:v>
                </c:pt>
                <c:pt idx="3605">
                  <c:v>44130</c:v>
                </c:pt>
                <c:pt idx="3606">
                  <c:v>44131</c:v>
                </c:pt>
                <c:pt idx="3607">
                  <c:v>44132</c:v>
                </c:pt>
                <c:pt idx="3608">
                  <c:v>44133</c:v>
                </c:pt>
                <c:pt idx="3609">
                  <c:v>44134</c:v>
                </c:pt>
                <c:pt idx="3610">
                  <c:v>44137</c:v>
                </c:pt>
                <c:pt idx="3611">
                  <c:v>44138</c:v>
                </c:pt>
                <c:pt idx="3612">
                  <c:v>44139</c:v>
                </c:pt>
                <c:pt idx="3613">
                  <c:v>44140</c:v>
                </c:pt>
                <c:pt idx="3614">
                  <c:v>44141</c:v>
                </c:pt>
                <c:pt idx="3615">
                  <c:v>44144</c:v>
                </c:pt>
                <c:pt idx="3616">
                  <c:v>44145</c:v>
                </c:pt>
                <c:pt idx="3617">
                  <c:v>44146</c:v>
                </c:pt>
                <c:pt idx="3618">
                  <c:v>44147</c:v>
                </c:pt>
                <c:pt idx="3619">
                  <c:v>44148</c:v>
                </c:pt>
                <c:pt idx="3620">
                  <c:v>44151</c:v>
                </c:pt>
                <c:pt idx="3621">
                  <c:v>44152</c:v>
                </c:pt>
                <c:pt idx="3622">
                  <c:v>44153</c:v>
                </c:pt>
                <c:pt idx="3623">
                  <c:v>44154</c:v>
                </c:pt>
                <c:pt idx="3624">
                  <c:v>44155</c:v>
                </c:pt>
                <c:pt idx="3625">
                  <c:v>44158</c:v>
                </c:pt>
                <c:pt idx="3626">
                  <c:v>44159</c:v>
                </c:pt>
                <c:pt idx="3627">
                  <c:v>44160</c:v>
                </c:pt>
                <c:pt idx="3628">
                  <c:v>44161</c:v>
                </c:pt>
                <c:pt idx="3629">
                  <c:v>44162</c:v>
                </c:pt>
                <c:pt idx="3630">
                  <c:v>44165</c:v>
                </c:pt>
                <c:pt idx="3631">
                  <c:v>44166</c:v>
                </c:pt>
                <c:pt idx="3632">
                  <c:v>44167</c:v>
                </c:pt>
                <c:pt idx="3633">
                  <c:v>44168</c:v>
                </c:pt>
                <c:pt idx="3634">
                  <c:v>44169</c:v>
                </c:pt>
                <c:pt idx="3635">
                  <c:v>44172</c:v>
                </c:pt>
                <c:pt idx="3636">
                  <c:v>44173</c:v>
                </c:pt>
                <c:pt idx="3637">
                  <c:v>44174</c:v>
                </c:pt>
                <c:pt idx="3638">
                  <c:v>44175</c:v>
                </c:pt>
                <c:pt idx="3639">
                  <c:v>44176</c:v>
                </c:pt>
                <c:pt idx="3640">
                  <c:v>44179</c:v>
                </c:pt>
                <c:pt idx="3641">
                  <c:v>44180</c:v>
                </c:pt>
                <c:pt idx="3642">
                  <c:v>44181</c:v>
                </c:pt>
                <c:pt idx="3643">
                  <c:v>44182</c:v>
                </c:pt>
                <c:pt idx="3644">
                  <c:v>44183</c:v>
                </c:pt>
                <c:pt idx="3645">
                  <c:v>44186</c:v>
                </c:pt>
                <c:pt idx="3646">
                  <c:v>44187</c:v>
                </c:pt>
                <c:pt idx="3647">
                  <c:v>44188</c:v>
                </c:pt>
                <c:pt idx="3648">
                  <c:v>44189</c:v>
                </c:pt>
                <c:pt idx="3649">
                  <c:v>44190</c:v>
                </c:pt>
                <c:pt idx="3650">
                  <c:v>44193</c:v>
                </c:pt>
                <c:pt idx="3651">
                  <c:v>44194</c:v>
                </c:pt>
                <c:pt idx="3652">
                  <c:v>44195</c:v>
                </c:pt>
                <c:pt idx="3653">
                  <c:v>44196</c:v>
                </c:pt>
                <c:pt idx="3654">
                  <c:v>44197</c:v>
                </c:pt>
                <c:pt idx="3655">
                  <c:v>44200</c:v>
                </c:pt>
                <c:pt idx="3656">
                  <c:v>44201</c:v>
                </c:pt>
                <c:pt idx="3657">
                  <c:v>44202</c:v>
                </c:pt>
                <c:pt idx="3658">
                  <c:v>44203</c:v>
                </c:pt>
                <c:pt idx="3659">
                  <c:v>44204</c:v>
                </c:pt>
                <c:pt idx="3660">
                  <c:v>44207</c:v>
                </c:pt>
                <c:pt idx="3661">
                  <c:v>44208</c:v>
                </c:pt>
                <c:pt idx="3662">
                  <c:v>44209</c:v>
                </c:pt>
                <c:pt idx="3663">
                  <c:v>44210</c:v>
                </c:pt>
                <c:pt idx="3664">
                  <c:v>44211</c:v>
                </c:pt>
                <c:pt idx="3665">
                  <c:v>44214</c:v>
                </c:pt>
                <c:pt idx="3666">
                  <c:v>44215</c:v>
                </c:pt>
                <c:pt idx="3667">
                  <c:v>44216</c:v>
                </c:pt>
                <c:pt idx="3668">
                  <c:v>44217</c:v>
                </c:pt>
                <c:pt idx="3669">
                  <c:v>44218</c:v>
                </c:pt>
                <c:pt idx="3670">
                  <c:v>44221</c:v>
                </c:pt>
                <c:pt idx="3671">
                  <c:v>44222</c:v>
                </c:pt>
                <c:pt idx="3672">
                  <c:v>44223</c:v>
                </c:pt>
                <c:pt idx="3673">
                  <c:v>44224</c:v>
                </c:pt>
                <c:pt idx="3674">
                  <c:v>44225</c:v>
                </c:pt>
                <c:pt idx="3675">
                  <c:v>44228</c:v>
                </c:pt>
                <c:pt idx="3676">
                  <c:v>44229</c:v>
                </c:pt>
                <c:pt idx="3677">
                  <c:v>44230</c:v>
                </c:pt>
                <c:pt idx="3678">
                  <c:v>44231</c:v>
                </c:pt>
                <c:pt idx="3679">
                  <c:v>44232</c:v>
                </c:pt>
                <c:pt idx="3680">
                  <c:v>44235</c:v>
                </c:pt>
                <c:pt idx="3681">
                  <c:v>44236</c:v>
                </c:pt>
                <c:pt idx="3682">
                  <c:v>44237</c:v>
                </c:pt>
                <c:pt idx="3683">
                  <c:v>44238</c:v>
                </c:pt>
                <c:pt idx="3684">
                  <c:v>44239</c:v>
                </c:pt>
                <c:pt idx="3685">
                  <c:v>44242</c:v>
                </c:pt>
                <c:pt idx="3686">
                  <c:v>44243</c:v>
                </c:pt>
                <c:pt idx="3687">
                  <c:v>44244</c:v>
                </c:pt>
                <c:pt idx="3688">
                  <c:v>44245</c:v>
                </c:pt>
                <c:pt idx="3689">
                  <c:v>44246</c:v>
                </c:pt>
                <c:pt idx="3690">
                  <c:v>44249</c:v>
                </c:pt>
                <c:pt idx="3691">
                  <c:v>44250</c:v>
                </c:pt>
                <c:pt idx="3692">
                  <c:v>44251</c:v>
                </c:pt>
                <c:pt idx="3693">
                  <c:v>44252</c:v>
                </c:pt>
                <c:pt idx="3694">
                  <c:v>44253</c:v>
                </c:pt>
                <c:pt idx="3695">
                  <c:v>44256</c:v>
                </c:pt>
                <c:pt idx="3696">
                  <c:v>44257</c:v>
                </c:pt>
                <c:pt idx="3697">
                  <c:v>44258</c:v>
                </c:pt>
                <c:pt idx="3698">
                  <c:v>44259</c:v>
                </c:pt>
                <c:pt idx="3699">
                  <c:v>44260</c:v>
                </c:pt>
                <c:pt idx="3700">
                  <c:v>44263</c:v>
                </c:pt>
                <c:pt idx="3701">
                  <c:v>44264</c:v>
                </c:pt>
                <c:pt idx="3702">
                  <c:v>44265</c:v>
                </c:pt>
                <c:pt idx="3703">
                  <c:v>44266</c:v>
                </c:pt>
                <c:pt idx="3704">
                  <c:v>44267</c:v>
                </c:pt>
                <c:pt idx="3705">
                  <c:v>44270</c:v>
                </c:pt>
                <c:pt idx="3706">
                  <c:v>44271</c:v>
                </c:pt>
                <c:pt idx="3707">
                  <c:v>44272</c:v>
                </c:pt>
                <c:pt idx="3708">
                  <c:v>44273</c:v>
                </c:pt>
                <c:pt idx="3709">
                  <c:v>44274</c:v>
                </c:pt>
                <c:pt idx="3710">
                  <c:v>44277</c:v>
                </c:pt>
                <c:pt idx="3711">
                  <c:v>44278</c:v>
                </c:pt>
                <c:pt idx="3712">
                  <c:v>44279</c:v>
                </c:pt>
                <c:pt idx="3713">
                  <c:v>44280</c:v>
                </c:pt>
                <c:pt idx="3714">
                  <c:v>44281</c:v>
                </c:pt>
                <c:pt idx="3715">
                  <c:v>44284</c:v>
                </c:pt>
                <c:pt idx="3716">
                  <c:v>44285</c:v>
                </c:pt>
                <c:pt idx="3717">
                  <c:v>44286</c:v>
                </c:pt>
                <c:pt idx="3718">
                  <c:v>44287</c:v>
                </c:pt>
                <c:pt idx="3719">
                  <c:v>44288</c:v>
                </c:pt>
                <c:pt idx="3720">
                  <c:v>44291</c:v>
                </c:pt>
                <c:pt idx="3721">
                  <c:v>44292</c:v>
                </c:pt>
                <c:pt idx="3722">
                  <c:v>44293</c:v>
                </c:pt>
                <c:pt idx="3723">
                  <c:v>44294</c:v>
                </c:pt>
                <c:pt idx="3724">
                  <c:v>44295</c:v>
                </c:pt>
                <c:pt idx="3725">
                  <c:v>44298</c:v>
                </c:pt>
                <c:pt idx="3726">
                  <c:v>44299</c:v>
                </c:pt>
                <c:pt idx="3727">
                  <c:v>44300</c:v>
                </c:pt>
                <c:pt idx="3728">
                  <c:v>44301</c:v>
                </c:pt>
                <c:pt idx="3729">
                  <c:v>44302</c:v>
                </c:pt>
                <c:pt idx="3730">
                  <c:v>44305</c:v>
                </c:pt>
                <c:pt idx="3731">
                  <c:v>44306</c:v>
                </c:pt>
                <c:pt idx="3732">
                  <c:v>44307</c:v>
                </c:pt>
                <c:pt idx="3733">
                  <c:v>44308</c:v>
                </c:pt>
                <c:pt idx="3734">
                  <c:v>44309</c:v>
                </c:pt>
                <c:pt idx="3735">
                  <c:v>44312</c:v>
                </c:pt>
                <c:pt idx="3736">
                  <c:v>44313</c:v>
                </c:pt>
                <c:pt idx="3737">
                  <c:v>44314</c:v>
                </c:pt>
                <c:pt idx="3738">
                  <c:v>44315</c:v>
                </c:pt>
                <c:pt idx="3739">
                  <c:v>44316</c:v>
                </c:pt>
                <c:pt idx="3740">
                  <c:v>44319</c:v>
                </c:pt>
                <c:pt idx="3741">
                  <c:v>44320</c:v>
                </c:pt>
                <c:pt idx="3742">
                  <c:v>44321</c:v>
                </c:pt>
                <c:pt idx="3743">
                  <c:v>44322</c:v>
                </c:pt>
                <c:pt idx="3744">
                  <c:v>44323</c:v>
                </c:pt>
                <c:pt idx="3745">
                  <c:v>44326</c:v>
                </c:pt>
                <c:pt idx="3746">
                  <c:v>44327</c:v>
                </c:pt>
                <c:pt idx="3747">
                  <c:v>44328</c:v>
                </c:pt>
                <c:pt idx="3748">
                  <c:v>44329</c:v>
                </c:pt>
                <c:pt idx="3749">
                  <c:v>44330</c:v>
                </c:pt>
                <c:pt idx="3750">
                  <c:v>44333</c:v>
                </c:pt>
                <c:pt idx="3751">
                  <c:v>44334</c:v>
                </c:pt>
                <c:pt idx="3752">
                  <c:v>44335</c:v>
                </c:pt>
                <c:pt idx="3753">
                  <c:v>44336</c:v>
                </c:pt>
                <c:pt idx="3754">
                  <c:v>44337</c:v>
                </c:pt>
                <c:pt idx="3755">
                  <c:v>44340</c:v>
                </c:pt>
                <c:pt idx="3756">
                  <c:v>44341</c:v>
                </c:pt>
                <c:pt idx="3757">
                  <c:v>44342</c:v>
                </c:pt>
                <c:pt idx="3758">
                  <c:v>44343</c:v>
                </c:pt>
                <c:pt idx="3759">
                  <c:v>44344</c:v>
                </c:pt>
                <c:pt idx="3760">
                  <c:v>44347</c:v>
                </c:pt>
                <c:pt idx="3761">
                  <c:v>44348</c:v>
                </c:pt>
                <c:pt idx="3762">
                  <c:v>44349</c:v>
                </c:pt>
                <c:pt idx="3763">
                  <c:v>44350</c:v>
                </c:pt>
                <c:pt idx="3764">
                  <c:v>44351</c:v>
                </c:pt>
                <c:pt idx="3765">
                  <c:v>44354</c:v>
                </c:pt>
                <c:pt idx="3766">
                  <c:v>44355</c:v>
                </c:pt>
                <c:pt idx="3767">
                  <c:v>44356</c:v>
                </c:pt>
                <c:pt idx="3768">
                  <c:v>44357</c:v>
                </c:pt>
                <c:pt idx="3769">
                  <c:v>44358</c:v>
                </c:pt>
                <c:pt idx="3770">
                  <c:v>44361</c:v>
                </c:pt>
                <c:pt idx="3771">
                  <c:v>44362</c:v>
                </c:pt>
                <c:pt idx="3772">
                  <c:v>44363</c:v>
                </c:pt>
                <c:pt idx="3773">
                  <c:v>44364</c:v>
                </c:pt>
                <c:pt idx="3774">
                  <c:v>44365</c:v>
                </c:pt>
                <c:pt idx="3775">
                  <c:v>44368</c:v>
                </c:pt>
                <c:pt idx="3776">
                  <c:v>44369</c:v>
                </c:pt>
                <c:pt idx="3777">
                  <c:v>44370</c:v>
                </c:pt>
                <c:pt idx="3778">
                  <c:v>44371</c:v>
                </c:pt>
                <c:pt idx="3779">
                  <c:v>44372</c:v>
                </c:pt>
                <c:pt idx="3780">
                  <c:v>44375</c:v>
                </c:pt>
                <c:pt idx="3781">
                  <c:v>44376</c:v>
                </c:pt>
                <c:pt idx="3782">
                  <c:v>44377</c:v>
                </c:pt>
                <c:pt idx="3783">
                  <c:v>44378</c:v>
                </c:pt>
                <c:pt idx="3784">
                  <c:v>44379</c:v>
                </c:pt>
                <c:pt idx="3785">
                  <c:v>44382</c:v>
                </c:pt>
                <c:pt idx="3786">
                  <c:v>44383</c:v>
                </c:pt>
                <c:pt idx="3787">
                  <c:v>44384</c:v>
                </c:pt>
                <c:pt idx="3788">
                  <c:v>44385</c:v>
                </c:pt>
                <c:pt idx="3789">
                  <c:v>44386</c:v>
                </c:pt>
                <c:pt idx="3790">
                  <c:v>44389</c:v>
                </c:pt>
                <c:pt idx="3791">
                  <c:v>44390</c:v>
                </c:pt>
                <c:pt idx="3792">
                  <c:v>44391</c:v>
                </c:pt>
                <c:pt idx="3793">
                  <c:v>44392</c:v>
                </c:pt>
                <c:pt idx="3794">
                  <c:v>44393</c:v>
                </c:pt>
                <c:pt idx="3795">
                  <c:v>44396</c:v>
                </c:pt>
                <c:pt idx="3796">
                  <c:v>44397</c:v>
                </c:pt>
                <c:pt idx="3797">
                  <c:v>44398</c:v>
                </c:pt>
                <c:pt idx="3798">
                  <c:v>44399</c:v>
                </c:pt>
                <c:pt idx="3799">
                  <c:v>44400</c:v>
                </c:pt>
                <c:pt idx="3800">
                  <c:v>44403</c:v>
                </c:pt>
                <c:pt idx="3801">
                  <c:v>44404</c:v>
                </c:pt>
                <c:pt idx="3802">
                  <c:v>44405</c:v>
                </c:pt>
                <c:pt idx="3803">
                  <c:v>44406</c:v>
                </c:pt>
                <c:pt idx="3804">
                  <c:v>44407</c:v>
                </c:pt>
                <c:pt idx="3805">
                  <c:v>44410</c:v>
                </c:pt>
                <c:pt idx="3806">
                  <c:v>44411</c:v>
                </c:pt>
                <c:pt idx="3807">
                  <c:v>44412</c:v>
                </c:pt>
                <c:pt idx="3808">
                  <c:v>44413</c:v>
                </c:pt>
                <c:pt idx="3809">
                  <c:v>44414</c:v>
                </c:pt>
                <c:pt idx="3810">
                  <c:v>44417</c:v>
                </c:pt>
                <c:pt idx="3811">
                  <c:v>44418</c:v>
                </c:pt>
                <c:pt idx="3812">
                  <c:v>44419</c:v>
                </c:pt>
                <c:pt idx="3813">
                  <c:v>44420</c:v>
                </c:pt>
                <c:pt idx="3814">
                  <c:v>44421</c:v>
                </c:pt>
                <c:pt idx="3815">
                  <c:v>44424</c:v>
                </c:pt>
                <c:pt idx="3816">
                  <c:v>44425</c:v>
                </c:pt>
                <c:pt idx="3817">
                  <c:v>44426</c:v>
                </c:pt>
                <c:pt idx="3818">
                  <c:v>44427</c:v>
                </c:pt>
                <c:pt idx="3819">
                  <c:v>44428</c:v>
                </c:pt>
                <c:pt idx="3820">
                  <c:v>44431</c:v>
                </c:pt>
                <c:pt idx="3821">
                  <c:v>44432</c:v>
                </c:pt>
                <c:pt idx="3822">
                  <c:v>44433</c:v>
                </c:pt>
                <c:pt idx="3823">
                  <c:v>44434</c:v>
                </c:pt>
                <c:pt idx="3824">
                  <c:v>44435</c:v>
                </c:pt>
                <c:pt idx="3825">
                  <c:v>44438</c:v>
                </c:pt>
                <c:pt idx="3826">
                  <c:v>44439</c:v>
                </c:pt>
                <c:pt idx="3827">
                  <c:v>44440</c:v>
                </c:pt>
                <c:pt idx="3828">
                  <c:v>44441</c:v>
                </c:pt>
                <c:pt idx="3829">
                  <c:v>44442</c:v>
                </c:pt>
                <c:pt idx="3830">
                  <c:v>44445</c:v>
                </c:pt>
                <c:pt idx="3831">
                  <c:v>44446</c:v>
                </c:pt>
                <c:pt idx="3832">
                  <c:v>44447</c:v>
                </c:pt>
                <c:pt idx="3833">
                  <c:v>44448</c:v>
                </c:pt>
                <c:pt idx="3834">
                  <c:v>44449</c:v>
                </c:pt>
                <c:pt idx="3835">
                  <c:v>44452</c:v>
                </c:pt>
                <c:pt idx="3836">
                  <c:v>44453</c:v>
                </c:pt>
                <c:pt idx="3837">
                  <c:v>44454</c:v>
                </c:pt>
                <c:pt idx="3838">
                  <c:v>44455</c:v>
                </c:pt>
                <c:pt idx="3839">
                  <c:v>44456</c:v>
                </c:pt>
                <c:pt idx="3840">
                  <c:v>44459</c:v>
                </c:pt>
                <c:pt idx="3841">
                  <c:v>44460</c:v>
                </c:pt>
                <c:pt idx="3842">
                  <c:v>44461</c:v>
                </c:pt>
                <c:pt idx="3843">
                  <c:v>44462</c:v>
                </c:pt>
                <c:pt idx="3844">
                  <c:v>44463</c:v>
                </c:pt>
                <c:pt idx="3845">
                  <c:v>44466</c:v>
                </c:pt>
                <c:pt idx="3846">
                  <c:v>44467</c:v>
                </c:pt>
                <c:pt idx="3847">
                  <c:v>44468</c:v>
                </c:pt>
                <c:pt idx="3848">
                  <c:v>44469</c:v>
                </c:pt>
                <c:pt idx="3849">
                  <c:v>44470</c:v>
                </c:pt>
                <c:pt idx="3850">
                  <c:v>44473</c:v>
                </c:pt>
                <c:pt idx="3851">
                  <c:v>44474</c:v>
                </c:pt>
                <c:pt idx="3852">
                  <c:v>44475</c:v>
                </c:pt>
                <c:pt idx="3853">
                  <c:v>44476</c:v>
                </c:pt>
                <c:pt idx="3854">
                  <c:v>44477</c:v>
                </c:pt>
                <c:pt idx="3855">
                  <c:v>44480</c:v>
                </c:pt>
                <c:pt idx="3856">
                  <c:v>44481</c:v>
                </c:pt>
                <c:pt idx="3857">
                  <c:v>44482</c:v>
                </c:pt>
                <c:pt idx="3858">
                  <c:v>44483</c:v>
                </c:pt>
                <c:pt idx="3859">
                  <c:v>44484</c:v>
                </c:pt>
                <c:pt idx="3860">
                  <c:v>44487</c:v>
                </c:pt>
                <c:pt idx="3861">
                  <c:v>44488</c:v>
                </c:pt>
                <c:pt idx="3862">
                  <c:v>44489</c:v>
                </c:pt>
                <c:pt idx="3863">
                  <c:v>44490</c:v>
                </c:pt>
                <c:pt idx="3864">
                  <c:v>44491</c:v>
                </c:pt>
                <c:pt idx="3865">
                  <c:v>44494</c:v>
                </c:pt>
                <c:pt idx="3866">
                  <c:v>44495</c:v>
                </c:pt>
                <c:pt idx="3867">
                  <c:v>44496</c:v>
                </c:pt>
                <c:pt idx="3868">
                  <c:v>44497</c:v>
                </c:pt>
                <c:pt idx="3869">
                  <c:v>44498</c:v>
                </c:pt>
                <c:pt idx="3870">
                  <c:v>44501</c:v>
                </c:pt>
                <c:pt idx="3871">
                  <c:v>44502</c:v>
                </c:pt>
                <c:pt idx="3872">
                  <c:v>44503</c:v>
                </c:pt>
                <c:pt idx="3873">
                  <c:v>44504</c:v>
                </c:pt>
                <c:pt idx="3874">
                  <c:v>44505</c:v>
                </c:pt>
                <c:pt idx="3875">
                  <c:v>44508</c:v>
                </c:pt>
                <c:pt idx="3876">
                  <c:v>44509</c:v>
                </c:pt>
                <c:pt idx="3877">
                  <c:v>44510</c:v>
                </c:pt>
                <c:pt idx="3878">
                  <c:v>44511</c:v>
                </c:pt>
                <c:pt idx="3879">
                  <c:v>44512</c:v>
                </c:pt>
                <c:pt idx="3880">
                  <c:v>44515</c:v>
                </c:pt>
                <c:pt idx="3881">
                  <c:v>44516</c:v>
                </c:pt>
                <c:pt idx="3882">
                  <c:v>44517</c:v>
                </c:pt>
                <c:pt idx="3883">
                  <c:v>44518</c:v>
                </c:pt>
                <c:pt idx="3884">
                  <c:v>44519</c:v>
                </c:pt>
                <c:pt idx="3885">
                  <c:v>44522</c:v>
                </c:pt>
                <c:pt idx="3886">
                  <c:v>44523</c:v>
                </c:pt>
                <c:pt idx="3887">
                  <c:v>44524</c:v>
                </c:pt>
                <c:pt idx="3888">
                  <c:v>44525</c:v>
                </c:pt>
                <c:pt idx="3889">
                  <c:v>44526</c:v>
                </c:pt>
                <c:pt idx="3890">
                  <c:v>44529</c:v>
                </c:pt>
                <c:pt idx="3891">
                  <c:v>44530</c:v>
                </c:pt>
                <c:pt idx="3892">
                  <c:v>44531</c:v>
                </c:pt>
                <c:pt idx="3893">
                  <c:v>44532</c:v>
                </c:pt>
                <c:pt idx="3894">
                  <c:v>44533</c:v>
                </c:pt>
                <c:pt idx="3895">
                  <c:v>44536</c:v>
                </c:pt>
                <c:pt idx="3896">
                  <c:v>44537</c:v>
                </c:pt>
                <c:pt idx="3897">
                  <c:v>44538</c:v>
                </c:pt>
                <c:pt idx="3898">
                  <c:v>44539</c:v>
                </c:pt>
                <c:pt idx="3899">
                  <c:v>44540</c:v>
                </c:pt>
                <c:pt idx="3900">
                  <c:v>44543</c:v>
                </c:pt>
                <c:pt idx="3901">
                  <c:v>44544</c:v>
                </c:pt>
                <c:pt idx="3902">
                  <c:v>44545</c:v>
                </c:pt>
                <c:pt idx="3903">
                  <c:v>44546</c:v>
                </c:pt>
                <c:pt idx="3904">
                  <c:v>44547</c:v>
                </c:pt>
                <c:pt idx="3905">
                  <c:v>44550</c:v>
                </c:pt>
                <c:pt idx="3906">
                  <c:v>44551</c:v>
                </c:pt>
                <c:pt idx="3907">
                  <c:v>44552</c:v>
                </c:pt>
                <c:pt idx="3908">
                  <c:v>44553</c:v>
                </c:pt>
                <c:pt idx="3909">
                  <c:v>44554</c:v>
                </c:pt>
                <c:pt idx="3910">
                  <c:v>44557</c:v>
                </c:pt>
                <c:pt idx="3911">
                  <c:v>44558</c:v>
                </c:pt>
                <c:pt idx="3912">
                  <c:v>44559</c:v>
                </c:pt>
                <c:pt idx="3913">
                  <c:v>44560</c:v>
                </c:pt>
                <c:pt idx="3914">
                  <c:v>44561</c:v>
                </c:pt>
                <c:pt idx="3915">
                  <c:v>44564</c:v>
                </c:pt>
                <c:pt idx="3916">
                  <c:v>44565</c:v>
                </c:pt>
                <c:pt idx="3917">
                  <c:v>44566</c:v>
                </c:pt>
                <c:pt idx="3918">
                  <c:v>44567</c:v>
                </c:pt>
                <c:pt idx="3919">
                  <c:v>44568</c:v>
                </c:pt>
                <c:pt idx="3920">
                  <c:v>44571</c:v>
                </c:pt>
                <c:pt idx="3921">
                  <c:v>44572</c:v>
                </c:pt>
                <c:pt idx="3922">
                  <c:v>44573</c:v>
                </c:pt>
                <c:pt idx="3923">
                  <c:v>44574</c:v>
                </c:pt>
                <c:pt idx="3924">
                  <c:v>44575</c:v>
                </c:pt>
                <c:pt idx="3925">
                  <c:v>44578</c:v>
                </c:pt>
                <c:pt idx="3926">
                  <c:v>44579</c:v>
                </c:pt>
                <c:pt idx="3927">
                  <c:v>44580</c:v>
                </c:pt>
                <c:pt idx="3928">
                  <c:v>44581</c:v>
                </c:pt>
                <c:pt idx="3929">
                  <c:v>44582</c:v>
                </c:pt>
                <c:pt idx="3930">
                  <c:v>44585</c:v>
                </c:pt>
                <c:pt idx="3931">
                  <c:v>44586</c:v>
                </c:pt>
                <c:pt idx="3932">
                  <c:v>44587</c:v>
                </c:pt>
                <c:pt idx="3933">
                  <c:v>44588</c:v>
                </c:pt>
                <c:pt idx="3934">
                  <c:v>44589</c:v>
                </c:pt>
                <c:pt idx="3935">
                  <c:v>44592</c:v>
                </c:pt>
                <c:pt idx="3936">
                  <c:v>44593</c:v>
                </c:pt>
                <c:pt idx="3937">
                  <c:v>44594</c:v>
                </c:pt>
                <c:pt idx="3938">
                  <c:v>44595</c:v>
                </c:pt>
                <c:pt idx="3939">
                  <c:v>44596</c:v>
                </c:pt>
                <c:pt idx="3940">
                  <c:v>44599</c:v>
                </c:pt>
                <c:pt idx="3941">
                  <c:v>44600</c:v>
                </c:pt>
                <c:pt idx="3942">
                  <c:v>44601</c:v>
                </c:pt>
                <c:pt idx="3943">
                  <c:v>44602</c:v>
                </c:pt>
                <c:pt idx="3944">
                  <c:v>44603</c:v>
                </c:pt>
                <c:pt idx="3945">
                  <c:v>44606</c:v>
                </c:pt>
                <c:pt idx="3946">
                  <c:v>44607</c:v>
                </c:pt>
                <c:pt idx="3947">
                  <c:v>44608</c:v>
                </c:pt>
                <c:pt idx="3948">
                  <c:v>44609</c:v>
                </c:pt>
                <c:pt idx="3949">
                  <c:v>44610</c:v>
                </c:pt>
                <c:pt idx="3950">
                  <c:v>44613</c:v>
                </c:pt>
                <c:pt idx="3951">
                  <c:v>44614</c:v>
                </c:pt>
                <c:pt idx="3952">
                  <c:v>44615</c:v>
                </c:pt>
                <c:pt idx="3953">
                  <c:v>44616</c:v>
                </c:pt>
                <c:pt idx="3954">
                  <c:v>44617</c:v>
                </c:pt>
                <c:pt idx="3955">
                  <c:v>44620</c:v>
                </c:pt>
                <c:pt idx="3956">
                  <c:v>44621</c:v>
                </c:pt>
                <c:pt idx="3957">
                  <c:v>44622</c:v>
                </c:pt>
                <c:pt idx="3958">
                  <c:v>44623</c:v>
                </c:pt>
                <c:pt idx="3959">
                  <c:v>44624</c:v>
                </c:pt>
                <c:pt idx="3960">
                  <c:v>44627</c:v>
                </c:pt>
                <c:pt idx="3961">
                  <c:v>44628</c:v>
                </c:pt>
                <c:pt idx="3962">
                  <c:v>44629</c:v>
                </c:pt>
                <c:pt idx="3963">
                  <c:v>44630</c:v>
                </c:pt>
                <c:pt idx="3964">
                  <c:v>44631</c:v>
                </c:pt>
                <c:pt idx="3965">
                  <c:v>44634</c:v>
                </c:pt>
                <c:pt idx="3966">
                  <c:v>44635</c:v>
                </c:pt>
                <c:pt idx="3967">
                  <c:v>44636</c:v>
                </c:pt>
                <c:pt idx="3968">
                  <c:v>44637</c:v>
                </c:pt>
                <c:pt idx="3969">
                  <c:v>44638</c:v>
                </c:pt>
                <c:pt idx="3970">
                  <c:v>44641</c:v>
                </c:pt>
                <c:pt idx="3971">
                  <c:v>44642</c:v>
                </c:pt>
                <c:pt idx="3972">
                  <c:v>44643</c:v>
                </c:pt>
                <c:pt idx="3973">
                  <c:v>44644</c:v>
                </c:pt>
                <c:pt idx="3974">
                  <c:v>44645</c:v>
                </c:pt>
                <c:pt idx="3975">
                  <c:v>44648</c:v>
                </c:pt>
                <c:pt idx="3976">
                  <c:v>44649</c:v>
                </c:pt>
                <c:pt idx="3977">
                  <c:v>44650</c:v>
                </c:pt>
                <c:pt idx="3978">
                  <c:v>44651</c:v>
                </c:pt>
                <c:pt idx="3979">
                  <c:v>44652</c:v>
                </c:pt>
                <c:pt idx="3980">
                  <c:v>44655</c:v>
                </c:pt>
                <c:pt idx="3981">
                  <c:v>44656</c:v>
                </c:pt>
                <c:pt idx="3982">
                  <c:v>44657</c:v>
                </c:pt>
                <c:pt idx="3983">
                  <c:v>44658</c:v>
                </c:pt>
                <c:pt idx="3984">
                  <c:v>44659</c:v>
                </c:pt>
                <c:pt idx="3985">
                  <c:v>44662</c:v>
                </c:pt>
                <c:pt idx="3986">
                  <c:v>44663</c:v>
                </c:pt>
                <c:pt idx="3987">
                  <c:v>44664</c:v>
                </c:pt>
                <c:pt idx="3988">
                  <c:v>44665</c:v>
                </c:pt>
                <c:pt idx="3989">
                  <c:v>44666</c:v>
                </c:pt>
                <c:pt idx="3990">
                  <c:v>44669</c:v>
                </c:pt>
                <c:pt idx="3991">
                  <c:v>44670</c:v>
                </c:pt>
                <c:pt idx="3992">
                  <c:v>44671</c:v>
                </c:pt>
                <c:pt idx="3993">
                  <c:v>44672</c:v>
                </c:pt>
                <c:pt idx="3994">
                  <c:v>44673</c:v>
                </c:pt>
                <c:pt idx="3995">
                  <c:v>44676</c:v>
                </c:pt>
                <c:pt idx="3996">
                  <c:v>44677</c:v>
                </c:pt>
                <c:pt idx="3997">
                  <c:v>44678</c:v>
                </c:pt>
                <c:pt idx="3998">
                  <c:v>44679</c:v>
                </c:pt>
                <c:pt idx="3999">
                  <c:v>44680</c:v>
                </c:pt>
                <c:pt idx="4000">
                  <c:v>44683</c:v>
                </c:pt>
                <c:pt idx="4001">
                  <c:v>44684</c:v>
                </c:pt>
                <c:pt idx="4002">
                  <c:v>44685</c:v>
                </c:pt>
                <c:pt idx="4003">
                  <c:v>44686</c:v>
                </c:pt>
                <c:pt idx="4004">
                  <c:v>44687</c:v>
                </c:pt>
                <c:pt idx="4005">
                  <c:v>44690</c:v>
                </c:pt>
                <c:pt idx="4006">
                  <c:v>44691</c:v>
                </c:pt>
                <c:pt idx="4007">
                  <c:v>44692</c:v>
                </c:pt>
                <c:pt idx="4008">
                  <c:v>44693</c:v>
                </c:pt>
                <c:pt idx="4009">
                  <c:v>44694</c:v>
                </c:pt>
                <c:pt idx="4010">
                  <c:v>44697</c:v>
                </c:pt>
                <c:pt idx="4011">
                  <c:v>44698</c:v>
                </c:pt>
                <c:pt idx="4012">
                  <c:v>44699</c:v>
                </c:pt>
                <c:pt idx="4013">
                  <c:v>44700</c:v>
                </c:pt>
                <c:pt idx="4014">
                  <c:v>44701</c:v>
                </c:pt>
                <c:pt idx="4015">
                  <c:v>44704</c:v>
                </c:pt>
                <c:pt idx="4016">
                  <c:v>44705</c:v>
                </c:pt>
                <c:pt idx="4017">
                  <c:v>44706</c:v>
                </c:pt>
                <c:pt idx="4018">
                  <c:v>44707</c:v>
                </c:pt>
                <c:pt idx="4019">
                  <c:v>44708</c:v>
                </c:pt>
                <c:pt idx="4020">
                  <c:v>44711</c:v>
                </c:pt>
                <c:pt idx="4021">
                  <c:v>44712</c:v>
                </c:pt>
                <c:pt idx="4022">
                  <c:v>44713</c:v>
                </c:pt>
                <c:pt idx="4023">
                  <c:v>44714</c:v>
                </c:pt>
                <c:pt idx="4024">
                  <c:v>44715</c:v>
                </c:pt>
                <c:pt idx="4025">
                  <c:v>44718</c:v>
                </c:pt>
                <c:pt idx="4026">
                  <c:v>44719</c:v>
                </c:pt>
                <c:pt idx="4027">
                  <c:v>44720</c:v>
                </c:pt>
                <c:pt idx="4028">
                  <c:v>44721</c:v>
                </c:pt>
                <c:pt idx="4029">
                  <c:v>44722</c:v>
                </c:pt>
                <c:pt idx="4030">
                  <c:v>44725</c:v>
                </c:pt>
                <c:pt idx="4031">
                  <c:v>44726</c:v>
                </c:pt>
                <c:pt idx="4032">
                  <c:v>44727</c:v>
                </c:pt>
                <c:pt idx="4033">
                  <c:v>44728</c:v>
                </c:pt>
                <c:pt idx="4034">
                  <c:v>44729</c:v>
                </c:pt>
                <c:pt idx="4035">
                  <c:v>44732</c:v>
                </c:pt>
                <c:pt idx="4036">
                  <c:v>44733</c:v>
                </c:pt>
                <c:pt idx="4037">
                  <c:v>44734</c:v>
                </c:pt>
                <c:pt idx="4038">
                  <c:v>44735</c:v>
                </c:pt>
                <c:pt idx="4039">
                  <c:v>44736</c:v>
                </c:pt>
                <c:pt idx="4040">
                  <c:v>44739</c:v>
                </c:pt>
                <c:pt idx="4041">
                  <c:v>44740</c:v>
                </c:pt>
                <c:pt idx="4042">
                  <c:v>44741</c:v>
                </c:pt>
                <c:pt idx="4043">
                  <c:v>44742</c:v>
                </c:pt>
                <c:pt idx="4044">
                  <c:v>44743</c:v>
                </c:pt>
                <c:pt idx="4045">
                  <c:v>44746</c:v>
                </c:pt>
                <c:pt idx="4046">
                  <c:v>44747</c:v>
                </c:pt>
                <c:pt idx="4047">
                  <c:v>44748</c:v>
                </c:pt>
                <c:pt idx="4048">
                  <c:v>44749</c:v>
                </c:pt>
                <c:pt idx="4049">
                  <c:v>44750</c:v>
                </c:pt>
                <c:pt idx="4050">
                  <c:v>44753</c:v>
                </c:pt>
                <c:pt idx="4051">
                  <c:v>44754</c:v>
                </c:pt>
                <c:pt idx="4052">
                  <c:v>44755</c:v>
                </c:pt>
                <c:pt idx="4053">
                  <c:v>44756</c:v>
                </c:pt>
                <c:pt idx="4054">
                  <c:v>44757</c:v>
                </c:pt>
                <c:pt idx="4055">
                  <c:v>44760</c:v>
                </c:pt>
                <c:pt idx="4056">
                  <c:v>44761</c:v>
                </c:pt>
                <c:pt idx="4057">
                  <c:v>44762</c:v>
                </c:pt>
                <c:pt idx="4058">
                  <c:v>44763</c:v>
                </c:pt>
                <c:pt idx="4059">
                  <c:v>44764</c:v>
                </c:pt>
                <c:pt idx="4060">
                  <c:v>44767</c:v>
                </c:pt>
                <c:pt idx="4061">
                  <c:v>44768</c:v>
                </c:pt>
                <c:pt idx="4062">
                  <c:v>44769</c:v>
                </c:pt>
                <c:pt idx="4063">
                  <c:v>44770</c:v>
                </c:pt>
                <c:pt idx="4064">
                  <c:v>44771</c:v>
                </c:pt>
                <c:pt idx="4065">
                  <c:v>44774</c:v>
                </c:pt>
                <c:pt idx="4066">
                  <c:v>44775</c:v>
                </c:pt>
                <c:pt idx="4067">
                  <c:v>44776</c:v>
                </c:pt>
                <c:pt idx="4068">
                  <c:v>44777</c:v>
                </c:pt>
                <c:pt idx="4069">
                  <c:v>44778</c:v>
                </c:pt>
                <c:pt idx="4070">
                  <c:v>44781</c:v>
                </c:pt>
                <c:pt idx="4071">
                  <c:v>44782</c:v>
                </c:pt>
                <c:pt idx="4072">
                  <c:v>44783</c:v>
                </c:pt>
                <c:pt idx="4073">
                  <c:v>44784</c:v>
                </c:pt>
                <c:pt idx="4074">
                  <c:v>44785</c:v>
                </c:pt>
                <c:pt idx="4075">
                  <c:v>44788</c:v>
                </c:pt>
                <c:pt idx="4076">
                  <c:v>44789</c:v>
                </c:pt>
                <c:pt idx="4077">
                  <c:v>44790</c:v>
                </c:pt>
                <c:pt idx="4078">
                  <c:v>44791</c:v>
                </c:pt>
                <c:pt idx="4079">
                  <c:v>44792</c:v>
                </c:pt>
                <c:pt idx="4080">
                  <c:v>44795</c:v>
                </c:pt>
                <c:pt idx="4081">
                  <c:v>44796</c:v>
                </c:pt>
                <c:pt idx="4082">
                  <c:v>44797</c:v>
                </c:pt>
                <c:pt idx="4083">
                  <c:v>44798</c:v>
                </c:pt>
                <c:pt idx="4084">
                  <c:v>44799</c:v>
                </c:pt>
                <c:pt idx="4085">
                  <c:v>44802</c:v>
                </c:pt>
                <c:pt idx="4086">
                  <c:v>44803</c:v>
                </c:pt>
                <c:pt idx="4087">
                  <c:v>44804</c:v>
                </c:pt>
                <c:pt idx="4088">
                  <c:v>44805</c:v>
                </c:pt>
                <c:pt idx="4089">
                  <c:v>44806</c:v>
                </c:pt>
                <c:pt idx="4090">
                  <c:v>44809</c:v>
                </c:pt>
                <c:pt idx="4091">
                  <c:v>44810</c:v>
                </c:pt>
                <c:pt idx="4092">
                  <c:v>44811</c:v>
                </c:pt>
                <c:pt idx="4093">
                  <c:v>44812</c:v>
                </c:pt>
                <c:pt idx="4094">
                  <c:v>44813</c:v>
                </c:pt>
                <c:pt idx="4095">
                  <c:v>44816</c:v>
                </c:pt>
                <c:pt idx="4096">
                  <c:v>44817</c:v>
                </c:pt>
                <c:pt idx="4097">
                  <c:v>44818</c:v>
                </c:pt>
                <c:pt idx="4098">
                  <c:v>44819</c:v>
                </c:pt>
                <c:pt idx="4099">
                  <c:v>44820</c:v>
                </c:pt>
                <c:pt idx="4100">
                  <c:v>44823</c:v>
                </c:pt>
                <c:pt idx="4101">
                  <c:v>44824</c:v>
                </c:pt>
                <c:pt idx="4102">
                  <c:v>44825</c:v>
                </c:pt>
                <c:pt idx="4103">
                  <c:v>44826</c:v>
                </c:pt>
                <c:pt idx="4104">
                  <c:v>44827</c:v>
                </c:pt>
                <c:pt idx="4105">
                  <c:v>44830</c:v>
                </c:pt>
                <c:pt idx="4106">
                  <c:v>44831</c:v>
                </c:pt>
                <c:pt idx="4107">
                  <c:v>44832</c:v>
                </c:pt>
                <c:pt idx="4108">
                  <c:v>44833</c:v>
                </c:pt>
                <c:pt idx="4109">
                  <c:v>44834</c:v>
                </c:pt>
                <c:pt idx="4110">
                  <c:v>44837</c:v>
                </c:pt>
                <c:pt idx="4111">
                  <c:v>44838</c:v>
                </c:pt>
                <c:pt idx="4112">
                  <c:v>44839</c:v>
                </c:pt>
                <c:pt idx="4113">
                  <c:v>44840</c:v>
                </c:pt>
                <c:pt idx="4114">
                  <c:v>44841</c:v>
                </c:pt>
                <c:pt idx="4115">
                  <c:v>44844</c:v>
                </c:pt>
                <c:pt idx="4116">
                  <c:v>44845</c:v>
                </c:pt>
                <c:pt idx="4117">
                  <c:v>44846</c:v>
                </c:pt>
                <c:pt idx="4118">
                  <c:v>44847</c:v>
                </c:pt>
                <c:pt idx="4119">
                  <c:v>44848</c:v>
                </c:pt>
                <c:pt idx="4120">
                  <c:v>44851</c:v>
                </c:pt>
                <c:pt idx="4121">
                  <c:v>44852</c:v>
                </c:pt>
                <c:pt idx="4122">
                  <c:v>44853</c:v>
                </c:pt>
                <c:pt idx="4123">
                  <c:v>44854</c:v>
                </c:pt>
                <c:pt idx="4124">
                  <c:v>44855</c:v>
                </c:pt>
                <c:pt idx="4125">
                  <c:v>44858</c:v>
                </c:pt>
                <c:pt idx="4126">
                  <c:v>44859</c:v>
                </c:pt>
                <c:pt idx="4127">
                  <c:v>44860</c:v>
                </c:pt>
                <c:pt idx="4128">
                  <c:v>44861</c:v>
                </c:pt>
                <c:pt idx="4129">
                  <c:v>44862</c:v>
                </c:pt>
                <c:pt idx="4130">
                  <c:v>44865</c:v>
                </c:pt>
                <c:pt idx="4131">
                  <c:v>44866</c:v>
                </c:pt>
                <c:pt idx="4132">
                  <c:v>44867</c:v>
                </c:pt>
                <c:pt idx="4133">
                  <c:v>44868</c:v>
                </c:pt>
                <c:pt idx="4134">
                  <c:v>44869</c:v>
                </c:pt>
                <c:pt idx="4135">
                  <c:v>44872</c:v>
                </c:pt>
                <c:pt idx="4136">
                  <c:v>44873</c:v>
                </c:pt>
                <c:pt idx="4137">
                  <c:v>44874</c:v>
                </c:pt>
                <c:pt idx="4138">
                  <c:v>44875</c:v>
                </c:pt>
                <c:pt idx="4139">
                  <c:v>44876</c:v>
                </c:pt>
                <c:pt idx="4140">
                  <c:v>44879</c:v>
                </c:pt>
                <c:pt idx="4141">
                  <c:v>44880</c:v>
                </c:pt>
                <c:pt idx="4142">
                  <c:v>44881</c:v>
                </c:pt>
                <c:pt idx="4143">
                  <c:v>44882</c:v>
                </c:pt>
                <c:pt idx="4144">
                  <c:v>44883</c:v>
                </c:pt>
                <c:pt idx="4145">
                  <c:v>44886</c:v>
                </c:pt>
                <c:pt idx="4146">
                  <c:v>44887</c:v>
                </c:pt>
                <c:pt idx="4147">
                  <c:v>44888</c:v>
                </c:pt>
                <c:pt idx="4148">
                  <c:v>44889</c:v>
                </c:pt>
                <c:pt idx="4149">
                  <c:v>44890</c:v>
                </c:pt>
                <c:pt idx="4150">
                  <c:v>44893</c:v>
                </c:pt>
                <c:pt idx="4151">
                  <c:v>44894</c:v>
                </c:pt>
                <c:pt idx="4152">
                  <c:v>44895</c:v>
                </c:pt>
                <c:pt idx="4153">
                  <c:v>44896</c:v>
                </c:pt>
                <c:pt idx="4154">
                  <c:v>44897</c:v>
                </c:pt>
                <c:pt idx="4155">
                  <c:v>44900</c:v>
                </c:pt>
                <c:pt idx="4156">
                  <c:v>44901</c:v>
                </c:pt>
                <c:pt idx="4157">
                  <c:v>44902</c:v>
                </c:pt>
                <c:pt idx="4158">
                  <c:v>44903</c:v>
                </c:pt>
                <c:pt idx="4159">
                  <c:v>44904</c:v>
                </c:pt>
                <c:pt idx="4160">
                  <c:v>44907</c:v>
                </c:pt>
                <c:pt idx="4161">
                  <c:v>44908</c:v>
                </c:pt>
                <c:pt idx="4162">
                  <c:v>44909</c:v>
                </c:pt>
                <c:pt idx="4163">
                  <c:v>44910</c:v>
                </c:pt>
                <c:pt idx="4164">
                  <c:v>44911</c:v>
                </c:pt>
                <c:pt idx="4165">
                  <c:v>44914</c:v>
                </c:pt>
                <c:pt idx="4166">
                  <c:v>44915</c:v>
                </c:pt>
                <c:pt idx="4167">
                  <c:v>44916</c:v>
                </c:pt>
                <c:pt idx="4168">
                  <c:v>44917</c:v>
                </c:pt>
                <c:pt idx="4169">
                  <c:v>44918</c:v>
                </c:pt>
                <c:pt idx="4170">
                  <c:v>44921</c:v>
                </c:pt>
                <c:pt idx="4171">
                  <c:v>44922</c:v>
                </c:pt>
                <c:pt idx="4172">
                  <c:v>44923</c:v>
                </c:pt>
                <c:pt idx="4173">
                  <c:v>44924</c:v>
                </c:pt>
                <c:pt idx="4174">
                  <c:v>44925</c:v>
                </c:pt>
                <c:pt idx="4175">
                  <c:v>44928</c:v>
                </c:pt>
                <c:pt idx="4176">
                  <c:v>44929</c:v>
                </c:pt>
                <c:pt idx="4177">
                  <c:v>44930</c:v>
                </c:pt>
                <c:pt idx="4178">
                  <c:v>44931</c:v>
                </c:pt>
                <c:pt idx="4179">
                  <c:v>44932</c:v>
                </c:pt>
                <c:pt idx="4180">
                  <c:v>44935</c:v>
                </c:pt>
                <c:pt idx="4181">
                  <c:v>44936</c:v>
                </c:pt>
                <c:pt idx="4182">
                  <c:v>44937</c:v>
                </c:pt>
                <c:pt idx="4183">
                  <c:v>44938</c:v>
                </c:pt>
                <c:pt idx="4184">
                  <c:v>44939</c:v>
                </c:pt>
                <c:pt idx="4185">
                  <c:v>44942</c:v>
                </c:pt>
                <c:pt idx="4186">
                  <c:v>44943</c:v>
                </c:pt>
                <c:pt idx="4187">
                  <c:v>44944</c:v>
                </c:pt>
                <c:pt idx="4188">
                  <c:v>44945</c:v>
                </c:pt>
                <c:pt idx="4189">
                  <c:v>44946</c:v>
                </c:pt>
                <c:pt idx="4190">
                  <c:v>44949</c:v>
                </c:pt>
                <c:pt idx="4191">
                  <c:v>44950</c:v>
                </c:pt>
                <c:pt idx="4192">
                  <c:v>44951</c:v>
                </c:pt>
                <c:pt idx="4193">
                  <c:v>44952</c:v>
                </c:pt>
                <c:pt idx="4194">
                  <c:v>44953</c:v>
                </c:pt>
                <c:pt idx="4195">
                  <c:v>44956</c:v>
                </c:pt>
                <c:pt idx="4196">
                  <c:v>44957</c:v>
                </c:pt>
                <c:pt idx="4197">
                  <c:v>44958</c:v>
                </c:pt>
                <c:pt idx="4198">
                  <c:v>44959</c:v>
                </c:pt>
                <c:pt idx="4199">
                  <c:v>44960</c:v>
                </c:pt>
                <c:pt idx="4200">
                  <c:v>44963</c:v>
                </c:pt>
                <c:pt idx="4201">
                  <c:v>44964</c:v>
                </c:pt>
                <c:pt idx="4202">
                  <c:v>44965</c:v>
                </c:pt>
                <c:pt idx="4203">
                  <c:v>44966</c:v>
                </c:pt>
                <c:pt idx="4204">
                  <c:v>44967</c:v>
                </c:pt>
                <c:pt idx="4205">
                  <c:v>44970</c:v>
                </c:pt>
                <c:pt idx="4206">
                  <c:v>44971</c:v>
                </c:pt>
                <c:pt idx="4207">
                  <c:v>44972</c:v>
                </c:pt>
                <c:pt idx="4208">
                  <c:v>44973</c:v>
                </c:pt>
                <c:pt idx="4209">
                  <c:v>44974</c:v>
                </c:pt>
                <c:pt idx="4210">
                  <c:v>44977</c:v>
                </c:pt>
                <c:pt idx="4211">
                  <c:v>44978</c:v>
                </c:pt>
                <c:pt idx="4212">
                  <c:v>44979</c:v>
                </c:pt>
                <c:pt idx="4213">
                  <c:v>44980</c:v>
                </c:pt>
                <c:pt idx="4214">
                  <c:v>44981</c:v>
                </c:pt>
                <c:pt idx="4215">
                  <c:v>44984</c:v>
                </c:pt>
                <c:pt idx="4216">
                  <c:v>44985</c:v>
                </c:pt>
                <c:pt idx="4217">
                  <c:v>44986</c:v>
                </c:pt>
                <c:pt idx="4218">
                  <c:v>44987</c:v>
                </c:pt>
                <c:pt idx="4219">
                  <c:v>44988</c:v>
                </c:pt>
                <c:pt idx="4220">
                  <c:v>44991</c:v>
                </c:pt>
                <c:pt idx="4221">
                  <c:v>44992</c:v>
                </c:pt>
                <c:pt idx="4222">
                  <c:v>44993</c:v>
                </c:pt>
                <c:pt idx="4223">
                  <c:v>44994</c:v>
                </c:pt>
                <c:pt idx="4224">
                  <c:v>44995</c:v>
                </c:pt>
                <c:pt idx="4225">
                  <c:v>44998</c:v>
                </c:pt>
                <c:pt idx="4226">
                  <c:v>44999</c:v>
                </c:pt>
                <c:pt idx="4227">
                  <c:v>45000</c:v>
                </c:pt>
                <c:pt idx="4228">
                  <c:v>45001</c:v>
                </c:pt>
                <c:pt idx="4229">
                  <c:v>45002</c:v>
                </c:pt>
                <c:pt idx="4230">
                  <c:v>45005</c:v>
                </c:pt>
                <c:pt idx="4231">
                  <c:v>45006</c:v>
                </c:pt>
                <c:pt idx="4232">
                  <c:v>45007</c:v>
                </c:pt>
                <c:pt idx="4233">
                  <c:v>45008</c:v>
                </c:pt>
                <c:pt idx="4234">
                  <c:v>45009</c:v>
                </c:pt>
                <c:pt idx="4235">
                  <c:v>45012</c:v>
                </c:pt>
                <c:pt idx="4236">
                  <c:v>45013</c:v>
                </c:pt>
                <c:pt idx="4237">
                  <c:v>45014</c:v>
                </c:pt>
                <c:pt idx="4238">
                  <c:v>45015</c:v>
                </c:pt>
                <c:pt idx="4239">
                  <c:v>45016</c:v>
                </c:pt>
                <c:pt idx="4240">
                  <c:v>45019</c:v>
                </c:pt>
                <c:pt idx="4241">
                  <c:v>45020</c:v>
                </c:pt>
                <c:pt idx="4242">
                  <c:v>45021</c:v>
                </c:pt>
                <c:pt idx="4243">
                  <c:v>45022</c:v>
                </c:pt>
                <c:pt idx="4244">
                  <c:v>45023</c:v>
                </c:pt>
                <c:pt idx="4245">
                  <c:v>45026</c:v>
                </c:pt>
                <c:pt idx="4246">
                  <c:v>45027</c:v>
                </c:pt>
                <c:pt idx="4247">
                  <c:v>45028</c:v>
                </c:pt>
                <c:pt idx="4248">
                  <c:v>45029</c:v>
                </c:pt>
                <c:pt idx="4249">
                  <c:v>45030</c:v>
                </c:pt>
                <c:pt idx="4250">
                  <c:v>45033</c:v>
                </c:pt>
                <c:pt idx="4251">
                  <c:v>45034</c:v>
                </c:pt>
                <c:pt idx="4252">
                  <c:v>45035</c:v>
                </c:pt>
                <c:pt idx="4253">
                  <c:v>45036</c:v>
                </c:pt>
                <c:pt idx="4254">
                  <c:v>45037</c:v>
                </c:pt>
                <c:pt idx="4255">
                  <c:v>45040</c:v>
                </c:pt>
                <c:pt idx="4256">
                  <c:v>45041</c:v>
                </c:pt>
                <c:pt idx="4257">
                  <c:v>45042</c:v>
                </c:pt>
                <c:pt idx="4258">
                  <c:v>45043</c:v>
                </c:pt>
                <c:pt idx="4259">
                  <c:v>45044</c:v>
                </c:pt>
                <c:pt idx="4260">
                  <c:v>45047</c:v>
                </c:pt>
                <c:pt idx="4261">
                  <c:v>45048</c:v>
                </c:pt>
                <c:pt idx="4262">
                  <c:v>45049</c:v>
                </c:pt>
                <c:pt idx="4263">
                  <c:v>45050</c:v>
                </c:pt>
                <c:pt idx="4264">
                  <c:v>45051</c:v>
                </c:pt>
                <c:pt idx="4265">
                  <c:v>45054</c:v>
                </c:pt>
                <c:pt idx="4266">
                  <c:v>45055</c:v>
                </c:pt>
                <c:pt idx="4267">
                  <c:v>45056</c:v>
                </c:pt>
                <c:pt idx="4268">
                  <c:v>45057</c:v>
                </c:pt>
                <c:pt idx="4269">
                  <c:v>45058</c:v>
                </c:pt>
                <c:pt idx="4270">
                  <c:v>45061</c:v>
                </c:pt>
                <c:pt idx="4271">
                  <c:v>45062</c:v>
                </c:pt>
                <c:pt idx="4272">
                  <c:v>45063</c:v>
                </c:pt>
                <c:pt idx="4273">
                  <c:v>45064</c:v>
                </c:pt>
                <c:pt idx="4274">
                  <c:v>45065</c:v>
                </c:pt>
                <c:pt idx="4275">
                  <c:v>45068</c:v>
                </c:pt>
                <c:pt idx="4276">
                  <c:v>45069</c:v>
                </c:pt>
                <c:pt idx="4277">
                  <c:v>45070</c:v>
                </c:pt>
                <c:pt idx="4278">
                  <c:v>45071</c:v>
                </c:pt>
                <c:pt idx="4279">
                  <c:v>45072</c:v>
                </c:pt>
                <c:pt idx="4280">
                  <c:v>45075</c:v>
                </c:pt>
                <c:pt idx="4281">
                  <c:v>45076</c:v>
                </c:pt>
                <c:pt idx="4282">
                  <c:v>45077</c:v>
                </c:pt>
                <c:pt idx="4283">
                  <c:v>45078</c:v>
                </c:pt>
                <c:pt idx="4284">
                  <c:v>45079</c:v>
                </c:pt>
                <c:pt idx="4285">
                  <c:v>45082</c:v>
                </c:pt>
                <c:pt idx="4286">
                  <c:v>45083</c:v>
                </c:pt>
                <c:pt idx="4287">
                  <c:v>45084</c:v>
                </c:pt>
                <c:pt idx="4288">
                  <c:v>45085</c:v>
                </c:pt>
                <c:pt idx="4289">
                  <c:v>45086</c:v>
                </c:pt>
                <c:pt idx="4290">
                  <c:v>45089</c:v>
                </c:pt>
                <c:pt idx="4291">
                  <c:v>45090</c:v>
                </c:pt>
                <c:pt idx="4292">
                  <c:v>45091</c:v>
                </c:pt>
                <c:pt idx="4293">
                  <c:v>45092</c:v>
                </c:pt>
                <c:pt idx="4294">
                  <c:v>45093</c:v>
                </c:pt>
                <c:pt idx="4295">
                  <c:v>45096</c:v>
                </c:pt>
                <c:pt idx="4296">
                  <c:v>45097</c:v>
                </c:pt>
                <c:pt idx="4297">
                  <c:v>45098</c:v>
                </c:pt>
                <c:pt idx="4298">
                  <c:v>45099</c:v>
                </c:pt>
                <c:pt idx="4299">
                  <c:v>45100</c:v>
                </c:pt>
                <c:pt idx="4300">
                  <c:v>45103</c:v>
                </c:pt>
                <c:pt idx="4301">
                  <c:v>45104</c:v>
                </c:pt>
                <c:pt idx="4302">
                  <c:v>45105</c:v>
                </c:pt>
                <c:pt idx="4303">
                  <c:v>45106</c:v>
                </c:pt>
                <c:pt idx="4304">
                  <c:v>45107</c:v>
                </c:pt>
                <c:pt idx="4305">
                  <c:v>45110</c:v>
                </c:pt>
                <c:pt idx="4306">
                  <c:v>45111</c:v>
                </c:pt>
                <c:pt idx="4307">
                  <c:v>45112</c:v>
                </c:pt>
                <c:pt idx="4308">
                  <c:v>45113</c:v>
                </c:pt>
                <c:pt idx="4309">
                  <c:v>45114</c:v>
                </c:pt>
                <c:pt idx="4310">
                  <c:v>45117</c:v>
                </c:pt>
                <c:pt idx="4311">
                  <c:v>45118</c:v>
                </c:pt>
                <c:pt idx="4312">
                  <c:v>45119</c:v>
                </c:pt>
                <c:pt idx="4313">
                  <c:v>45120</c:v>
                </c:pt>
                <c:pt idx="4314">
                  <c:v>45121</c:v>
                </c:pt>
                <c:pt idx="4315">
                  <c:v>45124</c:v>
                </c:pt>
                <c:pt idx="4316">
                  <c:v>45125</c:v>
                </c:pt>
                <c:pt idx="4317">
                  <c:v>45126</c:v>
                </c:pt>
                <c:pt idx="4318">
                  <c:v>45127</c:v>
                </c:pt>
                <c:pt idx="4319">
                  <c:v>45128</c:v>
                </c:pt>
                <c:pt idx="4320">
                  <c:v>45131</c:v>
                </c:pt>
                <c:pt idx="4321">
                  <c:v>45132</c:v>
                </c:pt>
                <c:pt idx="4322">
                  <c:v>45133</c:v>
                </c:pt>
                <c:pt idx="4323">
                  <c:v>45134</c:v>
                </c:pt>
                <c:pt idx="4324">
                  <c:v>45135</c:v>
                </c:pt>
                <c:pt idx="4325">
                  <c:v>45138</c:v>
                </c:pt>
                <c:pt idx="4326">
                  <c:v>45139</c:v>
                </c:pt>
                <c:pt idx="4327">
                  <c:v>45140</c:v>
                </c:pt>
                <c:pt idx="4328">
                  <c:v>45141</c:v>
                </c:pt>
                <c:pt idx="4329">
                  <c:v>45142</c:v>
                </c:pt>
                <c:pt idx="4330">
                  <c:v>45145</c:v>
                </c:pt>
                <c:pt idx="4331">
                  <c:v>45146</c:v>
                </c:pt>
                <c:pt idx="4332">
                  <c:v>45147</c:v>
                </c:pt>
                <c:pt idx="4333">
                  <c:v>45148</c:v>
                </c:pt>
                <c:pt idx="4334">
                  <c:v>45149</c:v>
                </c:pt>
                <c:pt idx="4335">
                  <c:v>45152</c:v>
                </c:pt>
                <c:pt idx="4336">
                  <c:v>45153</c:v>
                </c:pt>
                <c:pt idx="4337">
                  <c:v>45154</c:v>
                </c:pt>
                <c:pt idx="4338">
                  <c:v>45155</c:v>
                </c:pt>
                <c:pt idx="4339">
                  <c:v>45156</c:v>
                </c:pt>
                <c:pt idx="4340">
                  <c:v>45159</c:v>
                </c:pt>
                <c:pt idx="4341">
                  <c:v>45160</c:v>
                </c:pt>
                <c:pt idx="4342">
                  <c:v>45161</c:v>
                </c:pt>
                <c:pt idx="4343">
                  <c:v>45162</c:v>
                </c:pt>
                <c:pt idx="4344">
                  <c:v>45163</c:v>
                </c:pt>
                <c:pt idx="4345">
                  <c:v>45166</c:v>
                </c:pt>
                <c:pt idx="4346">
                  <c:v>45167</c:v>
                </c:pt>
                <c:pt idx="4347">
                  <c:v>45168</c:v>
                </c:pt>
                <c:pt idx="4348">
                  <c:v>45169</c:v>
                </c:pt>
                <c:pt idx="4349">
                  <c:v>45170</c:v>
                </c:pt>
                <c:pt idx="4350">
                  <c:v>45173</c:v>
                </c:pt>
                <c:pt idx="4351">
                  <c:v>45174</c:v>
                </c:pt>
                <c:pt idx="4352">
                  <c:v>45175</c:v>
                </c:pt>
                <c:pt idx="4353">
                  <c:v>45176</c:v>
                </c:pt>
                <c:pt idx="4354">
                  <c:v>45177</c:v>
                </c:pt>
                <c:pt idx="4355">
                  <c:v>45180</c:v>
                </c:pt>
                <c:pt idx="4356">
                  <c:v>45181</c:v>
                </c:pt>
                <c:pt idx="4357">
                  <c:v>45182</c:v>
                </c:pt>
                <c:pt idx="4358">
                  <c:v>45183</c:v>
                </c:pt>
                <c:pt idx="4359">
                  <c:v>45184</c:v>
                </c:pt>
                <c:pt idx="4360">
                  <c:v>45187</c:v>
                </c:pt>
                <c:pt idx="4361">
                  <c:v>45188</c:v>
                </c:pt>
                <c:pt idx="4362">
                  <c:v>45189</c:v>
                </c:pt>
                <c:pt idx="4363">
                  <c:v>45190</c:v>
                </c:pt>
                <c:pt idx="4364">
                  <c:v>45191</c:v>
                </c:pt>
                <c:pt idx="4365">
                  <c:v>45194</c:v>
                </c:pt>
                <c:pt idx="4366">
                  <c:v>45195</c:v>
                </c:pt>
                <c:pt idx="4367">
                  <c:v>45196</c:v>
                </c:pt>
                <c:pt idx="4368">
                  <c:v>45197</c:v>
                </c:pt>
                <c:pt idx="4369">
                  <c:v>45198</c:v>
                </c:pt>
                <c:pt idx="4370">
                  <c:v>45201</c:v>
                </c:pt>
                <c:pt idx="4371">
                  <c:v>45202</c:v>
                </c:pt>
                <c:pt idx="4372">
                  <c:v>45203</c:v>
                </c:pt>
                <c:pt idx="4373">
                  <c:v>45204</c:v>
                </c:pt>
                <c:pt idx="4374">
                  <c:v>45205</c:v>
                </c:pt>
                <c:pt idx="4375">
                  <c:v>45208</c:v>
                </c:pt>
                <c:pt idx="4376">
                  <c:v>45209</c:v>
                </c:pt>
                <c:pt idx="4377">
                  <c:v>45210</c:v>
                </c:pt>
                <c:pt idx="4378">
                  <c:v>45211</c:v>
                </c:pt>
                <c:pt idx="4379">
                  <c:v>45212</c:v>
                </c:pt>
                <c:pt idx="4380">
                  <c:v>45215</c:v>
                </c:pt>
                <c:pt idx="4381">
                  <c:v>45216</c:v>
                </c:pt>
                <c:pt idx="4382">
                  <c:v>45217</c:v>
                </c:pt>
                <c:pt idx="4383">
                  <c:v>45218</c:v>
                </c:pt>
                <c:pt idx="4384">
                  <c:v>45219</c:v>
                </c:pt>
                <c:pt idx="4385">
                  <c:v>45222</c:v>
                </c:pt>
                <c:pt idx="4386">
                  <c:v>45223</c:v>
                </c:pt>
                <c:pt idx="4387">
                  <c:v>45224</c:v>
                </c:pt>
                <c:pt idx="4388">
                  <c:v>45225</c:v>
                </c:pt>
                <c:pt idx="4389">
                  <c:v>45226</c:v>
                </c:pt>
                <c:pt idx="4390">
                  <c:v>45229</c:v>
                </c:pt>
                <c:pt idx="4391">
                  <c:v>45230</c:v>
                </c:pt>
                <c:pt idx="4392">
                  <c:v>45231</c:v>
                </c:pt>
                <c:pt idx="4393">
                  <c:v>45232</c:v>
                </c:pt>
                <c:pt idx="4394">
                  <c:v>45233</c:v>
                </c:pt>
                <c:pt idx="4395">
                  <c:v>45236</c:v>
                </c:pt>
                <c:pt idx="4396">
                  <c:v>45237</c:v>
                </c:pt>
                <c:pt idx="4397">
                  <c:v>45238</c:v>
                </c:pt>
                <c:pt idx="4398">
                  <c:v>45239</c:v>
                </c:pt>
                <c:pt idx="4399">
                  <c:v>45240</c:v>
                </c:pt>
                <c:pt idx="4400">
                  <c:v>45243</c:v>
                </c:pt>
                <c:pt idx="4401">
                  <c:v>45244</c:v>
                </c:pt>
                <c:pt idx="4402">
                  <c:v>45245</c:v>
                </c:pt>
                <c:pt idx="4403">
                  <c:v>45246</c:v>
                </c:pt>
                <c:pt idx="4404">
                  <c:v>45247</c:v>
                </c:pt>
                <c:pt idx="4405">
                  <c:v>45250</c:v>
                </c:pt>
                <c:pt idx="4406">
                  <c:v>45251</c:v>
                </c:pt>
                <c:pt idx="4407">
                  <c:v>45252</c:v>
                </c:pt>
                <c:pt idx="4408">
                  <c:v>45253</c:v>
                </c:pt>
                <c:pt idx="4409">
                  <c:v>45254</c:v>
                </c:pt>
                <c:pt idx="4410">
                  <c:v>45257</c:v>
                </c:pt>
                <c:pt idx="4411">
                  <c:v>45258</c:v>
                </c:pt>
                <c:pt idx="4412">
                  <c:v>45259</c:v>
                </c:pt>
                <c:pt idx="4413">
                  <c:v>45260</c:v>
                </c:pt>
                <c:pt idx="4414">
                  <c:v>45261</c:v>
                </c:pt>
                <c:pt idx="4415">
                  <c:v>45264</c:v>
                </c:pt>
                <c:pt idx="4416">
                  <c:v>45265</c:v>
                </c:pt>
                <c:pt idx="4417">
                  <c:v>45266</c:v>
                </c:pt>
                <c:pt idx="4418">
                  <c:v>45267</c:v>
                </c:pt>
                <c:pt idx="4419">
                  <c:v>45268</c:v>
                </c:pt>
                <c:pt idx="4420">
                  <c:v>45271</c:v>
                </c:pt>
                <c:pt idx="4421">
                  <c:v>45272</c:v>
                </c:pt>
                <c:pt idx="4422">
                  <c:v>45273</c:v>
                </c:pt>
                <c:pt idx="4423">
                  <c:v>45274</c:v>
                </c:pt>
                <c:pt idx="4424">
                  <c:v>45275</c:v>
                </c:pt>
                <c:pt idx="4425">
                  <c:v>45278</c:v>
                </c:pt>
                <c:pt idx="4426">
                  <c:v>45279</c:v>
                </c:pt>
                <c:pt idx="4427">
                  <c:v>45280</c:v>
                </c:pt>
                <c:pt idx="4428">
                  <c:v>45281</c:v>
                </c:pt>
                <c:pt idx="4429">
                  <c:v>45282</c:v>
                </c:pt>
                <c:pt idx="4430">
                  <c:v>45285</c:v>
                </c:pt>
                <c:pt idx="4431">
                  <c:v>45286</c:v>
                </c:pt>
                <c:pt idx="4432">
                  <c:v>45287</c:v>
                </c:pt>
                <c:pt idx="4433">
                  <c:v>45288</c:v>
                </c:pt>
                <c:pt idx="4434">
                  <c:v>45289</c:v>
                </c:pt>
                <c:pt idx="4435">
                  <c:v>45292</c:v>
                </c:pt>
                <c:pt idx="4436">
                  <c:v>45293</c:v>
                </c:pt>
                <c:pt idx="4437">
                  <c:v>45294</c:v>
                </c:pt>
                <c:pt idx="4438">
                  <c:v>45295</c:v>
                </c:pt>
                <c:pt idx="4439">
                  <c:v>45296</c:v>
                </c:pt>
                <c:pt idx="4440">
                  <c:v>45299</c:v>
                </c:pt>
                <c:pt idx="4441">
                  <c:v>45300</c:v>
                </c:pt>
                <c:pt idx="4442">
                  <c:v>45301</c:v>
                </c:pt>
                <c:pt idx="4443">
                  <c:v>45302</c:v>
                </c:pt>
                <c:pt idx="4444">
                  <c:v>45303</c:v>
                </c:pt>
                <c:pt idx="4445">
                  <c:v>45306</c:v>
                </c:pt>
                <c:pt idx="4446">
                  <c:v>45307</c:v>
                </c:pt>
                <c:pt idx="4447">
                  <c:v>45308</c:v>
                </c:pt>
                <c:pt idx="4448">
                  <c:v>45309</c:v>
                </c:pt>
                <c:pt idx="4449">
                  <c:v>45310</c:v>
                </c:pt>
                <c:pt idx="4450">
                  <c:v>45313</c:v>
                </c:pt>
                <c:pt idx="4451">
                  <c:v>45314</c:v>
                </c:pt>
                <c:pt idx="4452">
                  <c:v>45315</c:v>
                </c:pt>
                <c:pt idx="4453">
                  <c:v>45316</c:v>
                </c:pt>
                <c:pt idx="4454">
                  <c:v>45317</c:v>
                </c:pt>
                <c:pt idx="4455">
                  <c:v>45320</c:v>
                </c:pt>
                <c:pt idx="4456">
                  <c:v>45321</c:v>
                </c:pt>
                <c:pt idx="4457">
                  <c:v>45322</c:v>
                </c:pt>
                <c:pt idx="4458">
                  <c:v>45323</c:v>
                </c:pt>
                <c:pt idx="4459">
                  <c:v>45324</c:v>
                </c:pt>
                <c:pt idx="4460">
                  <c:v>45327</c:v>
                </c:pt>
                <c:pt idx="4461">
                  <c:v>45328</c:v>
                </c:pt>
                <c:pt idx="4462">
                  <c:v>45329</c:v>
                </c:pt>
                <c:pt idx="4463">
                  <c:v>45330</c:v>
                </c:pt>
                <c:pt idx="4464">
                  <c:v>45331</c:v>
                </c:pt>
                <c:pt idx="4465">
                  <c:v>45334</c:v>
                </c:pt>
                <c:pt idx="4466">
                  <c:v>45335</c:v>
                </c:pt>
                <c:pt idx="4467">
                  <c:v>45336</c:v>
                </c:pt>
                <c:pt idx="4468">
                  <c:v>45337</c:v>
                </c:pt>
                <c:pt idx="4469">
                  <c:v>45338</c:v>
                </c:pt>
                <c:pt idx="4470">
                  <c:v>45341</c:v>
                </c:pt>
                <c:pt idx="4471">
                  <c:v>45342</c:v>
                </c:pt>
                <c:pt idx="4472">
                  <c:v>45343</c:v>
                </c:pt>
                <c:pt idx="4473">
                  <c:v>45344</c:v>
                </c:pt>
                <c:pt idx="4474">
                  <c:v>45345</c:v>
                </c:pt>
                <c:pt idx="4475">
                  <c:v>45348</c:v>
                </c:pt>
                <c:pt idx="4476">
                  <c:v>45349</c:v>
                </c:pt>
                <c:pt idx="4477">
                  <c:v>45350</c:v>
                </c:pt>
                <c:pt idx="4478">
                  <c:v>45351</c:v>
                </c:pt>
                <c:pt idx="4479">
                  <c:v>45352</c:v>
                </c:pt>
                <c:pt idx="4480">
                  <c:v>45355</c:v>
                </c:pt>
                <c:pt idx="4481">
                  <c:v>45356</c:v>
                </c:pt>
                <c:pt idx="4482">
                  <c:v>45357</c:v>
                </c:pt>
                <c:pt idx="4483">
                  <c:v>45358</c:v>
                </c:pt>
                <c:pt idx="4484">
                  <c:v>45359</c:v>
                </c:pt>
                <c:pt idx="4485">
                  <c:v>45362</c:v>
                </c:pt>
                <c:pt idx="4486">
                  <c:v>45363</c:v>
                </c:pt>
                <c:pt idx="4487">
                  <c:v>45364</c:v>
                </c:pt>
                <c:pt idx="4488">
                  <c:v>45365</c:v>
                </c:pt>
                <c:pt idx="4489">
                  <c:v>45366</c:v>
                </c:pt>
                <c:pt idx="4490">
                  <c:v>45369</c:v>
                </c:pt>
                <c:pt idx="4491">
                  <c:v>45370</c:v>
                </c:pt>
                <c:pt idx="4492">
                  <c:v>45371</c:v>
                </c:pt>
                <c:pt idx="4493">
                  <c:v>45372</c:v>
                </c:pt>
                <c:pt idx="4494">
                  <c:v>45373</c:v>
                </c:pt>
                <c:pt idx="4495">
                  <c:v>45376</c:v>
                </c:pt>
                <c:pt idx="4496">
                  <c:v>45377</c:v>
                </c:pt>
                <c:pt idx="4497">
                  <c:v>45378</c:v>
                </c:pt>
                <c:pt idx="4498">
                  <c:v>45379</c:v>
                </c:pt>
                <c:pt idx="4499">
                  <c:v>45380</c:v>
                </c:pt>
                <c:pt idx="4500">
                  <c:v>45383</c:v>
                </c:pt>
                <c:pt idx="4501">
                  <c:v>45384</c:v>
                </c:pt>
                <c:pt idx="4502">
                  <c:v>45385</c:v>
                </c:pt>
                <c:pt idx="4503">
                  <c:v>45386</c:v>
                </c:pt>
                <c:pt idx="4504">
                  <c:v>45387</c:v>
                </c:pt>
                <c:pt idx="4505">
                  <c:v>45390</c:v>
                </c:pt>
                <c:pt idx="4506">
                  <c:v>45391</c:v>
                </c:pt>
                <c:pt idx="4507">
                  <c:v>45392</c:v>
                </c:pt>
                <c:pt idx="4508">
                  <c:v>45393</c:v>
                </c:pt>
                <c:pt idx="4509">
                  <c:v>45394</c:v>
                </c:pt>
                <c:pt idx="4510">
                  <c:v>45397</c:v>
                </c:pt>
                <c:pt idx="4511">
                  <c:v>45398</c:v>
                </c:pt>
                <c:pt idx="4512">
                  <c:v>45399</c:v>
                </c:pt>
                <c:pt idx="4513">
                  <c:v>45400</c:v>
                </c:pt>
                <c:pt idx="4514">
                  <c:v>45401</c:v>
                </c:pt>
                <c:pt idx="4515">
                  <c:v>45404</c:v>
                </c:pt>
                <c:pt idx="4516">
                  <c:v>45405</c:v>
                </c:pt>
                <c:pt idx="4517">
                  <c:v>45406</c:v>
                </c:pt>
                <c:pt idx="4518">
                  <c:v>45407</c:v>
                </c:pt>
                <c:pt idx="4519">
                  <c:v>45408</c:v>
                </c:pt>
                <c:pt idx="4520">
                  <c:v>45411</c:v>
                </c:pt>
                <c:pt idx="4521">
                  <c:v>45412</c:v>
                </c:pt>
                <c:pt idx="4522">
                  <c:v>45413</c:v>
                </c:pt>
                <c:pt idx="4523">
                  <c:v>45414</c:v>
                </c:pt>
                <c:pt idx="4524">
                  <c:v>45415</c:v>
                </c:pt>
                <c:pt idx="4525">
                  <c:v>45418</c:v>
                </c:pt>
                <c:pt idx="4526">
                  <c:v>45419</c:v>
                </c:pt>
                <c:pt idx="4527">
                  <c:v>45420</c:v>
                </c:pt>
                <c:pt idx="4528">
                  <c:v>45421</c:v>
                </c:pt>
                <c:pt idx="4529">
                  <c:v>45422</c:v>
                </c:pt>
                <c:pt idx="4530">
                  <c:v>45425</c:v>
                </c:pt>
                <c:pt idx="4531">
                  <c:v>45426</c:v>
                </c:pt>
                <c:pt idx="4532">
                  <c:v>45427</c:v>
                </c:pt>
                <c:pt idx="4533">
                  <c:v>45428</c:v>
                </c:pt>
                <c:pt idx="4534">
                  <c:v>45429</c:v>
                </c:pt>
                <c:pt idx="4535">
                  <c:v>45432</c:v>
                </c:pt>
                <c:pt idx="4536">
                  <c:v>45433</c:v>
                </c:pt>
                <c:pt idx="4537">
                  <c:v>45434</c:v>
                </c:pt>
                <c:pt idx="4538">
                  <c:v>45435</c:v>
                </c:pt>
                <c:pt idx="4539">
                  <c:v>45436</c:v>
                </c:pt>
                <c:pt idx="4540">
                  <c:v>45439</c:v>
                </c:pt>
                <c:pt idx="4541">
                  <c:v>45440</c:v>
                </c:pt>
                <c:pt idx="4542">
                  <c:v>45441</c:v>
                </c:pt>
                <c:pt idx="4543">
                  <c:v>45442</c:v>
                </c:pt>
                <c:pt idx="4544">
                  <c:v>45443</c:v>
                </c:pt>
                <c:pt idx="4545">
                  <c:v>45446</c:v>
                </c:pt>
                <c:pt idx="4546">
                  <c:v>45447</c:v>
                </c:pt>
                <c:pt idx="4547">
                  <c:v>45448</c:v>
                </c:pt>
                <c:pt idx="4548">
                  <c:v>45449</c:v>
                </c:pt>
                <c:pt idx="4549">
                  <c:v>45450</c:v>
                </c:pt>
                <c:pt idx="4550">
                  <c:v>45453</c:v>
                </c:pt>
                <c:pt idx="4551">
                  <c:v>45454</c:v>
                </c:pt>
                <c:pt idx="4552">
                  <c:v>45455</c:v>
                </c:pt>
                <c:pt idx="4553">
                  <c:v>45456</c:v>
                </c:pt>
                <c:pt idx="4554">
                  <c:v>45457</c:v>
                </c:pt>
                <c:pt idx="4555">
                  <c:v>45460</c:v>
                </c:pt>
                <c:pt idx="4556">
                  <c:v>45461</c:v>
                </c:pt>
                <c:pt idx="4557">
                  <c:v>45462</c:v>
                </c:pt>
                <c:pt idx="4558">
                  <c:v>45463</c:v>
                </c:pt>
                <c:pt idx="4559">
                  <c:v>45464</c:v>
                </c:pt>
                <c:pt idx="4560">
                  <c:v>45467</c:v>
                </c:pt>
                <c:pt idx="4561">
                  <c:v>45468</c:v>
                </c:pt>
                <c:pt idx="4562">
                  <c:v>45469</c:v>
                </c:pt>
                <c:pt idx="4563">
                  <c:v>45470</c:v>
                </c:pt>
                <c:pt idx="4564">
                  <c:v>45471</c:v>
                </c:pt>
                <c:pt idx="4565">
                  <c:v>45474</c:v>
                </c:pt>
                <c:pt idx="4566">
                  <c:v>45475</c:v>
                </c:pt>
                <c:pt idx="4567">
                  <c:v>45476</c:v>
                </c:pt>
                <c:pt idx="4568">
                  <c:v>45477</c:v>
                </c:pt>
                <c:pt idx="4569">
                  <c:v>45478</c:v>
                </c:pt>
                <c:pt idx="4570">
                  <c:v>45481</c:v>
                </c:pt>
                <c:pt idx="4571">
                  <c:v>45482</c:v>
                </c:pt>
                <c:pt idx="4572">
                  <c:v>45483</c:v>
                </c:pt>
                <c:pt idx="4573">
                  <c:v>45484</c:v>
                </c:pt>
                <c:pt idx="4574">
                  <c:v>45485</c:v>
                </c:pt>
                <c:pt idx="4575">
                  <c:v>45488</c:v>
                </c:pt>
                <c:pt idx="4576">
                  <c:v>45489</c:v>
                </c:pt>
                <c:pt idx="4577">
                  <c:v>45490</c:v>
                </c:pt>
                <c:pt idx="4578">
                  <c:v>45491</c:v>
                </c:pt>
                <c:pt idx="4579">
                  <c:v>45492</c:v>
                </c:pt>
                <c:pt idx="4580">
                  <c:v>45495</c:v>
                </c:pt>
                <c:pt idx="4581">
                  <c:v>45496</c:v>
                </c:pt>
                <c:pt idx="4582">
                  <c:v>45497</c:v>
                </c:pt>
                <c:pt idx="4583">
                  <c:v>45498</c:v>
                </c:pt>
                <c:pt idx="4584">
                  <c:v>45499</c:v>
                </c:pt>
                <c:pt idx="4585">
                  <c:v>45502</c:v>
                </c:pt>
                <c:pt idx="4586">
                  <c:v>45503</c:v>
                </c:pt>
                <c:pt idx="4587">
                  <c:v>45504</c:v>
                </c:pt>
              </c:numCache>
            </c:numRef>
          </c:cat>
          <c:val>
            <c:numRef>
              <c:f>Worksheet!$D$8:$D$6089</c:f>
              <c:numCache>
                <c:formatCode>General</c:formatCode>
                <c:ptCount val="6082"/>
                <c:pt idx="0">
                  <c:v>15.571199999999999</c:v>
                </c:pt>
                <c:pt idx="1">
                  <c:v>15.780900000000001</c:v>
                </c:pt>
                <c:pt idx="2">
                  <c:v>15.773</c:v>
                </c:pt>
                <c:pt idx="3">
                  <c:v>15.717700000000001</c:v>
                </c:pt>
                <c:pt idx="4">
                  <c:v>15.5951</c:v>
                </c:pt>
                <c:pt idx="5">
                  <c:v>15.5808</c:v>
                </c:pt>
                <c:pt idx="6">
                  <c:v>15.625400000000001</c:v>
                </c:pt>
                <c:pt idx="7">
                  <c:v>15.537100000000001</c:v>
                </c:pt>
                <c:pt idx="8">
                  <c:v>15.798500000000001</c:v>
                </c:pt>
                <c:pt idx="9">
                  <c:v>15.8612</c:v>
                </c:pt>
                <c:pt idx="10">
                  <c:v>15.946999999999999</c:v>
                </c:pt>
                <c:pt idx="11">
                  <c:v>15.850899999999999</c:v>
                </c:pt>
                <c:pt idx="12">
                  <c:v>15.830399999999999</c:v>
                </c:pt>
                <c:pt idx="13">
                  <c:v>15.8117</c:v>
                </c:pt>
                <c:pt idx="14">
                  <c:v>15.9191</c:v>
                </c:pt>
                <c:pt idx="15">
                  <c:v>15.895200000000001</c:v>
                </c:pt>
                <c:pt idx="16">
                  <c:v>15.890499999999999</c:v>
                </c:pt>
                <c:pt idx="17">
                  <c:v>16.038399999999999</c:v>
                </c:pt>
                <c:pt idx="18">
                  <c:v>15.9832</c:v>
                </c:pt>
                <c:pt idx="19">
                  <c:v>15.8588</c:v>
                </c:pt>
                <c:pt idx="20">
                  <c:v>15.8903</c:v>
                </c:pt>
                <c:pt idx="21">
                  <c:v>15.953799999999999</c:v>
                </c:pt>
                <c:pt idx="22">
                  <c:v>15.831099999999999</c:v>
                </c:pt>
                <c:pt idx="23">
                  <c:v>16.018999999999998</c:v>
                </c:pt>
                <c:pt idx="24">
                  <c:v>16.1023</c:v>
                </c:pt>
                <c:pt idx="25">
                  <c:v>16.0976</c:v>
                </c:pt>
                <c:pt idx="26">
                  <c:v>16.125399999999999</c:v>
                </c:pt>
                <c:pt idx="27">
                  <c:v>16.1616</c:v>
                </c:pt>
                <c:pt idx="28">
                  <c:v>16.005700000000001</c:v>
                </c:pt>
                <c:pt idx="29">
                  <c:v>16.090299999999999</c:v>
                </c:pt>
                <c:pt idx="30">
                  <c:v>15.9978</c:v>
                </c:pt>
                <c:pt idx="31">
                  <c:v>16.1479</c:v>
                </c:pt>
                <c:pt idx="32">
                  <c:v>16.2697</c:v>
                </c:pt>
                <c:pt idx="33">
                  <c:v>16.2624</c:v>
                </c:pt>
                <c:pt idx="34">
                  <c:v>16.243099999999998</c:v>
                </c:pt>
                <c:pt idx="35">
                  <c:v>16.21</c:v>
                </c:pt>
                <c:pt idx="36">
                  <c:v>16.222799999999999</c:v>
                </c:pt>
                <c:pt idx="37">
                  <c:v>16.119599999999998</c:v>
                </c:pt>
                <c:pt idx="38">
                  <c:v>16.214700000000001</c:v>
                </c:pt>
                <c:pt idx="39">
                  <c:v>16.239999999999998</c:v>
                </c:pt>
                <c:pt idx="40">
                  <c:v>16.2621</c:v>
                </c:pt>
                <c:pt idx="41">
                  <c:v>15.7577</c:v>
                </c:pt>
                <c:pt idx="42">
                  <c:v>15.5105</c:v>
                </c:pt>
                <c:pt idx="43">
                  <c:v>15.396000000000001</c:v>
                </c:pt>
                <c:pt idx="44">
                  <c:v>15.326499999999999</c:v>
                </c:pt>
                <c:pt idx="45">
                  <c:v>15.119199999999999</c:v>
                </c:pt>
                <c:pt idx="46">
                  <c:v>15.304399999999999</c:v>
                </c:pt>
                <c:pt idx="47">
                  <c:v>13.334300000000001</c:v>
                </c:pt>
                <c:pt idx="48">
                  <c:v>13.526</c:v>
                </c:pt>
                <c:pt idx="49">
                  <c:v>13.5428</c:v>
                </c:pt>
                <c:pt idx="50">
                  <c:v>13.4885</c:v>
                </c:pt>
                <c:pt idx="51">
                  <c:v>13.351900000000001</c:v>
                </c:pt>
                <c:pt idx="52">
                  <c:v>12.9968</c:v>
                </c:pt>
                <c:pt idx="53">
                  <c:v>13.258599999999999</c:v>
                </c:pt>
                <c:pt idx="54">
                  <c:v>13.2698</c:v>
                </c:pt>
                <c:pt idx="55">
                  <c:v>13.431900000000001</c:v>
                </c:pt>
                <c:pt idx="56">
                  <c:v>13.534800000000001</c:v>
                </c:pt>
                <c:pt idx="57">
                  <c:v>13.595000000000001</c:v>
                </c:pt>
                <c:pt idx="58">
                  <c:v>13.785299999999999</c:v>
                </c:pt>
                <c:pt idx="59">
                  <c:v>13.8521</c:v>
                </c:pt>
                <c:pt idx="60">
                  <c:v>13.7357</c:v>
                </c:pt>
                <c:pt idx="61">
                  <c:v>13.7204</c:v>
                </c:pt>
                <c:pt idx="62">
                  <c:v>13.646599999999999</c:v>
                </c:pt>
                <c:pt idx="63">
                  <c:v>13.806900000000001</c:v>
                </c:pt>
                <c:pt idx="64">
                  <c:v>13.821099999999999</c:v>
                </c:pt>
                <c:pt idx="65">
                  <c:v>13.882099999999999</c:v>
                </c:pt>
                <c:pt idx="66">
                  <c:v>14.024900000000001</c:v>
                </c:pt>
                <c:pt idx="67">
                  <c:v>14.0456</c:v>
                </c:pt>
                <c:pt idx="68">
                  <c:v>14.066800000000001</c:v>
                </c:pt>
                <c:pt idx="69">
                  <c:v>14.0665</c:v>
                </c:pt>
                <c:pt idx="70">
                  <c:v>14.068899999999999</c:v>
                </c:pt>
                <c:pt idx="71">
                  <c:v>14.125400000000001</c:v>
                </c:pt>
                <c:pt idx="72">
                  <c:v>14.1495</c:v>
                </c:pt>
                <c:pt idx="73">
                  <c:v>14.1083</c:v>
                </c:pt>
                <c:pt idx="74">
                  <c:v>14.198399999999999</c:v>
                </c:pt>
                <c:pt idx="75">
                  <c:v>14.370699999999999</c:v>
                </c:pt>
                <c:pt idx="76">
                  <c:v>14.3551</c:v>
                </c:pt>
                <c:pt idx="77">
                  <c:v>14.285299999999999</c:v>
                </c:pt>
                <c:pt idx="78">
                  <c:v>14.2356</c:v>
                </c:pt>
                <c:pt idx="79">
                  <c:v>14.404400000000001</c:v>
                </c:pt>
                <c:pt idx="80">
                  <c:v>14.376300000000001</c:v>
                </c:pt>
                <c:pt idx="81">
                  <c:v>14.255100000000001</c:v>
                </c:pt>
                <c:pt idx="82">
                  <c:v>14.360799999999999</c:v>
                </c:pt>
                <c:pt idx="83">
                  <c:v>14.374000000000001</c:v>
                </c:pt>
                <c:pt idx="84">
                  <c:v>14.277100000000001</c:v>
                </c:pt>
                <c:pt idx="85">
                  <c:v>14.314299999999999</c:v>
                </c:pt>
                <c:pt idx="86">
                  <c:v>14.287599999999999</c:v>
                </c:pt>
                <c:pt idx="87">
                  <c:v>14.3446</c:v>
                </c:pt>
                <c:pt idx="88">
                  <c:v>14.3705</c:v>
                </c:pt>
                <c:pt idx="89">
                  <c:v>14.480600000000001</c:v>
                </c:pt>
                <c:pt idx="90">
                  <c:v>14.4802</c:v>
                </c:pt>
                <c:pt idx="91">
                  <c:v>14.3462</c:v>
                </c:pt>
                <c:pt idx="92">
                  <c:v>14.3447</c:v>
                </c:pt>
                <c:pt idx="93">
                  <c:v>14.2014</c:v>
                </c:pt>
                <c:pt idx="94">
                  <c:v>14.278</c:v>
                </c:pt>
                <c:pt idx="95">
                  <c:v>14.259</c:v>
                </c:pt>
                <c:pt idx="96">
                  <c:v>14.3017</c:v>
                </c:pt>
                <c:pt idx="97">
                  <c:v>14.2294</c:v>
                </c:pt>
                <c:pt idx="98">
                  <c:v>14.247999999999999</c:v>
                </c:pt>
                <c:pt idx="99">
                  <c:v>14.3741</c:v>
                </c:pt>
                <c:pt idx="100">
                  <c:v>14.343999999999999</c:v>
                </c:pt>
                <c:pt idx="101">
                  <c:v>14.318099999999999</c:v>
                </c:pt>
                <c:pt idx="102">
                  <c:v>14.4209</c:v>
                </c:pt>
                <c:pt idx="103">
                  <c:v>14.3087</c:v>
                </c:pt>
                <c:pt idx="104">
                  <c:v>14.298299999999999</c:v>
                </c:pt>
                <c:pt idx="105">
                  <c:v>14.3201</c:v>
                </c:pt>
                <c:pt idx="106">
                  <c:v>14.4496</c:v>
                </c:pt>
                <c:pt idx="107">
                  <c:v>14.2925</c:v>
                </c:pt>
                <c:pt idx="108">
                  <c:v>14.404</c:v>
                </c:pt>
                <c:pt idx="109">
                  <c:v>14.5282</c:v>
                </c:pt>
                <c:pt idx="110">
                  <c:v>14.4771</c:v>
                </c:pt>
                <c:pt idx="111">
                  <c:v>14.4252</c:v>
                </c:pt>
                <c:pt idx="112">
                  <c:v>14.1805</c:v>
                </c:pt>
                <c:pt idx="113">
                  <c:v>14.0046</c:v>
                </c:pt>
                <c:pt idx="114">
                  <c:v>13.9795</c:v>
                </c:pt>
                <c:pt idx="115">
                  <c:v>14.1135</c:v>
                </c:pt>
                <c:pt idx="116">
                  <c:v>14.0334</c:v>
                </c:pt>
                <c:pt idx="117">
                  <c:v>14.0839</c:v>
                </c:pt>
                <c:pt idx="118">
                  <c:v>14.3057</c:v>
                </c:pt>
                <c:pt idx="119">
                  <c:v>14.488300000000001</c:v>
                </c:pt>
                <c:pt idx="120">
                  <c:v>14.451599999999999</c:v>
                </c:pt>
                <c:pt idx="121">
                  <c:v>14.3917</c:v>
                </c:pt>
                <c:pt idx="122">
                  <c:v>14.4411</c:v>
                </c:pt>
                <c:pt idx="123">
                  <c:v>14.276</c:v>
                </c:pt>
                <c:pt idx="124">
                  <c:v>14.2272</c:v>
                </c:pt>
                <c:pt idx="125">
                  <c:v>14.208</c:v>
                </c:pt>
                <c:pt idx="126">
                  <c:v>14.099500000000001</c:v>
                </c:pt>
                <c:pt idx="127">
                  <c:v>14.0306</c:v>
                </c:pt>
                <c:pt idx="128">
                  <c:v>14.164899999999999</c:v>
                </c:pt>
                <c:pt idx="129">
                  <c:v>14.251099999999999</c:v>
                </c:pt>
                <c:pt idx="130">
                  <c:v>14.1922</c:v>
                </c:pt>
                <c:pt idx="131">
                  <c:v>14.3239</c:v>
                </c:pt>
                <c:pt idx="132">
                  <c:v>14.4018</c:v>
                </c:pt>
                <c:pt idx="133">
                  <c:v>14.308999999999999</c:v>
                </c:pt>
                <c:pt idx="134">
                  <c:v>14.401</c:v>
                </c:pt>
                <c:pt idx="135">
                  <c:v>14.449199999999999</c:v>
                </c:pt>
                <c:pt idx="136">
                  <c:v>14.2965</c:v>
                </c:pt>
                <c:pt idx="137">
                  <c:v>14.2569</c:v>
                </c:pt>
                <c:pt idx="138">
                  <c:v>14.430199999999999</c:v>
                </c:pt>
                <c:pt idx="139">
                  <c:v>14.491199999999999</c:v>
                </c:pt>
                <c:pt idx="140">
                  <c:v>14.5243</c:v>
                </c:pt>
                <c:pt idx="141">
                  <c:v>14.4398</c:v>
                </c:pt>
                <c:pt idx="142">
                  <c:v>14.2676</c:v>
                </c:pt>
                <c:pt idx="143">
                  <c:v>14.407500000000001</c:v>
                </c:pt>
                <c:pt idx="144">
                  <c:v>14.235099999999999</c:v>
                </c:pt>
                <c:pt idx="145">
                  <c:v>14.3186</c:v>
                </c:pt>
                <c:pt idx="146">
                  <c:v>14.098000000000001</c:v>
                </c:pt>
                <c:pt idx="147">
                  <c:v>13.9496</c:v>
                </c:pt>
                <c:pt idx="148">
                  <c:v>13.5504</c:v>
                </c:pt>
                <c:pt idx="149">
                  <c:v>13.4674</c:v>
                </c:pt>
                <c:pt idx="150">
                  <c:v>13.445</c:v>
                </c:pt>
                <c:pt idx="151">
                  <c:v>13.7247</c:v>
                </c:pt>
                <c:pt idx="152">
                  <c:v>13.510999999999999</c:v>
                </c:pt>
                <c:pt idx="153">
                  <c:v>13.6083</c:v>
                </c:pt>
                <c:pt idx="154">
                  <c:v>13.422800000000001</c:v>
                </c:pt>
                <c:pt idx="155">
                  <c:v>13.2949</c:v>
                </c:pt>
                <c:pt idx="156">
                  <c:v>13.464499999999999</c:v>
                </c:pt>
                <c:pt idx="157">
                  <c:v>13.7356</c:v>
                </c:pt>
                <c:pt idx="158">
                  <c:v>13.4747</c:v>
                </c:pt>
                <c:pt idx="159">
                  <c:v>13.055300000000001</c:v>
                </c:pt>
                <c:pt idx="160">
                  <c:v>13.324999999999999</c:v>
                </c:pt>
                <c:pt idx="161">
                  <c:v>13.1653</c:v>
                </c:pt>
                <c:pt idx="162">
                  <c:v>13.119</c:v>
                </c:pt>
                <c:pt idx="163">
                  <c:v>12.6366</c:v>
                </c:pt>
                <c:pt idx="164">
                  <c:v>12.9217</c:v>
                </c:pt>
                <c:pt idx="165">
                  <c:v>12.9998</c:v>
                </c:pt>
                <c:pt idx="166">
                  <c:v>13.0014</c:v>
                </c:pt>
                <c:pt idx="167">
                  <c:v>13.2379</c:v>
                </c:pt>
                <c:pt idx="168">
                  <c:v>13.2418</c:v>
                </c:pt>
                <c:pt idx="169">
                  <c:v>13.304600000000001</c:v>
                </c:pt>
                <c:pt idx="170">
                  <c:v>13.324299999999999</c:v>
                </c:pt>
                <c:pt idx="171">
                  <c:v>13.0877</c:v>
                </c:pt>
                <c:pt idx="172">
                  <c:v>13.166</c:v>
                </c:pt>
                <c:pt idx="173">
                  <c:v>13.3025</c:v>
                </c:pt>
                <c:pt idx="174">
                  <c:v>13.4651</c:v>
                </c:pt>
                <c:pt idx="175">
                  <c:v>13.479900000000001</c:v>
                </c:pt>
                <c:pt idx="176">
                  <c:v>13.561400000000001</c:v>
                </c:pt>
                <c:pt idx="177">
                  <c:v>13.3253</c:v>
                </c:pt>
                <c:pt idx="178">
                  <c:v>13.3635</c:v>
                </c:pt>
                <c:pt idx="179">
                  <c:v>13.081</c:v>
                </c:pt>
                <c:pt idx="180">
                  <c:v>12.9716</c:v>
                </c:pt>
                <c:pt idx="181">
                  <c:v>13.207599999999999</c:v>
                </c:pt>
                <c:pt idx="182">
                  <c:v>13.257</c:v>
                </c:pt>
                <c:pt idx="183">
                  <c:v>13.3653</c:v>
                </c:pt>
                <c:pt idx="184">
                  <c:v>13.2149</c:v>
                </c:pt>
                <c:pt idx="185">
                  <c:v>13.0364</c:v>
                </c:pt>
                <c:pt idx="186">
                  <c:v>13.2372</c:v>
                </c:pt>
                <c:pt idx="187">
                  <c:v>13.6105</c:v>
                </c:pt>
                <c:pt idx="188">
                  <c:v>13.5411</c:v>
                </c:pt>
                <c:pt idx="189">
                  <c:v>13.623200000000001</c:v>
                </c:pt>
                <c:pt idx="190">
                  <c:v>13.62</c:v>
                </c:pt>
                <c:pt idx="191">
                  <c:v>13.4679</c:v>
                </c:pt>
                <c:pt idx="192">
                  <c:v>13.5245</c:v>
                </c:pt>
                <c:pt idx="193">
                  <c:v>13.6296</c:v>
                </c:pt>
                <c:pt idx="194">
                  <c:v>13.6328</c:v>
                </c:pt>
                <c:pt idx="195">
                  <c:v>13.7194</c:v>
                </c:pt>
                <c:pt idx="196">
                  <c:v>13.776899999999999</c:v>
                </c:pt>
                <c:pt idx="197">
                  <c:v>13.8011</c:v>
                </c:pt>
                <c:pt idx="198">
                  <c:v>13.8415</c:v>
                </c:pt>
                <c:pt idx="199">
                  <c:v>13.942399999999999</c:v>
                </c:pt>
                <c:pt idx="200">
                  <c:v>13.889900000000001</c:v>
                </c:pt>
                <c:pt idx="201">
                  <c:v>13.948</c:v>
                </c:pt>
                <c:pt idx="202">
                  <c:v>13.967000000000001</c:v>
                </c:pt>
                <c:pt idx="203">
                  <c:v>14.072699999999999</c:v>
                </c:pt>
                <c:pt idx="204">
                  <c:v>14.1919</c:v>
                </c:pt>
                <c:pt idx="205">
                  <c:v>14.055</c:v>
                </c:pt>
                <c:pt idx="206">
                  <c:v>13.9282</c:v>
                </c:pt>
                <c:pt idx="207">
                  <c:v>14.0219</c:v>
                </c:pt>
                <c:pt idx="208">
                  <c:v>13.92</c:v>
                </c:pt>
                <c:pt idx="209">
                  <c:v>13.8513</c:v>
                </c:pt>
                <c:pt idx="210">
                  <c:v>13.6549</c:v>
                </c:pt>
                <c:pt idx="211">
                  <c:v>13.8271</c:v>
                </c:pt>
                <c:pt idx="212">
                  <c:v>13.7433</c:v>
                </c:pt>
                <c:pt idx="213">
                  <c:v>13.911</c:v>
                </c:pt>
                <c:pt idx="214">
                  <c:v>13.9848</c:v>
                </c:pt>
                <c:pt idx="215">
                  <c:v>14.097799999999999</c:v>
                </c:pt>
                <c:pt idx="216">
                  <c:v>14.1113</c:v>
                </c:pt>
                <c:pt idx="217">
                  <c:v>14.282</c:v>
                </c:pt>
                <c:pt idx="218">
                  <c:v>14.053599999999999</c:v>
                </c:pt>
                <c:pt idx="219">
                  <c:v>13.956200000000001</c:v>
                </c:pt>
                <c:pt idx="220">
                  <c:v>13.8735</c:v>
                </c:pt>
                <c:pt idx="221">
                  <c:v>13.9274</c:v>
                </c:pt>
                <c:pt idx="222">
                  <c:v>13.8246</c:v>
                </c:pt>
                <c:pt idx="223">
                  <c:v>13.685499999999999</c:v>
                </c:pt>
                <c:pt idx="224">
                  <c:v>13.518599999999999</c:v>
                </c:pt>
                <c:pt idx="225">
                  <c:v>13.4969</c:v>
                </c:pt>
                <c:pt idx="226">
                  <c:v>13.523300000000001</c:v>
                </c:pt>
                <c:pt idx="227">
                  <c:v>13.6233</c:v>
                </c:pt>
                <c:pt idx="228">
                  <c:v>13.477600000000001</c:v>
                </c:pt>
                <c:pt idx="229">
                  <c:v>13.3713</c:v>
                </c:pt>
                <c:pt idx="230">
                  <c:v>13.0822</c:v>
                </c:pt>
                <c:pt idx="231">
                  <c:v>13.2454</c:v>
                </c:pt>
                <c:pt idx="232">
                  <c:v>12.883100000000001</c:v>
                </c:pt>
                <c:pt idx="233">
                  <c:v>12.991899999999999</c:v>
                </c:pt>
                <c:pt idx="234">
                  <c:v>13.206200000000001</c:v>
                </c:pt>
                <c:pt idx="235">
                  <c:v>13.1411</c:v>
                </c:pt>
                <c:pt idx="236">
                  <c:v>13.0908</c:v>
                </c:pt>
                <c:pt idx="237">
                  <c:v>13.327999999999999</c:v>
                </c:pt>
                <c:pt idx="238">
                  <c:v>13.3932</c:v>
                </c:pt>
                <c:pt idx="239">
                  <c:v>13.555400000000001</c:v>
                </c:pt>
                <c:pt idx="240">
                  <c:v>13.4857</c:v>
                </c:pt>
                <c:pt idx="241">
                  <c:v>13.32</c:v>
                </c:pt>
                <c:pt idx="242">
                  <c:v>13.5512</c:v>
                </c:pt>
                <c:pt idx="243">
                  <c:v>13.5528</c:v>
                </c:pt>
                <c:pt idx="244">
                  <c:v>13.669600000000001</c:v>
                </c:pt>
                <c:pt idx="245">
                  <c:v>13.7799</c:v>
                </c:pt>
                <c:pt idx="246">
                  <c:v>13.7601</c:v>
                </c:pt>
                <c:pt idx="247">
                  <c:v>13.8659</c:v>
                </c:pt>
                <c:pt idx="248">
                  <c:v>13.5253</c:v>
                </c:pt>
                <c:pt idx="249">
                  <c:v>13.5518</c:v>
                </c:pt>
                <c:pt idx="250">
                  <c:v>13.2959</c:v>
                </c:pt>
                <c:pt idx="251">
                  <c:v>13.29</c:v>
                </c:pt>
                <c:pt idx="252">
                  <c:v>13.230600000000001</c:v>
                </c:pt>
                <c:pt idx="253">
                  <c:v>13.263500000000001</c:v>
                </c:pt>
                <c:pt idx="254">
                  <c:v>13.4648</c:v>
                </c:pt>
                <c:pt idx="255">
                  <c:v>13.546799999999999</c:v>
                </c:pt>
                <c:pt idx="256">
                  <c:v>13.546900000000001</c:v>
                </c:pt>
                <c:pt idx="257">
                  <c:v>13.5589</c:v>
                </c:pt>
                <c:pt idx="258">
                  <c:v>13.5893</c:v>
                </c:pt>
                <c:pt idx="259">
                  <c:v>13.572699999999999</c:v>
                </c:pt>
                <c:pt idx="260">
                  <c:v>13.526199999999999</c:v>
                </c:pt>
                <c:pt idx="261">
                  <c:v>13.528700000000001</c:v>
                </c:pt>
                <c:pt idx="262">
                  <c:v>13.351800000000001</c:v>
                </c:pt>
                <c:pt idx="263">
                  <c:v>13.3185</c:v>
                </c:pt>
                <c:pt idx="264">
                  <c:v>13.0992</c:v>
                </c:pt>
                <c:pt idx="265">
                  <c:v>13.0825</c:v>
                </c:pt>
                <c:pt idx="266">
                  <c:v>13.1694</c:v>
                </c:pt>
                <c:pt idx="267">
                  <c:v>13.009499999999999</c:v>
                </c:pt>
                <c:pt idx="268">
                  <c:v>12.892300000000001</c:v>
                </c:pt>
                <c:pt idx="269">
                  <c:v>12.8384</c:v>
                </c:pt>
                <c:pt idx="270">
                  <c:v>12.8841</c:v>
                </c:pt>
                <c:pt idx="271">
                  <c:v>12.5524</c:v>
                </c:pt>
                <c:pt idx="272">
                  <c:v>12.436199999999999</c:v>
                </c:pt>
                <c:pt idx="273">
                  <c:v>12.310499999999999</c:v>
                </c:pt>
                <c:pt idx="274">
                  <c:v>12.192399999999999</c:v>
                </c:pt>
                <c:pt idx="275">
                  <c:v>11.4373</c:v>
                </c:pt>
                <c:pt idx="276">
                  <c:v>11.7302</c:v>
                </c:pt>
                <c:pt idx="277">
                  <c:v>11.3742</c:v>
                </c:pt>
                <c:pt idx="278">
                  <c:v>11.839499999999999</c:v>
                </c:pt>
                <c:pt idx="279">
                  <c:v>11.8584</c:v>
                </c:pt>
                <c:pt idx="280">
                  <c:v>11.816000000000001</c:v>
                </c:pt>
                <c:pt idx="281">
                  <c:v>12.0306</c:v>
                </c:pt>
                <c:pt idx="282">
                  <c:v>11.9885</c:v>
                </c:pt>
                <c:pt idx="283">
                  <c:v>12.029199999999999</c:v>
                </c:pt>
                <c:pt idx="284">
                  <c:v>12.3514</c:v>
                </c:pt>
                <c:pt idx="285">
                  <c:v>12.384</c:v>
                </c:pt>
                <c:pt idx="286">
                  <c:v>11.965199999999999</c:v>
                </c:pt>
                <c:pt idx="287">
                  <c:v>11.997</c:v>
                </c:pt>
                <c:pt idx="288">
                  <c:v>11.504</c:v>
                </c:pt>
                <c:pt idx="289">
                  <c:v>11.641400000000001</c:v>
                </c:pt>
                <c:pt idx="290">
                  <c:v>11.5708</c:v>
                </c:pt>
                <c:pt idx="291">
                  <c:v>11.860099999999999</c:v>
                </c:pt>
                <c:pt idx="292">
                  <c:v>11.8561</c:v>
                </c:pt>
                <c:pt idx="293">
                  <c:v>11.7753</c:v>
                </c:pt>
                <c:pt idx="294">
                  <c:v>11.5314</c:v>
                </c:pt>
                <c:pt idx="295">
                  <c:v>11.786300000000001</c:v>
                </c:pt>
                <c:pt idx="296">
                  <c:v>11.829499999999999</c:v>
                </c:pt>
                <c:pt idx="297">
                  <c:v>11.686400000000001</c:v>
                </c:pt>
                <c:pt idx="298">
                  <c:v>11.751099999999999</c:v>
                </c:pt>
                <c:pt idx="299">
                  <c:v>11.652200000000001</c:v>
                </c:pt>
                <c:pt idx="300">
                  <c:v>11.836399999999999</c:v>
                </c:pt>
                <c:pt idx="301">
                  <c:v>11.979900000000001</c:v>
                </c:pt>
                <c:pt idx="302">
                  <c:v>11.858700000000001</c:v>
                </c:pt>
                <c:pt idx="303">
                  <c:v>11.6388</c:v>
                </c:pt>
                <c:pt idx="304">
                  <c:v>11.5122</c:v>
                </c:pt>
                <c:pt idx="305">
                  <c:v>11.204000000000001</c:v>
                </c:pt>
                <c:pt idx="306">
                  <c:v>11.0563</c:v>
                </c:pt>
                <c:pt idx="307">
                  <c:v>11.2524</c:v>
                </c:pt>
                <c:pt idx="308">
                  <c:v>11.121499999999999</c:v>
                </c:pt>
                <c:pt idx="309">
                  <c:v>10.9869</c:v>
                </c:pt>
                <c:pt idx="310">
                  <c:v>10.851100000000001</c:v>
                </c:pt>
                <c:pt idx="311">
                  <c:v>10.9916</c:v>
                </c:pt>
                <c:pt idx="312">
                  <c:v>11.1412</c:v>
                </c:pt>
                <c:pt idx="313">
                  <c:v>11.005800000000001</c:v>
                </c:pt>
                <c:pt idx="314">
                  <c:v>10.9183</c:v>
                </c:pt>
                <c:pt idx="315">
                  <c:v>10.433999999999999</c:v>
                </c:pt>
                <c:pt idx="316">
                  <c:v>10.8347</c:v>
                </c:pt>
                <c:pt idx="317">
                  <c:v>10.7334</c:v>
                </c:pt>
                <c:pt idx="318">
                  <c:v>10.684699999999999</c:v>
                </c:pt>
                <c:pt idx="319">
                  <c:v>10.6823</c:v>
                </c:pt>
                <c:pt idx="320">
                  <c:v>10.682499999999999</c:v>
                </c:pt>
                <c:pt idx="321">
                  <c:v>11.1272</c:v>
                </c:pt>
                <c:pt idx="322">
                  <c:v>11.0976</c:v>
                </c:pt>
                <c:pt idx="323">
                  <c:v>11.2349</c:v>
                </c:pt>
                <c:pt idx="324">
                  <c:v>11.1715</c:v>
                </c:pt>
                <c:pt idx="325">
                  <c:v>11.173500000000001</c:v>
                </c:pt>
                <c:pt idx="326">
                  <c:v>11.5487</c:v>
                </c:pt>
                <c:pt idx="327">
                  <c:v>11.749599999999999</c:v>
                </c:pt>
                <c:pt idx="328">
                  <c:v>11.73</c:v>
                </c:pt>
                <c:pt idx="329">
                  <c:v>11.808299999999999</c:v>
                </c:pt>
                <c:pt idx="330">
                  <c:v>11.9291</c:v>
                </c:pt>
                <c:pt idx="331">
                  <c:v>11.808</c:v>
                </c:pt>
                <c:pt idx="332">
                  <c:v>11.7667</c:v>
                </c:pt>
                <c:pt idx="333">
                  <c:v>11.7064</c:v>
                </c:pt>
                <c:pt idx="334">
                  <c:v>11.576700000000001</c:v>
                </c:pt>
                <c:pt idx="335">
                  <c:v>11.4839</c:v>
                </c:pt>
                <c:pt idx="336">
                  <c:v>11.5466</c:v>
                </c:pt>
                <c:pt idx="337">
                  <c:v>11.773899999999999</c:v>
                </c:pt>
                <c:pt idx="338">
                  <c:v>11.6965</c:v>
                </c:pt>
                <c:pt idx="339">
                  <c:v>11.965999999999999</c:v>
                </c:pt>
                <c:pt idx="340">
                  <c:v>11.844799999999999</c:v>
                </c:pt>
                <c:pt idx="341">
                  <c:v>11.809200000000001</c:v>
                </c:pt>
                <c:pt idx="342">
                  <c:v>11.9192</c:v>
                </c:pt>
                <c:pt idx="343">
                  <c:v>11.9207</c:v>
                </c:pt>
                <c:pt idx="344">
                  <c:v>12.0578</c:v>
                </c:pt>
                <c:pt idx="345">
                  <c:v>12.114000000000001</c:v>
                </c:pt>
                <c:pt idx="346">
                  <c:v>11.9793</c:v>
                </c:pt>
                <c:pt idx="347">
                  <c:v>12.0905</c:v>
                </c:pt>
                <c:pt idx="348">
                  <c:v>12.092599999999999</c:v>
                </c:pt>
                <c:pt idx="349">
                  <c:v>12.2927</c:v>
                </c:pt>
                <c:pt idx="350">
                  <c:v>12.272399999999999</c:v>
                </c:pt>
                <c:pt idx="351">
                  <c:v>12.2204</c:v>
                </c:pt>
                <c:pt idx="352">
                  <c:v>12.3225</c:v>
                </c:pt>
                <c:pt idx="353">
                  <c:v>12.3362</c:v>
                </c:pt>
                <c:pt idx="354">
                  <c:v>12.1816</c:v>
                </c:pt>
                <c:pt idx="355">
                  <c:v>12.228300000000001</c:v>
                </c:pt>
                <c:pt idx="356">
                  <c:v>12.2394</c:v>
                </c:pt>
                <c:pt idx="357">
                  <c:v>12.329000000000001</c:v>
                </c:pt>
                <c:pt idx="358">
                  <c:v>12.3903</c:v>
                </c:pt>
                <c:pt idx="359">
                  <c:v>12.4964</c:v>
                </c:pt>
                <c:pt idx="360">
                  <c:v>12.605499999999999</c:v>
                </c:pt>
                <c:pt idx="361">
                  <c:v>12.372400000000001</c:v>
                </c:pt>
                <c:pt idx="362">
                  <c:v>12.2867</c:v>
                </c:pt>
                <c:pt idx="363">
                  <c:v>12.331099999999999</c:v>
                </c:pt>
                <c:pt idx="364">
                  <c:v>12.1349</c:v>
                </c:pt>
                <c:pt idx="365">
                  <c:v>12.1023</c:v>
                </c:pt>
                <c:pt idx="366">
                  <c:v>12.090199999999999</c:v>
                </c:pt>
                <c:pt idx="367">
                  <c:v>12.194699999999999</c:v>
                </c:pt>
                <c:pt idx="368">
                  <c:v>12.2029</c:v>
                </c:pt>
                <c:pt idx="369">
                  <c:v>12.254799999999999</c:v>
                </c:pt>
                <c:pt idx="370">
                  <c:v>12.1351</c:v>
                </c:pt>
                <c:pt idx="371">
                  <c:v>12.215199999999999</c:v>
                </c:pt>
                <c:pt idx="372">
                  <c:v>12.068099999999999</c:v>
                </c:pt>
                <c:pt idx="373">
                  <c:v>12.071899999999999</c:v>
                </c:pt>
                <c:pt idx="374">
                  <c:v>11.85</c:v>
                </c:pt>
                <c:pt idx="375">
                  <c:v>11.7827</c:v>
                </c:pt>
                <c:pt idx="376">
                  <c:v>11.693</c:v>
                </c:pt>
                <c:pt idx="377">
                  <c:v>11.500999999999999</c:v>
                </c:pt>
                <c:pt idx="378">
                  <c:v>11.5953</c:v>
                </c:pt>
                <c:pt idx="379">
                  <c:v>11.652799999999999</c:v>
                </c:pt>
                <c:pt idx="380">
                  <c:v>11.6256</c:v>
                </c:pt>
                <c:pt idx="381">
                  <c:v>11.7056</c:v>
                </c:pt>
                <c:pt idx="382">
                  <c:v>11.5418</c:v>
                </c:pt>
                <c:pt idx="383">
                  <c:v>11.4976</c:v>
                </c:pt>
                <c:pt idx="384">
                  <c:v>11.316000000000001</c:v>
                </c:pt>
                <c:pt idx="385">
                  <c:v>11.3034</c:v>
                </c:pt>
                <c:pt idx="386">
                  <c:v>11.2338</c:v>
                </c:pt>
                <c:pt idx="387">
                  <c:v>11.3749</c:v>
                </c:pt>
                <c:pt idx="388">
                  <c:v>11.115</c:v>
                </c:pt>
                <c:pt idx="389">
                  <c:v>11.095000000000001</c:v>
                </c:pt>
                <c:pt idx="390">
                  <c:v>11.183</c:v>
                </c:pt>
                <c:pt idx="391">
                  <c:v>10.9499</c:v>
                </c:pt>
                <c:pt idx="392">
                  <c:v>10.884600000000001</c:v>
                </c:pt>
                <c:pt idx="393">
                  <c:v>10.9857</c:v>
                </c:pt>
                <c:pt idx="394">
                  <c:v>10.853999999999999</c:v>
                </c:pt>
                <c:pt idx="395">
                  <c:v>10.9978</c:v>
                </c:pt>
                <c:pt idx="396">
                  <c:v>10.8314</c:v>
                </c:pt>
                <c:pt idx="397">
                  <c:v>11.0427</c:v>
                </c:pt>
                <c:pt idx="398">
                  <c:v>10.838699999999999</c:v>
                </c:pt>
                <c:pt idx="399">
                  <c:v>10.5625</c:v>
                </c:pt>
                <c:pt idx="400">
                  <c:v>10.6435</c:v>
                </c:pt>
                <c:pt idx="401">
                  <c:v>10.411300000000001</c:v>
                </c:pt>
                <c:pt idx="402">
                  <c:v>10.4864</c:v>
                </c:pt>
                <c:pt idx="403">
                  <c:v>10.792899999999999</c:v>
                </c:pt>
                <c:pt idx="404">
                  <c:v>10.9574</c:v>
                </c:pt>
                <c:pt idx="405">
                  <c:v>11.0307</c:v>
                </c:pt>
                <c:pt idx="406">
                  <c:v>10.9838</c:v>
                </c:pt>
                <c:pt idx="407">
                  <c:v>11.211</c:v>
                </c:pt>
                <c:pt idx="408">
                  <c:v>11.0381</c:v>
                </c:pt>
                <c:pt idx="409">
                  <c:v>11.050800000000001</c:v>
                </c:pt>
                <c:pt idx="410">
                  <c:v>10.9467</c:v>
                </c:pt>
                <c:pt idx="411">
                  <c:v>10.9742</c:v>
                </c:pt>
                <c:pt idx="412">
                  <c:v>11.162100000000001</c:v>
                </c:pt>
                <c:pt idx="413">
                  <c:v>11.1395</c:v>
                </c:pt>
                <c:pt idx="414">
                  <c:v>11.028700000000001</c:v>
                </c:pt>
                <c:pt idx="415">
                  <c:v>10.930999999999999</c:v>
                </c:pt>
                <c:pt idx="416">
                  <c:v>11.201499999999999</c:v>
                </c:pt>
                <c:pt idx="417">
                  <c:v>11.304</c:v>
                </c:pt>
                <c:pt idx="418">
                  <c:v>11.2593</c:v>
                </c:pt>
                <c:pt idx="419">
                  <c:v>11.328200000000001</c:v>
                </c:pt>
                <c:pt idx="420">
                  <c:v>11.4391</c:v>
                </c:pt>
                <c:pt idx="421">
                  <c:v>11.3894</c:v>
                </c:pt>
                <c:pt idx="422">
                  <c:v>11.129099999999999</c:v>
                </c:pt>
                <c:pt idx="423">
                  <c:v>11.177</c:v>
                </c:pt>
                <c:pt idx="424">
                  <c:v>11.2179</c:v>
                </c:pt>
                <c:pt idx="425">
                  <c:v>11.2105</c:v>
                </c:pt>
                <c:pt idx="426">
                  <c:v>10.9353</c:v>
                </c:pt>
                <c:pt idx="427">
                  <c:v>10.976900000000001</c:v>
                </c:pt>
                <c:pt idx="428">
                  <c:v>10.896699999999999</c:v>
                </c:pt>
                <c:pt idx="429">
                  <c:v>11.109500000000001</c:v>
                </c:pt>
                <c:pt idx="430">
                  <c:v>11.060499999999999</c:v>
                </c:pt>
                <c:pt idx="431">
                  <c:v>11.077</c:v>
                </c:pt>
                <c:pt idx="432">
                  <c:v>11.095499999999999</c:v>
                </c:pt>
                <c:pt idx="433">
                  <c:v>11.2758</c:v>
                </c:pt>
                <c:pt idx="434">
                  <c:v>11.3062</c:v>
                </c:pt>
                <c:pt idx="435">
                  <c:v>11.2525</c:v>
                </c:pt>
                <c:pt idx="436">
                  <c:v>11.385999999999999</c:v>
                </c:pt>
                <c:pt idx="437">
                  <c:v>11.206200000000001</c:v>
                </c:pt>
                <c:pt idx="438">
                  <c:v>10.899699999999999</c:v>
                </c:pt>
                <c:pt idx="439">
                  <c:v>10.655200000000001</c:v>
                </c:pt>
                <c:pt idx="440">
                  <c:v>11.005000000000001</c:v>
                </c:pt>
                <c:pt idx="441">
                  <c:v>10.943899999999999</c:v>
                </c:pt>
                <c:pt idx="442">
                  <c:v>10.8497</c:v>
                </c:pt>
                <c:pt idx="443">
                  <c:v>10.7918</c:v>
                </c:pt>
                <c:pt idx="444">
                  <c:v>10.997400000000001</c:v>
                </c:pt>
                <c:pt idx="445">
                  <c:v>10.6427</c:v>
                </c:pt>
                <c:pt idx="446">
                  <c:v>10.3642</c:v>
                </c:pt>
                <c:pt idx="447">
                  <c:v>10.186299999999999</c:v>
                </c:pt>
                <c:pt idx="448">
                  <c:v>10.170999999999999</c:v>
                </c:pt>
                <c:pt idx="449">
                  <c:v>11.0253</c:v>
                </c:pt>
                <c:pt idx="450">
                  <c:v>10.847099999999999</c:v>
                </c:pt>
                <c:pt idx="451">
                  <c:v>10.652100000000001</c:v>
                </c:pt>
                <c:pt idx="452">
                  <c:v>10.5885</c:v>
                </c:pt>
                <c:pt idx="453">
                  <c:v>10.803100000000001</c:v>
                </c:pt>
                <c:pt idx="454">
                  <c:v>10.6083</c:v>
                </c:pt>
                <c:pt idx="455">
                  <c:v>10.0253</c:v>
                </c:pt>
                <c:pt idx="456">
                  <c:v>10.1675</c:v>
                </c:pt>
                <c:pt idx="457">
                  <c:v>10.2197</c:v>
                </c:pt>
                <c:pt idx="458">
                  <c:v>10.053599999999999</c:v>
                </c:pt>
                <c:pt idx="459">
                  <c:v>10.330299999999999</c:v>
                </c:pt>
                <c:pt idx="460">
                  <c:v>9.5272000000000006</c:v>
                </c:pt>
                <c:pt idx="461">
                  <c:v>9.5371000000000006</c:v>
                </c:pt>
                <c:pt idx="462">
                  <c:v>8.9722000000000008</c:v>
                </c:pt>
                <c:pt idx="463">
                  <c:v>8.8082999999999991</c:v>
                </c:pt>
                <c:pt idx="464">
                  <c:v>8.1537000000000006</c:v>
                </c:pt>
                <c:pt idx="465">
                  <c:v>8.9693000000000005</c:v>
                </c:pt>
                <c:pt idx="466">
                  <c:v>9.3295999999999992</c:v>
                </c:pt>
                <c:pt idx="467">
                  <c:v>8.7227999999999994</c:v>
                </c:pt>
                <c:pt idx="468">
                  <c:v>8.3032000000000004</c:v>
                </c:pt>
                <c:pt idx="469">
                  <c:v>8.6577000000000002</c:v>
                </c:pt>
                <c:pt idx="470">
                  <c:v>8.9718999999999998</c:v>
                </c:pt>
                <c:pt idx="471">
                  <c:v>8.9078999999999997</c:v>
                </c:pt>
                <c:pt idx="472">
                  <c:v>8.4426000000000005</c:v>
                </c:pt>
                <c:pt idx="473">
                  <c:v>8.4238</c:v>
                </c:pt>
                <c:pt idx="474">
                  <c:v>8.0388999999999999</c:v>
                </c:pt>
                <c:pt idx="475">
                  <c:v>7.8975</c:v>
                </c:pt>
                <c:pt idx="476">
                  <c:v>8.1011000000000006</c:v>
                </c:pt>
                <c:pt idx="477">
                  <c:v>8.7363</c:v>
                </c:pt>
                <c:pt idx="478">
                  <c:v>8.8986000000000001</c:v>
                </c:pt>
                <c:pt idx="479">
                  <c:v>9.1128</c:v>
                </c:pt>
                <c:pt idx="480">
                  <c:v>9.1866000000000003</c:v>
                </c:pt>
                <c:pt idx="481">
                  <c:v>9.7521000000000004</c:v>
                </c:pt>
                <c:pt idx="482">
                  <c:v>9.6091999999999995</c:v>
                </c:pt>
                <c:pt idx="483">
                  <c:v>9.0454000000000008</c:v>
                </c:pt>
                <c:pt idx="484">
                  <c:v>9.2383000000000006</c:v>
                </c:pt>
                <c:pt idx="485">
                  <c:v>9.3565000000000005</c:v>
                </c:pt>
                <c:pt idx="486">
                  <c:v>8.9621999999999993</c:v>
                </c:pt>
                <c:pt idx="487">
                  <c:v>8.7017000000000007</c:v>
                </c:pt>
                <c:pt idx="488">
                  <c:v>8.7621000000000002</c:v>
                </c:pt>
                <c:pt idx="489">
                  <c:v>8.9362999999999992</c:v>
                </c:pt>
                <c:pt idx="490">
                  <c:v>8.7199000000000009</c:v>
                </c:pt>
                <c:pt idx="491">
                  <c:v>8.7954000000000008</c:v>
                </c:pt>
                <c:pt idx="492">
                  <c:v>8.4672999999999998</c:v>
                </c:pt>
                <c:pt idx="493">
                  <c:v>8.1770999999999994</c:v>
                </c:pt>
                <c:pt idx="494">
                  <c:v>7.9794</c:v>
                </c:pt>
                <c:pt idx="495">
                  <c:v>8.7372999999999994</c:v>
                </c:pt>
                <c:pt idx="496">
                  <c:v>9.0138999999999996</c:v>
                </c:pt>
                <c:pt idx="497">
                  <c:v>9.0431000000000008</c:v>
                </c:pt>
                <c:pt idx="498">
                  <c:v>9.2646999999999995</c:v>
                </c:pt>
                <c:pt idx="499">
                  <c:v>9.3698999999999995</c:v>
                </c:pt>
                <c:pt idx="500">
                  <c:v>8.7952999999999992</c:v>
                </c:pt>
                <c:pt idx="501">
                  <c:v>8.9593000000000007</c:v>
                </c:pt>
                <c:pt idx="502">
                  <c:v>9.0168999999999997</c:v>
                </c:pt>
                <c:pt idx="503">
                  <c:v>9.0166000000000004</c:v>
                </c:pt>
                <c:pt idx="504">
                  <c:v>8.6851000000000003</c:v>
                </c:pt>
                <c:pt idx="505">
                  <c:v>9.3600999999999992</c:v>
                </c:pt>
                <c:pt idx="506">
                  <c:v>9.3455999999999992</c:v>
                </c:pt>
                <c:pt idx="507">
                  <c:v>9.3766999999999996</c:v>
                </c:pt>
                <c:pt idx="508">
                  <c:v>9.3879000000000001</c:v>
                </c:pt>
                <c:pt idx="509">
                  <c:v>9.1470000000000002</c:v>
                </c:pt>
                <c:pt idx="510">
                  <c:v>9.1984999999999992</c:v>
                </c:pt>
                <c:pt idx="511">
                  <c:v>9.3338999999999999</c:v>
                </c:pt>
                <c:pt idx="512">
                  <c:v>9.3579000000000008</c:v>
                </c:pt>
                <c:pt idx="513">
                  <c:v>9.3876000000000008</c:v>
                </c:pt>
                <c:pt idx="514">
                  <c:v>9.3143999999999991</c:v>
                </c:pt>
                <c:pt idx="515">
                  <c:v>9.2337000000000007</c:v>
                </c:pt>
                <c:pt idx="516">
                  <c:v>9.2426999999999992</c:v>
                </c:pt>
                <c:pt idx="517">
                  <c:v>9.2270000000000003</c:v>
                </c:pt>
                <c:pt idx="518">
                  <c:v>9.2311999999999994</c:v>
                </c:pt>
                <c:pt idx="519">
                  <c:v>9.2341999999999995</c:v>
                </c:pt>
                <c:pt idx="520">
                  <c:v>9.3053000000000008</c:v>
                </c:pt>
                <c:pt idx="521">
                  <c:v>9.4715000000000007</c:v>
                </c:pt>
                <c:pt idx="522">
                  <c:v>9.5375999999999994</c:v>
                </c:pt>
                <c:pt idx="523">
                  <c:v>9.5419</c:v>
                </c:pt>
                <c:pt idx="524">
                  <c:v>9.8337000000000003</c:v>
                </c:pt>
                <c:pt idx="525">
                  <c:v>10.042199999999999</c:v>
                </c:pt>
                <c:pt idx="526">
                  <c:v>10.263199999999999</c:v>
                </c:pt>
                <c:pt idx="527">
                  <c:v>10.1624</c:v>
                </c:pt>
                <c:pt idx="528">
                  <c:v>10.0909</c:v>
                </c:pt>
                <c:pt idx="529">
                  <c:v>10.073700000000001</c:v>
                </c:pt>
                <c:pt idx="530">
                  <c:v>9.9392999999999994</c:v>
                </c:pt>
                <c:pt idx="531">
                  <c:v>9.8378999999999994</c:v>
                </c:pt>
                <c:pt idx="532">
                  <c:v>9.4331999999999994</c:v>
                </c:pt>
                <c:pt idx="533">
                  <c:v>9.4664999999999999</c:v>
                </c:pt>
                <c:pt idx="534">
                  <c:v>9.5928000000000004</c:v>
                </c:pt>
                <c:pt idx="535">
                  <c:v>9.4710999999999999</c:v>
                </c:pt>
                <c:pt idx="536">
                  <c:v>9.3176000000000005</c:v>
                </c:pt>
                <c:pt idx="537">
                  <c:v>9.2795000000000005</c:v>
                </c:pt>
                <c:pt idx="538">
                  <c:v>9.2433999999999994</c:v>
                </c:pt>
                <c:pt idx="539">
                  <c:v>9.2515000000000001</c:v>
                </c:pt>
                <c:pt idx="540">
                  <c:v>9.5866000000000007</c:v>
                </c:pt>
                <c:pt idx="541">
                  <c:v>9.6403999999999996</c:v>
                </c:pt>
                <c:pt idx="542">
                  <c:v>9.9502000000000006</c:v>
                </c:pt>
                <c:pt idx="543">
                  <c:v>9.7680000000000007</c:v>
                </c:pt>
                <c:pt idx="544">
                  <c:v>9.7974999999999994</c:v>
                </c:pt>
                <c:pt idx="545">
                  <c:v>9.6077999999999992</c:v>
                </c:pt>
                <c:pt idx="546">
                  <c:v>9.9166000000000007</c:v>
                </c:pt>
                <c:pt idx="547">
                  <c:v>10.3857</c:v>
                </c:pt>
                <c:pt idx="548">
                  <c:v>10.3908</c:v>
                </c:pt>
                <c:pt idx="549">
                  <c:v>10.5936</c:v>
                </c:pt>
                <c:pt idx="550">
                  <c:v>10.5861</c:v>
                </c:pt>
                <c:pt idx="551">
                  <c:v>10.406000000000001</c:v>
                </c:pt>
                <c:pt idx="552">
                  <c:v>10.459300000000001</c:v>
                </c:pt>
                <c:pt idx="553">
                  <c:v>10.532</c:v>
                </c:pt>
                <c:pt idx="554">
                  <c:v>10.6282</c:v>
                </c:pt>
                <c:pt idx="555">
                  <c:v>10.5138</c:v>
                </c:pt>
                <c:pt idx="556">
                  <c:v>10.322699999999999</c:v>
                </c:pt>
                <c:pt idx="557">
                  <c:v>10.419</c:v>
                </c:pt>
                <c:pt idx="558">
                  <c:v>10.4978</c:v>
                </c:pt>
                <c:pt idx="559">
                  <c:v>9.9609000000000005</c:v>
                </c:pt>
                <c:pt idx="560">
                  <c:v>9.9107000000000003</c:v>
                </c:pt>
                <c:pt idx="561">
                  <c:v>9.8120999999999992</c:v>
                </c:pt>
                <c:pt idx="562">
                  <c:v>9.82</c:v>
                </c:pt>
                <c:pt idx="563">
                  <c:v>10.545199999999999</c:v>
                </c:pt>
                <c:pt idx="564">
                  <c:v>10.692500000000001</c:v>
                </c:pt>
                <c:pt idx="565">
                  <c:v>10.0555</c:v>
                </c:pt>
                <c:pt idx="566">
                  <c:v>8.6960999999999995</c:v>
                </c:pt>
                <c:pt idx="567">
                  <c:v>9.0591000000000008</c:v>
                </c:pt>
                <c:pt idx="568">
                  <c:v>8.7757000000000005</c:v>
                </c:pt>
                <c:pt idx="569">
                  <c:v>8.7028999999999996</c:v>
                </c:pt>
                <c:pt idx="570">
                  <c:v>8.6464999999999996</c:v>
                </c:pt>
                <c:pt idx="571">
                  <c:v>9.1212</c:v>
                </c:pt>
                <c:pt idx="572">
                  <c:v>9.1826000000000008</c:v>
                </c:pt>
                <c:pt idx="573">
                  <c:v>9.2952999999999992</c:v>
                </c:pt>
                <c:pt idx="574">
                  <c:v>9.3896999999999995</c:v>
                </c:pt>
                <c:pt idx="575">
                  <c:v>9.7392000000000003</c:v>
                </c:pt>
                <c:pt idx="576">
                  <c:v>9.7047000000000008</c:v>
                </c:pt>
                <c:pt idx="577">
                  <c:v>9.6884999999999994</c:v>
                </c:pt>
                <c:pt idx="578">
                  <c:v>9.8671000000000006</c:v>
                </c:pt>
                <c:pt idx="579">
                  <c:v>9.9659999999999993</c:v>
                </c:pt>
                <c:pt idx="580">
                  <c:v>10.311400000000001</c:v>
                </c:pt>
                <c:pt idx="581">
                  <c:v>10.3209</c:v>
                </c:pt>
                <c:pt idx="582">
                  <c:v>10.405900000000001</c:v>
                </c:pt>
                <c:pt idx="583">
                  <c:v>10.4543</c:v>
                </c:pt>
                <c:pt idx="584">
                  <c:v>10.3345</c:v>
                </c:pt>
                <c:pt idx="585">
                  <c:v>9.9631000000000007</c:v>
                </c:pt>
                <c:pt idx="586">
                  <c:v>10.3184</c:v>
                </c:pt>
                <c:pt idx="587">
                  <c:v>10.5238</c:v>
                </c:pt>
                <c:pt idx="588">
                  <c:v>11.0854</c:v>
                </c:pt>
                <c:pt idx="589">
                  <c:v>10.9971</c:v>
                </c:pt>
                <c:pt idx="590">
                  <c:v>10.934200000000001</c:v>
                </c:pt>
                <c:pt idx="591">
                  <c:v>10.8596</c:v>
                </c:pt>
                <c:pt idx="592">
                  <c:v>10.904999999999999</c:v>
                </c:pt>
                <c:pt idx="593">
                  <c:v>11.1492</c:v>
                </c:pt>
                <c:pt idx="594">
                  <c:v>11.1486</c:v>
                </c:pt>
                <c:pt idx="595">
                  <c:v>11.1661</c:v>
                </c:pt>
                <c:pt idx="596">
                  <c:v>11.3391</c:v>
                </c:pt>
                <c:pt idx="597">
                  <c:v>11.2957</c:v>
                </c:pt>
                <c:pt idx="598">
                  <c:v>11.5044</c:v>
                </c:pt>
                <c:pt idx="599">
                  <c:v>11.685600000000001</c:v>
                </c:pt>
                <c:pt idx="600">
                  <c:v>11.255599999999999</c:v>
                </c:pt>
                <c:pt idx="601">
                  <c:v>11.2904</c:v>
                </c:pt>
                <c:pt idx="602">
                  <c:v>11.4651</c:v>
                </c:pt>
                <c:pt idx="603">
                  <c:v>11.4619</c:v>
                </c:pt>
                <c:pt idx="604">
                  <c:v>11.777699999999999</c:v>
                </c:pt>
                <c:pt idx="605">
                  <c:v>11.827500000000001</c:v>
                </c:pt>
                <c:pt idx="606">
                  <c:v>11.6769</c:v>
                </c:pt>
                <c:pt idx="607">
                  <c:v>11.9781</c:v>
                </c:pt>
                <c:pt idx="608">
                  <c:v>12.1632</c:v>
                </c:pt>
                <c:pt idx="609">
                  <c:v>12.1793</c:v>
                </c:pt>
                <c:pt idx="610">
                  <c:v>12.411300000000001</c:v>
                </c:pt>
                <c:pt idx="611">
                  <c:v>12.524900000000001</c:v>
                </c:pt>
                <c:pt idx="612">
                  <c:v>12.7376</c:v>
                </c:pt>
                <c:pt idx="613">
                  <c:v>12.6363</c:v>
                </c:pt>
                <c:pt idx="614">
                  <c:v>12.891500000000001</c:v>
                </c:pt>
                <c:pt idx="615">
                  <c:v>12.7453</c:v>
                </c:pt>
                <c:pt idx="616">
                  <c:v>12.7492</c:v>
                </c:pt>
                <c:pt idx="617">
                  <c:v>12.542299999999999</c:v>
                </c:pt>
                <c:pt idx="618">
                  <c:v>12.646599999999999</c:v>
                </c:pt>
                <c:pt idx="619">
                  <c:v>12.725099999999999</c:v>
                </c:pt>
                <c:pt idx="620">
                  <c:v>13.0428</c:v>
                </c:pt>
                <c:pt idx="621">
                  <c:v>13.238300000000001</c:v>
                </c:pt>
                <c:pt idx="622">
                  <c:v>13.363099999999999</c:v>
                </c:pt>
                <c:pt idx="623">
                  <c:v>13.2433</c:v>
                </c:pt>
                <c:pt idx="624">
                  <c:v>13.241400000000001</c:v>
                </c:pt>
                <c:pt idx="625">
                  <c:v>13.280200000000001</c:v>
                </c:pt>
                <c:pt idx="626">
                  <c:v>13.3985</c:v>
                </c:pt>
                <c:pt idx="627">
                  <c:v>13.478199999999999</c:v>
                </c:pt>
                <c:pt idx="628">
                  <c:v>13.347300000000001</c:v>
                </c:pt>
                <c:pt idx="629">
                  <c:v>13.4053</c:v>
                </c:pt>
                <c:pt idx="630">
                  <c:v>13.8409</c:v>
                </c:pt>
                <c:pt idx="631">
                  <c:v>13.878</c:v>
                </c:pt>
                <c:pt idx="632">
                  <c:v>13.6004</c:v>
                </c:pt>
                <c:pt idx="633">
                  <c:v>13.6142</c:v>
                </c:pt>
                <c:pt idx="634">
                  <c:v>13.687099999999999</c:v>
                </c:pt>
                <c:pt idx="635">
                  <c:v>13.559900000000001</c:v>
                </c:pt>
                <c:pt idx="636">
                  <c:v>13.628</c:v>
                </c:pt>
                <c:pt idx="637">
                  <c:v>13.7555</c:v>
                </c:pt>
                <c:pt idx="638">
                  <c:v>13.892099999999999</c:v>
                </c:pt>
                <c:pt idx="639">
                  <c:v>13.749700000000001</c:v>
                </c:pt>
                <c:pt idx="640">
                  <c:v>13.363300000000001</c:v>
                </c:pt>
                <c:pt idx="641">
                  <c:v>13.3454</c:v>
                </c:pt>
                <c:pt idx="642">
                  <c:v>13.0351</c:v>
                </c:pt>
                <c:pt idx="643">
                  <c:v>13.144399999999999</c:v>
                </c:pt>
                <c:pt idx="644">
                  <c:v>13.3072</c:v>
                </c:pt>
                <c:pt idx="645">
                  <c:v>12.966699999999999</c:v>
                </c:pt>
                <c:pt idx="646">
                  <c:v>12.9224</c:v>
                </c:pt>
                <c:pt idx="647">
                  <c:v>13.239100000000001</c:v>
                </c:pt>
                <c:pt idx="648">
                  <c:v>13.1457</c:v>
                </c:pt>
                <c:pt idx="649">
                  <c:v>13.130699999999999</c:v>
                </c:pt>
                <c:pt idx="650">
                  <c:v>13.416</c:v>
                </c:pt>
                <c:pt idx="651">
                  <c:v>13.28</c:v>
                </c:pt>
                <c:pt idx="652">
                  <c:v>13.532999999999999</c:v>
                </c:pt>
                <c:pt idx="653">
                  <c:v>13.184900000000001</c:v>
                </c:pt>
                <c:pt idx="654">
                  <c:v>13.249499999999999</c:v>
                </c:pt>
                <c:pt idx="655">
                  <c:v>13.103</c:v>
                </c:pt>
                <c:pt idx="656">
                  <c:v>13.046200000000001</c:v>
                </c:pt>
                <c:pt idx="657">
                  <c:v>12.893800000000001</c:v>
                </c:pt>
                <c:pt idx="658">
                  <c:v>13.005699999999999</c:v>
                </c:pt>
                <c:pt idx="659">
                  <c:v>12.868399999999999</c:v>
                </c:pt>
                <c:pt idx="660">
                  <c:v>13.0855</c:v>
                </c:pt>
                <c:pt idx="661">
                  <c:v>13.2485</c:v>
                </c:pt>
                <c:pt idx="662">
                  <c:v>13.629300000000001</c:v>
                </c:pt>
                <c:pt idx="663">
                  <c:v>13.6982</c:v>
                </c:pt>
                <c:pt idx="664">
                  <c:v>13.787000000000001</c:v>
                </c:pt>
                <c:pt idx="665">
                  <c:v>14.008599999999999</c:v>
                </c:pt>
                <c:pt idx="666">
                  <c:v>14.0878</c:v>
                </c:pt>
                <c:pt idx="667">
                  <c:v>14.1294</c:v>
                </c:pt>
                <c:pt idx="668">
                  <c:v>14.3681</c:v>
                </c:pt>
                <c:pt idx="669">
                  <c:v>14.364000000000001</c:v>
                </c:pt>
                <c:pt idx="670">
                  <c:v>14.4437</c:v>
                </c:pt>
                <c:pt idx="671">
                  <c:v>14.321300000000001</c:v>
                </c:pt>
                <c:pt idx="672">
                  <c:v>14.3972</c:v>
                </c:pt>
                <c:pt idx="673">
                  <c:v>14.7067</c:v>
                </c:pt>
                <c:pt idx="674">
                  <c:v>14.707599999999999</c:v>
                </c:pt>
                <c:pt idx="675">
                  <c:v>14.946099999999999</c:v>
                </c:pt>
                <c:pt idx="676">
                  <c:v>14.8675</c:v>
                </c:pt>
                <c:pt idx="677">
                  <c:v>14.7845</c:v>
                </c:pt>
                <c:pt idx="678">
                  <c:v>14.797599999999999</c:v>
                </c:pt>
                <c:pt idx="679">
                  <c:v>14.917199999999999</c:v>
                </c:pt>
                <c:pt idx="680">
                  <c:v>14.8918</c:v>
                </c:pt>
                <c:pt idx="681">
                  <c:v>14.683400000000001</c:v>
                </c:pt>
                <c:pt idx="682">
                  <c:v>14.810600000000001</c:v>
                </c:pt>
                <c:pt idx="683">
                  <c:v>14.956099999999999</c:v>
                </c:pt>
                <c:pt idx="684">
                  <c:v>14.8575</c:v>
                </c:pt>
                <c:pt idx="685">
                  <c:v>14.5413</c:v>
                </c:pt>
                <c:pt idx="686">
                  <c:v>14.732799999999999</c:v>
                </c:pt>
                <c:pt idx="687">
                  <c:v>14.703200000000001</c:v>
                </c:pt>
                <c:pt idx="688">
                  <c:v>14.918699999999999</c:v>
                </c:pt>
                <c:pt idx="689">
                  <c:v>15.2715</c:v>
                </c:pt>
                <c:pt idx="690">
                  <c:v>15.396000000000001</c:v>
                </c:pt>
                <c:pt idx="691">
                  <c:v>15.494400000000001</c:v>
                </c:pt>
                <c:pt idx="692">
                  <c:v>15.377700000000001</c:v>
                </c:pt>
                <c:pt idx="693">
                  <c:v>15.3314</c:v>
                </c:pt>
                <c:pt idx="694">
                  <c:v>15.4846</c:v>
                </c:pt>
                <c:pt idx="695">
                  <c:v>15.383599999999999</c:v>
                </c:pt>
                <c:pt idx="696">
                  <c:v>15.084899999999999</c:v>
                </c:pt>
                <c:pt idx="697">
                  <c:v>15.016500000000001</c:v>
                </c:pt>
                <c:pt idx="698">
                  <c:v>15.0115</c:v>
                </c:pt>
                <c:pt idx="699">
                  <c:v>15.2186</c:v>
                </c:pt>
                <c:pt idx="700">
                  <c:v>15.4594</c:v>
                </c:pt>
                <c:pt idx="701">
                  <c:v>15.5444</c:v>
                </c:pt>
                <c:pt idx="702">
                  <c:v>15.6922</c:v>
                </c:pt>
                <c:pt idx="703">
                  <c:v>15.7799</c:v>
                </c:pt>
                <c:pt idx="704">
                  <c:v>15.883100000000001</c:v>
                </c:pt>
                <c:pt idx="705">
                  <c:v>15.8527</c:v>
                </c:pt>
                <c:pt idx="706">
                  <c:v>15.8514</c:v>
                </c:pt>
                <c:pt idx="707">
                  <c:v>16.0853</c:v>
                </c:pt>
                <c:pt idx="708">
                  <c:v>16.1661</c:v>
                </c:pt>
                <c:pt idx="709">
                  <c:v>16.1096</c:v>
                </c:pt>
                <c:pt idx="710">
                  <c:v>16.0489</c:v>
                </c:pt>
                <c:pt idx="711">
                  <c:v>16.1402</c:v>
                </c:pt>
                <c:pt idx="712">
                  <c:v>16.188500000000001</c:v>
                </c:pt>
                <c:pt idx="713">
                  <c:v>15.885899999999999</c:v>
                </c:pt>
                <c:pt idx="714">
                  <c:v>15.813499999999999</c:v>
                </c:pt>
                <c:pt idx="715">
                  <c:v>16.091000000000001</c:v>
                </c:pt>
                <c:pt idx="716">
                  <c:v>16.107500000000002</c:v>
                </c:pt>
                <c:pt idx="717">
                  <c:v>16.05</c:v>
                </c:pt>
                <c:pt idx="718">
                  <c:v>15.716699999999999</c:v>
                </c:pt>
                <c:pt idx="719">
                  <c:v>15.437200000000001</c:v>
                </c:pt>
                <c:pt idx="720">
                  <c:v>15.558</c:v>
                </c:pt>
                <c:pt idx="721">
                  <c:v>15.9267</c:v>
                </c:pt>
                <c:pt idx="722">
                  <c:v>15.8909</c:v>
                </c:pt>
                <c:pt idx="723">
                  <c:v>16.126799999999999</c:v>
                </c:pt>
                <c:pt idx="724">
                  <c:v>16.065000000000001</c:v>
                </c:pt>
                <c:pt idx="725">
                  <c:v>16.1492</c:v>
                </c:pt>
                <c:pt idx="726">
                  <c:v>15.971399999999999</c:v>
                </c:pt>
                <c:pt idx="727">
                  <c:v>16.293500000000002</c:v>
                </c:pt>
                <c:pt idx="728">
                  <c:v>16.2759</c:v>
                </c:pt>
                <c:pt idx="729">
                  <c:v>16.102</c:v>
                </c:pt>
                <c:pt idx="730">
                  <c:v>16.367799999999999</c:v>
                </c:pt>
                <c:pt idx="731">
                  <c:v>16.297599999999999</c:v>
                </c:pt>
                <c:pt idx="732">
                  <c:v>16.364000000000001</c:v>
                </c:pt>
                <c:pt idx="733">
                  <c:v>16.120999999999999</c:v>
                </c:pt>
                <c:pt idx="734">
                  <c:v>16.018599999999999</c:v>
                </c:pt>
                <c:pt idx="735">
                  <c:v>15.770099999999999</c:v>
                </c:pt>
                <c:pt idx="736">
                  <c:v>15.7606</c:v>
                </c:pt>
                <c:pt idx="737">
                  <c:v>15.3567</c:v>
                </c:pt>
                <c:pt idx="738">
                  <c:v>15.616199999999999</c:v>
                </c:pt>
                <c:pt idx="739">
                  <c:v>15.2744</c:v>
                </c:pt>
                <c:pt idx="740">
                  <c:v>15.295299999999999</c:v>
                </c:pt>
                <c:pt idx="741">
                  <c:v>15.1128</c:v>
                </c:pt>
                <c:pt idx="742">
                  <c:v>15.462</c:v>
                </c:pt>
                <c:pt idx="743">
                  <c:v>15.5441</c:v>
                </c:pt>
                <c:pt idx="744">
                  <c:v>15.566700000000001</c:v>
                </c:pt>
                <c:pt idx="745">
                  <c:v>15.827500000000001</c:v>
                </c:pt>
                <c:pt idx="746">
                  <c:v>15.776400000000001</c:v>
                </c:pt>
                <c:pt idx="747">
                  <c:v>15.802099999999999</c:v>
                </c:pt>
                <c:pt idx="748">
                  <c:v>15.799300000000001</c:v>
                </c:pt>
                <c:pt idx="749">
                  <c:v>15.882199999999999</c:v>
                </c:pt>
                <c:pt idx="750">
                  <c:v>16.13</c:v>
                </c:pt>
                <c:pt idx="751">
                  <c:v>16.0641</c:v>
                </c:pt>
                <c:pt idx="752">
                  <c:v>16.039400000000001</c:v>
                </c:pt>
                <c:pt idx="753">
                  <c:v>15.7621</c:v>
                </c:pt>
                <c:pt idx="754">
                  <c:v>15.625500000000001</c:v>
                </c:pt>
                <c:pt idx="755">
                  <c:v>15.9565</c:v>
                </c:pt>
                <c:pt idx="756">
                  <c:v>15.8575</c:v>
                </c:pt>
                <c:pt idx="757">
                  <c:v>15.928800000000001</c:v>
                </c:pt>
                <c:pt idx="758">
                  <c:v>15.423</c:v>
                </c:pt>
                <c:pt idx="759">
                  <c:v>15.6547</c:v>
                </c:pt>
                <c:pt idx="760">
                  <c:v>15.468</c:v>
                </c:pt>
                <c:pt idx="761">
                  <c:v>15.9049</c:v>
                </c:pt>
                <c:pt idx="762">
                  <c:v>15.9718</c:v>
                </c:pt>
                <c:pt idx="763">
                  <c:v>15.950799999999999</c:v>
                </c:pt>
                <c:pt idx="764">
                  <c:v>16.1249</c:v>
                </c:pt>
                <c:pt idx="765">
                  <c:v>16.035</c:v>
                </c:pt>
                <c:pt idx="766">
                  <c:v>15.777699999999999</c:v>
                </c:pt>
                <c:pt idx="767">
                  <c:v>15.601900000000001</c:v>
                </c:pt>
                <c:pt idx="768">
                  <c:v>15.783200000000001</c:v>
                </c:pt>
                <c:pt idx="769">
                  <c:v>15.8568</c:v>
                </c:pt>
                <c:pt idx="770">
                  <c:v>15.965400000000001</c:v>
                </c:pt>
                <c:pt idx="771">
                  <c:v>15.958500000000001</c:v>
                </c:pt>
                <c:pt idx="772">
                  <c:v>16.166699999999999</c:v>
                </c:pt>
                <c:pt idx="773">
                  <c:v>15.9041</c:v>
                </c:pt>
                <c:pt idx="774">
                  <c:v>15.850199999999999</c:v>
                </c:pt>
                <c:pt idx="775">
                  <c:v>16.141100000000002</c:v>
                </c:pt>
                <c:pt idx="776">
                  <c:v>16.268000000000001</c:v>
                </c:pt>
                <c:pt idx="777">
                  <c:v>16.318100000000001</c:v>
                </c:pt>
                <c:pt idx="778">
                  <c:v>16.325600000000001</c:v>
                </c:pt>
                <c:pt idx="779">
                  <c:v>16.322500000000002</c:v>
                </c:pt>
                <c:pt idx="780">
                  <c:v>16.403700000000001</c:v>
                </c:pt>
                <c:pt idx="781">
                  <c:v>16.4602</c:v>
                </c:pt>
                <c:pt idx="782">
                  <c:v>16.402200000000001</c:v>
                </c:pt>
                <c:pt idx="783">
                  <c:v>16.4391</c:v>
                </c:pt>
                <c:pt idx="784">
                  <c:v>16.432500000000001</c:v>
                </c:pt>
                <c:pt idx="785">
                  <c:v>16.653199999999998</c:v>
                </c:pt>
                <c:pt idx="786">
                  <c:v>16.648700000000002</c:v>
                </c:pt>
                <c:pt idx="787">
                  <c:v>16.666399999999999</c:v>
                </c:pt>
                <c:pt idx="788">
                  <c:v>16.688199999999998</c:v>
                </c:pt>
                <c:pt idx="789">
                  <c:v>16.767399999999999</c:v>
                </c:pt>
                <c:pt idx="790">
                  <c:v>16.869599999999998</c:v>
                </c:pt>
                <c:pt idx="791">
                  <c:v>16.709</c:v>
                </c:pt>
                <c:pt idx="792">
                  <c:v>16.756399999999999</c:v>
                </c:pt>
                <c:pt idx="793">
                  <c:v>16.902000000000001</c:v>
                </c:pt>
                <c:pt idx="794">
                  <c:v>16.736000000000001</c:v>
                </c:pt>
                <c:pt idx="795">
                  <c:v>16.814599999999999</c:v>
                </c:pt>
                <c:pt idx="796">
                  <c:v>16.930299999999999</c:v>
                </c:pt>
                <c:pt idx="797">
                  <c:v>16.745999999999999</c:v>
                </c:pt>
                <c:pt idx="798">
                  <c:v>16.504100000000001</c:v>
                </c:pt>
                <c:pt idx="799">
                  <c:v>16.3354</c:v>
                </c:pt>
                <c:pt idx="800">
                  <c:v>16.219200000000001</c:v>
                </c:pt>
                <c:pt idx="801">
                  <c:v>16.2621</c:v>
                </c:pt>
                <c:pt idx="802">
                  <c:v>16.110099999999999</c:v>
                </c:pt>
                <c:pt idx="803">
                  <c:v>15.912699999999999</c:v>
                </c:pt>
                <c:pt idx="804">
                  <c:v>16.066400000000002</c:v>
                </c:pt>
                <c:pt idx="805">
                  <c:v>16.1677</c:v>
                </c:pt>
                <c:pt idx="806">
                  <c:v>16.2059</c:v>
                </c:pt>
                <c:pt idx="807">
                  <c:v>16.0608</c:v>
                </c:pt>
                <c:pt idx="808">
                  <c:v>15.5783</c:v>
                </c:pt>
                <c:pt idx="809">
                  <c:v>15.250400000000001</c:v>
                </c:pt>
                <c:pt idx="810">
                  <c:v>15.4451</c:v>
                </c:pt>
                <c:pt idx="811">
                  <c:v>15.4139</c:v>
                </c:pt>
                <c:pt idx="812">
                  <c:v>15.6776</c:v>
                </c:pt>
                <c:pt idx="813">
                  <c:v>15.8446</c:v>
                </c:pt>
                <c:pt idx="814">
                  <c:v>15.803699999999999</c:v>
                </c:pt>
                <c:pt idx="815">
                  <c:v>15.802199999999999</c:v>
                </c:pt>
                <c:pt idx="816">
                  <c:v>16.000599999999999</c:v>
                </c:pt>
                <c:pt idx="817">
                  <c:v>16.233499999999999</c:v>
                </c:pt>
                <c:pt idx="818">
                  <c:v>16.393899999999999</c:v>
                </c:pt>
                <c:pt idx="819">
                  <c:v>16.3935</c:v>
                </c:pt>
                <c:pt idx="820">
                  <c:v>16.307300000000001</c:v>
                </c:pt>
                <c:pt idx="821">
                  <c:v>16.0974</c:v>
                </c:pt>
                <c:pt idx="822">
                  <c:v>16.222300000000001</c:v>
                </c:pt>
                <c:pt idx="823">
                  <c:v>15.9702</c:v>
                </c:pt>
                <c:pt idx="824">
                  <c:v>15.9542</c:v>
                </c:pt>
                <c:pt idx="825">
                  <c:v>12.426</c:v>
                </c:pt>
                <c:pt idx="826">
                  <c:v>12.5472</c:v>
                </c:pt>
                <c:pt idx="827">
                  <c:v>12.6669</c:v>
                </c:pt>
                <c:pt idx="828">
                  <c:v>12.6632</c:v>
                </c:pt>
                <c:pt idx="829">
                  <c:v>12.8719</c:v>
                </c:pt>
                <c:pt idx="830">
                  <c:v>12.8668</c:v>
                </c:pt>
                <c:pt idx="831">
                  <c:v>12.8528</c:v>
                </c:pt>
                <c:pt idx="832">
                  <c:v>12.944800000000001</c:v>
                </c:pt>
                <c:pt idx="833">
                  <c:v>12.9122</c:v>
                </c:pt>
                <c:pt idx="834">
                  <c:v>12.9612</c:v>
                </c:pt>
                <c:pt idx="835">
                  <c:v>12.8622</c:v>
                </c:pt>
                <c:pt idx="836">
                  <c:v>12.987500000000001</c:v>
                </c:pt>
                <c:pt idx="837">
                  <c:v>13.0802</c:v>
                </c:pt>
                <c:pt idx="838">
                  <c:v>13.029500000000001</c:v>
                </c:pt>
                <c:pt idx="839">
                  <c:v>12.9658</c:v>
                </c:pt>
                <c:pt idx="840">
                  <c:v>12.9901</c:v>
                </c:pt>
                <c:pt idx="841">
                  <c:v>13.065</c:v>
                </c:pt>
                <c:pt idx="842">
                  <c:v>13.043699999999999</c:v>
                </c:pt>
                <c:pt idx="843">
                  <c:v>13.160500000000001</c:v>
                </c:pt>
                <c:pt idx="844">
                  <c:v>13.0802</c:v>
                </c:pt>
                <c:pt idx="845">
                  <c:v>13.0899</c:v>
                </c:pt>
                <c:pt idx="846">
                  <c:v>13.061</c:v>
                </c:pt>
                <c:pt idx="847">
                  <c:v>13.052</c:v>
                </c:pt>
                <c:pt idx="848">
                  <c:v>13.266</c:v>
                </c:pt>
                <c:pt idx="849">
                  <c:v>13.2624</c:v>
                </c:pt>
                <c:pt idx="850">
                  <c:v>13.264900000000001</c:v>
                </c:pt>
                <c:pt idx="851">
                  <c:v>13.3025</c:v>
                </c:pt>
                <c:pt idx="852">
                  <c:v>13.2277</c:v>
                </c:pt>
                <c:pt idx="853">
                  <c:v>13.099399999999999</c:v>
                </c:pt>
                <c:pt idx="854">
                  <c:v>13.289400000000001</c:v>
                </c:pt>
                <c:pt idx="855">
                  <c:v>13.2799</c:v>
                </c:pt>
                <c:pt idx="856">
                  <c:v>13.2395</c:v>
                </c:pt>
                <c:pt idx="857">
                  <c:v>13.3385</c:v>
                </c:pt>
                <c:pt idx="858">
                  <c:v>13.382999999999999</c:v>
                </c:pt>
                <c:pt idx="859">
                  <c:v>13.1652</c:v>
                </c:pt>
                <c:pt idx="860">
                  <c:v>13.043100000000001</c:v>
                </c:pt>
                <c:pt idx="861">
                  <c:v>13.191700000000001</c:v>
                </c:pt>
                <c:pt idx="862">
                  <c:v>13.0936</c:v>
                </c:pt>
                <c:pt idx="863">
                  <c:v>12.925700000000001</c:v>
                </c:pt>
                <c:pt idx="864">
                  <c:v>13.0436</c:v>
                </c:pt>
                <c:pt idx="865">
                  <c:v>13.158099999999999</c:v>
                </c:pt>
                <c:pt idx="866">
                  <c:v>12.6883</c:v>
                </c:pt>
                <c:pt idx="867">
                  <c:v>12.4411</c:v>
                </c:pt>
                <c:pt idx="868">
                  <c:v>12.603400000000001</c:v>
                </c:pt>
                <c:pt idx="869">
                  <c:v>12.5115</c:v>
                </c:pt>
                <c:pt idx="870">
                  <c:v>12.5123</c:v>
                </c:pt>
                <c:pt idx="871">
                  <c:v>12.101000000000001</c:v>
                </c:pt>
                <c:pt idx="872">
                  <c:v>11.9415</c:v>
                </c:pt>
                <c:pt idx="873">
                  <c:v>11.7194</c:v>
                </c:pt>
                <c:pt idx="874">
                  <c:v>11.223000000000001</c:v>
                </c:pt>
                <c:pt idx="875">
                  <c:v>12.023099999999999</c:v>
                </c:pt>
                <c:pt idx="876">
                  <c:v>11.9199</c:v>
                </c:pt>
                <c:pt idx="877">
                  <c:v>12.076499999999999</c:v>
                </c:pt>
                <c:pt idx="878">
                  <c:v>12.07</c:v>
                </c:pt>
                <c:pt idx="879">
                  <c:v>11.6342</c:v>
                </c:pt>
                <c:pt idx="880">
                  <c:v>11.585699999999999</c:v>
                </c:pt>
                <c:pt idx="881">
                  <c:v>11.72</c:v>
                </c:pt>
                <c:pt idx="882">
                  <c:v>11.3423</c:v>
                </c:pt>
                <c:pt idx="883">
                  <c:v>11.1076</c:v>
                </c:pt>
                <c:pt idx="884">
                  <c:v>11.087300000000001</c:v>
                </c:pt>
                <c:pt idx="885">
                  <c:v>11.113099999999999</c:v>
                </c:pt>
                <c:pt idx="886">
                  <c:v>10.802300000000001</c:v>
                </c:pt>
                <c:pt idx="887">
                  <c:v>11.0457</c:v>
                </c:pt>
                <c:pt idx="888">
                  <c:v>11.3847</c:v>
                </c:pt>
                <c:pt idx="889">
                  <c:v>11.3451</c:v>
                </c:pt>
                <c:pt idx="890">
                  <c:v>11.370200000000001</c:v>
                </c:pt>
                <c:pt idx="891">
                  <c:v>11.3744</c:v>
                </c:pt>
                <c:pt idx="892">
                  <c:v>11.3825</c:v>
                </c:pt>
                <c:pt idx="893">
                  <c:v>11.528</c:v>
                </c:pt>
                <c:pt idx="894">
                  <c:v>11.2926</c:v>
                </c:pt>
                <c:pt idx="895">
                  <c:v>11.166700000000001</c:v>
                </c:pt>
                <c:pt idx="896">
                  <c:v>11.0251</c:v>
                </c:pt>
                <c:pt idx="897">
                  <c:v>11.244899999999999</c:v>
                </c:pt>
                <c:pt idx="898">
                  <c:v>11.439299999999999</c:v>
                </c:pt>
                <c:pt idx="899">
                  <c:v>11.4902</c:v>
                </c:pt>
                <c:pt idx="900">
                  <c:v>11.669</c:v>
                </c:pt>
                <c:pt idx="901">
                  <c:v>11.7911</c:v>
                </c:pt>
                <c:pt idx="902">
                  <c:v>11.802099999999999</c:v>
                </c:pt>
                <c:pt idx="903">
                  <c:v>11.840199999999999</c:v>
                </c:pt>
                <c:pt idx="904">
                  <c:v>11.876799999999999</c:v>
                </c:pt>
                <c:pt idx="905">
                  <c:v>12.014200000000001</c:v>
                </c:pt>
                <c:pt idx="906">
                  <c:v>11.938599999999999</c:v>
                </c:pt>
                <c:pt idx="907">
                  <c:v>11.799200000000001</c:v>
                </c:pt>
                <c:pt idx="908">
                  <c:v>11.6227</c:v>
                </c:pt>
                <c:pt idx="909">
                  <c:v>11.5512</c:v>
                </c:pt>
                <c:pt idx="910">
                  <c:v>11.6693</c:v>
                </c:pt>
                <c:pt idx="911">
                  <c:v>11.2906</c:v>
                </c:pt>
                <c:pt idx="912">
                  <c:v>11.265599999999999</c:v>
                </c:pt>
                <c:pt idx="913">
                  <c:v>11.033300000000001</c:v>
                </c:pt>
                <c:pt idx="914">
                  <c:v>11.0435</c:v>
                </c:pt>
                <c:pt idx="915">
                  <c:v>11.029500000000001</c:v>
                </c:pt>
                <c:pt idx="916">
                  <c:v>11.3452</c:v>
                </c:pt>
                <c:pt idx="917">
                  <c:v>11.4907</c:v>
                </c:pt>
                <c:pt idx="918">
                  <c:v>11.6119</c:v>
                </c:pt>
                <c:pt idx="919">
                  <c:v>11.6943</c:v>
                </c:pt>
                <c:pt idx="920">
                  <c:v>11.7424</c:v>
                </c:pt>
                <c:pt idx="921">
                  <c:v>11.960599999999999</c:v>
                </c:pt>
                <c:pt idx="922">
                  <c:v>11.963800000000001</c:v>
                </c:pt>
                <c:pt idx="923">
                  <c:v>11.8505</c:v>
                </c:pt>
                <c:pt idx="924">
                  <c:v>11.6472</c:v>
                </c:pt>
                <c:pt idx="925">
                  <c:v>11.5562</c:v>
                </c:pt>
                <c:pt idx="926">
                  <c:v>11.5573</c:v>
                </c:pt>
                <c:pt idx="927">
                  <c:v>11.666</c:v>
                </c:pt>
                <c:pt idx="928">
                  <c:v>11.912100000000001</c:v>
                </c:pt>
                <c:pt idx="929">
                  <c:v>11.970700000000001</c:v>
                </c:pt>
                <c:pt idx="930">
                  <c:v>12.0038</c:v>
                </c:pt>
                <c:pt idx="931">
                  <c:v>12.064</c:v>
                </c:pt>
                <c:pt idx="932">
                  <c:v>12.002700000000001</c:v>
                </c:pt>
                <c:pt idx="933">
                  <c:v>11.958</c:v>
                </c:pt>
                <c:pt idx="934">
                  <c:v>11.911300000000001</c:v>
                </c:pt>
                <c:pt idx="935">
                  <c:v>12.214600000000001</c:v>
                </c:pt>
                <c:pt idx="936">
                  <c:v>12.1851</c:v>
                </c:pt>
                <c:pt idx="937">
                  <c:v>12.158799999999999</c:v>
                </c:pt>
                <c:pt idx="938">
                  <c:v>12.0982</c:v>
                </c:pt>
                <c:pt idx="939">
                  <c:v>11.965999999999999</c:v>
                </c:pt>
                <c:pt idx="940">
                  <c:v>12.114800000000001</c:v>
                </c:pt>
                <c:pt idx="941">
                  <c:v>11.9901</c:v>
                </c:pt>
                <c:pt idx="942">
                  <c:v>11.6656</c:v>
                </c:pt>
                <c:pt idx="943">
                  <c:v>11.6586</c:v>
                </c:pt>
                <c:pt idx="944">
                  <c:v>11.6685</c:v>
                </c:pt>
                <c:pt idx="945">
                  <c:v>11.6516</c:v>
                </c:pt>
                <c:pt idx="946">
                  <c:v>11.7867</c:v>
                </c:pt>
                <c:pt idx="947">
                  <c:v>11.7499</c:v>
                </c:pt>
                <c:pt idx="948">
                  <c:v>11.5785</c:v>
                </c:pt>
                <c:pt idx="949">
                  <c:v>11.4762</c:v>
                </c:pt>
                <c:pt idx="950">
                  <c:v>11.5167</c:v>
                </c:pt>
                <c:pt idx="951">
                  <c:v>11.323700000000001</c:v>
                </c:pt>
                <c:pt idx="952">
                  <c:v>11.2422</c:v>
                </c:pt>
                <c:pt idx="953">
                  <c:v>11.3337</c:v>
                </c:pt>
                <c:pt idx="954">
                  <c:v>11.410399999999999</c:v>
                </c:pt>
                <c:pt idx="955">
                  <c:v>11.4064</c:v>
                </c:pt>
                <c:pt idx="956">
                  <c:v>11.4079</c:v>
                </c:pt>
                <c:pt idx="957">
                  <c:v>11.7323</c:v>
                </c:pt>
                <c:pt idx="958">
                  <c:v>11.735099999999999</c:v>
                </c:pt>
                <c:pt idx="959">
                  <c:v>11.853999999999999</c:v>
                </c:pt>
                <c:pt idx="960">
                  <c:v>11.891500000000001</c:v>
                </c:pt>
                <c:pt idx="961">
                  <c:v>11.8131</c:v>
                </c:pt>
                <c:pt idx="962">
                  <c:v>11.911799999999999</c:v>
                </c:pt>
                <c:pt idx="963">
                  <c:v>12.027699999999999</c:v>
                </c:pt>
                <c:pt idx="964">
                  <c:v>12.020899999999999</c:v>
                </c:pt>
                <c:pt idx="965">
                  <c:v>12.121499999999999</c:v>
                </c:pt>
                <c:pt idx="966">
                  <c:v>12.1431</c:v>
                </c:pt>
                <c:pt idx="967">
                  <c:v>12.1113</c:v>
                </c:pt>
                <c:pt idx="968">
                  <c:v>12.023</c:v>
                </c:pt>
                <c:pt idx="969">
                  <c:v>11.992599999999999</c:v>
                </c:pt>
                <c:pt idx="970">
                  <c:v>12.154299999999999</c:v>
                </c:pt>
                <c:pt idx="971">
                  <c:v>12.1104</c:v>
                </c:pt>
                <c:pt idx="972">
                  <c:v>11.999599999999999</c:v>
                </c:pt>
                <c:pt idx="973">
                  <c:v>12.0108</c:v>
                </c:pt>
                <c:pt idx="974">
                  <c:v>12.1828</c:v>
                </c:pt>
                <c:pt idx="975">
                  <c:v>12.146699999999999</c:v>
                </c:pt>
                <c:pt idx="976">
                  <c:v>12.139900000000001</c:v>
                </c:pt>
                <c:pt idx="977">
                  <c:v>12.0969</c:v>
                </c:pt>
                <c:pt idx="978">
                  <c:v>12.0428</c:v>
                </c:pt>
                <c:pt idx="979">
                  <c:v>12.0441</c:v>
                </c:pt>
                <c:pt idx="980">
                  <c:v>11.978199999999999</c:v>
                </c:pt>
                <c:pt idx="981">
                  <c:v>12.1723</c:v>
                </c:pt>
                <c:pt idx="982">
                  <c:v>12.2562</c:v>
                </c:pt>
                <c:pt idx="983">
                  <c:v>12.239100000000001</c:v>
                </c:pt>
                <c:pt idx="984">
                  <c:v>12.249000000000001</c:v>
                </c:pt>
                <c:pt idx="985">
                  <c:v>12.299799999999999</c:v>
                </c:pt>
                <c:pt idx="986">
                  <c:v>12.260999999999999</c:v>
                </c:pt>
                <c:pt idx="987">
                  <c:v>12.4497</c:v>
                </c:pt>
                <c:pt idx="988">
                  <c:v>12.4519</c:v>
                </c:pt>
                <c:pt idx="989">
                  <c:v>12.4626</c:v>
                </c:pt>
                <c:pt idx="990">
                  <c:v>12.492699999999999</c:v>
                </c:pt>
                <c:pt idx="991">
                  <c:v>12.3527</c:v>
                </c:pt>
                <c:pt idx="992">
                  <c:v>12.408099999999999</c:v>
                </c:pt>
                <c:pt idx="993">
                  <c:v>12.478199999999999</c:v>
                </c:pt>
                <c:pt idx="994">
                  <c:v>12.4457</c:v>
                </c:pt>
                <c:pt idx="995">
                  <c:v>12.484500000000001</c:v>
                </c:pt>
                <c:pt idx="996">
                  <c:v>12.4351</c:v>
                </c:pt>
                <c:pt idx="997">
                  <c:v>12.308199999999999</c:v>
                </c:pt>
                <c:pt idx="998">
                  <c:v>12.355499999999999</c:v>
                </c:pt>
                <c:pt idx="999">
                  <c:v>12.326599999999999</c:v>
                </c:pt>
                <c:pt idx="1000">
                  <c:v>12.331</c:v>
                </c:pt>
                <c:pt idx="1001">
                  <c:v>12.406000000000001</c:v>
                </c:pt>
                <c:pt idx="1002">
                  <c:v>12.3504</c:v>
                </c:pt>
                <c:pt idx="1003">
                  <c:v>12.606</c:v>
                </c:pt>
                <c:pt idx="1004">
                  <c:v>12.649900000000001</c:v>
                </c:pt>
                <c:pt idx="1005">
                  <c:v>12.6158</c:v>
                </c:pt>
                <c:pt idx="1006">
                  <c:v>12.6625</c:v>
                </c:pt>
                <c:pt idx="1007">
                  <c:v>12.5502</c:v>
                </c:pt>
                <c:pt idx="1008">
                  <c:v>12.5564</c:v>
                </c:pt>
                <c:pt idx="1009">
                  <c:v>12.4801</c:v>
                </c:pt>
                <c:pt idx="1010">
                  <c:v>12.561</c:v>
                </c:pt>
                <c:pt idx="1011">
                  <c:v>12.2432</c:v>
                </c:pt>
                <c:pt idx="1012">
                  <c:v>12.2987</c:v>
                </c:pt>
                <c:pt idx="1013">
                  <c:v>12.471500000000001</c:v>
                </c:pt>
                <c:pt idx="1014">
                  <c:v>12.4085</c:v>
                </c:pt>
                <c:pt idx="1015">
                  <c:v>12.3271</c:v>
                </c:pt>
                <c:pt idx="1016">
                  <c:v>12.107900000000001</c:v>
                </c:pt>
                <c:pt idx="1017">
                  <c:v>12.213900000000001</c:v>
                </c:pt>
                <c:pt idx="1018">
                  <c:v>12.2666</c:v>
                </c:pt>
                <c:pt idx="1019">
                  <c:v>12.2051</c:v>
                </c:pt>
                <c:pt idx="1020">
                  <c:v>11.952</c:v>
                </c:pt>
                <c:pt idx="1021">
                  <c:v>11.897500000000001</c:v>
                </c:pt>
                <c:pt idx="1022">
                  <c:v>12.145799999999999</c:v>
                </c:pt>
                <c:pt idx="1023">
                  <c:v>12.327400000000001</c:v>
                </c:pt>
                <c:pt idx="1024">
                  <c:v>12.323499999999999</c:v>
                </c:pt>
                <c:pt idx="1025">
                  <c:v>12.3409</c:v>
                </c:pt>
                <c:pt idx="1026">
                  <c:v>12.454700000000001</c:v>
                </c:pt>
                <c:pt idx="1027">
                  <c:v>12.4892</c:v>
                </c:pt>
                <c:pt idx="1028">
                  <c:v>12.5366</c:v>
                </c:pt>
                <c:pt idx="1029">
                  <c:v>12.543200000000001</c:v>
                </c:pt>
                <c:pt idx="1030">
                  <c:v>12.5959</c:v>
                </c:pt>
                <c:pt idx="1031">
                  <c:v>12.638400000000001</c:v>
                </c:pt>
                <c:pt idx="1032">
                  <c:v>12.5688</c:v>
                </c:pt>
                <c:pt idx="1033">
                  <c:v>12.6082</c:v>
                </c:pt>
                <c:pt idx="1034">
                  <c:v>12.5318</c:v>
                </c:pt>
                <c:pt idx="1035">
                  <c:v>12.7014</c:v>
                </c:pt>
                <c:pt idx="1036">
                  <c:v>12.8238</c:v>
                </c:pt>
                <c:pt idx="1037">
                  <c:v>12.8306</c:v>
                </c:pt>
                <c:pt idx="1038">
                  <c:v>12.844799999999999</c:v>
                </c:pt>
                <c:pt idx="1039">
                  <c:v>12.830500000000001</c:v>
                </c:pt>
                <c:pt idx="1040">
                  <c:v>12.722799999999999</c:v>
                </c:pt>
                <c:pt idx="1041">
                  <c:v>12.7475</c:v>
                </c:pt>
                <c:pt idx="1042">
                  <c:v>12.788600000000001</c:v>
                </c:pt>
                <c:pt idx="1043">
                  <c:v>12.626200000000001</c:v>
                </c:pt>
                <c:pt idx="1044">
                  <c:v>12.5777</c:v>
                </c:pt>
                <c:pt idx="1045">
                  <c:v>12.694599999999999</c:v>
                </c:pt>
                <c:pt idx="1046">
                  <c:v>12.8064</c:v>
                </c:pt>
                <c:pt idx="1047">
                  <c:v>12.8094</c:v>
                </c:pt>
                <c:pt idx="1048">
                  <c:v>12.860900000000001</c:v>
                </c:pt>
                <c:pt idx="1049">
                  <c:v>12.843999999999999</c:v>
                </c:pt>
                <c:pt idx="1050">
                  <c:v>12.723599999999999</c:v>
                </c:pt>
                <c:pt idx="1051">
                  <c:v>12.8912</c:v>
                </c:pt>
                <c:pt idx="1052">
                  <c:v>13.061299999999999</c:v>
                </c:pt>
                <c:pt idx="1053">
                  <c:v>12.989599999999999</c:v>
                </c:pt>
                <c:pt idx="1054">
                  <c:v>12.9741</c:v>
                </c:pt>
                <c:pt idx="1055">
                  <c:v>12.998200000000001</c:v>
                </c:pt>
                <c:pt idx="1056">
                  <c:v>13.1229</c:v>
                </c:pt>
                <c:pt idx="1057">
                  <c:v>12.9587</c:v>
                </c:pt>
                <c:pt idx="1058">
                  <c:v>12.7501</c:v>
                </c:pt>
                <c:pt idx="1059">
                  <c:v>12.8438</c:v>
                </c:pt>
                <c:pt idx="1060">
                  <c:v>12.8809</c:v>
                </c:pt>
                <c:pt idx="1061">
                  <c:v>12.7888</c:v>
                </c:pt>
                <c:pt idx="1062">
                  <c:v>12.9</c:v>
                </c:pt>
                <c:pt idx="1063">
                  <c:v>12.892799999999999</c:v>
                </c:pt>
                <c:pt idx="1064">
                  <c:v>12.7699</c:v>
                </c:pt>
                <c:pt idx="1065">
                  <c:v>12.6372</c:v>
                </c:pt>
                <c:pt idx="1066">
                  <c:v>12.8286</c:v>
                </c:pt>
                <c:pt idx="1067">
                  <c:v>12.8162</c:v>
                </c:pt>
                <c:pt idx="1068">
                  <c:v>12.843999999999999</c:v>
                </c:pt>
                <c:pt idx="1069">
                  <c:v>12.908300000000001</c:v>
                </c:pt>
                <c:pt idx="1070">
                  <c:v>13.039199999999999</c:v>
                </c:pt>
                <c:pt idx="1071">
                  <c:v>13.0992</c:v>
                </c:pt>
                <c:pt idx="1072">
                  <c:v>13.044700000000001</c:v>
                </c:pt>
                <c:pt idx="1073">
                  <c:v>13.0024</c:v>
                </c:pt>
                <c:pt idx="1074">
                  <c:v>13.0624</c:v>
                </c:pt>
                <c:pt idx="1075">
                  <c:v>13.118</c:v>
                </c:pt>
                <c:pt idx="1076">
                  <c:v>13.091100000000001</c:v>
                </c:pt>
                <c:pt idx="1077">
                  <c:v>13.1334</c:v>
                </c:pt>
                <c:pt idx="1078">
                  <c:v>13.1722</c:v>
                </c:pt>
                <c:pt idx="1079">
                  <c:v>13.1729</c:v>
                </c:pt>
                <c:pt idx="1080">
                  <c:v>13.0091</c:v>
                </c:pt>
                <c:pt idx="1081">
                  <c:v>12.9437</c:v>
                </c:pt>
                <c:pt idx="1082">
                  <c:v>12.798</c:v>
                </c:pt>
                <c:pt idx="1083">
                  <c:v>12.867800000000001</c:v>
                </c:pt>
                <c:pt idx="1084">
                  <c:v>13.1006</c:v>
                </c:pt>
                <c:pt idx="1085">
                  <c:v>11.456099999999999</c:v>
                </c:pt>
                <c:pt idx="1086">
                  <c:v>11.3887</c:v>
                </c:pt>
                <c:pt idx="1087">
                  <c:v>11.3347</c:v>
                </c:pt>
                <c:pt idx="1088">
                  <c:v>11.3863</c:v>
                </c:pt>
                <c:pt idx="1089">
                  <c:v>11.337899999999999</c:v>
                </c:pt>
                <c:pt idx="1090">
                  <c:v>11.2957</c:v>
                </c:pt>
                <c:pt idx="1091">
                  <c:v>11.3378</c:v>
                </c:pt>
                <c:pt idx="1092">
                  <c:v>11.298999999999999</c:v>
                </c:pt>
                <c:pt idx="1093">
                  <c:v>11.1572</c:v>
                </c:pt>
                <c:pt idx="1094">
                  <c:v>11.071300000000001</c:v>
                </c:pt>
                <c:pt idx="1095">
                  <c:v>10.975899999999999</c:v>
                </c:pt>
                <c:pt idx="1096">
                  <c:v>10.750500000000001</c:v>
                </c:pt>
                <c:pt idx="1097">
                  <c:v>10.576499999999999</c:v>
                </c:pt>
                <c:pt idx="1098">
                  <c:v>10.7827</c:v>
                </c:pt>
                <c:pt idx="1099">
                  <c:v>10.825799999999999</c:v>
                </c:pt>
                <c:pt idx="1100">
                  <c:v>11.056900000000001</c:v>
                </c:pt>
                <c:pt idx="1101">
                  <c:v>11.036</c:v>
                </c:pt>
                <c:pt idx="1102">
                  <c:v>11.084300000000001</c:v>
                </c:pt>
                <c:pt idx="1103">
                  <c:v>11.212899999999999</c:v>
                </c:pt>
                <c:pt idx="1104">
                  <c:v>11.213699999999999</c:v>
                </c:pt>
                <c:pt idx="1105">
                  <c:v>11.226900000000001</c:v>
                </c:pt>
                <c:pt idx="1106">
                  <c:v>11.2408</c:v>
                </c:pt>
                <c:pt idx="1107">
                  <c:v>11.3301</c:v>
                </c:pt>
                <c:pt idx="1108">
                  <c:v>11.237500000000001</c:v>
                </c:pt>
                <c:pt idx="1109">
                  <c:v>11.4175</c:v>
                </c:pt>
                <c:pt idx="1110">
                  <c:v>11.422700000000001</c:v>
                </c:pt>
                <c:pt idx="1111">
                  <c:v>11.4488</c:v>
                </c:pt>
                <c:pt idx="1112">
                  <c:v>11.4909</c:v>
                </c:pt>
                <c:pt idx="1113">
                  <c:v>11.466900000000001</c:v>
                </c:pt>
                <c:pt idx="1114">
                  <c:v>11.5244</c:v>
                </c:pt>
                <c:pt idx="1115">
                  <c:v>11.452500000000001</c:v>
                </c:pt>
                <c:pt idx="1116">
                  <c:v>11.2685</c:v>
                </c:pt>
                <c:pt idx="1117">
                  <c:v>11.348599999999999</c:v>
                </c:pt>
                <c:pt idx="1118">
                  <c:v>11.296200000000001</c:v>
                </c:pt>
                <c:pt idx="1119">
                  <c:v>11.325799999999999</c:v>
                </c:pt>
                <c:pt idx="1120">
                  <c:v>11.082100000000001</c:v>
                </c:pt>
                <c:pt idx="1121">
                  <c:v>11.1471</c:v>
                </c:pt>
                <c:pt idx="1122">
                  <c:v>11.369300000000001</c:v>
                </c:pt>
                <c:pt idx="1123">
                  <c:v>11.4382</c:v>
                </c:pt>
                <c:pt idx="1124">
                  <c:v>11.436199999999999</c:v>
                </c:pt>
                <c:pt idx="1125">
                  <c:v>11.439399999999999</c:v>
                </c:pt>
                <c:pt idx="1126">
                  <c:v>11.4787</c:v>
                </c:pt>
                <c:pt idx="1127">
                  <c:v>11.5258</c:v>
                </c:pt>
                <c:pt idx="1128">
                  <c:v>11.5769</c:v>
                </c:pt>
                <c:pt idx="1129">
                  <c:v>11.6073</c:v>
                </c:pt>
                <c:pt idx="1130">
                  <c:v>11.6197</c:v>
                </c:pt>
                <c:pt idx="1131">
                  <c:v>11.563499999999999</c:v>
                </c:pt>
                <c:pt idx="1132">
                  <c:v>11.3789</c:v>
                </c:pt>
                <c:pt idx="1133">
                  <c:v>11.3111</c:v>
                </c:pt>
                <c:pt idx="1134">
                  <c:v>11.427</c:v>
                </c:pt>
                <c:pt idx="1135">
                  <c:v>11.354699999999999</c:v>
                </c:pt>
                <c:pt idx="1136">
                  <c:v>11.4405</c:v>
                </c:pt>
                <c:pt idx="1137">
                  <c:v>11.4659</c:v>
                </c:pt>
                <c:pt idx="1138">
                  <c:v>11.3972</c:v>
                </c:pt>
                <c:pt idx="1139">
                  <c:v>11.319100000000001</c:v>
                </c:pt>
                <c:pt idx="1140">
                  <c:v>11.305999999999999</c:v>
                </c:pt>
                <c:pt idx="1141">
                  <c:v>11.1647</c:v>
                </c:pt>
                <c:pt idx="1142">
                  <c:v>11.2189</c:v>
                </c:pt>
                <c:pt idx="1143">
                  <c:v>11.310700000000001</c:v>
                </c:pt>
                <c:pt idx="1144">
                  <c:v>11.2796</c:v>
                </c:pt>
                <c:pt idx="1145">
                  <c:v>11.050800000000001</c:v>
                </c:pt>
                <c:pt idx="1146">
                  <c:v>11.078099999999999</c:v>
                </c:pt>
                <c:pt idx="1147">
                  <c:v>11.1663</c:v>
                </c:pt>
                <c:pt idx="1148">
                  <c:v>11.1531</c:v>
                </c:pt>
                <c:pt idx="1149">
                  <c:v>11.2819</c:v>
                </c:pt>
                <c:pt idx="1150">
                  <c:v>11.2866</c:v>
                </c:pt>
                <c:pt idx="1151">
                  <c:v>11.408899999999999</c:v>
                </c:pt>
                <c:pt idx="1152">
                  <c:v>11.3306</c:v>
                </c:pt>
                <c:pt idx="1153">
                  <c:v>11.1983</c:v>
                </c:pt>
                <c:pt idx="1154">
                  <c:v>11.1853</c:v>
                </c:pt>
                <c:pt idx="1155">
                  <c:v>11.134499999999999</c:v>
                </c:pt>
                <c:pt idx="1156">
                  <c:v>11.146699999999999</c:v>
                </c:pt>
                <c:pt idx="1157">
                  <c:v>11.0313</c:v>
                </c:pt>
                <c:pt idx="1158">
                  <c:v>11.1411</c:v>
                </c:pt>
                <c:pt idx="1159">
                  <c:v>10.960699999999999</c:v>
                </c:pt>
                <c:pt idx="1160">
                  <c:v>10.9824</c:v>
                </c:pt>
                <c:pt idx="1161">
                  <c:v>11.091799999999999</c:v>
                </c:pt>
                <c:pt idx="1162">
                  <c:v>10.9475</c:v>
                </c:pt>
                <c:pt idx="1163">
                  <c:v>10.901</c:v>
                </c:pt>
                <c:pt idx="1164">
                  <c:v>10.9368</c:v>
                </c:pt>
                <c:pt idx="1165">
                  <c:v>10.872400000000001</c:v>
                </c:pt>
                <c:pt idx="1166">
                  <c:v>11.0459</c:v>
                </c:pt>
                <c:pt idx="1167">
                  <c:v>11.000400000000001</c:v>
                </c:pt>
                <c:pt idx="1168">
                  <c:v>10.821300000000001</c:v>
                </c:pt>
                <c:pt idx="1169">
                  <c:v>10.791600000000001</c:v>
                </c:pt>
                <c:pt idx="1170">
                  <c:v>10.813000000000001</c:v>
                </c:pt>
                <c:pt idx="1171">
                  <c:v>10.879899999999999</c:v>
                </c:pt>
                <c:pt idx="1172">
                  <c:v>11.0976</c:v>
                </c:pt>
                <c:pt idx="1173">
                  <c:v>11.246700000000001</c:v>
                </c:pt>
                <c:pt idx="1174">
                  <c:v>11.3521</c:v>
                </c:pt>
                <c:pt idx="1175">
                  <c:v>11.3851</c:v>
                </c:pt>
                <c:pt idx="1176">
                  <c:v>11.3858</c:v>
                </c:pt>
                <c:pt idx="1177">
                  <c:v>11.2735</c:v>
                </c:pt>
                <c:pt idx="1178">
                  <c:v>11.3224</c:v>
                </c:pt>
                <c:pt idx="1179">
                  <c:v>11.2075</c:v>
                </c:pt>
                <c:pt idx="1180">
                  <c:v>11.0189</c:v>
                </c:pt>
                <c:pt idx="1181">
                  <c:v>10.934200000000001</c:v>
                </c:pt>
                <c:pt idx="1182">
                  <c:v>11.0169</c:v>
                </c:pt>
                <c:pt idx="1183">
                  <c:v>10.9344</c:v>
                </c:pt>
                <c:pt idx="1184">
                  <c:v>10.9033</c:v>
                </c:pt>
                <c:pt idx="1185">
                  <c:v>10.700799999999999</c:v>
                </c:pt>
                <c:pt idx="1186">
                  <c:v>10.8085</c:v>
                </c:pt>
                <c:pt idx="1187">
                  <c:v>10.9787</c:v>
                </c:pt>
                <c:pt idx="1188">
                  <c:v>11.136100000000001</c:v>
                </c:pt>
                <c:pt idx="1189">
                  <c:v>11.2121</c:v>
                </c:pt>
                <c:pt idx="1190">
                  <c:v>11.187799999999999</c:v>
                </c:pt>
                <c:pt idx="1191">
                  <c:v>11.1676</c:v>
                </c:pt>
                <c:pt idx="1192">
                  <c:v>11.0518</c:v>
                </c:pt>
                <c:pt idx="1193">
                  <c:v>11.064</c:v>
                </c:pt>
                <c:pt idx="1194">
                  <c:v>11.021000000000001</c:v>
                </c:pt>
                <c:pt idx="1195">
                  <c:v>10.863200000000001</c:v>
                </c:pt>
                <c:pt idx="1196">
                  <c:v>10.656700000000001</c:v>
                </c:pt>
                <c:pt idx="1197">
                  <c:v>10.4672</c:v>
                </c:pt>
                <c:pt idx="1198">
                  <c:v>10.1068</c:v>
                </c:pt>
                <c:pt idx="1199">
                  <c:v>9.9467999999999996</c:v>
                </c:pt>
                <c:pt idx="1200">
                  <c:v>9.5289000000000001</c:v>
                </c:pt>
                <c:pt idx="1201">
                  <c:v>9.6615000000000002</c:v>
                </c:pt>
                <c:pt idx="1202">
                  <c:v>9.2911999999999999</c:v>
                </c:pt>
                <c:pt idx="1203">
                  <c:v>9.5376999999999992</c:v>
                </c:pt>
                <c:pt idx="1204">
                  <c:v>9.9106000000000005</c:v>
                </c:pt>
                <c:pt idx="1205">
                  <c:v>9.9688999999999997</c:v>
                </c:pt>
                <c:pt idx="1206">
                  <c:v>9.9733000000000001</c:v>
                </c:pt>
                <c:pt idx="1207">
                  <c:v>10.016999999999999</c:v>
                </c:pt>
                <c:pt idx="1208">
                  <c:v>9.5345999999999993</c:v>
                </c:pt>
                <c:pt idx="1209">
                  <c:v>9.3954000000000004</c:v>
                </c:pt>
                <c:pt idx="1210">
                  <c:v>9.4756999999999998</c:v>
                </c:pt>
                <c:pt idx="1211">
                  <c:v>9.5584000000000007</c:v>
                </c:pt>
                <c:pt idx="1212">
                  <c:v>9.7013999999999996</c:v>
                </c:pt>
                <c:pt idx="1213">
                  <c:v>9.5915999999999997</c:v>
                </c:pt>
                <c:pt idx="1214">
                  <c:v>9.5414999999999992</c:v>
                </c:pt>
                <c:pt idx="1215">
                  <c:v>9.6777999999999995</c:v>
                </c:pt>
                <c:pt idx="1216">
                  <c:v>9.7886000000000006</c:v>
                </c:pt>
                <c:pt idx="1217">
                  <c:v>10.0771</c:v>
                </c:pt>
                <c:pt idx="1218">
                  <c:v>10.1347</c:v>
                </c:pt>
                <c:pt idx="1219">
                  <c:v>9.8592999999999993</c:v>
                </c:pt>
                <c:pt idx="1220">
                  <c:v>9.4482999999999997</c:v>
                </c:pt>
                <c:pt idx="1221">
                  <c:v>9.4013000000000009</c:v>
                </c:pt>
                <c:pt idx="1222">
                  <c:v>9.6994000000000007</c:v>
                </c:pt>
                <c:pt idx="1223">
                  <c:v>9.7472999999999992</c:v>
                </c:pt>
                <c:pt idx="1224">
                  <c:v>9.4617000000000004</c:v>
                </c:pt>
                <c:pt idx="1225">
                  <c:v>9.2119</c:v>
                </c:pt>
                <c:pt idx="1226">
                  <c:v>9.3152000000000008</c:v>
                </c:pt>
                <c:pt idx="1227">
                  <c:v>9.4735999999999994</c:v>
                </c:pt>
                <c:pt idx="1228">
                  <c:v>9.6975999999999996</c:v>
                </c:pt>
                <c:pt idx="1229">
                  <c:v>9.7639999999999993</c:v>
                </c:pt>
                <c:pt idx="1230">
                  <c:v>9.5023999999999997</c:v>
                </c:pt>
                <c:pt idx="1231">
                  <c:v>9.6700999999999997</c:v>
                </c:pt>
                <c:pt idx="1232">
                  <c:v>9.5311000000000003</c:v>
                </c:pt>
                <c:pt idx="1233">
                  <c:v>9.0667000000000009</c:v>
                </c:pt>
                <c:pt idx="1234">
                  <c:v>9.1159999999999997</c:v>
                </c:pt>
                <c:pt idx="1235">
                  <c:v>9.2993000000000006</c:v>
                </c:pt>
                <c:pt idx="1236">
                  <c:v>9.7295999999999996</c:v>
                </c:pt>
                <c:pt idx="1237">
                  <c:v>9.6511999999999993</c:v>
                </c:pt>
                <c:pt idx="1238">
                  <c:v>9.7167999999999992</c:v>
                </c:pt>
                <c:pt idx="1239">
                  <c:v>9.5823</c:v>
                </c:pt>
                <c:pt idx="1240">
                  <c:v>9.4434000000000005</c:v>
                </c:pt>
                <c:pt idx="1241">
                  <c:v>9.1898999999999997</c:v>
                </c:pt>
                <c:pt idx="1242">
                  <c:v>9.4947999999999997</c:v>
                </c:pt>
                <c:pt idx="1243">
                  <c:v>9.7800999999999991</c:v>
                </c:pt>
                <c:pt idx="1244">
                  <c:v>9.8584999999999994</c:v>
                </c:pt>
                <c:pt idx="1245">
                  <c:v>10.0931</c:v>
                </c:pt>
                <c:pt idx="1246">
                  <c:v>10.0913</c:v>
                </c:pt>
                <c:pt idx="1247">
                  <c:v>10.296099999999999</c:v>
                </c:pt>
                <c:pt idx="1248">
                  <c:v>10.1897</c:v>
                </c:pt>
                <c:pt idx="1249">
                  <c:v>10.3043</c:v>
                </c:pt>
                <c:pt idx="1250">
                  <c:v>10.196099999999999</c:v>
                </c:pt>
                <c:pt idx="1251">
                  <c:v>10.1533</c:v>
                </c:pt>
                <c:pt idx="1252">
                  <c:v>10.230700000000001</c:v>
                </c:pt>
                <c:pt idx="1253">
                  <c:v>10.0732</c:v>
                </c:pt>
                <c:pt idx="1254">
                  <c:v>10.3592</c:v>
                </c:pt>
                <c:pt idx="1255">
                  <c:v>10.5284</c:v>
                </c:pt>
                <c:pt idx="1256">
                  <c:v>10.4527</c:v>
                </c:pt>
                <c:pt idx="1257">
                  <c:v>10.4628</c:v>
                </c:pt>
                <c:pt idx="1258">
                  <c:v>10.905200000000001</c:v>
                </c:pt>
                <c:pt idx="1259">
                  <c:v>10.9076</c:v>
                </c:pt>
                <c:pt idx="1260">
                  <c:v>10.639799999999999</c:v>
                </c:pt>
                <c:pt idx="1261">
                  <c:v>10.2555</c:v>
                </c:pt>
                <c:pt idx="1262">
                  <c:v>10.361499999999999</c:v>
                </c:pt>
                <c:pt idx="1263">
                  <c:v>10.5878</c:v>
                </c:pt>
                <c:pt idx="1264">
                  <c:v>10.4839</c:v>
                </c:pt>
                <c:pt idx="1265">
                  <c:v>10.4292</c:v>
                </c:pt>
                <c:pt idx="1266">
                  <c:v>10.5364</c:v>
                </c:pt>
                <c:pt idx="1267">
                  <c:v>10.3574</c:v>
                </c:pt>
                <c:pt idx="1268">
                  <c:v>10.3201</c:v>
                </c:pt>
                <c:pt idx="1269">
                  <c:v>10.6012</c:v>
                </c:pt>
                <c:pt idx="1270">
                  <c:v>10.4925</c:v>
                </c:pt>
                <c:pt idx="1271">
                  <c:v>10.448600000000001</c:v>
                </c:pt>
                <c:pt idx="1272">
                  <c:v>10.438000000000001</c:v>
                </c:pt>
                <c:pt idx="1273">
                  <c:v>10.298999999999999</c:v>
                </c:pt>
                <c:pt idx="1274">
                  <c:v>10.228400000000001</c:v>
                </c:pt>
                <c:pt idx="1275">
                  <c:v>9.9192</c:v>
                </c:pt>
                <c:pt idx="1276">
                  <c:v>9.8714999999999993</c:v>
                </c:pt>
                <c:pt idx="1277">
                  <c:v>9.7255000000000003</c:v>
                </c:pt>
                <c:pt idx="1278">
                  <c:v>9.7079000000000004</c:v>
                </c:pt>
                <c:pt idx="1279">
                  <c:v>9.7629999999999999</c:v>
                </c:pt>
                <c:pt idx="1280">
                  <c:v>10.1449</c:v>
                </c:pt>
                <c:pt idx="1281">
                  <c:v>10.228999999999999</c:v>
                </c:pt>
                <c:pt idx="1282">
                  <c:v>10.617900000000001</c:v>
                </c:pt>
                <c:pt idx="1283">
                  <c:v>10.565099999999999</c:v>
                </c:pt>
                <c:pt idx="1284">
                  <c:v>10.6569</c:v>
                </c:pt>
                <c:pt idx="1285">
                  <c:v>10.764699999999999</c:v>
                </c:pt>
                <c:pt idx="1286">
                  <c:v>10.7258</c:v>
                </c:pt>
                <c:pt idx="1287">
                  <c:v>10.7028</c:v>
                </c:pt>
                <c:pt idx="1288">
                  <c:v>10.525</c:v>
                </c:pt>
                <c:pt idx="1289">
                  <c:v>10.649900000000001</c:v>
                </c:pt>
                <c:pt idx="1290">
                  <c:v>10.4107</c:v>
                </c:pt>
                <c:pt idx="1291">
                  <c:v>10.4444</c:v>
                </c:pt>
                <c:pt idx="1292">
                  <c:v>10.2113</c:v>
                </c:pt>
                <c:pt idx="1293">
                  <c:v>10.305199999999999</c:v>
                </c:pt>
                <c:pt idx="1294">
                  <c:v>10.259399999999999</c:v>
                </c:pt>
                <c:pt idx="1295">
                  <c:v>10.208</c:v>
                </c:pt>
                <c:pt idx="1296">
                  <c:v>10.43</c:v>
                </c:pt>
                <c:pt idx="1297">
                  <c:v>10.378299999999999</c:v>
                </c:pt>
                <c:pt idx="1298">
                  <c:v>10.4871</c:v>
                </c:pt>
                <c:pt idx="1299">
                  <c:v>10.580299999999999</c:v>
                </c:pt>
                <c:pt idx="1300">
                  <c:v>10.5794</c:v>
                </c:pt>
                <c:pt idx="1301">
                  <c:v>10.579000000000001</c:v>
                </c:pt>
                <c:pt idx="1302">
                  <c:v>10.4937</c:v>
                </c:pt>
                <c:pt idx="1303">
                  <c:v>10.5883</c:v>
                </c:pt>
                <c:pt idx="1304">
                  <c:v>10.6905</c:v>
                </c:pt>
                <c:pt idx="1305">
                  <c:v>10.792899999999999</c:v>
                </c:pt>
                <c:pt idx="1306">
                  <c:v>10.9628</c:v>
                </c:pt>
                <c:pt idx="1307">
                  <c:v>10.9017</c:v>
                </c:pt>
                <c:pt idx="1308">
                  <c:v>10.800800000000001</c:v>
                </c:pt>
                <c:pt idx="1309">
                  <c:v>10.812099999999999</c:v>
                </c:pt>
                <c:pt idx="1310">
                  <c:v>10.766299999999999</c:v>
                </c:pt>
                <c:pt idx="1311">
                  <c:v>10.9611</c:v>
                </c:pt>
                <c:pt idx="1312">
                  <c:v>10.9434</c:v>
                </c:pt>
                <c:pt idx="1313">
                  <c:v>10.9305</c:v>
                </c:pt>
                <c:pt idx="1314">
                  <c:v>10.922599999999999</c:v>
                </c:pt>
                <c:pt idx="1315">
                  <c:v>11.018700000000001</c:v>
                </c:pt>
                <c:pt idx="1316">
                  <c:v>11.1189</c:v>
                </c:pt>
                <c:pt idx="1317">
                  <c:v>11.136699999999999</c:v>
                </c:pt>
                <c:pt idx="1318">
                  <c:v>11.2766</c:v>
                </c:pt>
                <c:pt idx="1319">
                  <c:v>11.238300000000001</c:v>
                </c:pt>
                <c:pt idx="1320">
                  <c:v>11.296200000000001</c:v>
                </c:pt>
                <c:pt idx="1321">
                  <c:v>11.293200000000001</c:v>
                </c:pt>
                <c:pt idx="1322">
                  <c:v>11.321999999999999</c:v>
                </c:pt>
                <c:pt idx="1323">
                  <c:v>11.4595</c:v>
                </c:pt>
                <c:pt idx="1324">
                  <c:v>11.3621</c:v>
                </c:pt>
                <c:pt idx="1325">
                  <c:v>11.2593</c:v>
                </c:pt>
                <c:pt idx="1326">
                  <c:v>11.4091</c:v>
                </c:pt>
                <c:pt idx="1327">
                  <c:v>11.647</c:v>
                </c:pt>
                <c:pt idx="1328">
                  <c:v>11.678000000000001</c:v>
                </c:pt>
                <c:pt idx="1329">
                  <c:v>11.8849</c:v>
                </c:pt>
                <c:pt idx="1330">
                  <c:v>11.8726</c:v>
                </c:pt>
                <c:pt idx="1331">
                  <c:v>11.9062</c:v>
                </c:pt>
                <c:pt idx="1332">
                  <c:v>11.8902</c:v>
                </c:pt>
                <c:pt idx="1333">
                  <c:v>12.055199999999999</c:v>
                </c:pt>
                <c:pt idx="1334">
                  <c:v>11.940099999999999</c:v>
                </c:pt>
                <c:pt idx="1335">
                  <c:v>12.053900000000001</c:v>
                </c:pt>
                <c:pt idx="1336">
                  <c:v>12.0318</c:v>
                </c:pt>
                <c:pt idx="1337">
                  <c:v>12.134399999999999</c:v>
                </c:pt>
                <c:pt idx="1338">
                  <c:v>12.1595</c:v>
                </c:pt>
                <c:pt idx="1339">
                  <c:v>12.26</c:v>
                </c:pt>
                <c:pt idx="1340">
                  <c:v>12.3865</c:v>
                </c:pt>
                <c:pt idx="1341">
                  <c:v>12.347899999999999</c:v>
                </c:pt>
                <c:pt idx="1342">
                  <c:v>12.245799999999999</c:v>
                </c:pt>
                <c:pt idx="1343">
                  <c:v>12.3239</c:v>
                </c:pt>
                <c:pt idx="1344">
                  <c:v>12.3771</c:v>
                </c:pt>
                <c:pt idx="1345">
                  <c:v>11.0359</c:v>
                </c:pt>
                <c:pt idx="1346">
                  <c:v>11.0739</c:v>
                </c:pt>
                <c:pt idx="1347">
                  <c:v>11.0631</c:v>
                </c:pt>
                <c:pt idx="1348">
                  <c:v>11.184699999999999</c:v>
                </c:pt>
                <c:pt idx="1349">
                  <c:v>11.176</c:v>
                </c:pt>
                <c:pt idx="1350">
                  <c:v>11.1028</c:v>
                </c:pt>
                <c:pt idx="1351">
                  <c:v>10.789400000000001</c:v>
                </c:pt>
                <c:pt idx="1352">
                  <c:v>10.864000000000001</c:v>
                </c:pt>
                <c:pt idx="1353">
                  <c:v>11.049799999999999</c:v>
                </c:pt>
                <c:pt idx="1354">
                  <c:v>11.0947</c:v>
                </c:pt>
                <c:pt idx="1355">
                  <c:v>11.089</c:v>
                </c:pt>
                <c:pt idx="1356">
                  <c:v>11.2859</c:v>
                </c:pt>
                <c:pt idx="1357">
                  <c:v>11.290900000000001</c:v>
                </c:pt>
                <c:pt idx="1358">
                  <c:v>11.335100000000001</c:v>
                </c:pt>
                <c:pt idx="1359">
                  <c:v>11.3987</c:v>
                </c:pt>
                <c:pt idx="1360">
                  <c:v>11.4331</c:v>
                </c:pt>
                <c:pt idx="1361">
                  <c:v>11.3073</c:v>
                </c:pt>
                <c:pt idx="1362">
                  <c:v>11.292199999999999</c:v>
                </c:pt>
                <c:pt idx="1363">
                  <c:v>11.163</c:v>
                </c:pt>
                <c:pt idx="1364">
                  <c:v>11.179399999999999</c:v>
                </c:pt>
                <c:pt idx="1365">
                  <c:v>11.2926</c:v>
                </c:pt>
                <c:pt idx="1366">
                  <c:v>11.248699999999999</c:v>
                </c:pt>
                <c:pt idx="1367">
                  <c:v>11.133800000000001</c:v>
                </c:pt>
                <c:pt idx="1368">
                  <c:v>10.9923</c:v>
                </c:pt>
                <c:pt idx="1369">
                  <c:v>11.104100000000001</c:v>
                </c:pt>
                <c:pt idx="1370">
                  <c:v>11.266400000000001</c:v>
                </c:pt>
                <c:pt idx="1371">
                  <c:v>11.145099999999999</c:v>
                </c:pt>
                <c:pt idx="1372">
                  <c:v>10.872299999999999</c:v>
                </c:pt>
                <c:pt idx="1373">
                  <c:v>10.8696</c:v>
                </c:pt>
                <c:pt idx="1374">
                  <c:v>10.873100000000001</c:v>
                </c:pt>
                <c:pt idx="1375">
                  <c:v>10.872999999999999</c:v>
                </c:pt>
                <c:pt idx="1376">
                  <c:v>10.5901</c:v>
                </c:pt>
                <c:pt idx="1377">
                  <c:v>10.687200000000001</c:v>
                </c:pt>
                <c:pt idx="1378">
                  <c:v>10.835100000000001</c:v>
                </c:pt>
                <c:pt idx="1379">
                  <c:v>10.647</c:v>
                </c:pt>
                <c:pt idx="1380">
                  <c:v>10.6853</c:v>
                </c:pt>
                <c:pt idx="1381">
                  <c:v>10.915100000000001</c:v>
                </c:pt>
                <c:pt idx="1382">
                  <c:v>10.8322</c:v>
                </c:pt>
                <c:pt idx="1383">
                  <c:v>10.787800000000001</c:v>
                </c:pt>
                <c:pt idx="1384">
                  <c:v>10.866400000000001</c:v>
                </c:pt>
                <c:pt idx="1385">
                  <c:v>10.603400000000001</c:v>
                </c:pt>
                <c:pt idx="1386">
                  <c:v>10.7227</c:v>
                </c:pt>
                <c:pt idx="1387">
                  <c:v>10.8413</c:v>
                </c:pt>
                <c:pt idx="1388">
                  <c:v>10.8546</c:v>
                </c:pt>
                <c:pt idx="1389">
                  <c:v>10.923500000000001</c:v>
                </c:pt>
                <c:pt idx="1390">
                  <c:v>10.833399999999999</c:v>
                </c:pt>
                <c:pt idx="1391">
                  <c:v>10.8832</c:v>
                </c:pt>
                <c:pt idx="1392">
                  <c:v>10.8407</c:v>
                </c:pt>
                <c:pt idx="1393">
                  <c:v>10.844799999999999</c:v>
                </c:pt>
                <c:pt idx="1394">
                  <c:v>10.6511</c:v>
                </c:pt>
                <c:pt idx="1395">
                  <c:v>10.7235</c:v>
                </c:pt>
                <c:pt idx="1396">
                  <c:v>10.5258</c:v>
                </c:pt>
                <c:pt idx="1397">
                  <c:v>10.481199999999999</c:v>
                </c:pt>
                <c:pt idx="1398">
                  <c:v>10.54</c:v>
                </c:pt>
                <c:pt idx="1399">
                  <c:v>10.5868</c:v>
                </c:pt>
                <c:pt idx="1400">
                  <c:v>10.3687</c:v>
                </c:pt>
                <c:pt idx="1401">
                  <c:v>10.2928</c:v>
                </c:pt>
                <c:pt idx="1402">
                  <c:v>10.240399999999999</c:v>
                </c:pt>
                <c:pt idx="1403">
                  <c:v>10.1219</c:v>
                </c:pt>
                <c:pt idx="1404">
                  <c:v>10.0199</c:v>
                </c:pt>
                <c:pt idx="1405">
                  <c:v>10.088800000000001</c:v>
                </c:pt>
                <c:pt idx="1406">
                  <c:v>10.271599999999999</c:v>
                </c:pt>
                <c:pt idx="1407">
                  <c:v>10.053800000000001</c:v>
                </c:pt>
                <c:pt idx="1408">
                  <c:v>10.1471</c:v>
                </c:pt>
                <c:pt idx="1409">
                  <c:v>10.161899999999999</c:v>
                </c:pt>
                <c:pt idx="1410">
                  <c:v>10.165100000000001</c:v>
                </c:pt>
                <c:pt idx="1411">
                  <c:v>10.236700000000001</c:v>
                </c:pt>
                <c:pt idx="1412">
                  <c:v>10.072100000000001</c:v>
                </c:pt>
                <c:pt idx="1413">
                  <c:v>10.0267</c:v>
                </c:pt>
                <c:pt idx="1414">
                  <c:v>9.8422000000000001</c:v>
                </c:pt>
                <c:pt idx="1415">
                  <c:v>9.8076000000000008</c:v>
                </c:pt>
                <c:pt idx="1416">
                  <c:v>9.8381000000000007</c:v>
                </c:pt>
                <c:pt idx="1417">
                  <c:v>10.0937</c:v>
                </c:pt>
                <c:pt idx="1418">
                  <c:v>10.2247</c:v>
                </c:pt>
                <c:pt idx="1419">
                  <c:v>10.1919</c:v>
                </c:pt>
                <c:pt idx="1420">
                  <c:v>10.2018</c:v>
                </c:pt>
                <c:pt idx="1421">
                  <c:v>10.261100000000001</c:v>
                </c:pt>
                <c:pt idx="1422">
                  <c:v>10.234500000000001</c:v>
                </c:pt>
                <c:pt idx="1423">
                  <c:v>10.2203</c:v>
                </c:pt>
                <c:pt idx="1424">
                  <c:v>10.324</c:v>
                </c:pt>
                <c:pt idx="1425">
                  <c:v>10.3531</c:v>
                </c:pt>
                <c:pt idx="1426">
                  <c:v>10.536300000000001</c:v>
                </c:pt>
                <c:pt idx="1427">
                  <c:v>10.604100000000001</c:v>
                </c:pt>
                <c:pt idx="1428">
                  <c:v>10.544</c:v>
                </c:pt>
                <c:pt idx="1429">
                  <c:v>10.466900000000001</c:v>
                </c:pt>
                <c:pt idx="1430">
                  <c:v>10.3</c:v>
                </c:pt>
                <c:pt idx="1431">
                  <c:v>10.293799999999999</c:v>
                </c:pt>
                <c:pt idx="1432">
                  <c:v>10.425599999999999</c:v>
                </c:pt>
                <c:pt idx="1433">
                  <c:v>10.355600000000001</c:v>
                </c:pt>
                <c:pt idx="1434">
                  <c:v>10.685</c:v>
                </c:pt>
                <c:pt idx="1435">
                  <c:v>10.8447</c:v>
                </c:pt>
                <c:pt idx="1436">
                  <c:v>10.963200000000001</c:v>
                </c:pt>
                <c:pt idx="1437">
                  <c:v>10.945399999999999</c:v>
                </c:pt>
                <c:pt idx="1438">
                  <c:v>10.9064</c:v>
                </c:pt>
                <c:pt idx="1439">
                  <c:v>10.7699</c:v>
                </c:pt>
                <c:pt idx="1440">
                  <c:v>10.730499999999999</c:v>
                </c:pt>
                <c:pt idx="1441">
                  <c:v>10.8187</c:v>
                </c:pt>
                <c:pt idx="1442">
                  <c:v>10.827400000000001</c:v>
                </c:pt>
                <c:pt idx="1443">
                  <c:v>10.711499999999999</c:v>
                </c:pt>
                <c:pt idx="1444">
                  <c:v>10.8728</c:v>
                </c:pt>
                <c:pt idx="1445">
                  <c:v>10.9062</c:v>
                </c:pt>
                <c:pt idx="1446">
                  <c:v>10.891400000000001</c:v>
                </c:pt>
                <c:pt idx="1447">
                  <c:v>11.0252</c:v>
                </c:pt>
                <c:pt idx="1448">
                  <c:v>11.1585</c:v>
                </c:pt>
                <c:pt idx="1449">
                  <c:v>10.9886</c:v>
                </c:pt>
                <c:pt idx="1450">
                  <c:v>10.7142</c:v>
                </c:pt>
                <c:pt idx="1451">
                  <c:v>10.6509</c:v>
                </c:pt>
                <c:pt idx="1452">
                  <c:v>10.663</c:v>
                </c:pt>
                <c:pt idx="1453">
                  <c:v>11.0006</c:v>
                </c:pt>
                <c:pt idx="1454">
                  <c:v>11.1692</c:v>
                </c:pt>
                <c:pt idx="1455">
                  <c:v>11.325799999999999</c:v>
                </c:pt>
                <c:pt idx="1456">
                  <c:v>11.252800000000001</c:v>
                </c:pt>
                <c:pt idx="1457">
                  <c:v>11.3414</c:v>
                </c:pt>
                <c:pt idx="1458">
                  <c:v>11.1823</c:v>
                </c:pt>
                <c:pt idx="1459">
                  <c:v>11.5105</c:v>
                </c:pt>
                <c:pt idx="1460">
                  <c:v>11.5891</c:v>
                </c:pt>
                <c:pt idx="1461">
                  <c:v>11.691000000000001</c:v>
                </c:pt>
                <c:pt idx="1462">
                  <c:v>11.716699999999999</c:v>
                </c:pt>
                <c:pt idx="1463">
                  <c:v>11.769600000000001</c:v>
                </c:pt>
                <c:pt idx="1464">
                  <c:v>11.7357</c:v>
                </c:pt>
                <c:pt idx="1465">
                  <c:v>11.6869</c:v>
                </c:pt>
                <c:pt idx="1466">
                  <c:v>11.770899999999999</c:v>
                </c:pt>
                <c:pt idx="1467">
                  <c:v>11.755100000000001</c:v>
                </c:pt>
                <c:pt idx="1468">
                  <c:v>11.8156</c:v>
                </c:pt>
                <c:pt idx="1469">
                  <c:v>11.8828</c:v>
                </c:pt>
                <c:pt idx="1470">
                  <c:v>11.8368</c:v>
                </c:pt>
                <c:pt idx="1471">
                  <c:v>11.9095</c:v>
                </c:pt>
                <c:pt idx="1472">
                  <c:v>11.7836</c:v>
                </c:pt>
                <c:pt idx="1473">
                  <c:v>11.728899999999999</c:v>
                </c:pt>
                <c:pt idx="1474">
                  <c:v>11.7439</c:v>
                </c:pt>
                <c:pt idx="1475">
                  <c:v>11.8012</c:v>
                </c:pt>
                <c:pt idx="1476">
                  <c:v>11.732200000000001</c:v>
                </c:pt>
                <c:pt idx="1477">
                  <c:v>11.7178</c:v>
                </c:pt>
                <c:pt idx="1478">
                  <c:v>11.641500000000001</c:v>
                </c:pt>
                <c:pt idx="1479">
                  <c:v>11.7219</c:v>
                </c:pt>
                <c:pt idx="1480">
                  <c:v>11.8628</c:v>
                </c:pt>
                <c:pt idx="1481">
                  <c:v>11.7577</c:v>
                </c:pt>
                <c:pt idx="1482">
                  <c:v>11.7441</c:v>
                </c:pt>
                <c:pt idx="1483">
                  <c:v>12.046200000000001</c:v>
                </c:pt>
                <c:pt idx="1484">
                  <c:v>12.111499999999999</c:v>
                </c:pt>
                <c:pt idx="1485">
                  <c:v>12.0924</c:v>
                </c:pt>
                <c:pt idx="1486">
                  <c:v>12.158099999999999</c:v>
                </c:pt>
                <c:pt idx="1487">
                  <c:v>12.182700000000001</c:v>
                </c:pt>
                <c:pt idx="1488">
                  <c:v>12.1755</c:v>
                </c:pt>
                <c:pt idx="1489">
                  <c:v>12.3855</c:v>
                </c:pt>
                <c:pt idx="1490">
                  <c:v>12.3626</c:v>
                </c:pt>
                <c:pt idx="1491">
                  <c:v>12.3154</c:v>
                </c:pt>
                <c:pt idx="1492">
                  <c:v>12.3742</c:v>
                </c:pt>
                <c:pt idx="1493">
                  <c:v>12.3575</c:v>
                </c:pt>
                <c:pt idx="1494">
                  <c:v>12.4259</c:v>
                </c:pt>
                <c:pt idx="1495">
                  <c:v>12.3531</c:v>
                </c:pt>
                <c:pt idx="1496">
                  <c:v>12.4115</c:v>
                </c:pt>
                <c:pt idx="1497">
                  <c:v>12.164</c:v>
                </c:pt>
                <c:pt idx="1498">
                  <c:v>12.2021</c:v>
                </c:pt>
                <c:pt idx="1499">
                  <c:v>12.0619</c:v>
                </c:pt>
                <c:pt idx="1500">
                  <c:v>12.2506</c:v>
                </c:pt>
                <c:pt idx="1501">
                  <c:v>12.2492</c:v>
                </c:pt>
                <c:pt idx="1502">
                  <c:v>12.2437</c:v>
                </c:pt>
                <c:pt idx="1503">
                  <c:v>12.260400000000001</c:v>
                </c:pt>
                <c:pt idx="1504">
                  <c:v>12.437799999999999</c:v>
                </c:pt>
                <c:pt idx="1505">
                  <c:v>12.350899999999999</c:v>
                </c:pt>
                <c:pt idx="1506">
                  <c:v>12.2828</c:v>
                </c:pt>
                <c:pt idx="1507">
                  <c:v>12.209899999999999</c:v>
                </c:pt>
                <c:pt idx="1508">
                  <c:v>12.3233</c:v>
                </c:pt>
                <c:pt idx="1509">
                  <c:v>12.234299999999999</c:v>
                </c:pt>
                <c:pt idx="1510">
                  <c:v>12.379200000000001</c:v>
                </c:pt>
                <c:pt idx="1511">
                  <c:v>12.5754</c:v>
                </c:pt>
                <c:pt idx="1512">
                  <c:v>12.667299999999999</c:v>
                </c:pt>
                <c:pt idx="1513">
                  <c:v>12.697100000000001</c:v>
                </c:pt>
                <c:pt idx="1514">
                  <c:v>12.5968</c:v>
                </c:pt>
                <c:pt idx="1515">
                  <c:v>12.5578</c:v>
                </c:pt>
                <c:pt idx="1516">
                  <c:v>12.334199999999999</c:v>
                </c:pt>
                <c:pt idx="1517">
                  <c:v>12.377000000000001</c:v>
                </c:pt>
                <c:pt idx="1518">
                  <c:v>12.413399999999999</c:v>
                </c:pt>
                <c:pt idx="1519">
                  <c:v>12.4466</c:v>
                </c:pt>
                <c:pt idx="1520">
                  <c:v>12.385400000000001</c:v>
                </c:pt>
                <c:pt idx="1521">
                  <c:v>12.508699999999999</c:v>
                </c:pt>
                <c:pt idx="1522">
                  <c:v>12.4686</c:v>
                </c:pt>
                <c:pt idx="1523">
                  <c:v>12.6272</c:v>
                </c:pt>
                <c:pt idx="1524">
                  <c:v>12.6488</c:v>
                </c:pt>
                <c:pt idx="1525">
                  <c:v>12.5693</c:v>
                </c:pt>
                <c:pt idx="1526">
                  <c:v>12.661</c:v>
                </c:pt>
                <c:pt idx="1527">
                  <c:v>12.4862</c:v>
                </c:pt>
                <c:pt idx="1528">
                  <c:v>12.4758</c:v>
                </c:pt>
                <c:pt idx="1529">
                  <c:v>12.4475</c:v>
                </c:pt>
                <c:pt idx="1530">
                  <c:v>12.417299999999999</c:v>
                </c:pt>
                <c:pt idx="1531">
                  <c:v>12.464499999999999</c:v>
                </c:pt>
                <c:pt idx="1532">
                  <c:v>12.374700000000001</c:v>
                </c:pt>
                <c:pt idx="1533">
                  <c:v>12.260400000000001</c:v>
                </c:pt>
                <c:pt idx="1534">
                  <c:v>12.1455</c:v>
                </c:pt>
                <c:pt idx="1535">
                  <c:v>12.4389</c:v>
                </c:pt>
                <c:pt idx="1536">
                  <c:v>12.489100000000001</c:v>
                </c:pt>
                <c:pt idx="1537">
                  <c:v>12.527100000000001</c:v>
                </c:pt>
                <c:pt idx="1538">
                  <c:v>12.609299999999999</c:v>
                </c:pt>
                <c:pt idx="1539">
                  <c:v>12.7034</c:v>
                </c:pt>
                <c:pt idx="1540">
                  <c:v>12.6454</c:v>
                </c:pt>
                <c:pt idx="1541">
                  <c:v>12.683400000000001</c:v>
                </c:pt>
                <c:pt idx="1542">
                  <c:v>12.683999999999999</c:v>
                </c:pt>
                <c:pt idx="1543">
                  <c:v>13.0061</c:v>
                </c:pt>
                <c:pt idx="1544">
                  <c:v>12.9932</c:v>
                </c:pt>
                <c:pt idx="1545">
                  <c:v>13.0199</c:v>
                </c:pt>
                <c:pt idx="1546">
                  <c:v>13.0404</c:v>
                </c:pt>
                <c:pt idx="1547">
                  <c:v>13.083500000000001</c:v>
                </c:pt>
                <c:pt idx="1548">
                  <c:v>13.1492</c:v>
                </c:pt>
                <c:pt idx="1549">
                  <c:v>13.162100000000001</c:v>
                </c:pt>
                <c:pt idx="1550">
                  <c:v>13.1798</c:v>
                </c:pt>
                <c:pt idx="1551">
                  <c:v>13.132199999999999</c:v>
                </c:pt>
                <c:pt idx="1552">
                  <c:v>13.154400000000001</c:v>
                </c:pt>
                <c:pt idx="1553">
                  <c:v>13.109500000000001</c:v>
                </c:pt>
                <c:pt idx="1554">
                  <c:v>13.1358</c:v>
                </c:pt>
                <c:pt idx="1555">
                  <c:v>13.131399999999999</c:v>
                </c:pt>
                <c:pt idx="1556">
                  <c:v>13.207700000000001</c:v>
                </c:pt>
                <c:pt idx="1557">
                  <c:v>13.2438</c:v>
                </c:pt>
                <c:pt idx="1558">
                  <c:v>13.2624</c:v>
                </c:pt>
                <c:pt idx="1559">
                  <c:v>13.219900000000001</c:v>
                </c:pt>
                <c:pt idx="1560">
                  <c:v>13.221</c:v>
                </c:pt>
                <c:pt idx="1561">
                  <c:v>13.215199999999999</c:v>
                </c:pt>
                <c:pt idx="1562">
                  <c:v>13.218500000000001</c:v>
                </c:pt>
                <c:pt idx="1563">
                  <c:v>13.2248</c:v>
                </c:pt>
                <c:pt idx="1564">
                  <c:v>13.140599999999999</c:v>
                </c:pt>
                <c:pt idx="1565">
                  <c:v>13.175700000000001</c:v>
                </c:pt>
                <c:pt idx="1566">
                  <c:v>13.1755</c:v>
                </c:pt>
                <c:pt idx="1567">
                  <c:v>13.441800000000001</c:v>
                </c:pt>
                <c:pt idx="1568">
                  <c:v>13.5091</c:v>
                </c:pt>
                <c:pt idx="1569">
                  <c:v>13.5517</c:v>
                </c:pt>
                <c:pt idx="1570">
                  <c:v>13.4933</c:v>
                </c:pt>
                <c:pt idx="1571">
                  <c:v>13.4796</c:v>
                </c:pt>
                <c:pt idx="1572">
                  <c:v>13.5388</c:v>
                </c:pt>
                <c:pt idx="1573">
                  <c:v>13.452299999999999</c:v>
                </c:pt>
                <c:pt idx="1574">
                  <c:v>13.427199999999999</c:v>
                </c:pt>
                <c:pt idx="1575">
                  <c:v>13.3894</c:v>
                </c:pt>
                <c:pt idx="1576">
                  <c:v>13.367800000000001</c:v>
                </c:pt>
                <c:pt idx="1577">
                  <c:v>13.375500000000001</c:v>
                </c:pt>
                <c:pt idx="1578">
                  <c:v>13.4557</c:v>
                </c:pt>
                <c:pt idx="1579">
                  <c:v>13.4344</c:v>
                </c:pt>
                <c:pt idx="1580">
                  <c:v>13.490399999999999</c:v>
                </c:pt>
                <c:pt idx="1581">
                  <c:v>13.4991</c:v>
                </c:pt>
                <c:pt idx="1582">
                  <c:v>13.591200000000001</c:v>
                </c:pt>
                <c:pt idx="1583">
                  <c:v>13.6555</c:v>
                </c:pt>
                <c:pt idx="1584">
                  <c:v>13.695600000000001</c:v>
                </c:pt>
                <c:pt idx="1585">
                  <c:v>13.6647</c:v>
                </c:pt>
                <c:pt idx="1586">
                  <c:v>13.6823</c:v>
                </c:pt>
                <c:pt idx="1587">
                  <c:v>13.5344</c:v>
                </c:pt>
                <c:pt idx="1588">
                  <c:v>13.506600000000001</c:v>
                </c:pt>
                <c:pt idx="1589">
                  <c:v>13.5489</c:v>
                </c:pt>
                <c:pt idx="1590">
                  <c:v>13.4542</c:v>
                </c:pt>
                <c:pt idx="1591">
                  <c:v>13.568300000000001</c:v>
                </c:pt>
                <c:pt idx="1592">
                  <c:v>13.582599999999999</c:v>
                </c:pt>
                <c:pt idx="1593">
                  <c:v>13.561199999999999</c:v>
                </c:pt>
                <c:pt idx="1594">
                  <c:v>13.7194</c:v>
                </c:pt>
                <c:pt idx="1595">
                  <c:v>13.6366</c:v>
                </c:pt>
                <c:pt idx="1596">
                  <c:v>13.724600000000001</c:v>
                </c:pt>
                <c:pt idx="1597">
                  <c:v>13.9344</c:v>
                </c:pt>
                <c:pt idx="1598">
                  <c:v>13.9366</c:v>
                </c:pt>
                <c:pt idx="1599">
                  <c:v>13.9566</c:v>
                </c:pt>
                <c:pt idx="1600">
                  <c:v>13.935499999999999</c:v>
                </c:pt>
                <c:pt idx="1601">
                  <c:v>14.0792</c:v>
                </c:pt>
                <c:pt idx="1602">
                  <c:v>14.1576</c:v>
                </c:pt>
                <c:pt idx="1603">
                  <c:v>13.944000000000001</c:v>
                </c:pt>
                <c:pt idx="1604">
                  <c:v>14.0067</c:v>
                </c:pt>
                <c:pt idx="1605">
                  <c:v>14.0213</c:v>
                </c:pt>
                <c:pt idx="1606">
                  <c:v>13.869400000000001</c:v>
                </c:pt>
                <c:pt idx="1607">
                  <c:v>14.036300000000001</c:v>
                </c:pt>
                <c:pt idx="1608">
                  <c:v>12.460800000000001</c:v>
                </c:pt>
                <c:pt idx="1609">
                  <c:v>12.418900000000001</c:v>
                </c:pt>
                <c:pt idx="1610">
                  <c:v>12.401899999999999</c:v>
                </c:pt>
                <c:pt idx="1611">
                  <c:v>12.639699999999999</c:v>
                </c:pt>
                <c:pt idx="1612">
                  <c:v>12.605600000000001</c:v>
                </c:pt>
                <c:pt idx="1613">
                  <c:v>12.6236</c:v>
                </c:pt>
                <c:pt idx="1614">
                  <c:v>12.7377</c:v>
                </c:pt>
                <c:pt idx="1615">
                  <c:v>12.742699999999999</c:v>
                </c:pt>
                <c:pt idx="1616">
                  <c:v>12.7408</c:v>
                </c:pt>
                <c:pt idx="1617">
                  <c:v>12.738300000000001</c:v>
                </c:pt>
                <c:pt idx="1618">
                  <c:v>12.8939</c:v>
                </c:pt>
                <c:pt idx="1619">
                  <c:v>12.862299999999999</c:v>
                </c:pt>
                <c:pt idx="1620">
                  <c:v>12.8424</c:v>
                </c:pt>
                <c:pt idx="1621">
                  <c:v>12.766299999999999</c:v>
                </c:pt>
                <c:pt idx="1622">
                  <c:v>12.819100000000001</c:v>
                </c:pt>
                <c:pt idx="1623">
                  <c:v>12.7286</c:v>
                </c:pt>
                <c:pt idx="1624">
                  <c:v>12.7258</c:v>
                </c:pt>
                <c:pt idx="1625">
                  <c:v>12.6875</c:v>
                </c:pt>
                <c:pt idx="1626">
                  <c:v>12.704800000000001</c:v>
                </c:pt>
                <c:pt idx="1627">
                  <c:v>12.6351</c:v>
                </c:pt>
                <c:pt idx="1628">
                  <c:v>12.69</c:v>
                </c:pt>
                <c:pt idx="1629">
                  <c:v>12.6907</c:v>
                </c:pt>
                <c:pt idx="1630">
                  <c:v>12.690799999999999</c:v>
                </c:pt>
                <c:pt idx="1631">
                  <c:v>12.8566</c:v>
                </c:pt>
                <c:pt idx="1632">
                  <c:v>12.7453</c:v>
                </c:pt>
                <c:pt idx="1633">
                  <c:v>12.6183</c:v>
                </c:pt>
                <c:pt idx="1634">
                  <c:v>12.450200000000001</c:v>
                </c:pt>
                <c:pt idx="1635">
                  <c:v>12.4854</c:v>
                </c:pt>
                <c:pt idx="1636">
                  <c:v>12.538</c:v>
                </c:pt>
                <c:pt idx="1637">
                  <c:v>12.7682</c:v>
                </c:pt>
                <c:pt idx="1638">
                  <c:v>12.867800000000001</c:v>
                </c:pt>
                <c:pt idx="1639">
                  <c:v>12.7614</c:v>
                </c:pt>
                <c:pt idx="1640">
                  <c:v>12.682600000000001</c:v>
                </c:pt>
                <c:pt idx="1641">
                  <c:v>12.6182</c:v>
                </c:pt>
                <c:pt idx="1642">
                  <c:v>12.419700000000001</c:v>
                </c:pt>
                <c:pt idx="1643">
                  <c:v>12.433299999999999</c:v>
                </c:pt>
                <c:pt idx="1644">
                  <c:v>12.512700000000001</c:v>
                </c:pt>
                <c:pt idx="1645">
                  <c:v>12.552899999999999</c:v>
                </c:pt>
                <c:pt idx="1646">
                  <c:v>12.8575</c:v>
                </c:pt>
                <c:pt idx="1647">
                  <c:v>12.9526</c:v>
                </c:pt>
                <c:pt idx="1648">
                  <c:v>13.0487</c:v>
                </c:pt>
                <c:pt idx="1649">
                  <c:v>13.026899999999999</c:v>
                </c:pt>
                <c:pt idx="1650">
                  <c:v>13.1174</c:v>
                </c:pt>
                <c:pt idx="1651">
                  <c:v>13.106199999999999</c:v>
                </c:pt>
                <c:pt idx="1652">
                  <c:v>13.0869</c:v>
                </c:pt>
                <c:pt idx="1653">
                  <c:v>13.107200000000001</c:v>
                </c:pt>
                <c:pt idx="1654">
                  <c:v>13.242100000000001</c:v>
                </c:pt>
                <c:pt idx="1655">
                  <c:v>13.241199999999999</c:v>
                </c:pt>
                <c:pt idx="1656">
                  <c:v>13.281499999999999</c:v>
                </c:pt>
                <c:pt idx="1657">
                  <c:v>13.3668</c:v>
                </c:pt>
                <c:pt idx="1658">
                  <c:v>13.377700000000001</c:v>
                </c:pt>
                <c:pt idx="1659">
                  <c:v>13.411799999999999</c:v>
                </c:pt>
                <c:pt idx="1660">
                  <c:v>13.371600000000001</c:v>
                </c:pt>
                <c:pt idx="1661">
                  <c:v>13.4404</c:v>
                </c:pt>
                <c:pt idx="1662">
                  <c:v>13.5321</c:v>
                </c:pt>
                <c:pt idx="1663">
                  <c:v>13.517200000000001</c:v>
                </c:pt>
                <c:pt idx="1664">
                  <c:v>13.5566</c:v>
                </c:pt>
                <c:pt idx="1665">
                  <c:v>13.6099</c:v>
                </c:pt>
                <c:pt idx="1666">
                  <c:v>13.639699999999999</c:v>
                </c:pt>
                <c:pt idx="1667">
                  <c:v>13.6777</c:v>
                </c:pt>
                <c:pt idx="1668">
                  <c:v>13.3932</c:v>
                </c:pt>
                <c:pt idx="1669">
                  <c:v>13.3611</c:v>
                </c:pt>
                <c:pt idx="1670">
                  <c:v>13.411</c:v>
                </c:pt>
                <c:pt idx="1671">
                  <c:v>13.574299999999999</c:v>
                </c:pt>
                <c:pt idx="1672">
                  <c:v>13.328099999999999</c:v>
                </c:pt>
                <c:pt idx="1673">
                  <c:v>13.378399999999999</c:v>
                </c:pt>
                <c:pt idx="1674">
                  <c:v>13.259</c:v>
                </c:pt>
                <c:pt idx="1675">
                  <c:v>13.172700000000001</c:v>
                </c:pt>
                <c:pt idx="1676">
                  <c:v>13.232900000000001</c:v>
                </c:pt>
                <c:pt idx="1677">
                  <c:v>13.035500000000001</c:v>
                </c:pt>
                <c:pt idx="1678">
                  <c:v>12.9122</c:v>
                </c:pt>
                <c:pt idx="1679">
                  <c:v>13.0822</c:v>
                </c:pt>
                <c:pt idx="1680">
                  <c:v>13.0822</c:v>
                </c:pt>
                <c:pt idx="1681">
                  <c:v>12.9413</c:v>
                </c:pt>
                <c:pt idx="1682">
                  <c:v>12.9034</c:v>
                </c:pt>
                <c:pt idx="1683">
                  <c:v>12.898300000000001</c:v>
                </c:pt>
                <c:pt idx="1684">
                  <c:v>12.928800000000001</c:v>
                </c:pt>
                <c:pt idx="1685">
                  <c:v>13.051500000000001</c:v>
                </c:pt>
                <c:pt idx="1686">
                  <c:v>13.0677</c:v>
                </c:pt>
                <c:pt idx="1687">
                  <c:v>13.042999999999999</c:v>
                </c:pt>
                <c:pt idx="1688">
                  <c:v>12.6363</c:v>
                </c:pt>
                <c:pt idx="1689">
                  <c:v>12.481299999999999</c:v>
                </c:pt>
                <c:pt idx="1690">
                  <c:v>12.3432</c:v>
                </c:pt>
                <c:pt idx="1691">
                  <c:v>12.5267</c:v>
                </c:pt>
                <c:pt idx="1692">
                  <c:v>12.7418</c:v>
                </c:pt>
                <c:pt idx="1693">
                  <c:v>12.83</c:v>
                </c:pt>
                <c:pt idx="1694">
                  <c:v>12.776999999999999</c:v>
                </c:pt>
                <c:pt idx="1695">
                  <c:v>12.9337</c:v>
                </c:pt>
                <c:pt idx="1696">
                  <c:v>12.8842</c:v>
                </c:pt>
                <c:pt idx="1697">
                  <c:v>12.809100000000001</c:v>
                </c:pt>
                <c:pt idx="1698">
                  <c:v>13.102</c:v>
                </c:pt>
                <c:pt idx="1699">
                  <c:v>12.9269</c:v>
                </c:pt>
                <c:pt idx="1700">
                  <c:v>13.114000000000001</c:v>
                </c:pt>
                <c:pt idx="1701">
                  <c:v>13.213699999999999</c:v>
                </c:pt>
                <c:pt idx="1702">
                  <c:v>13.2257</c:v>
                </c:pt>
                <c:pt idx="1703">
                  <c:v>13.331</c:v>
                </c:pt>
                <c:pt idx="1704">
                  <c:v>13.344900000000001</c:v>
                </c:pt>
                <c:pt idx="1705">
                  <c:v>13.413600000000001</c:v>
                </c:pt>
                <c:pt idx="1706">
                  <c:v>13.3393</c:v>
                </c:pt>
                <c:pt idx="1707">
                  <c:v>13.4239</c:v>
                </c:pt>
                <c:pt idx="1708">
                  <c:v>13.5486</c:v>
                </c:pt>
                <c:pt idx="1709">
                  <c:v>13.5661</c:v>
                </c:pt>
                <c:pt idx="1710">
                  <c:v>13.601900000000001</c:v>
                </c:pt>
                <c:pt idx="1711">
                  <c:v>13.575799999999999</c:v>
                </c:pt>
                <c:pt idx="1712">
                  <c:v>13.6661</c:v>
                </c:pt>
                <c:pt idx="1713">
                  <c:v>13.631500000000001</c:v>
                </c:pt>
                <c:pt idx="1714">
                  <c:v>13.629099999999999</c:v>
                </c:pt>
                <c:pt idx="1715">
                  <c:v>13.6487</c:v>
                </c:pt>
                <c:pt idx="1716">
                  <c:v>13.6928</c:v>
                </c:pt>
                <c:pt idx="1717">
                  <c:v>13.746600000000001</c:v>
                </c:pt>
                <c:pt idx="1718">
                  <c:v>13.939299999999999</c:v>
                </c:pt>
                <c:pt idx="1719">
                  <c:v>14.017200000000001</c:v>
                </c:pt>
                <c:pt idx="1720">
                  <c:v>14.0601</c:v>
                </c:pt>
                <c:pt idx="1721">
                  <c:v>14.013999999999999</c:v>
                </c:pt>
                <c:pt idx="1722">
                  <c:v>13.9748</c:v>
                </c:pt>
                <c:pt idx="1723">
                  <c:v>14.0534</c:v>
                </c:pt>
                <c:pt idx="1724">
                  <c:v>14.1335</c:v>
                </c:pt>
                <c:pt idx="1725">
                  <c:v>14.1373</c:v>
                </c:pt>
                <c:pt idx="1726">
                  <c:v>14.2285</c:v>
                </c:pt>
                <c:pt idx="1727">
                  <c:v>14.2682</c:v>
                </c:pt>
                <c:pt idx="1728">
                  <c:v>14.1203</c:v>
                </c:pt>
                <c:pt idx="1729">
                  <c:v>14.171799999999999</c:v>
                </c:pt>
                <c:pt idx="1730">
                  <c:v>14.106400000000001</c:v>
                </c:pt>
                <c:pt idx="1731">
                  <c:v>14.0151</c:v>
                </c:pt>
                <c:pt idx="1732">
                  <c:v>13.936500000000001</c:v>
                </c:pt>
                <c:pt idx="1733">
                  <c:v>14.0756</c:v>
                </c:pt>
                <c:pt idx="1734">
                  <c:v>14.1342</c:v>
                </c:pt>
                <c:pt idx="1735">
                  <c:v>14.1205</c:v>
                </c:pt>
                <c:pt idx="1736">
                  <c:v>13.8689</c:v>
                </c:pt>
                <c:pt idx="1737">
                  <c:v>13.8094</c:v>
                </c:pt>
                <c:pt idx="1738">
                  <c:v>13.893700000000001</c:v>
                </c:pt>
                <c:pt idx="1739">
                  <c:v>13.761799999999999</c:v>
                </c:pt>
                <c:pt idx="1740">
                  <c:v>14.0023</c:v>
                </c:pt>
                <c:pt idx="1741">
                  <c:v>13.942399999999999</c:v>
                </c:pt>
                <c:pt idx="1742">
                  <c:v>13.979900000000001</c:v>
                </c:pt>
                <c:pt idx="1743">
                  <c:v>14.07</c:v>
                </c:pt>
                <c:pt idx="1744">
                  <c:v>14.1424</c:v>
                </c:pt>
                <c:pt idx="1745">
                  <c:v>14.1456</c:v>
                </c:pt>
                <c:pt idx="1746">
                  <c:v>14.332000000000001</c:v>
                </c:pt>
                <c:pt idx="1747">
                  <c:v>14.390599999999999</c:v>
                </c:pt>
                <c:pt idx="1748">
                  <c:v>14.3955</c:v>
                </c:pt>
                <c:pt idx="1749">
                  <c:v>14.428000000000001</c:v>
                </c:pt>
                <c:pt idx="1750">
                  <c:v>14.5525</c:v>
                </c:pt>
                <c:pt idx="1751">
                  <c:v>14.505100000000001</c:v>
                </c:pt>
                <c:pt idx="1752">
                  <c:v>14.583500000000001</c:v>
                </c:pt>
                <c:pt idx="1753">
                  <c:v>14.6976</c:v>
                </c:pt>
                <c:pt idx="1754">
                  <c:v>14.6625</c:v>
                </c:pt>
                <c:pt idx="1755">
                  <c:v>14.6066</c:v>
                </c:pt>
                <c:pt idx="1756">
                  <c:v>14.634600000000001</c:v>
                </c:pt>
                <c:pt idx="1757">
                  <c:v>14.6318</c:v>
                </c:pt>
                <c:pt idx="1758">
                  <c:v>14.6195</c:v>
                </c:pt>
                <c:pt idx="1759">
                  <c:v>14.589</c:v>
                </c:pt>
                <c:pt idx="1760">
                  <c:v>14.514900000000001</c:v>
                </c:pt>
                <c:pt idx="1761">
                  <c:v>14.624000000000001</c:v>
                </c:pt>
                <c:pt idx="1762">
                  <c:v>14.549799999999999</c:v>
                </c:pt>
                <c:pt idx="1763">
                  <c:v>14.5032</c:v>
                </c:pt>
                <c:pt idx="1764">
                  <c:v>14.521800000000001</c:v>
                </c:pt>
                <c:pt idx="1765">
                  <c:v>14.495100000000001</c:v>
                </c:pt>
                <c:pt idx="1766">
                  <c:v>14.394</c:v>
                </c:pt>
                <c:pt idx="1767">
                  <c:v>14.3163</c:v>
                </c:pt>
                <c:pt idx="1768">
                  <c:v>14.562900000000001</c:v>
                </c:pt>
                <c:pt idx="1769">
                  <c:v>14.6465</c:v>
                </c:pt>
                <c:pt idx="1770">
                  <c:v>14.6831</c:v>
                </c:pt>
                <c:pt idx="1771">
                  <c:v>14.804</c:v>
                </c:pt>
                <c:pt idx="1772">
                  <c:v>14.8421</c:v>
                </c:pt>
                <c:pt idx="1773">
                  <c:v>14.8834</c:v>
                </c:pt>
                <c:pt idx="1774">
                  <c:v>15.031000000000001</c:v>
                </c:pt>
                <c:pt idx="1775">
                  <c:v>15.095499999999999</c:v>
                </c:pt>
                <c:pt idx="1776">
                  <c:v>15.197900000000001</c:v>
                </c:pt>
                <c:pt idx="1777">
                  <c:v>15.130699999999999</c:v>
                </c:pt>
                <c:pt idx="1778">
                  <c:v>15.213200000000001</c:v>
                </c:pt>
                <c:pt idx="1779">
                  <c:v>15.217499999999999</c:v>
                </c:pt>
                <c:pt idx="1780">
                  <c:v>15.2029</c:v>
                </c:pt>
                <c:pt idx="1781">
                  <c:v>15.268599999999999</c:v>
                </c:pt>
                <c:pt idx="1782">
                  <c:v>15.291600000000001</c:v>
                </c:pt>
                <c:pt idx="1783">
                  <c:v>15.354799999999999</c:v>
                </c:pt>
                <c:pt idx="1784">
                  <c:v>15.2798</c:v>
                </c:pt>
                <c:pt idx="1785">
                  <c:v>15.3522</c:v>
                </c:pt>
                <c:pt idx="1786">
                  <c:v>15.334099999999999</c:v>
                </c:pt>
                <c:pt idx="1787">
                  <c:v>15.418200000000001</c:v>
                </c:pt>
                <c:pt idx="1788">
                  <c:v>15.3871</c:v>
                </c:pt>
                <c:pt idx="1789">
                  <c:v>15.3558</c:v>
                </c:pt>
                <c:pt idx="1790">
                  <c:v>15.4146</c:v>
                </c:pt>
                <c:pt idx="1791">
                  <c:v>15.350099999999999</c:v>
                </c:pt>
                <c:pt idx="1792">
                  <c:v>15.2967</c:v>
                </c:pt>
                <c:pt idx="1793">
                  <c:v>15.4331</c:v>
                </c:pt>
                <c:pt idx="1794">
                  <c:v>15.480700000000001</c:v>
                </c:pt>
                <c:pt idx="1795">
                  <c:v>15.575699999999999</c:v>
                </c:pt>
                <c:pt idx="1796">
                  <c:v>15.484</c:v>
                </c:pt>
                <c:pt idx="1797">
                  <c:v>15.4788</c:v>
                </c:pt>
                <c:pt idx="1798">
                  <c:v>15.4499</c:v>
                </c:pt>
                <c:pt idx="1799">
                  <c:v>15.461399999999999</c:v>
                </c:pt>
                <c:pt idx="1800">
                  <c:v>15.5335</c:v>
                </c:pt>
                <c:pt idx="1801">
                  <c:v>15.451499999999999</c:v>
                </c:pt>
                <c:pt idx="1802">
                  <c:v>15.5318</c:v>
                </c:pt>
                <c:pt idx="1803">
                  <c:v>15.6059</c:v>
                </c:pt>
                <c:pt idx="1804">
                  <c:v>15.619899999999999</c:v>
                </c:pt>
                <c:pt idx="1805">
                  <c:v>15.5724</c:v>
                </c:pt>
                <c:pt idx="1806">
                  <c:v>15.3324</c:v>
                </c:pt>
                <c:pt idx="1807">
                  <c:v>15.2462</c:v>
                </c:pt>
                <c:pt idx="1808">
                  <c:v>15.123100000000001</c:v>
                </c:pt>
                <c:pt idx="1809">
                  <c:v>15.229699999999999</c:v>
                </c:pt>
                <c:pt idx="1810">
                  <c:v>15.2789</c:v>
                </c:pt>
                <c:pt idx="1811">
                  <c:v>15.1829</c:v>
                </c:pt>
                <c:pt idx="1812">
                  <c:v>15.1236</c:v>
                </c:pt>
                <c:pt idx="1813">
                  <c:v>14.9778</c:v>
                </c:pt>
                <c:pt idx="1814">
                  <c:v>14.965999999999999</c:v>
                </c:pt>
                <c:pt idx="1815">
                  <c:v>15.166</c:v>
                </c:pt>
                <c:pt idx="1816">
                  <c:v>15.0564</c:v>
                </c:pt>
                <c:pt idx="1817">
                  <c:v>15.167899999999999</c:v>
                </c:pt>
                <c:pt idx="1818">
                  <c:v>15.4123</c:v>
                </c:pt>
                <c:pt idx="1819">
                  <c:v>15.497999999999999</c:v>
                </c:pt>
                <c:pt idx="1820">
                  <c:v>15.6099</c:v>
                </c:pt>
                <c:pt idx="1821">
                  <c:v>15.651</c:v>
                </c:pt>
                <c:pt idx="1822">
                  <c:v>15.6511</c:v>
                </c:pt>
                <c:pt idx="1823">
                  <c:v>15.6517</c:v>
                </c:pt>
                <c:pt idx="1824">
                  <c:v>15.826000000000001</c:v>
                </c:pt>
                <c:pt idx="1825">
                  <c:v>15.7989</c:v>
                </c:pt>
                <c:pt idx="1826">
                  <c:v>15.8569</c:v>
                </c:pt>
                <c:pt idx="1827">
                  <c:v>15.854799999999999</c:v>
                </c:pt>
                <c:pt idx="1828">
                  <c:v>15.737399999999999</c:v>
                </c:pt>
                <c:pt idx="1829">
                  <c:v>15.8238</c:v>
                </c:pt>
                <c:pt idx="1830">
                  <c:v>15.792299999999999</c:v>
                </c:pt>
                <c:pt idx="1831">
                  <c:v>15.906599999999999</c:v>
                </c:pt>
                <c:pt idx="1832">
                  <c:v>15.9232</c:v>
                </c:pt>
                <c:pt idx="1833">
                  <c:v>15.854200000000001</c:v>
                </c:pt>
                <c:pt idx="1834">
                  <c:v>15.937200000000001</c:v>
                </c:pt>
                <c:pt idx="1835">
                  <c:v>15.9824</c:v>
                </c:pt>
                <c:pt idx="1836">
                  <c:v>16.003599999999999</c:v>
                </c:pt>
                <c:pt idx="1837">
                  <c:v>16.157399999999999</c:v>
                </c:pt>
                <c:pt idx="1838">
                  <c:v>16.1463</c:v>
                </c:pt>
                <c:pt idx="1839">
                  <c:v>16.245000000000001</c:v>
                </c:pt>
                <c:pt idx="1840">
                  <c:v>16.248899999999999</c:v>
                </c:pt>
                <c:pt idx="1841">
                  <c:v>16.283200000000001</c:v>
                </c:pt>
                <c:pt idx="1842">
                  <c:v>16.290299999999998</c:v>
                </c:pt>
                <c:pt idx="1843">
                  <c:v>16.079799999999999</c:v>
                </c:pt>
                <c:pt idx="1844">
                  <c:v>15.704499999999999</c:v>
                </c:pt>
                <c:pt idx="1845">
                  <c:v>15.591100000000001</c:v>
                </c:pt>
                <c:pt idx="1846">
                  <c:v>15.713699999999999</c:v>
                </c:pt>
                <c:pt idx="1847">
                  <c:v>15.706300000000001</c:v>
                </c:pt>
                <c:pt idx="1848">
                  <c:v>15.7746</c:v>
                </c:pt>
                <c:pt idx="1849">
                  <c:v>15.730399999999999</c:v>
                </c:pt>
                <c:pt idx="1850">
                  <c:v>15.538</c:v>
                </c:pt>
                <c:pt idx="1851">
                  <c:v>15.380800000000001</c:v>
                </c:pt>
                <c:pt idx="1852">
                  <c:v>15.4061</c:v>
                </c:pt>
                <c:pt idx="1853">
                  <c:v>15.7021</c:v>
                </c:pt>
                <c:pt idx="1854">
                  <c:v>15.9352</c:v>
                </c:pt>
                <c:pt idx="1855">
                  <c:v>15.9618</c:v>
                </c:pt>
                <c:pt idx="1856">
                  <c:v>16.207100000000001</c:v>
                </c:pt>
                <c:pt idx="1857">
                  <c:v>16.4467</c:v>
                </c:pt>
                <c:pt idx="1858">
                  <c:v>16.481200000000001</c:v>
                </c:pt>
                <c:pt idx="1859">
                  <c:v>16.562200000000001</c:v>
                </c:pt>
                <c:pt idx="1860">
                  <c:v>16.621500000000001</c:v>
                </c:pt>
                <c:pt idx="1861">
                  <c:v>16.6341</c:v>
                </c:pt>
                <c:pt idx="1862">
                  <c:v>16.645700000000001</c:v>
                </c:pt>
                <c:pt idx="1863">
                  <c:v>16.744900000000001</c:v>
                </c:pt>
                <c:pt idx="1864">
                  <c:v>16.9024</c:v>
                </c:pt>
                <c:pt idx="1865">
                  <c:v>16.986499999999999</c:v>
                </c:pt>
                <c:pt idx="1866">
                  <c:v>17.054500000000001</c:v>
                </c:pt>
                <c:pt idx="1867">
                  <c:v>17.048100000000002</c:v>
                </c:pt>
                <c:pt idx="1868">
                  <c:v>14.6195</c:v>
                </c:pt>
                <c:pt idx="1869">
                  <c:v>14.690799999999999</c:v>
                </c:pt>
                <c:pt idx="1870">
                  <c:v>14.359500000000001</c:v>
                </c:pt>
                <c:pt idx="1871">
                  <c:v>14.6556</c:v>
                </c:pt>
                <c:pt idx="1872">
                  <c:v>14.6564</c:v>
                </c:pt>
                <c:pt idx="1873">
                  <c:v>14.716799999999999</c:v>
                </c:pt>
                <c:pt idx="1874">
                  <c:v>14.5425</c:v>
                </c:pt>
                <c:pt idx="1875">
                  <c:v>14.5025</c:v>
                </c:pt>
                <c:pt idx="1876">
                  <c:v>14.507199999999999</c:v>
                </c:pt>
                <c:pt idx="1877">
                  <c:v>14.3576</c:v>
                </c:pt>
                <c:pt idx="1878">
                  <c:v>14.2074</c:v>
                </c:pt>
                <c:pt idx="1879">
                  <c:v>14.125400000000001</c:v>
                </c:pt>
                <c:pt idx="1880">
                  <c:v>14.299899999999999</c:v>
                </c:pt>
                <c:pt idx="1881">
                  <c:v>14.395</c:v>
                </c:pt>
                <c:pt idx="1882">
                  <c:v>14.395200000000001</c:v>
                </c:pt>
                <c:pt idx="1883">
                  <c:v>14.3842</c:v>
                </c:pt>
                <c:pt idx="1884">
                  <c:v>14.403</c:v>
                </c:pt>
                <c:pt idx="1885">
                  <c:v>14.2895</c:v>
                </c:pt>
                <c:pt idx="1886">
                  <c:v>14.470499999999999</c:v>
                </c:pt>
                <c:pt idx="1887">
                  <c:v>14.567399999999999</c:v>
                </c:pt>
                <c:pt idx="1888">
                  <c:v>14.5837</c:v>
                </c:pt>
                <c:pt idx="1889">
                  <c:v>14.6861</c:v>
                </c:pt>
                <c:pt idx="1890">
                  <c:v>14.708500000000001</c:v>
                </c:pt>
                <c:pt idx="1891">
                  <c:v>14.808</c:v>
                </c:pt>
                <c:pt idx="1892">
                  <c:v>14.8293</c:v>
                </c:pt>
                <c:pt idx="1893">
                  <c:v>14.836</c:v>
                </c:pt>
                <c:pt idx="1894">
                  <c:v>14.927899999999999</c:v>
                </c:pt>
                <c:pt idx="1895">
                  <c:v>14.7553</c:v>
                </c:pt>
                <c:pt idx="1896">
                  <c:v>14.7096</c:v>
                </c:pt>
                <c:pt idx="1897">
                  <c:v>14.7759</c:v>
                </c:pt>
                <c:pt idx="1898">
                  <c:v>14.7241</c:v>
                </c:pt>
                <c:pt idx="1899">
                  <c:v>14.5313</c:v>
                </c:pt>
                <c:pt idx="1900">
                  <c:v>14.571</c:v>
                </c:pt>
                <c:pt idx="1901">
                  <c:v>14.444000000000001</c:v>
                </c:pt>
                <c:pt idx="1902">
                  <c:v>14.6515</c:v>
                </c:pt>
                <c:pt idx="1903">
                  <c:v>14.724299999999999</c:v>
                </c:pt>
                <c:pt idx="1904">
                  <c:v>14.724500000000001</c:v>
                </c:pt>
                <c:pt idx="1905">
                  <c:v>14.7193</c:v>
                </c:pt>
                <c:pt idx="1906">
                  <c:v>14.931699999999999</c:v>
                </c:pt>
                <c:pt idx="1907">
                  <c:v>14.8611</c:v>
                </c:pt>
                <c:pt idx="1908">
                  <c:v>14.916700000000001</c:v>
                </c:pt>
                <c:pt idx="1909">
                  <c:v>14.815</c:v>
                </c:pt>
                <c:pt idx="1910">
                  <c:v>14.862500000000001</c:v>
                </c:pt>
                <c:pt idx="1911">
                  <c:v>15.045999999999999</c:v>
                </c:pt>
                <c:pt idx="1912">
                  <c:v>15.054600000000001</c:v>
                </c:pt>
                <c:pt idx="1913">
                  <c:v>15.088100000000001</c:v>
                </c:pt>
                <c:pt idx="1914">
                  <c:v>15.058</c:v>
                </c:pt>
                <c:pt idx="1915">
                  <c:v>15.0246</c:v>
                </c:pt>
                <c:pt idx="1916">
                  <c:v>14.998799999999999</c:v>
                </c:pt>
                <c:pt idx="1917">
                  <c:v>15.011200000000001</c:v>
                </c:pt>
                <c:pt idx="1918">
                  <c:v>15.1721</c:v>
                </c:pt>
                <c:pt idx="1919">
                  <c:v>15.101800000000001</c:v>
                </c:pt>
                <c:pt idx="1920">
                  <c:v>15.2174</c:v>
                </c:pt>
                <c:pt idx="1921">
                  <c:v>15.2599</c:v>
                </c:pt>
                <c:pt idx="1922">
                  <c:v>15.232699999999999</c:v>
                </c:pt>
                <c:pt idx="1923">
                  <c:v>15.080399999999999</c:v>
                </c:pt>
                <c:pt idx="1924">
                  <c:v>15.116</c:v>
                </c:pt>
                <c:pt idx="1925">
                  <c:v>15.0939</c:v>
                </c:pt>
                <c:pt idx="1926">
                  <c:v>15.114599999999999</c:v>
                </c:pt>
                <c:pt idx="1927">
                  <c:v>15.1995</c:v>
                </c:pt>
                <c:pt idx="1928">
                  <c:v>15.2113</c:v>
                </c:pt>
                <c:pt idx="1929">
                  <c:v>15.249000000000001</c:v>
                </c:pt>
                <c:pt idx="1930">
                  <c:v>15.3408</c:v>
                </c:pt>
                <c:pt idx="1931">
                  <c:v>15.384</c:v>
                </c:pt>
                <c:pt idx="1932">
                  <c:v>15.3697</c:v>
                </c:pt>
                <c:pt idx="1933">
                  <c:v>15.3856</c:v>
                </c:pt>
                <c:pt idx="1934">
                  <c:v>15.382300000000001</c:v>
                </c:pt>
                <c:pt idx="1935">
                  <c:v>15.419499999999999</c:v>
                </c:pt>
                <c:pt idx="1936">
                  <c:v>15.365500000000001</c:v>
                </c:pt>
                <c:pt idx="1937">
                  <c:v>15.372999999999999</c:v>
                </c:pt>
                <c:pt idx="1938">
                  <c:v>15.438000000000001</c:v>
                </c:pt>
                <c:pt idx="1939">
                  <c:v>15.5578</c:v>
                </c:pt>
                <c:pt idx="1940">
                  <c:v>15.617900000000001</c:v>
                </c:pt>
                <c:pt idx="1941">
                  <c:v>15.66</c:v>
                </c:pt>
                <c:pt idx="1942">
                  <c:v>15.568300000000001</c:v>
                </c:pt>
                <c:pt idx="1943">
                  <c:v>15.5783</c:v>
                </c:pt>
                <c:pt idx="1944">
                  <c:v>15.5343</c:v>
                </c:pt>
                <c:pt idx="1945">
                  <c:v>15.467599999999999</c:v>
                </c:pt>
                <c:pt idx="1946">
                  <c:v>15.5053</c:v>
                </c:pt>
                <c:pt idx="1947">
                  <c:v>15.5002</c:v>
                </c:pt>
                <c:pt idx="1948">
                  <c:v>15.606</c:v>
                </c:pt>
                <c:pt idx="1949">
                  <c:v>15.6038</c:v>
                </c:pt>
                <c:pt idx="1950">
                  <c:v>15.5573</c:v>
                </c:pt>
                <c:pt idx="1951">
                  <c:v>15.5265</c:v>
                </c:pt>
                <c:pt idx="1952">
                  <c:v>15.386900000000001</c:v>
                </c:pt>
                <c:pt idx="1953">
                  <c:v>15.391999999999999</c:v>
                </c:pt>
                <c:pt idx="1954">
                  <c:v>15.4038</c:v>
                </c:pt>
                <c:pt idx="1955">
                  <c:v>15.424799999999999</c:v>
                </c:pt>
                <c:pt idx="1956">
                  <c:v>15.5589</c:v>
                </c:pt>
                <c:pt idx="1957">
                  <c:v>15.595800000000001</c:v>
                </c:pt>
                <c:pt idx="1958">
                  <c:v>15.7537</c:v>
                </c:pt>
                <c:pt idx="1959">
                  <c:v>15.7128</c:v>
                </c:pt>
                <c:pt idx="1960">
                  <c:v>15.571099999999999</c:v>
                </c:pt>
                <c:pt idx="1961">
                  <c:v>15.349</c:v>
                </c:pt>
                <c:pt idx="1962">
                  <c:v>15.3591</c:v>
                </c:pt>
                <c:pt idx="1963">
                  <c:v>15.194900000000001</c:v>
                </c:pt>
                <c:pt idx="1964">
                  <c:v>15.2194</c:v>
                </c:pt>
                <c:pt idx="1965">
                  <c:v>15.366400000000001</c:v>
                </c:pt>
                <c:pt idx="1966">
                  <c:v>15.302099999999999</c:v>
                </c:pt>
                <c:pt idx="1967">
                  <c:v>15.506</c:v>
                </c:pt>
                <c:pt idx="1968">
                  <c:v>15.371600000000001</c:v>
                </c:pt>
                <c:pt idx="1969">
                  <c:v>15.368399999999999</c:v>
                </c:pt>
                <c:pt idx="1970">
                  <c:v>15.297800000000001</c:v>
                </c:pt>
                <c:pt idx="1971">
                  <c:v>15.5176</c:v>
                </c:pt>
                <c:pt idx="1972">
                  <c:v>15.5449</c:v>
                </c:pt>
                <c:pt idx="1973">
                  <c:v>15.629099999999999</c:v>
                </c:pt>
                <c:pt idx="1974">
                  <c:v>15.504899999999999</c:v>
                </c:pt>
                <c:pt idx="1975">
                  <c:v>15.4856</c:v>
                </c:pt>
                <c:pt idx="1976">
                  <c:v>15.5299</c:v>
                </c:pt>
                <c:pt idx="1977">
                  <c:v>15.464</c:v>
                </c:pt>
                <c:pt idx="1978">
                  <c:v>15.245200000000001</c:v>
                </c:pt>
                <c:pt idx="1979">
                  <c:v>15.083399999999999</c:v>
                </c:pt>
                <c:pt idx="1980">
                  <c:v>15.058299999999999</c:v>
                </c:pt>
                <c:pt idx="1981">
                  <c:v>15.0633</c:v>
                </c:pt>
                <c:pt idx="1982">
                  <c:v>14.9308</c:v>
                </c:pt>
                <c:pt idx="1983">
                  <c:v>14.831799999999999</c:v>
                </c:pt>
                <c:pt idx="1984">
                  <c:v>14.773400000000001</c:v>
                </c:pt>
                <c:pt idx="1985">
                  <c:v>14.977499999999999</c:v>
                </c:pt>
                <c:pt idx="1986">
                  <c:v>14.942399999999999</c:v>
                </c:pt>
                <c:pt idx="1987">
                  <c:v>15.019</c:v>
                </c:pt>
                <c:pt idx="1988">
                  <c:v>15.0692</c:v>
                </c:pt>
                <c:pt idx="1989">
                  <c:v>15.004899999999999</c:v>
                </c:pt>
                <c:pt idx="1990">
                  <c:v>15.1823</c:v>
                </c:pt>
                <c:pt idx="1991">
                  <c:v>15.2713</c:v>
                </c:pt>
                <c:pt idx="1992">
                  <c:v>15.2653</c:v>
                </c:pt>
                <c:pt idx="1993">
                  <c:v>15.363300000000001</c:v>
                </c:pt>
                <c:pt idx="1994">
                  <c:v>15.3127</c:v>
                </c:pt>
                <c:pt idx="1995">
                  <c:v>15.475099999999999</c:v>
                </c:pt>
                <c:pt idx="1996">
                  <c:v>15.588699999999999</c:v>
                </c:pt>
                <c:pt idx="1997">
                  <c:v>15.600099999999999</c:v>
                </c:pt>
                <c:pt idx="1998">
                  <c:v>15.4846</c:v>
                </c:pt>
                <c:pt idx="1999">
                  <c:v>15.511900000000001</c:v>
                </c:pt>
                <c:pt idx="2000">
                  <c:v>15.5587</c:v>
                </c:pt>
                <c:pt idx="2001">
                  <c:v>15.554399999999999</c:v>
                </c:pt>
                <c:pt idx="2002">
                  <c:v>15.6631</c:v>
                </c:pt>
                <c:pt idx="2003">
                  <c:v>15.7875</c:v>
                </c:pt>
                <c:pt idx="2004">
                  <c:v>15.727499999999999</c:v>
                </c:pt>
                <c:pt idx="2005">
                  <c:v>15.6645</c:v>
                </c:pt>
                <c:pt idx="2006">
                  <c:v>15.6189</c:v>
                </c:pt>
                <c:pt idx="2007">
                  <c:v>15.602600000000001</c:v>
                </c:pt>
                <c:pt idx="2008">
                  <c:v>15.586</c:v>
                </c:pt>
                <c:pt idx="2009">
                  <c:v>15.5966</c:v>
                </c:pt>
                <c:pt idx="2010">
                  <c:v>15.573600000000001</c:v>
                </c:pt>
                <c:pt idx="2011">
                  <c:v>15.5319</c:v>
                </c:pt>
                <c:pt idx="2012">
                  <c:v>15.6098</c:v>
                </c:pt>
                <c:pt idx="2013">
                  <c:v>15.7576</c:v>
                </c:pt>
                <c:pt idx="2014">
                  <c:v>15.7698</c:v>
                </c:pt>
                <c:pt idx="2015">
                  <c:v>15.743499999999999</c:v>
                </c:pt>
                <c:pt idx="2016">
                  <c:v>15.5244</c:v>
                </c:pt>
                <c:pt idx="2017">
                  <c:v>15.6297</c:v>
                </c:pt>
                <c:pt idx="2018">
                  <c:v>15.480399999999999</c:v>
                </c:pt>
                <c:pt idx="2019">
                  <c:v>15.501300000000001</c:v>
                </c:pt>
                <c:pt idx="2020">
                  <c:v>15.435600000000001</c:v>
                </c:pt>
                <c:pt idx="2021">
                  <c:v>15.5084</c:v>
                </c:pt>
                <c:pt idx="2022">
                  <c:v>15.370100000000001</c:v>
                </c:pt>
                <c:pt idx="2023">
                  <c:v>15.021100000000001</c:v>
                </c:pt>
                <c:pt idx="2024">
                  <c:v>15.141999999999999</c:v>
                </c:pt>
                <c:pt idx="2025">
                  <c:v>15.195499999999999</c:v>
                </c:pt>
                <c:pt idx="2026">
                  <c:v>14.984400000000001</c:v>
                </c:pt>
                <c:pt idx="2027">
                  <c:v>14.879300000000001</c:v>
                </c:pt>
                <c:pt idx="2028">
                  <c:v>14.829499999999999</c:v>
                </c:pt>
                <c:pt idx="2029">
                  <c:v>14.596500000000001</c:v>
                </c:pt>
                <c:pt idx="2030">
                  <c:v>14.604699999999999</c:v>
                </c:pt>
                <c:pt idx="2031">
                  <c:v>14.627000000000001</c:v>
                </c:pt>
                <c:pt idx="2032">
                  <c:v>14.2415</c:v>
                </c:pt>
                <c:pt idx="2033">
                  <c:v>14.1907</c:v>
                </c:pt>
                <c:pt idx="2034">
                  <c:v>14.5723</c:v>
                </c:pt>
                <c:pt idx="2035">
                  <c:v>14.5092</c:v>
                </c:pt>
                <c:pt idx="2036">
                  <c:v>14.796799999999999</c:v>
                </c:pt>
                <c:pt idx="2037">
                  <c:v>14.8955</c:v>
                </c:pt>
                <c:pt idx="2038">
                  <c:v>14.9992</c:v>
                </c:pt>
                <c:pt idx="2039">
                  <c:v>14.943899999999999</c:v>
                </c:pt>
                <c:pt idx="2040">
                  <c:v>14.8653</c:v>
                </c:pt>
                <c:pt idx="2041">
                  <c:v>15.033300000000001</c:v>
                </c:pt>
                <c:pt idx="2042">
                  <c:v>15.065200000000001</c:v>
                </c:pt>
                <c:pt idx="2043">
                  <c:v>15.130800000000001</c:v>
                </c:pt>
                <c:pt idx="2044">
                  <c:v>15.3741</c:v>
                </c:pt>
                <c:pt idx="2045">
                  <c:v>15.240399999999999</c:v>
                </c:pt>
                <c:pt idx="2046">
                  <c:v>15.138400000000001</c:v>
                </c:pt>
                <c:pt idx="2047">
                  <c:v>15.3642</c:v>
                </c:pt>
                <c:pt idx="2048">
                  <c:v>15.406700000000001</c:v>
                </c:pt>
                <c:pt idx="2049">
                  <c:v>15.323499999999999</c:v>
                </c:pt>
                <c:pt idx="2050">
                  <c:v>15.437900000000001</c:v>
                </c:pt>
                <c:pt idx="2051">
                  <c:v>15.5053</c:v>
                </c:pt>
                <c:pt idx="2052">
                  <c:v>15.3215</c:v>
                </c:pt>
                <c:pt idx="2053">
                  <c:v>15.3927</c:v>
                </c:pt>
                <c:pt idx="2054">
                  <c:v>15.4161</c:v>
                </c:pt>
                <c:pt idx="2055">
                  <c:v>15.501200000000001</c:v>
                </c:pt>
                <c:pt idx="2056">
                  <c:v>15.6175</c:v>
                </c:pt>
                <c:pt idx="2057">
                  <c:v>15.635899999999999</c:v>
                </c:pt>
                <c:pt idx="2058">
                  <c:v>15.5809</c:v>
                </c:pt>
                <c:pt idx="2059">
                  <c:v>15.870900000000001</c:v>
                </c:pt>
                <c:pt idx="2060">
                  <c:v>15.8993</c:v>
                </c:pt>
                <c:pt idx="2061">
                  <c:v>15.9389</c:v>
                </c:pt>
                <c:pt idx="2062">
                  <c:v>15.953099999999999</c:v>
                </c:pt>
                <c:pt idx="2063">
                  <c:v>15.9962</c:v>
                </c:pt>
                <c:pt idx="2064">
                  <c:v>15.9915</c:v>
                </c:pt>
                <c:pt idx="2065">
                  <c:v>15.9335</c:v>
                </c:pt>
                <c:pt idx="2066">
                  <c:v>16.005299999999998</c:v>
                </c:pt>
                <c:pt idx="2067">
                  <c:v>16.0505</c:v>
                </c:pt>
                <c:pt idx="2068">
                  <c:v>15.859</c:v>
                </c:pt>
                <c:pt idx="2069">
                  <c:v>16.1401</c:v>
                </c:pt>
                <c:pt idx="2070">
                  <c:v>16.0305</c:v>
                </c:pt>
                <c:pt idx="2071">
                  <c:v>15.692399999999999</c:v>
                </c:pt>
                <c:pt idx="2072">
                  <c:v>15.6754</c:v>
                </c:pt>
                <c:pt idx="2073">
                  <c:v>15.66</c:v>
                </c:pt>
                <c:pt idx="2074">
                  <c:v>15.265700000000001</c:v>
                </c:pt>
                <c:pt idx="2075">
                  <c:v>14.9336</c:v>
                </c:pt>
                <c:pt idx="2076">
                  <c:v>15.214</c:v>
                </c:pt>
                <c:pt idx="2077">
                  <c:v>15.2067</c:v>
                </c:pt>
                <c:pt idx="2078">
                  <c:v>15.656700000000001</c:v>
                </c:pt>
                <c:pt idx="2079">
                  <c:v>15.692500000000001</c:v>
                </c:pt>
                <c:pt idx="2080">
                  <c:v>15.7865</c:v>
                </c:pt>
                <c:pt idx="2081">
                  <c:v>15.8622</c:v>
                </c:pt>
                <c:pt idx="2082">
                  <c:v>15.856199999999999</c:v>
                </c:pt>
                <c:pt idx="2083">
                  <c:v>15.8598</c:v>
                </c:pt>
                <c:pt idx="2084">
                  <c:v>15.8551</c:v>
                </c:pt>
                <c:pt idx="2085">
                  <c:v>15.869400000000001</c:v>
                </c:pt>
                <c:pt idx="2086">
                  <c:v>15.7197</c:v>
                </c:pt>
                <c:pt idx="2087">
                  <c:v>15.749000000000001</c:v>
                </c:pt>
                <c:pt idx="2088">
                  <c:v>15.749000000000001</c:v>
                </c:pt>
                <c:pt idx="2089">
                  <c:v>15.6914</c:v>
                </c:pt>
                <c:pt idx="2090">
                  <c:v>15.344799999999999</c:v>
                </c:pt>
                <c:pt idx="2091">
                  <c:v>15.2371</c:v>
                </c:pt>
                <c:pt idx="2092">
                  <c:v>15.3126</c:v>
                </c:pt>
                <c:pt idx="2093">
                  <c:v>15.742900000000001</c:v>
                </c:pt>
                <c:pt idx="2094">
                  <c:v>15.547000000000001</c:v>
                </c:pt>
                <c:pt idx="2095">
                  <c:v>15.6454</c:v>
                </c:pt>
                <c:pt idx="2096">
                  <c:v>15.8589</c:v>
                </c:pt>
                <c:pt idx="2097">
                  <c:v>15.632400000000001</c:v>
                </c:pt>
                <c:pt idx="2098">
                  <c:v>16.053999999999998</c:v>
                </c:pt>
                <c:pt idx="2099">
                  <c:v>16.245200000000001</c:v>
                </c:pt>
                <c:pt idx="2100">
                  <c:v>16.311299999999999</c:v>
                </c:pt>
                <c:pt idx="2101">
                  <c:v>16.459299999999999</c:v>
                </c:pt>
                <c:pt idx="2102">
                  <c:v>16.5596</c:v>
                </c:pt>
                <c:pt idx="2103">
                  <c:v>16.8413</c:v>
                </c:pt>
                <c:pt idx="2104">
                  <c:v>17.143899999999999</c:v>
                </c:pt>
                <c:pt idx="2105">
                  <c:v>17.2392</c:v>
                </c:pt>
                <c:pt idx="2106">
                  <c:v>17.172699999999999</c:v>
                </c:pt>
                <c:pt idx="2107">
                  <c:v>17.126999999999999</c:v>
                </c:pt>
                <c:pt idx="2108">
                  <c:v>17.047999999999998</c:v>
                </c:pt>
                <c:pt idx="2109">
                  <c:v>16.959700000000002</c:v>
                </c:pt>
                <c:pt idx="2110">
                  <c:v>16.968900000000001</c:v>
                </c:pt>
                <c:pt idx="2111">
                  <c:v>17.045999999999999</c:v>
                </c:pt>
                <c:pt idx="2112">
                  <c:v>17.1358</c:v>
                </c:pt>
                <c:pt idx="2113">
                  <c:v>17.3017</c:v>
                </c:pt>
                <c:pt idx="2114">
                  <c:v>17.2575</c:v>
                </c:pt>
                <c:pt idx="2115">
                  <c:v>17.146100000000001</c:v>
                </c:pt>
                <c:pt idx="2116">
                  <c:v>17.236599999999999</c:v>
                </c:pt>
                <c:pt idx="2117">
                  <c:v>17.286000000000001</c:v>
                </c:pt>
                <c:pt idx="2118">
                  <c:v>17.4499</c:v>
                </c:pt>
                <c:pt idx="2119">
                  <c:v>17.594899999999999</c:v>
                </c:pt>
                <c:pt idx="2120">
                  <c:v>17.575600000000001</c:v>
                </c:pt>
                <c:pt idx="2121">
                  <c:v>17.6082</c:v>
                </c:pt>
                <c:pt idx="2122">
                  <c:v>17.744599999999998</c:v>
                </c:pt>
                <c:pt idx="2123">
                  <c:v>17.880700000000001</c:v>
                </c:pt>
                <c:pt idx="2124">
                  <c:v>17.926300000000001</c:v>
                </c:pt>
                <c:pt idx="2125">
                  <c:v>18.1328</c:v>
                </c:pt>
                <c:pt idx="2126">
                  <c:v>18.2864</c:v>
                </c:pt>
                <c:pt idx="2127">
                  <c:v>18.370799999999999</c:v>
                </c:pt>
                <c:pt idx="2128">
                  <c:v>18.842300000000002</c:v>
                </c:pt>
                <c:pt idx="2129">
                  <c:v>16.6234</c:v>
                </c:pt>
                <c:pt idx="2130">
                  <c:v>16.607399999999998</c:v>
                </c:pt>
                <c:pt idx="2131">
                  <c:v>16.471399999999999</c:v>
                </c:pt>
                <c:pt idx="2132">
                  <c:v>16.5334</c:v>
                </c:pt>
                <c:pt idx="2133">
                  <c:v>16.650200000000002</c:v>
                </c:pt>
                <c:pt idx="2134">
                  <c:v>16.609500000000001</c:v>
                </c:pt>
                <c:pt idx="2135">
                  <c:v>16.549600000000002</c:v>
                </c:pt>
                <c:pt idx="2136">
                  <c:v>16.367599999999999</c:v>
                </c:pt>
                <c:pt idx="2137">
                  <c:v>16.541899999999998</c:v>
                </c:pt>
                <c:pt idx="2138">
                  <c:v>16.549499999999998</c:v>
                </c:pt>
                <c:pt idx="2139">
                  <c:v>16.575800000000001</c:v>
                </c:pt>
                <c:pt idx="2140">
                  <c:v>16.748999999999999</c:v>
                </c:pt>
                <c:pt idx="2141">
                  <c:v>16.640799999999999</c:v>
                </c:pt>
                <c:pt idx="2142">
                  <c:v>16.710699999999999</c:v>
                </c:pt>
                <c:pt idx="2143">
                  <c:v>16.798500000000001</c:v>
                </c:pt>
                <c:pt idx="2144">
                  <c:v>16.999500000000001</c:v>
                </c:pt>
                <c:pt idx="2145">
                  <c:v>16.977699999999999</c:v>
                </c:pt>
                <c:pt idx="2146">
                  <c:v>17.050799999999999</c:v>
                </c:pt>
                <c:pt idx="2147">
                  <c:v>16.876300000000001</c:v>
                </c:pt>
                <c:pt idx="2148">
                  <c:v>16.700600000000001</c:v>
                </c:pt>
                <c:pt idx="2149">
                  <c:v>16.750699999999998</c:v>
                </c:pt>
                <c:pt idx="2150">
                  <c:v>16.931000000000001</c:v>
                </c:pt>
                <c:pt idx="2151">
                  <c:v>16.7941</c:v>
                </c:pt>
                <c:pt idx="2152">
                  <c:v>16.868500000000001</c:v>
                </c:pt>
                <c:pt idx="2153">
                  <c:v>16.872699999999998</c:v>
                </c:pt>
                <c:pt idx="2154">
                  <c:v>16.8827</c:v>
                </c:pt>
                <c:pt idx="2155">
                  <c:v>16.8962</c:v>
                </c:pt>
                <c:pt idx="2156">
                  <c:v>17.1557</c:v>
                </c:pt>
                <c:pt idx="2157">
                  <c:v>17.1554</c:v>
                </c:pt>
                <c:pt idx="2158">
                  <c:v>17.306699999999999</c:v>
                </c:pt>
                <c:pt idx="2159">
                  <c:v>17.462499999999999</c:v>
                </c:pt>
                <c:pt idx="2160">
                  <c:v>17.4663</c:v>
                </c:pt>
                <c:pt idx="2161">
                  <c:v>17.387899999999998</c:v>
                </c:pt>
                <c:pt idx="2162">
                  <c:v>17.4742</c:v>
                </c:pt>
                <c:pt idx="2163">
                  <c:v>17.357700000000001</c:v>
                </c:pt>
                <c:pt idx="2164">
                  <c:v>17.058399999999999</c:v>
                </c:pt>
                <c:pt idx="2165">
                  <c:v>17.1996</c:v>
                </c:pt>
                <c:pt idx="2166">
                  <c:v>17.311900000000001</c:v>
                </c:pt>
                <c:pt idx="2167">
                  <c:v>17.326499999999999</c:v>
                </c:pt>
                <c:pt idx="2168">
                  <c:v>17.277699999999999</c:v>
                </c:pt>
                <c:pt idx="2169">
                  <c:v>17.357099999999999</c:v>
                </c:pt>
                <c:pt idx="2170">
                  <c:v>17.5319</c:v>
                </c:pt>
                <c:pt idx="2171">
                  <c:v>17.300599999999999</c:v>
                </c:pt>
                <c:pt idx="2172">
                  <c:v>16.938400000000001</c:v>
                </c:pt>
                <c:pt idx="2173">
                  <c:v>16.9285</c:v>
                </c:pt>
                <c:pt idx="2174">
                  <c:v>16.908999999999999</c:v>
                </c:pt>
                <c:pt idx="2175">
                  <c:v>16.9998</c:v>
                </c:pt>
                <c:pt idx="2176">
                  <c:v>16.752099999999999</c:v>
                </c:pt>
                <c:pt idx="2177">
                  <c:v>16.68</c:v>
                </c:pt>
                <c:pt idx="2178">
                  <c:v>16.677099999999999</c:v>
                </c:pt>
                <c:pt idx="2179">
                  <c:v>17.127199999999998</c:v>
                </c:pt>
                <c:pt idx="2180">
                  <c:v>17.131799999999998</c:v>
                </c:pt>
                <c:pt idx="2181">
                  <c:v>16.9054</c:v>
                </c:pt>
                <c:pt idx="2182">
                  <c:v>16.886900000000001</c:v>
                </c:pt>
                <c:pt idx="2183">
                  <c:v>17.008400000000002</c:v>
                </c:pt>
                <c:pt idx="2184">
                  <c:v>16.957599999999999</c:v>
                </c:pt>
                <c:pt idx="2185">
                  <c:v>17.0154</c:v>
                </c:pt>
                <c:pt idx="2186">
                  <c:v>17.259599999999999</c:v>
                </c:pt>
                <c:pt idx="2187">
                  <c:v>17.2942</c:v>
                </c:pt>
                <c:pt idx="2188">
                  <c:v>17.333500000000001</c:v>
                </c:pt>
                <c:pt idx="2189">
                  <c:v>17.299399999999999</c:v>
                </c:pt>
                <c:pt idx="2190">
                  <c:v>17.2332</c:v>
                </c:pt>
                <c:pt idx="2191">
                  <c:v>17.0654</c:v>
                </c:pt>
                <c:pt idx="2192">
                  <c:v>17.2942</c:v>
                </c:pt>
                <c:pt idx="2193">
                  <c:v>17.220199999999998</c:v>
                </c:pt>
                <c:pt idx="2194">
                  <c:v>16.933700000000002</c:v>
                </c:pt>
                <c:pt idx="2195">
                  <c:v>16.967400000000001</c:v>
                </c:pt>
                <c:pt idx="2196">
                  <c:v>16.8383</c:v>
                </c:pt>
                <c:pt idx="2197">
                  <c:v>16.855899999999998</c:v>
                </c:pt>
                <c:pt idx="2198">
                  <c:v>16.775099999999998</c:v>
                </c:pt>
                <c:pt idx="2199">
                  <c:v>16.59</c:v>
                </c:pt>
                <c:pt idx="2200">
                  <c:v>16.469100000000001</c:v>
                </c:pt>
                <c:pt idx="2201">
                  <c:v>16.406600000000001</c:v>
                </c:pt>
                <c:pt idx="2202">
                  <c:v>16.712599999999998</c:v>
                </c:pt>
                <c:pt idx="2203">
                  <c:v>16.790099999999999</c:v>
                </c:pt>
                <c:pt idx="2204">
                  <c:v>16.6342</c:v>
                </c:pt>
                <c:pt idx="2205">
                  <c:v>16.355</c:v>
                </c:pt>
                <c:pt idx="2206">
                  <c:v>16.441199999999998</c:v>
                </c:pt>
                <c:pt idx="2207">
                  <c:v>16.3521</c:v>
                </c:pt>
                <c:pt idx="2208">
                  <c:v>16.398199999999999</c:v>
                </c:pt>
                <c:pt idx="2209">
                  <c:v>16.449000000000002</c:v>
                </c:pt>
                <c:pt idx="2210">
                  <c:v>16.856300000000001</c:v>
                </c:pt>
                <c:pt idx="2211">
                  <c:v>17.0061</c:v>
                </c:pt>
                <c:pt idx="2212">
                  <c:v>16.939</c:v>
                </c:pt>
                <c:pt idx="2213">
                  <c:v>16.893799999999999</c:v>
                </c:pt>
                <c:pt idx="2214">
                  <c:v>16.9055</c:v>
                </c:pt>
                <c:pt idx="2215">
                  <c:v>16.457899999999999</c:v>
                </c:pt>
                <c:pt idx="2216">
                  <c:v>16.236999999999998</c:v>
                </c:pt>
                <c:pt idx="2217">
                  <c:v>16.458500000000001</c:v>
                </c:pt>
                <c:pt idx="2218">
                  <c:v>16.399799999999999</c:v>
                </c:pt>
                <c:pt idx="2219">
                  <c:v>16.310500000000001</c:v>
                </c:pt>
                <c:pt idx="2220">
                  <c:v>16.101400000000002</c:v>
                </c:pt>
                <c:pt idx="2221">
                  <c:v>15.821199999999999</c:v>
                </c:pt>
                <c:pt idx="2222">
                  <c:v>15.866</c:v>
                </c:pt>
                <c:pt idx="2223">
                  <c:v>16.211600000000001</c:v>
                </c:pt>
                <c:pt idx="2224">
                  <c:v>16.582000000000001</c:v>
                </c:pt>
                <c:pt idx="2225">
                  <c:v>16.8887</c:v>
                </c:pt>
                <c:pt idx="2226">
                  <c:v>16.943899999999999</c:v>
                </c:pt>
                <c:pt idx="2227">
                  <c:v>16.961600000000001</c:v>
                </c:pt>
                <c:pt idx="2228">
                  <c:v>17.1782</c:v>
                </c:pt>
                <c:pt idx="2229">
                  <c:v>17.177</c:v>
                </c:pt>
                <c:pt idx="2230">
                  <c:v>17.224299999999999</c:v>
                </c:pt>
                <c:pt idx="2231">
                  <c:v>17.085999999999999</c:v>
                </c:pt>
                <c:pt idx="2232">
                  <c:v>16.9892</c:v>
                </c:pt>
                <c:pt idx="2233">
                  <c:v>16.936599999999999</c:v>
                </c:pt>
                <c:pt idx="2234">
                  <c:v>16.8095</c:v>
                </c:pt>
                <c:pt idx="2235">
                  <c:v>16.5121</c:v>
                </c:pt>
                <c:pt idx="2236">
                  <c:v>16.685700000000001</c:v>
                </c:pt>
                <c:pt idx="2237">
                  <c:v>16.8748</c:v>
                </c:pt>
                <c:pt idx="2238">
                  <c:v>16.908899999999999</c:v>
                </c:pt>
                <c:pt idx="2239">
                  <c:v>16.9192</c:v>
                </c:pt>
                <c:pt idx="2240">
                  <c:v>17.029299999999999</c:v>
                </c:pt>
                <c:pt idx="2241">
                  <c:v>17.004100000000001</c:v>
                </c:pt>
                <c:pt idx="2242">
                  <c:v>17.2012</c:v>
                </c:pt>
                <c:pt idx="2243">
                  <c:v>17.100000000000001</c:v>
                </c:pt>
                <c:pt idx="2244">
                  <c:v>16.9681</c:v>
                </c:pt>
                <c:pt idx="2245">
                  <c:v>17.124600000000001</c:v>
                </c:pt>
                <c:pt idx="2246">
                  <c:v>16.866700000000002</c:v>
                </c:pt>
                <c:pt idx="2247">
                  <c:v>16.4648</c:v>
                </c:pt>
                <c:pt idx="2248">
                  <c:v>16.6234</c:v>
                </c:pt>
                <c:pt idx="2249">
                  <c:v>16.605399999999999</c:v>
                </c:pt>
                <c:pt idx="2250">
                  <c:v>16.645099999999999</c:v>
                </c:pt>
                <c:pt idx="2251">
                  <c:v>16.669899999999998</c:v>
                </c:pt>
                <c:pt idx="2252">
                  <c:v>16.368099999999998</c:v>
                </c:pt>
                <c:pt idx="2253">
                  <c:v>16.048999999999999</c:v>
                </c:pt>
                <c:pt idx="2254">
                  <c:v>15.567600000000001</c:v>
                </c:pt>
                <c:pt idx="2255">
                  <c:v>14.7963</c:v>
                </c:pt>
                <c:pt idx="2256">
                  <c:v>15.4411</c:v>
                </c:pt>
                <c:pt idx="2257">
                  <c:v>15.1768</c:v>
                </c:pt>
                <c:pt idx="2258">
                  <c:v>15.6797</c:v>
                </c:pt>
                <c:pt idx="2259">
                  <c:v>15.7064</c:v>
                </c:pt>
                <c:pt idx="2260">
                  <c:v>15.694900000000001</c:v>
                </c:pt>
                <c:pt idx="2261">
                  <c:v>15.279199999999999</c:v>
                </c:pt>
                <c:pt idx="2262">
                  <c:v>15.3255</c:v>
                </c:pt>
                <c:pt idx="2263">
                  <c:v>15.6655</c:v>
                </c:pt>
                <c:pt idx="2264">
                  <c:v>15.279400000000001</c:v>
                </c:pt>
                <c:pt idx="2265">
                  <c:v>15.365399999999999</c:v>
                </c:pt>
                <c:pt idx="2266">
                  <c:v>15.574</c:v>
                </c:pt>
                <c:pt idx="2267">
                  <c:v>15.784000000000001</c:v>
                </c:pt>
                <c:pt idx="2268">
                  <c:v>15.610200000000001</c:v>
                </c:pt>
                <c:pt idx="2269">
                  <c:v>15.484400000000001</c:v>
                </c:pt>
                <c:pt idx="2270">
                  <c:v>15.3942</c:v>
                </c:pt>
                <c:pt idx="2271">
                  <c:v>15.514699999999999</c:v>
                </c:pt>
                <c:pt idx="2272">
                  <c:v>15.74</c:v>
                </c:pt>
                <c:pt idx="2273">
                  <c:v>15.704000000000001</c:v>
                </c:pt>
                <c:pt idx="2274">
                  <c:v>15.4373</c:v>
                </c:pt>
                <c:pt idx="2275">
                  <c:v>15.5448</c:v>
                </c:pt>
                <c:pt idx="2276">
                  <c:v>15.0547</c:v>
                </c:pt>
                <c:pt idx="2277">
                  <c:v>15.093299999999999</c:v>
                </c:pt>
                <c:pt idx="2278">
                  <c:v>14.8058</c:v>
                </c:pt>
                <c:pt idx="2279">
                  <c:v>15.232799999999999</c:v>
                </c:pt>
                <c:pt idx="2280">
                  <c:v>14.9214</c:v>
                </c:pt>
                <c:pt idx="2281">
                  <c:v>14.8581</c:v>
                </c:pt>
                <c:pt idx="2282">
                  <c:v>15.227</c:v>
                </c:pt>
                <c:pt idx="2283">
                  <c:v>15.160600000000001</c:v>
                </c:pt>
                <c:pt idx="2284">
                  <c:v>15.2536</c:v>
                </c:pt>
                <c:pt idx="2285">
                  <c:v>15.7164</c:v>
                </c:pt>
                <c:pt idx="2286">
                  <c:v>15.8294</c:v>
                </c:pt>
                <c:pt idx="2287">
                  <c:v>15.855499999999999</c:v>
                </c:pt>
                <c:pt idx="2288">
                  <c:v>15.894299999999999</c:v>
                </c:pt>
                <c:pt idx="2289">
                  <c:v>15.966200000000001</c:v>
                </c:pt>
                <c:pt idx="2290">
                  <c:v>15.9315</c:v>
                </c:pt>
                <c:pt idx="2291">
                  <c:v>15.7826</c:v>
                </c:pt>
                <c:pt idx="2292">
                  <c:v>15.686</c:v>
                </c:pt>
                <c:pt idx="2293">
                  <c:v>15.928100000000001</c:v>
                </c:pt>
                <c:pt idx="2294">
                  <c:v>16.014299999999999</c:v>
                </c:pt>
                <c:pt idx="2295">
                  <c:v>16.0213</c:v>
                </c:pt>
                <c:pt idx="2296">
                  <c:v>15.933199999999999</c:v>
                </c:pt>
                <c:pt idx="2297">
                  <c:v>15.9306</c:v>
                </c:pt>
                <c:pt idx="2298">
                  <c:v>16.1967</c:v>
                </c:pt>
                <c:pt idx="2299">
                  <c:v>16.517099999999999</c:v>
                </c:pt>
                <c:pt idx="2300">
                  <c:v>16.4604</c:v>
                </c:pt>
                <c:pt idx="2301">
                  <c:v>16.282499999999999</c:v>
                </c:pt>
                <c:pt idx="2302">
                  <c:v>16.475200000000001</c:v>
                </c:pt>
                <c:pt idx="2303">
                  <c:v>16.4636</c:v>
                </c:pt>
                <c:pt idx="2304">
                  <c:v>16.448899999999998</c:v>
                </c:pt>
                <c:pt idx="2305">
                  <c:v>16.505600000000001</c:v>
                </c:pt>
                <c:pt idx="2306">
                  <c:v>16.543199999999999</c:v>
                </c:pt>
                <c:pt idx="2307">
                  <c:v>16.593499999999999</c:v>
                </c:pt>
                <c:pt idx="2308">
                  <c:v>16.546399999999998</c:v>
                </c:pt>
                <c:pt idx="2309">
                  <c:v>16.5672</c:v>
                </c:pt>
                <c:pt idx="2310">
                  <c:v>16.391200000000001</c:v>
                </c:pt>
                <c:pt idx="2311">
                  <c:v>16.430700000000002</c:v>
                </c:pt>
                <c:pt idx="2312">
                  <c:v>16.537800000000001</c:v>
                </c:pt>
                <c:pt idx="2313">
                  <c:v>16.290199999999999</c:v>
                </c:pt>
                <c:pt idx="2314">
                  <c:v>16.157900000000001</c:v>
                </c:pt>
                <c:pt idx="2315">
                  <c:v>16.192499999999999</c:v>
                </c:pt>
                <c:pt idx="2316">
                  <c:v>16.5793</c:v>
                </c:pt>
                <c:pt idx="2317">
                  <c:v>16.560500000000001</c:v>
                </c:pt>
                <c:pt idx="2318">
                  <c:v>16.6355</c:v>
                </c:pt>
                <c:pt idx="2319">
                  <c:v>16.6599</c:v>
                </c:pt>
                <c:pt idx="2320">
                  <c:v>16.5947</c:v>
                </c:pt>
                <c:pt idx="2321">
                  <c:v>16.387799999999999</c:v>
                </c:pt>
                <c:pt idx="2322">
                  <c:v>16.626100000000001</c:v>
                </c:pt>
                <c:pt idx="2323">
                  <c:v>16.768899999999999</c:v>
                </c:pt>
                <c:pt idx="2324">
                  <c:v>16.737200000000001</c:v>
                </c:pt>
                <c:pt idx="2325">
                  <c:v>16.799600000000002</c:v>
                </c:pt>
                <c:pt idx="2326">
                  <c:v>16.7636</c:v>
                </c:pt>
                <c:pt idx="2327">
                  <c:v>16.760100000000001</c:v>
                </c:pt>
                <c:pt idx="2328">
                  <c:v>16.316400000000002</c:v>
                </c:pt>
                <c:pt idx="2329">
                  <c:v>16.2593</c:v>
                </c:pt>
                <c:pt idx="2330">
                  <c:v>16.375900000000001</c:v>
                </c:pt>
                <c:pt idx="2331">
                  <c:v>16.0943</c:v>
                </c:pt>
                <c:pt idx="2332">
                  <c:v>16.0702</c:v>
                </c:pt>
                <c:pt idx="2333">
                  <c:v>16.027799999999999</c:v>
                </c:pt>
                <c:pt idx="2334">
                  <c:v>15.7064</c:v>
                </c:pt>
                <c:pt idx="2335">
                  <c:v>15.460900000000001</c:v>
                </c:pt>
                <c:pt idx="2336">
                  <c:v>15.9077</c:v>
                </c:pt>
                <c:pt idx="2337">
                  <c:v>15.9786</c:v>
                </c:pt>
                <c:pt idx="2338">
                  <c:v>16.179099999999998</c:v>
                </c:pt>
                <c:pt idx="2339">
                  <c:v>16.013300000000001</c:v>
                </c:pt>
                <c:pt idx="2340">
                  <c:v>15.849</c:v>
                </c:pt>
                <c:pt idx="2341">
                  <c:v>15.8523</c:v>
                </c:pt>
                <c:pt idx="2342">
                  <c:v>16.2653</c:v>
                </c:pt>
                <c:pt idx="2343">
                  <c:v>16.265499999999999</c:v>
                </c:pt>
                <c:pt idx="2344">
                  <c:v>16.267499999999998</c:v>
                </c:pt>
                <c:pt idx="2345">
                  <c:v>16.198499999999999</c:v>
                </c:pt>
                <c:pt idx="2346">
                  <c:v>16.4251</c:v>
                </c:pt>
                <c:pt idx="2347">
                  <c:v>16.336400000000001</c:v>
                </c:pt>
                <c:pt idx="2348">
                  <c:v>16.237200000000001</c:v>
                </c:pt>
                <c:pt idx="2349">
                  <c:v>16.238900000000001</c:v>
                </c:pt>
                <c:pt idx="2350">
                  <c:v>15.835599999999999</c:v>
                </c:pt>
                <c:pt idx="2351">
                  <c:v>15.940099999999999</c:v>
                </c:pt>
                <c:pt idx="2352">
                  <c:v>15.743</c:v>
                </c:pt>
                <c:pt idx="2353">
                  <c:v>15.4015</c:v>
                </c:pt>
                <c:pt idx="2354">
                  <c:v>15.180300000000001</c:v>
                </c:pt>
                <c:pt idx="2355">
                  <c:v>15.1389</c:v>
                </c:pt>
                <c:pt idx="2356">
                  <c:v>15.274900000000001</c:v>
                </c:pt>
                <c:pt idx="2357">
                  <c:v>15.329499999999999</c:v>
                </c:pt>
                <c:pt idx="2358">
                  <c:v>15.111000000000001</c:v>
                </c:pt>
                <c:pt idx="2359">
                  <c:v>14.688800000000001</c:v>
                </c:pt>
                <c:pt idx="2360">
                  <c:v>14.6805</c:v>
                </c:pt>
                <c:pt idx="2361">
                  <c:v>14.874700000000001</c:v>
                </c:pt>
                <c:pt idx="2362">
                  <c:v>14.401300000000001</c:v>
                </c:pt>
                <c:pt idx="2363">
                  <c:v>14.694599999999999</c:v>
                </c:pt>
                <c:pt idx="2364">
                  <c:v>15.137499999999999</c:v>
                </c:pt>
                <c:pt idx="2365">
                  <c:v>15.0411</c:v>
                </c:pt>
                <c:pt idx="2366">
                  <c:v>15.189</c:v>
                </c:pt>
                <c:pt idx="2367">
                  <c:v>15.3452</c:v>
                </c:pt>
                <c:pt idx="2368">
                  <c:v>15.2334</c:v>
                </c:pt>
                <c:pt idx="2369">
                  <c:v>15.5741</c:v>
                </c:pt>
                <c:pt idx="2370">
                  <c:v>15.5374</c:v>
                </c:pt>
                <c:pt idx="2371">
                  <c:v>15.179399999999999</c:v>
                </c:pt>
                <c:pt idx="2372">
                  <c:v>14.9633</c:v>
                </c:pt>
                <c:pt idx="2373">
                  <c:v>15.034700000000001</c:v>
                </c:pt>
                <c:pt idx="2374">
                  <c:v>14.954700000000001</c:v>
                </c:pt>
                <c:pt idx="2375">
                  <c:v>14.4171</c:v>
                </c:pt>
                <c:pt idx="2376">
                  <c:v>14.2531</c:v>
                </c:pt>
                <c:pt idx="2377">
                  <c:v>14.5625</c:v>
                </c:pt>
                <c:pt idx="2378">
                  <c:v>14.0206</c:v>
                </c:pt>
                <c:pt idx="2379">
                  <c:v>14.3977</c:v>
                </c:pt>
                <c:pt idx="2380">
                  <c:v>14.836499999999999</c:v>
                </c:pt>
                <c:pt idx="2381">
                  <c:v>14.777699999999999</c:v>
                </c:pt>
                <c:pt idx="2382">
                  <c:v>15.137499999999999</c:v>
                </c:pt>
                <c:pt idx="2383">
                  <c:v>15.1442</c:v>
                </c:pt>
                <c:pt idx="2384">
                  <c:v>15.025</c:v>
                </c:pt>
                <c:pt idx="2385">
                  <c:v>15.3253</c:v>
                </c:pt>
                <c:pt idx="2386">
                  <c:v>15.177300000000001</c:v>
                </c:pt>
                <c:pt idx="2387">
                  <c:v>14.854200000000001</c:v>
                </c:pt>
                <c:pt idx="2388">
                  <c:v>15.504799999999999</c:v>
                </c:pt>
                <c:pt idx="2389">
                  <c:v>14.7842</c:v>
                </c:pt>
                <c:pt idx="2390">
                  <c:v>14.8957</c:v>
                </c:pt>
                <c:pt idx="2391">
                  <c:v>15.110200000000001</c:v>
                </c:pt>
                <c:pt idx="2392">
                  <c:v>15.2201</c:v>
                </c:pt>
                <c:pt idx="2393">
                  <c:v>15.1769</c:v>
                </c:pt>
                <c:pt idx="2394">
                  <c:v>15.3117</c:v>
                </c:pt>
                <c:pt idx="2395">
                  <c:v>15.3019</c:v>
                </c:pt>
                <c:pt idx="2396">
                  <c:v>15.1656</c:v>
                </c:pt>
                <c:pt idx="2397">
                  <c:v>15.2438</c:v>
                </c:pt>
                <c:pt idx="2398">
                  <c:v>15.0303</c:v>
                </c:pt>
                <c:pt idx="2399">
                  <c:v>15.436199999999999</c:v>
                </c:pt>
                <c:pt idx="2400">
                  <c:v>15.5395</c:v>
                </c:pt>
                <c:pt idx="2401">
                  <c:v>15.3744</c:v>
                </c:pt>
                <c:pt idx="2402">
                  <c:v>15.380699999999999</c:v>
                </c:pt>
                <c:pt idx="2403">
                  <c:v>15.4038</c:v>
                </c:pt>
                <c:pt idx="2404">
                  <c:v>15.4436</c:v>
                </c:pt>
                <c:pt idx="2405">
                  <c:v>15.4421</c:v>
                </c:pt>
                <c:pt idx="2406">
                  <c:v>15.427199999999999</c:v>
                </c:pt>
                <c:pt idx="2407">
                  <c:v>15.4216</c:v>
                </c:pt>
                <c:pt idx="2408">
                  <c:v>15.204000000000001</c:v>
                </c:pt>
                <c:pt idx="2409">
                  <c:v>15.2029</c:v>
                </c:pt>
                <c:pt idx="2410">
                  <c:v>15.2043</c:v>
                </c:pt>
                <c:pt idx="2411">
                  <c:v>15.303800000000001</c:v>
                </c:pt>
                <c:pt idx="2412">
                  <c:v>15.514200000000001</c:v>
                </c:pt>
                <c:pt idx="2413">
                  <c:v>15.3672</c:v>
                </c:pt>
                <c:pt idx="2414">
                  <c:v>15.1843</c:v>
                </c:pt>
                <c:pt idx="2415">
                  <c:v>15.2995</c:v>
                </c:pt>
                <c:pt idx="2416">
                  <c:v>15.0299</c:v>
                </c:pt>
                <c:pt idx="2417">
                  <c:v>15.164300000000001</c:v>
                </c:pt>
                <c:pt idx="2418">
                  <c:v>15.0497</c:v>
                </c:pt>
                <c:pt idx="2419">
                  <c:v>15.221399999999999</c:v>
                </c:pt>
                <c:pt idx="2420">
                  <c:v>15.2715</c:v>
                </c:pt>
                <c:pt idx="2421">
                  <c:v>15.3484</c:v>
                </c:pt>
                <c:pt idx="2422">
                  <c:v>15.7178</c:v>
                </c:pt>
                <c:pt idx="2423">
                  <c:v>15.760199999999999</c:v>
                </c:pt>
                <c:pt idx="2424">
                  <c:v>15.7004</c:v>
                </c:pt>
                <c:pt idx="2425">
                  <c:v>15.768800000000001</c:v>
                </c:pt>
                <c:pt idx="2426">
                  <c:v>16.009</c:v>
                </c:pt>
                <c:pt idx="2427">
                  <c:v>16.080500000000001</c:v>
                </c:pt>
                <c:pt idx="2428">
                  <c:v>16.0275</c:v>
                </c:pt>
                <c:pt idx="2429">
                  <c:v>15.964700000000001</c:v>
                </c:pt>
                <c:pt idx="2430">
                  <c:v>15.8843</c:v>
                </c:pt>
                <c:pt idx="2431">
                  <c:v>15.9032</c:v>
                </c:pt>
                <c:pt idx="2432">
                  <c:v>15.944800000000001</c:v>
                </c:pt>
                <c:pt idx="2433">
                  <c:v>15.9817</c:v>
                </c:pt>
                <c:pt idx="2434">
                  <c:v>15.6509</c:v>
                </c:pt>
                <c:pt idx="2435">
                  <c:v>15.6485</c:v>
                </c:pt>
                <c:pt idx="2436">
                  <c:v>15.446899999999999</c:v>
                </c:pt>
                <c:pt idx="2437">
                  <c:v>15.2982</c:v>
                </c:pt>
                <c:pt idx="2438">
                  <c:v>15.339700000000001</c:v>
                </c:pt>
                <c:pt idx="2439">
                  <c:v>15.2834</c:v>
                </c:pt>
                <c:pt idx="2440">
                  <c:v>15.3521</c:v>
                </c:pt>
                <c:pt idx="2441">
                  <c:v>15.501300000000001</c:v>
                </c:pt>
                <c:pt idx="2442">
                  <c:v>15.445499999999999</c:v>
                </c:pt>
                <c:pt idx="2443">
                  <c:v>15.356199999999999</c:v>
                </c:pt>
                <c:pt idx="2444">
                  <c:v>15.4217</c:v>
                </c:pt>
                <c:pt idx="2445">
                  <c:v>15.4254</c:v>
                </c:pt>
                <c:pt idx="2446">
                  <c:v>15.418100000000001</c:v>
                </c:pt>
                <c:pt idx="2447">
                  <c:v>15.535299999999999</c:v>
                </c:pt>
                <c:pt idx="2448">
                  <c:v>15.3384</c:v>
                </c:pt>
                <c:pt idx="2449">
                  <c:v>15.5357</c:v>
                </c:pt>
                <c:pt idx="2450">
                  <c:v>15.4763</c:v>
                </c:pt>
                <c:pt idx="2451">
                  <c:v>15.792999999999999</c:v>
                </c:pt>
                <c:pt idx="2452">
                  <c:v>15.998900000000001</c:v>
                </c:pt>
                <c:pt idx="2453">
                  <c:v>16.050699999999999</c:v>
                </c:pt>
                <c:pt idx="2454">
                  <c:v>16.109300000000001</c:v>
                </c:pt>
                <c:pt idx="2455">
                  <c:v>16.1342</c:v>
                </c:pt>
                <c:pt idx="2456">
                  <c:v>16.011099999999999</c:v>
                </c:pt>
                <c:pt idx="2457">
                  <c:v>15.855</c:v>
                </c:pt>
                <c:pt idx="2458">
                  <c:v>15.8645</c:v>
                </c:pt>
                <c:pt idx="2459">
                  <c:v>15.783799999999999</c:v>
                </c:pt>
                <c:pt idx="2460">
                  <c:v>15.851599999999999</c:v>
                </c:pt>
                <c:pt idx="2461">
                  <c:v>16.025600000000001</c:v>
                </c:pt>
                <c:pt idx="2462">
                  <c:v>15.956899999999999</c:v>
                </c:pt>
                <c:pt idx="2463">
                  <c:v>15.7951</c:v>
                </c:pt>
                <c:pt idx="2464">
                  <c:v>15.403600000000001</c:v>
                </c:pt>
                <c:pt idx="2465">
                  <c:v>15.1347</c:v>
                </c:pt>
                <c:pt idx="2466">
                  <c:v>14.838900000000001</c:v>
                </c:pt>
                <c:pt idx="2467">
                  <c:v>14.9939</c:v>
                </c:pt>
                <c:pt idx="2468">
                  <c:v>14.878500000000001</c:v>
                </c:pt>
                <c:pt idx="2469">
                  <c:v>15.101599999999999</c:v>
                </c:pt>
                <c:pt idx="2470">
                  <c:v>15.654199999999999</c:v>
                </c:pt>
                <c:pt idx="2471">
                  <c:v>15.7057</c:v>
                </c:pt>
                <c:pt idx="2472">
                  <c:v>15.765000000000001</c:v>
                </c:pt>
                <c:pt idx="2473">
                  <c:v>15.9986</c:v>
                </c:pt>
                <c:pt idx="2474">
                  <c:v>14.91</c:v>
                </c:pt>
                <c:pt idx="2475">
                  <c:v>14.3925</c:v>
                </c:pt>
                <c:pt idx="2476">
                  <c:v>14.818</c:v>
                </c:pt>
                <c:pt idx="2477">
                  <c:v>15.2765</c:v>
                </c:pt>
                <c:pt idx="2478">
                  <c:v>15.4544</c:v>
                </c:pt>
                <c:pt idx="2479">
                  <c:v>15.5983</c:v>
                </c:pt>
                <c:pt idx="2480">
                  <c:v>15.487399999999999</c:v>
                </c:pt>
                <c:pt idx="2481">
                  <c:v>15.238899999999999</c:v>
                </c:pt>
                <c:pt idx="2482">
                  <c:v>14.999000000000001</c:v>
                </c:pt>
                <c:pt idx="2483">
                  <c:v>15.1616</c:v>
                </c:pt>
                <c:pt idx="2484">
                  <c:v>15.4152</c:v>
                </c:pt>
                <c:pt idx="2485">
                  <c:v>15.6942</c:v>
                </c:pt>
                <c:pt idx="2486">
                  <c:v>15.8483</c:v>
                </c:pt>
                <c:pt idx="2487">
                  <c:v>15.8629</c:v>
                </c:pt>
                <c:pt idx="2488">
                  <c:v>15.9758</c:v>
                </c:pt>
                <c:pt idx="2489">
                  <c:v>15.9474</c:v>
                </c:pt>
                <c:pt idx="2490">
                  <c:v>15.9749</c:v>
                </c:pt>
                <c:pt idx="2491">
                  <c:v>15.916399999999999</c:v>
                </c:pt>
                <c:pt idx="2492">
                  <c:v>16.081099999999999</c:v>
                </c:pt>
                <c:pt idx="2493">
                  <c:v>16.057099999999998</c:v>
                </c:pt>
                <c:pt idx="2494">
                  <c:v>16.041799999999999</c:v>
                </c:pt>
                <c:pt idx="2495">
                  <c:v>16.079000000000001</c:v>
                </c:pt>
                <c:pt idx="2496">
                  <c:v>16.128699999999998</c:v>
                </c:pt>
                <c:pt idx="2497">
                  <c:v>16.215499999999999</c:v>
                </c:pt>
                <c:pt idx="2498">
                  <c:v>16.0717</c:v>
                </c:pt>
                <c:pt idx="2499">
                  <c:v>16.197199999999999</c:v>
                </c:pt>
                <c:pt idx="2500">
                  <c:v>16.1233</c:v>
                </c:pt>
                <c:pt idx="2501">
                  <c:v>15.924300000000001</c:v>
                </c:pt>
                <c:pt idx="2502">
                  <c:v>15.920500000000001</c:v>
                </c:pt>
                <c:pt idx="2503">
                  <c:v>16.013500000000001</c:v>
                </c:pt>
                <c:pt idx="2504">
                  <c:v>16.1614</c:v>
                </c:pt>
                <c:pt idx="2505">
                  <c:v>16.1648</c:v>
                </c:pt>
                <c:pt idx="2506">
                  <c:v>16.325099999999999</c:v>
                </c:pt>
                <c:pt idx="2507">
                  <c:v>16.315100000000001</c:v>
                </c:pt>
                <c:pt idx="2508">
                  <c:v>16.447600000000001</c:v>
                </c:pt>
                <c:pt idx="2509">
                  <c:v>16.4163</c:v>
                </c:pt>
                <c:pt idx="2510">
                  <c:v>16.4481</c:v>
                </c:pt>
                <c:pt idx="2511">
                  <c:v>16.3293</c:v>
                </c:pt>
                <c:pt idx="2512">
                  <c:v>16.1831</c:v>
                </c:pt>
                <c:pt idx="2513">
                  <c:v>16.3125</c:v>
                </c:pt>
                <c:pt idx="2514">
                  <c:v>16.185700000000001</c:v>
                </c:pt>
                <c:pt idx="2515">
                  <c:v>16.2074</c:v>
                </c:pt>
                <c:pt idx="2516">
                  <c:v>16.350200000000001</c:v>
                </c:pt>
                <c:pt idx="2517">
                  <c:v>16.412800000000001</c:v>
                </c:pt>
                <c:pt idx="2518">
                  <c:v>16.2715</c:v>
                </c:pt>
                <c:pt idx="2519">
                  <c:v>16.3414</c:v>
                </c:pt>
                <c:pt idx="2520">
                  <c:v>16.312799999999999</c:v>
                </c:pt>
                <c:pt idx="2521">
                  <c:v>16.372299999999999</c:v>
                </c:pt>
                <c:pt idx="2522">
                  <c:v>16.316500000000001</c:v>
                </c:pt>
                <c:pt idx="2523">
                  <c:v>16.324200000000001</c:v>
                </c:pt>
                <c:pt idx="2524">
                  <c:v>16.623999999999999</c:v>
                </c:pt>
                <c:pt idx="2525">
                  <c:v>16.568999999999999</c:v>
                </c:pt>
                <c:pt idx="2526">
                  <c:v>16.5137</c:v>
                </c:pt>
                <c:pt idx="2527">
                  <c:v>16.564</c:v>
                </c:pt>
                <c:pt idx="2528">
                  <c:v>16.5212</c:v>
                </c:pt>
                <c:pt idx="2529">
                  <c:v>16.3291</c:v>
                </c:pt>
                <c:pt idx="2530">
                  <c:v>16.1706</c:v>
                </c:pt>
                <c:pt idx="2531">
                  <c:v>16.009799999999998</c:v>
                </c:pt>
                <c:pt idx="2532">
                  <c:v>16.009599999999999</c:v>
                </c:pt>
                <c:pt idx="2533">
                  <c:v>16.106000000000002</c:v>
                </c:pt>
                <c:pt idx="2534">
                  <c:v>15.971500000000001</c:v>
                </c:pt>
                <c:pt idx="2535">
                  <c:v>16.148299999999999</c:v>
                </c:pt>
                <c:pt idx="2536">
                  <c:v>16.132899999999999</c:v>
                </c:pt>
                <c:pt idx="2537">
                  <c:v>16.216200000000001</c:v>
                </c:pt>
                <c:pt idx="2538">
                  <c:v>16.484300000000001</c:v>
                </c:pt>
                <c:pt idx="2539">
                  <c:v>16.380500000000001</c:v>
                </c:pt>
                <c:pt idx="2540">
                  <c:v>16.128</c:v>
                </c:pt>
                <c:pt idx="2541">
                  <c:v>16.130099999999999</c:v>
                </c:pt>
                <c:pt idx="2542">
                  <c:v>16.2409</c:v>
                </c:pt>
                <c:pt idx="2543">
                  <c:v>16.233000000000001</c:v>
                </c:pt>
                <c:pt idx="2544">
                  <c:v>16.2499</c:v>
                </c:pt>
                <c:pt idx="2545">
                  <c:v>16.274000000000001</c:v>
                </c:pt>
                <c:pt idx="2546">
                  <c:v>16.410599999999999</c:v>
                </c:pt>
                <c:pt idx="2547">
                  <c:v>16.3217</c:v>
                </c:pt>
                <c:pt idx="2548">
                  <c:v>16.2514</c:v>
                </c:pt>
                <c:pt idx="2549">
                  <c:v>16.114999999999998</c:v>
                </c:pt>
                <c:pt idx="2550">
                  <c:v>16.2334</c:v>
                </c:pt>
                <c:pt idx="2551">
                  <c:v>16.165600000000001</c:v>
                </c:pt>
                <c:pt idx="2552">
                  <c:v>16.092700000000001</c:v>
                </c:pt>
                <c:pt idx="2553">
                  <c:v>15.9643</c:v>
                </c:pt>
                <c:pt idx="2554">
                  <c:v>16.1587</c:v>
                </c:pt>
                <c:pt idx="2555">
                  <c:v>16.052600000000002</c:v>
                </c:pt>
                <c:pt idx="2556">
                  <c:v>16.2883</c:v>
                </c:pt>
                <c:pt idx="2557">
                  <c:v>16.330500000000001</c:v>
                </c:pt>
                <c:pt idx="2558">
                  <c:v>16.331399999999999</c:v>
                </c:pt>
                <c:pt idx="2559">
                  <c:v>16.309899999999999</c:v>
                </c:pt>
                <c:pt idx="2560">
                  <c:v>16.287099999999999</c:v>
                </c:pt>
                <c:pt idx="2561">
                  <c:v>16.230399999999999</c:v>
                </c:pt>
                <c:pt idx="2562">
                  <c:v>16.171199999999999</c:v>
                </c:pt>
                <c:pt idx="2563">
                  <c:v>16.173999999999999</c:v>
                </c:pt>
                <c:pt idx="2564">
                  <c:v>16.1297</c:v>
                </c:pt>
                <c:pt idx="2565">
                  <c:v>16.033200000000001</c:v>
                </c:pt>
                <c:pt idx="2566">
                  <c:v>15.857200000000001</c:v>
                </c:pt>
                <c:pt idx="2567">
                  <c:v>15.6937</c:v>
                </c:pt>
                <c:pt idx="2568">
                  <c:v>15.695</c:v>
                </c:pt>
                <c:pt idx="2569">
                  <c:v>15.5593</c:v>
                </c:pt>
                <c:pt idx="2570">
                  <c:v>15.7514</c:v>
                </c:pt>
                <c:pt idx="2571">
                  <c:v>15.824299999999999</c:v>
                </c:pt>
                <c:pt idx="2572">
                  <c:v>16.0322</c:v>
                </c:pt>
                <c:pt idx="2573">
                  <c:v>15.947100000000001</c:v>
                </c:pt>
                <c:pt idx="2574">
                  <c:v>15.8591</c:v>
                </c:pt>
                <c:pt idx="2575">
                  <c:v>15.8226</c:v>
                </c:pt>
                <c:pt idx="2576">
                  <c:v>15.838100000000001</c:v>
                </c:pt>
                <c:pt idx="2577">
                  <c:v>15.7905</c:v>
                </c:pt>
                <c:pt idx="2578">
                  <c:v>15.885199999999999</c:v>
                </c:pt>
                <c:pt idx="2579">
                  <c:v>15.8218</c:v>
                </c:pt>
                <c:pt idx="2580">
                  <c:v>15.8278</c:v>
                </c:pt>
                <c:pt idx="2581">
                  <c:v>15.8605</c:v>
                </c:pt>
                <c:pt idx="2582">
                  <c:v>15.8161</c:v>
                </c:pt>
                <c:pt idx="2583">
                  <c:v>15.8566</c:v>
                </c:pt>
                <c:pt idx="2584">
                  <c:v>15.892099999999999</c:v>
                </c:pt>
                <c:pt idx="2585">
                  <c:v>15.775600000000001</c:v>
                </c:pt>
                <c:pt idx="2586">
                  <c:v>15.841799999999999</c:v>
                </c:pt>
                <c:pt idx="2587">
                  <c:v>15.872199999999999</c:v>
                </c:pt>
                <c:pt idx="2588">
                  <c:v>15.8131</c:v>
                </c:pt>
                <c:pt idx="2589">
                  <c:v>15.7227</c:v>
                </c:pt>
                <c:pt idx="2590">
                  <c:v>15.8384</c:v>
                </c:pt>
                <c:pt idx="2591">
                  <c:v>15.983000000000001</c:v>
                </c:pt>
                <c:pt idx="2592">
                  <c:v>16.137</c:v>
                </c:pt>
                <c:pt idx="2593">
                  <c:v>16.2745</c:v>
                </c:pt>
                <c:pt idx="2594">
                  <c:v>16.4129</c:v>
                </c:pt>
                <c:pt idx="2595">
                  <c:v>16.318200000000001</c:v>
                </c:pt>
                <c:pt idx="2596">
                  <c:v>16.488299999999999</c:v>
                </c:pt>
                <c:pt idx="2597">
                  <c:v>16.460999999999999</c:v>
                </c:pt>
                <c:pt idx="2598">
                  <c:v>16.615600000000001</c:v>
                </c:pt>
                <c:pt idx="2599">
                  <c:v>16.6907</c:v>
                </c:pt>
                <c:pt idx="2600">
                  <c:v>16.7227</c:v>
                </c:pt>
                <c:pt idx="2601">
                  <c:v>16.799299999999999</c:v>
                </c:pt>
                <c:pt idx="2602">
                  <c:v>16.784099999999999</c:v>
                </c:pt>
                <c:pt idx="2603">
                  <c:v>16.784300000000002</c:v>
                </c:pt>
                <c:pt idx="2604">
                  <c:v>16.7986</c:v>
                </c:pt>
                <c:pt idx="2605">
                  <c:v>16.799499999999998</c:v>
                </c:pt>
                <c:pt idx="2606">
                  <c:v>16.821000000000002</c:v>
                </c:pt>
                <c:pt idx="2607">
                  <c:v>16.851199999999999</c:v>
                </c:pt>
                <c:pt idx="2608">
                  <c:v>16.8005</c:v>
                </c:pt>
                <c:pt idx="2609">
                  <c:v>16.8642</c:v>
                </c:pt>
                <c:pt idx="2610">
                  <c:v>16.965299999999999</c:v>
                </c:pt>
                <c:pt idx="2611">
                  <c:v>17.107900000000001</c:v>
                </c:pt>
                <c:pt idx="2612">
                  <c:v>17.128699999999998</c:v>
                </c:pt>
                <c:pt idx="2613">
                  <c:v>17.154199999999999</c:v>
                </c:pt>
                <c:pt idx="2614">
                  <c:v>17.138999999999999</c:v>
                </c:pt>
                <c:pt idx="2615">
                  <c:v>17.037400000000002</c:v>
                </c:pt>
                <c:pt idx="2616">
                  <c:v>17.0609</c:v>
                </c:pt>
                <c:pt idx="2617">
                  <c:v>17.087299999999999</c:v>
                </c:pt>
                <c:pt idx="2618">
                  <c:v>16.975300000000001</c:v>
                </c:pt>
                <c:pt idx="2619">
                  <c:v>17.136099999999999</c:v>
                </c:pt>
                <c:pt idx="2620">
                  <c:v>16.987400000000001</c:v>
                </c:pt>
                <c:pt idx="2621">
                  <c:v>16.9603</c:v>
                </c:pt>
                <c:pt idx="2622">
                  <c:v>16.974900000000002</c:v>
                </c:pt>
                <c:pt idx="2623">
                  <c:v>16.959599999999998</c:v>
                </c:pt>
                <c:pt idx="2624">
                  <c:v>16.9603</c:v>
                </c:pt>
                <c:pt idx="2625">
                  <c:v>16.871300000000002</c:v>
                </c:pt>
                <c:pt idx="2626">
                  <c:v>16.868500000000001</c:v>
                </c:pt>
                <c:pt idx="2627">
                  <c:v>17.219100000000001</c:v>
                </c:pt>
                <c:pt idx="2628">
                  <c:v>17.259499999999999</c:v>
                </c:pt>
                <c:pt idx="2629">
                  <c:v>17.190999999999999</c:v>
                </c:pt>
                <c:pt idx="2630">
                  <c:v>17.023800000000001</c:v>
                </c:pt>
                <c:pt idx="2631">
                  <c:v>16.890899999999998</c:v>
                </c:pt>
                <c:pt idx="2632">
                  <c:v>17.058599999999998</c:v>
                </c:pt>
                <c:pt idx="2633">
                  <c:v>17.0943</c:v>
                </c:pt>
                <c:pt idx="2634">
                  <c:v>17.096900000000002</c:v>
                </c:pt>
                <c:pt idx="2635">
                  <c:v>16.994700000000002</c:v>
                </c:pt>
                <c:pt idx="2636">
                  <c:v>17.172499999999999</c:v>
                </c:pt>
                <c:pt idx="2637">
                  <c:v>17.2729</c:v>
                </c:pt>
                <c:pt idx="2638">
                  <c:v>16.927399999999999</c:v>
                </c:pt>
                <c:pt idx="2639">
                  <c:v>16.959099999999999</c:v>
                </c:pt>
                <c:pt idx="2640">
                  <c:v>17.1023</c:v>
                </c:pt>
                <c:pt idx="2641">
                  <c:v>17.145</c:v>
                </c:pt>
                <c:pt idx="2642">
                  <c:v>17.245100000000001</c:v>
                </c:pt>
                <c:pt idx="2643">
                  <c:v>17.279900000000001</c:v>
                </c:pt>
                <c:pt idx="2644">
                  <c:v>17.2517</c:v>
                </c:pt>
                <c:pt idx="2645">
                  <c:v>17.289200000000001</c:v>
                </c:pt>
                <c:pt idx="2646">
                  <c:v>17.484400000000001</c:v>
                </c:pt>
                <c:pt idx="2647">
                  <c:v>17.705200000000001</c:v>
                </c:pt>
                <c:pt idx="2648">
                  <c:v>17.941199999999998</c:v>
                </c:pt>
                <c:pt idx="2649">
                  <c:v>15.1149</c:v>
                </c:pt>
                <c:pt idx="2650">
                  <c:v>15.105</c:v>
                </c:pt>
                <c:pt idx="2651">
                  <c:v>15.144299999999999</c:v>
                </c:pt>
                <c:pt idx="2652">
                  <c:v>15.2761</c:v>
                </c:pt>
                <c:pt idx="2653">
                  <c:v>15.3316</c:v>
                </c:pt>
                <c:pt idx="2654">
                  <c:v>15.3848</c:v>
                </c:pt>
                <c:pt idx="2655">
                  <c:v>15.311299999999999</c:v>
                </c:pt>
                <c:pt idx="2656">
                  <c:v>15.2827</c:v>
                </c:pt>
                <c:pt idx="2657">
                  <c:v>15.2928</c:v>
                </c:pt>
                <c:pt idx="2658">
                  <c:v>15.336600000000001</c:v>
                </c:pt>
                <c:pt idx="2659">
                  <c:v>15.3689</c:v>
                </c:pt>
                <c:pt idx="2660">
                  <c:v>15.4278</c:v>
                </c:pt>
                <c:pt idx="2661">
                  <c:v>15.369899999999999</c:v>
                </c:pt>
                <c:pt idx="2662">
                  <c:v>15.410299999999999</c:v>
                </c:pt>
                <c:pt idx="2663">
                  <c:v>15.519</c:v>
                </c:pt>
                <c:pt idx="2664">
                  <c:v>15.5389</c:v>
                </c:pt>
                <c:pt idx="2665">
                  <c:v>15.5298</c:v>
                </c:pt>
                <c:pt idx="2666">
                  <c:v>15.446300000000001</c:v>
                </c:pt>
                <c:pt idx="2667">
                  <c:v>15.387</c:v>
                </c:pt>
                <c:pt idx="2668">
                  <c:v>15.510899999999999</c:v>
                </c:pt>
                <c:pt idx="2669">
                  <c:v>15.4856</c:v>
                </c:pt>
                <c:pt idx="2670">
                  <c:v>15.446400000000001</c:v>
                </c:pt>
                <c:pt idx="2671">
                  <c:v>15.536899999999999</c:v>
                </c:pt>
                <c:pt idx="2672">
                  <c:v>15.5771</c:v>
                </c:pt>
                <c:pt idx="2673">
                  <c:v>15.6233</c:v>
                </c:pt>
                <c:pt idx="2674">
                  <c:v>15.645200000000001</c:v>
                </c:pt>
                <c:pt idx="2675">
                  <c:v>15.552199999999999</c:v>
                </c:pt>
                <c:pt idx="2676">
                  <c:v>15.5755</c:v>
                </c:pt>
                <c:pt idx="2677">
                  <c:v>15.569599999999999</c:v>
                </c:pt>
                <c:pt idx="2678">
                  <c:v>15.591900000000001</c:v>
                </c:pt>
                <c:pt idx="2679">
                  <c:v>15.601900000000001</c:v>
                </c:pt>
                <c:pt idx="2680">
                  <c:v>15.5886</c:v>
                </c:pt>
                <c:pt idx="2681">
                  <c:v>15.5822</c:v>
                </c:pt>
                <c:pt idx="2682">
                  <c:v>15.6107</c:v>
                </c:pt>
                <c:pt idx="2683">
                  <c:v>15.584899999999999</c:v>
                </c:pt>
                <c:pt idx="2684">
                  <c:v>15.581</c:v>
                </c:pt>
                <c:pt idx="2685">
                  <c:v>15.5829</c:v>
                </c:pt>
                <c:pt idx="2686">
                  <c:v>15.418200000000001</c:v>
                </c:pt>
                <c:pt idx="2687">
                  <c:v>15.453200000000001</c:v>
                </c:pt>
                <c:pt idx="2688">
                  <c:v>15.4991</c:v>
                </c:pt>
                <c:pt idx="2689">
                  <c:v>15.484500000000001</c:v>
                </c:pt>
                <c:pt idx="2690">
                  <c:v>15.8567</c:v>
                </c:pt>
                <c:pt idx="2691">
                  <c:v>15.920500000000001</c:v>
                </c:pt>
                <c:pt idx="2692">
                  <c:v>15.961</c:v>
                </c:pt>
                <c:pt idx="2693">
                  <c:v>15.911199999999999</c:v>
                </c:pt>
                <c:pt idx="2694">
                  <c:v>15.8688</c:v>
                </c:pt>
                <c:pt idx="2695">
                  <c:v>15.850099999999999</c:v>
                </c:pt>
                <c:pt idx="2696">
                  <c:v>15.943</c:v>
                </c:pt>
                <c:pt idx="2697">
                  <c:v>15.950900000000001</c:v>
                </c:pt>
                <c:pt idx="2698">
                  <c:v>16.076000000000001</c:v>
                </c:pt>
                <c:pt idx="2699">
                  <c:v>16.189399999999999</c:v>
                </c:pt>
                <c:pt idx="2700">
                  <c:v>16.141999999999999</c:v>
                </c:pt>
                <c:pt idx="2701">
                  <c:v>16.214500000000001</c:v>
                </c:pt>
                <c:pt idx="2702">
                  <c:v>16.219200000000001</c:v>
                </c:pt>
                <c:pt idx="2703">
                  <c:v>16.1294</c:v>
                </c:pt>
                <c:pt idx="2704">
                  <c:v>16.1905</c:v>
                </c:pt>
                <c:pt idx="2705">
                  <c:v>16.204799999999999</c:v>
                </c:pt>
                <c:pt idx="2706">
                  <c:v>16.247399999999999</c:v>
                </c:pt>
                <c:pt idx="2707">
                  <c:v>16.062200000000001</c:v>
                </c:pt>
                <c:pt idx="2708">
                  <c:v>15.9969</c:v>
                </c:pt>
                <c:pt idx="2709">
                  <c:v>16.107099999999999</c:v>
                </c:pt>
                <c:pt idx="2710">
                  <c:v>16.101099999999999</c:v>
                </c:pt>
                <c:pt idx="2711">
                  <c:v>16.124300000000002</c:v>
                </c:pt>
                <c:pt idx="2712">
                  <c:v>16.1372</c:v>
                </c:pt>
                <c:pt idx="2713">
                  <c:v>16.136500000000002</c:v>
                </c:pt>
                <c:pt idx="2714">
                  <c:v>16.0991</c:v>
                </c:pt>
                <c:pt idx="2715">
                  <c:v>16.0962</c:v>
                </c:pt>
                <c:pt idx="2716">
                  <c:v>16.0716</c:v>
                </c:pt>
                <c:pt idx="2717">
                  <c:v>16.037800000000001</c:v>
                </c:pt>
                <c:pt idx="2718">
                  <c:v>16.1126</c:v>
                </c:pt>
                <c:pt idx="2719">
                  <c:v>16.168199999999999</c:v>
                </c:pt>
                <c:pt idx="2720">
                  <c:v>16.1553</c:v>
                </c:pt>
                <c:pt idx="2721">
                  <c:v>16.044699999999999</c:v>
                </c:pt>
                <c:pt idx="2722">
                  <c:v>16.039300000000001</c:v>
                </c:pt>
                <c:pt idx="2723">
                  <c:v>16.045500000000001</c:v>
                </c:pt>
                <c:pt idx="2724">
                  <c:v>16.087199999999999</c:v>
                </c:pt>
                <c:pt idx="2725">
                  <c:v>15.961499999999999</c:v>
                </c:pt>
                <c:pt idx="2726">
                  <c:v>16.052199999999999</c:v>
                </c:pt>
                <c:pt idx="2727">
                  <c:v>16.0183</c:v>
                </c:pt>
                <c:pt idx="2728">
                  <c:v>15.8973</c:v>
                </c:pt>
                <c:pt idx="2729">
                  <c:v>16.028600000000001</c:v>
                </c:pt>
                <c:pt idx="2730">
                  <c:v>16.188199999999998</c:v>
                </c:pt>
                <c:pt idx="2731">
                  <c:v>16.0731</c:v>
                </c:pt>
                <c:pt idx="2732">
                  <c:v>16.052199999999999</c:v>
                </c:pt>
                <c:pt idx="2733">
                  <c:v>16.058299999999999</c:v>
                </c:pt>
                <c:pt idx="2734">
                  <c:v>16.023399999999999</c:v>
                </c:pt>
                <c:pt idx="2735">
                  <c:v>16.096</c:v>
                </c:pt>
                <c:pt idx="2736">
                  <c:v>15.9848</c:v>
                </c:pt>
                <c:pt idx="2737">
                  <c:v>16.005500000000001</c:v>
                </c:pt>
                <c:pt idx="2738">
                  <c:v>15.817600000000001</c:v>
                </c:pt>
                <c:pt idx="2739">
                  <c:v>15.7417</c:v>
                </c:pt>
                <c:pt idx="2740">
                  <c:v>15.901899999999999</c:v>
                </c:pt>
                <c:pt idx="2741">
                  <c:v>15.861800000000001</c:v>
                </c:pt>
                <c:pt idx="2742">
                  <c:v>15.8879</c:v>
                </c:pt>
                <c:pt idx="2743">
                  <c:v>15.797000000000001</c:v>
                </c:pt>
                <c:pt idx="2744">
                  <c:v>15.7912</c:v>
                </c:pt>
                <c:pt idx="2745">
                  <c:v>15.861599999999999</c:v>
                </c:pt>
                <c:pt idx="2746">
                  <c:v>15.777699999999999</c:v>
                </c:pt>
                <c:pt idx="2747">
                  <c:v>16.027200000000001</c:v>
                </c:pt>
                <c:pt idx="2748">
                  <c:v>16.059000000000001</c:v>
                </c:pt>
                <c:pt idx="2749">
                  <c:v>16.112300000000001</c:v>
                </c:pt>
                <c:pt idx="2750">
                  <c:v>16.119</c:v>
                </c:pt>
                <c:pt idx="2751">
                  <c:v>15.972799999999999</c:v>
                </c:pt>
                <c:pt idx="2752">
                  <c:v>16.103300000000001</c:v>
                </c:pt>
                <c:pt idx="2753">
                  <c:v>16.078199999999999</c:v>
                </c:pt>
                <c:pt idx="2754">
                  <c:v>15.928800000000001</c:v>
                </c:pt>
                <c:pt idx="2755">
                  <c:v>15.887700000000001</c:v>
                </c:pt>
                <c:pt idx="2756">
                  <c:v>15.9711</c:v>
                </c:pt>
                <c:pt idx="2757">
                  <c:v>16.053799999999999</c:v>
                </c:pt>
                <c:pt idx="2758">
                  <c:v>16.036999999999999</c:v>
                </c:pt>
                <c:pt idx="2759">
                  <c:v>15.880100000000001</c:v>
                </c:pt>
                <c:pt idx="2760">
                  <c:v>15.863799999999999</c:v>
                </c:pt>
                <c:pt idx="2761">
                  <c:v>15.9602</c:v>
                </c:pt>
                <c:pt idx="2762">
                  <c:v>15.9145</c:v>
                </c:pt>
                <c:pt idx="2763">
                  <c:v>15.940300000000001</c:v>
                </c:pt>
                <c:pt idx="2764">
                  <c:v>16.0657</c:v>
                </c:pt>
                <c:pt idx="2765">
                  <c:v>16.0396</c:v>
                </c:pt>
                <c:pt idx="2766">
                  <c:v>16.063700000000001</c:v>
                </c:pt>
                <c:pt idx="2767">
                  <c:v>15.918799999999999</c:v>
                </c:pt>
                <c:pt idx="2768">
                  <c:v>15.763299999999999</c:v>
                </c:pt>
                <c:pt idx="2769">
                  <c:v>15.613899999999999</c:v>
                </c:pt>
                <c:pt idx="2770">
                  <c:v>15.7712</c:v>
                </c:pt>
                <c:pt idx="2771">
                  <c:v>15.7849</c:v>
                </c:pt>
                <c:pt idx="2772">
                  <c:v>15.8804</c:v>
                </c:pt>
                <c:pt idx="2773">
                  <c:v>15.7852</c:v>
                </c:pt>
                <c:pt idx="2774">
                  <c:v>15.6836</c:v>
                </c:pt>
                <c:pt idx="2775">
                  <c:v>15.6275</c:v>
                </c:pt>
                <c:pt idx="2776">
                  <c:v>15.768800000000001</c:v>
                </c:pt>
                <c:pt idx="2777">
                  <c:v>15.698600000000001</c:v>
                </c:pt>
                <c:pt idx="2778">
                  <c:v>15.7409</c:v>
                </c:pt>
                <c:pt idx="2779">
                  <c:v>15.7174</c:v>
                </c:pt>
                <c:pt idx="2780">
                  <c:v>15.6539</c:v>
                </c:pt>
                <c:pt idx="2781">
                  <c:v>15.492000000000001</c:v>
                </c:pt>
                <c:pt idx="2782">
                  <c:v>15.5921</c:v>
                </c:pt>
                <c:pt idx="2783">
                  <c:v>15.7067</c:v>
                </c:pt>
                <c:pt idx="2784">
                  <c:v>15.794700000000001</c:v>
                </c:pt>
                <c:pt idx="2785">
                  <c:v>15.6996</c:v>
                </c:pt>
                <c:pt idx="2786">
                  <c:v>15.6774</c:v>
                </c:pt>
                <c:pt idx="2787">
                  <c:v>15.686</c:v>
                </c:pt>
                <c:pt idx="2788">
                  <c:v>15.7409</c:v>
                </c:pt>
                <c:pt idx="2789">
                  <c:v>15.7644</c:v>
                </c:pt>
                <c:pt idx="2790">
                  <c:v>15.917299999999999</c:v>
                </c:pt>
                <c:pt idx="2791">
                  <c:v>15.999599999999999</c:v>
                </c:pt>
                <c:pt idx="2792">
                  <c:v>15.989599999999999</c:v>
                </c:pt>
                <c:pt idx="2793">
                  <c:v>15.9878</c:v>
                </c:pt>
                <c:pt idx="2794">
                  <c:v>15.949400000000001</c:v>
                </c:pt>
                <c:pt idx="2795">
                  <c:v>16.051600000000001</c:v>
                </c:pt>
                <c:pt idx="2796">
                  <c:v>16.052700000000002</c:v>
                </c:pt>
                <c:pt idx="2797">
                  <c:v>16.060500000000001</c:v>
                </c:pt>
                <c:pt idx="2798">
                  <c:v>16.083500000000001</c:v>
                </c:pt>
                <c:pt idx="2799">
                  <c:v>16.0823</c:v>
                </c:pt>
                <c:pt idx="2800">
                  <c:v>16.077100000000002</c:v>
                </c:pt>
                <c:pt idx="2801">
                  <c:v>16.067599999999999</c:v>
                </c:pt>
                <c:pt idx="2802">
                  <c:v>16.127400000000002</c:v>
                </c:pt>
                <c:pt idx="2803">
                  <c:v>16.160299999999999</c:v>
                </c:pt>
                <c:pt idx="2804">
                  <c:v>16.2437</c:v>
                </c:pt>
                <c:pt idx="2805">
                  <c:v>16.3125</c:v>
                </c:pt>
                <c:pt idx="2806">
                  <c:v>16.3279</c:v>
                </c:pt>
                <c:pt idx="2807">
                  <c:v>16.331800000000001</c:v>
                </c:pt>
                <c:pt idx="2808">
                  <c:v>16.3703</c:v>
                </c:pt>
                <c:pt idx="2809">
                  <c:v>16.3184</c:v>
                </c:pt>
                <c:pt idx="2810">
                  <c:v>16.365400000000001</c:v>
                </c:pt>
                <c:pt idx="2811">
                  <c:v>16.404</c:v>
                </c:pt>
                <c:pt idx="2812">
                  <c:v>16.417100000000001</c:v>
                </c:pt>
                <c:pt idx="2813">
                  <c:v>16.427399999999999</c:v>
                </c:pt>
                <c:pt idx="2814">
                  <c:v>16.4663</c:v>
                </c:pt>
                <c:pt idx="2815">
                  <c:v>16.466899999999999</c:v>
                </c:pt>
                <c:pt idx="2816">
                  <c:v>16.421700000000001</c:v>
                </c:pt>
                <c:pt idx="2817">
                  <c:v>16.481200000000001</c:v>
                </c:pt>
                <c:pt idx="2818">
                  <c:v>16.395399999999999</c:v>
                </c:pt>
                <c:pt idx="2819">
                  <c:v>16.4297</c:v>
                </c:pt>
                <c:pt idx="2820">
                  <c:v>16.456600000000002</c:v>
                </c:pt>
                <c:pt idx="2821">
                  <c:v>16.412600000000001</c:v>
                </c:pt>
                <c:pt idx="2822">
                  <c:v>16.309100000000001</c:v>
                </c:pt>
                <c:pt idx="2823">
                  <c:v>16.447199999999999</c:v>
                </c:pt>
                <c:pt idx="2824">
                  <c:v>16.517700000000001</c:v>
                </c:pt>
                <c:pt idx="2825">
                  <c:v>16.5321</c:v>
                </c:pt>
                <c:pt idx="2826">
                  <c:v>16.587900000000001</c:v>
                </c:pt>
                <c:pt idx="2827">
                  <c:v>16.638200000000001</c:v>
                </c:pt>
                <c:pt idx="2828">
                  <c:v>16.570599999999999</c:v>
                </c:pt>
                <c:pt idx="2829">
                  <c:v>16.608799999999999</c:v>
                </c:pt>
                <c:pt idx="2830">
                  <c:v>16.623000000000001</c:v>
                </c:pt>
                <c:pt idx="2831">
                  <c:v>16.551600000000001</c:v>
                </c:pt>
                <c:pt idx="2832">
                  <c:v>16.550999999999998</c:v>
                </c:pt>
                <c:pt idx="2833">
                  <c:v>16.378</c:v>
                </c:pt>
                <c:pt idx="2834">
                  <c:v>16.319600000000001</c:v>
                </c:pt>
                <c:pt idx="2835">
                  <c:v>16.212499999999999</c:v>
                </c:pt>
                <c:pt idx="2836">
                  <c:v>16.138300000000001</c:v>
                </c:pt>
                <c:pt idx="2837">
                  <c:v>16.074400000000001</c:v>
                </c:pt>
                <c:pt idx="2838">
                  <c:v>16.204499999999999</c:v>
                </c:pt>
                <c:pt idx="2839">
                  <c:v>16.1586</c:v>
                </c:pt>
                <c:pt idx="2840">
                  <c:v>16.268899999999999</c:v>
                </c:pt>
                <c:pt idx="2841">
                  <c:v>16.338100000000001</c:v>
                </c:pt>
                <c:pt idx="2842">
                  <c:v>16.3019</c:v>
                </c:pt>
                <c:pt idx="2843">
                  <c:v>16.316199999999998</c:v>
                </c:pt>
                <c:pt idx="2844">
                  <c:v>16.3065</c:v>
                </c:pt>
                <c:pt idx="2845">
                  <c:v>16.221499999999999</c:v>
                </c:pt>
                <c:pt idx="2846">
                  <c:v>16.326000000000001</c:v>
                </c:pt>
                <c:pt idx="2847">
                  <c:v>16.360299999999999</c:v>
                </c:pt>
                <c:pt idx="2848">
                  <c:v>16.3187</c:v>
                </c:pt>
                <c:pt idx="2849">
                  <c:v>16.198799999999999</c:v>
                </c:pt>
                <c:pt idx="2850">
                  <c:v>16.320399999999999</c:v>
                </c:pt>
                <c:pt idx="2851">
                  <c:v>16.2849</c:v>
                </c:pt>
                <c:pt idx="2852">
                  <c:v>16.2683</c:v>
                </c:pt>
                <c:pt idx="2853">
                  <c:v>16.276399999999999</c:v>
                </c:pt>
                <c:pt idx="2854">
                  <c:v>16.386700000000001</c:v>
                </c:pt>
                <c:pt idx="2855">
                  <c:v>16.373000000000001</c:v>
                </c:pt>
                <c:pt idx="2856">
                  <c:v>16.461400000000001</c:v>
                </c:pt>
                <c:pt idx="2857">
                  <c:v>16.4253</c:v>
                </c:pt>
                <c:pt idx="2858">
                  <c:v>16.351400000000002</c:v>
                </c:pt>
                <c:pt idx="2859">
                  <c:v>16.317900000000002</c:v>
                </c:pt>
                <c:pt idx="2860">
                  <c:v>16.548500000000001</c:v>
                </c:pt>
                <c:pt idx="2861">
                  <c:v>16.494800000000001</c:v>
                </c:pt>
                <c:pt idx="2862">
                  <c:v>16.390799999999999</c:v>
                </c:pt>
                <c:pt idx="2863">
                  <c:v>16.4895</c:v>
                </c:pt>
                <c:pt idx="2864">
                  <c:v>16.472100000000001</c:v>
                </c:pt>
                <c:pt idx="2865">
                  <c:v>16.476299999999998</c:v>
                </c:pt>
                <c:pt idx="2866">
                  <c:v>16.475899999999999</c:v>
                </c:pt>
                <c:pt idx="2867">
                  <c:v>16.489000000000001</c:v>
                </c:pt>
                <c:pt idx="2868">
                  <c:v>16.4572</c:v>
                </c:pt>
                <c:pt idx="2869">
                  <c:v>16.459299999999999</c:v>
                </c:pt>
                <c:pt idx="2870">
                  <c:v>16.457799999999999</c:v>
                </c:pt>
                <c:pt idx="2871">
                  <c:v>16.420999999999999</c:v>
                </c:pt>
                <c:pt idx="2872">
                  <c:v>16.511399999999998</c:v>
                </c:pt>
                <c:pt idx="2873">
                  <c:v>16.658000000000001</c:v>
                </c:pt>
                <c:pt idx="2874">
                  <c:v>16.816500000000001</c:v>
                </c:pt>
                <c:pt idx="2875">
                  <c:v>16.885400000000001</c:v>
                </c:pt>
                <c:pt idx="2876">
                  <c:v>16.963699999999999</c:v>
                </c:pt>
                <c:pt idx="2877">
                  <c:v>16.8873</c:v>
                </c:pt>
                <c:pt idx="2878">
                  <c:v>16.847799999999999</c:v>
                </c:pt>
                <c:pt idx="2879">
                  <c:v>16.903400000000001</c:v>
                </c:pt>
                <c:pt idx="2880">
                  <c:v>16.875499999999999</c:v>
                </c:pt>
                <c:pt idx="2881">
                  <c:v>16.903400000000001</c:v>
                </c:pt>
                <c:pt idx="2882">
                  <c:v>16.8796</c:v>
                </c:pt>
                <c:pt idx="2883">
                  <c:v>16.899100000000001</c:v>
                </c:pt>
                <c:pt idx="2884">
                  <c:v>16.988900000000001</c:v>
                </c:pt>
                <c:pt idx="2885">
                  <c:v>17.040099999999999</c:v>
                </c:pt>
                <c:pt idx="2886">
                  <c:v>17.025700000000001</c:v>
                </c:pt>
                <c:pt idx="2887">
                  <c:v>17.010100000000001</c:v>
                </c:pt>
                <c:pt idx="2888">
                  <c:v>16.9175</c:v>
                </c:pt>
                <c:pt idx="2889">
                  <c:v>17.013400000000001</c:v>
                </c:pt>
                <c:pt idx="2890">
                  <c:v>16.985099999999999</c:v>
                </c:pt>
                <c:pt idx="2891">
                  <c:v>16.843399999999999</c:v>
                </c:pt>
                <c:pt idx="2892">
                  <c:v>16.8126</c:v>
                </c:pt>
                <c:pt idx="2893">
                  <c:v>16.8369</c:v>
                </c:pt>
                <c:pt idx="2894">
                  <c:v>16.640999999999998</c:v>
                </c:pt>
                <c:pt idx="2895">
                  <c:v>16.382100000000001</c:v>
                </c:pt>
                <c:pt idx="2896">
                  <c:v>15.881</c:v>
                </c:pt>
                <c:pt idx="2897">
                  <c:v>16.303899999999999</c:v>
                </c:pt>
                <c:pt idx="2898">
                  <c:v>16.076699999999999</c:v>
                </c:pt>
                <c:pt idx="2899">
                  <c:v>15.787100000000001</c:v>
                </c:pt>
                <c:pt idx="2900">
                  <c:v>15.9857</c:v>
                </c:pt>
                <c:pt idx="2901">
                  <c:v>15.900700000000001</c:v>
                </c:pt>
                <c:pt idx="2902">
                  <c:v>16.0913</c:v>
                </c:pt>
                <c:pt idx="2903">
                  <c:v>16.006599999999999</c:v>
                </c:pt>
                <c:pt idx="2904">
                  <c:v>16.120999999999999</c:v>
                </c:pt>
                <c:pt idx="2905">
                  <c:v>16.020399999999999</c:v>
                </c:pt>
                <c:pt idx="2906">
                  <c:v>16.032900000000001</c:v>
                </c:pt>
                <c:pt idx="2907">
                  <c:v>16.1904</c:v>
                </c:pt>
                <c:pt idx="2908">
                  <c:v>16.186599999999999</c:v>
                </c:pt>
                <c:pt idx="2909">
                  <c:v>16.181899999999999</c:v>
                </c:pt>
                <c:pt idx="2910">
                  <c:v>16.270299999999999</c:v>
                </c:pt>
                <c:pt idx="2911">
                  <c:v>14.7895</c:v>
                </c:pt>
                <c:pt idx="2912">
                  <c:v>14.6815</c:v>
                </c:pt>
                <c:pt idx="2913">
                  <c:v>14.520300000000001</c:v>
                </c:pt>
                <c:pt idx="2914">
                  <c:v>14.244400000000001</c:v>
                </c:pt>
                <c:pt idx="2915">
                  <c:v>14.407500000000001</c:v>
                </c:pt>
                <c:pt idx="2916">
                  <c:v>14.436299999999999</c:v>
                </c:pt>
                <c:pt idx="2917">
                  <c:v>14.491</c:v>
                </c:pt>
                <c:pt idx="2918">
                  <c:v>14.638400000000001</c:v>
                </c:pt>
                <c:pt idx="2919">
                  <c:v>14.700799999999999</c:v>
                </c:pt>
                <c:pt idx="2920">
                  <c:v>14.731400000000001</c:v>
                </c:pt>
                <c:pt idx="2921">
                  <c:v>14.5975</c:v>
                </c:pt>
                <c:pt idx="2922">
                  <c:v>14.5694</c:v>
                </c:pt>
                <c:pt idx="2923">
                  <c:v>14.6485</c:v>
                </c:pt>
                <c:pt idx="2924">
                  <c:v>14.668699999999999</c:v>
                </c:pt>
                <c:pt idx="2925">
                  <c:v>14.568899999999999</c:v>
                </c:pt>
                <c:pt idx="2926">
                  <c:v>14.6233</c:v>
                </c:pt>
                <c:pt idx="2927">
                  <c:v>14.5943</c:v>
                </c:pt>
                <c:pt idx="2928">
                  <c:v>14.367900000000001</c:v>
                </c:pt>
                <c:pt idx="2929">
                  <c:v>14.2475</c:v>
                </c:pt>
                <c:pt idx="2930">
                  <c:v>14.165900000000001</c:v>
                </c:pt>
                <c:pt idx="2931">
                  <c:v>14.3362</c:v>
                </c:pt>
                <c:pt idx="2932">
                  <c:v>14.3916</c:v>
                </c:pt>
                <c:pt idx="2933">
                  <c:v>14.4513</c:v>
                </c:pt>
                <c:pt idx="2934">
                  <c:v>14.4514</c:v>
                </c:pt>
                <c:pt idx="2935">
                  <c:v>14.4457</c:v>
                </c:pt>
                <c:pt idx="2936">
                  <c:v>14.370900000000001</c:v>
                </c:pt>
                <c:pt idx="2937">
                  <c:v>14.314</c:v>
                </c:pt>
                <c:pt idx="2938">
                  <c:v>14.6465</c:v>
                </c:pt>
                <c:pt idx="2939">
                  <c:v>14.6015</c:v>
                </c:pt>
                <c:pt idx="2940">
                  <c:v>14.6286</c:v>
                </c:pt>
                <c:pt idx="2941">
                  <c:v>14.749499999999999</c:v>
                </c:pt>
                <c:pt idx="2942">
                  <c:v>14.6662</c:v>
                </c:pt>
                <c:pt idx="2943">
                  <c:v>14.757199999999999</c:v>
                </c:pt>
                <c:pt idx="2944">
                  <c:v>14.776899999999999</c:v>
                </c:pt>
                <c:pt idx="2945">
                  <c:v>14.724</c:v>
                </c:pt>
                <c:pt idx="2946">
                  <c:v>14.843400000000001</c:v>
                </c:pt>
                <c:pt idx="2947">
                  <c:v>14.8973</c:v>
                </c:pt>
                <c:pt idx="2948">
                  <c:v>14.9056</c:v>
                </c:pt>
                <c:pt idx="2949">
                  <c:v>14.8908</c:v>
                </c:pt>
                <c:pt idx="2950">
                  <c:v>14.930999999999999</c:v>
                </c:pt>
                <c:pt idx="2951">
                  <c:v>14.9445</c:v>
                </c:pt>
                <c:pt idx="2952">
                  <c:v>14.8184</c:v>
                </c:pt>
                <c:pt idx="2953">
                  <c:v>14.9412</c:v>
                </c:pt>
                <c:pt idx="2954">
                  <c:v>14.981199999999999</c:v>
                </c:pt>
                <c:pt idx="2955">
                  <c:v>15.0016</c:v>
                </c:pt>
                <c:pt idx="2956">
                  <c:v>14.975199999999999</c:v>
                </c:pt>
                <c:pt idx="2957">
                  <c:v>15.045</c:v>
                </c:pt>
                <c:pt idx="2958">
                  <c:v>14.929</c:v>
                </c:pt>
                <c:pt idx="2959">
                  <c:v>15.028499999999999</c:v>
                </c:pt>
                <c:pt idx="2960">
                  <c:v>15.1219</c:v>
                </c:pt>
                <c:pt idx="2961">
                  <c:v>15.131600000000001</c:v>
                </c:pt>
                <c:pt idx="2962">
                  <c:v>15.183400000000001</c:v>
                </c:pt>
                <c:pt idx="2963">
                  <c:v>15.195399999999999</c:v>
                </c:pt>
                <c:pt idx="2964">
                  <c:v>15.223800000000001</c:v>
                </c:pt>
                <c:pt idx="2965">
                  <c:v>15.2067</c:v>
                </c:pt>
                <c:pt idx="2966">
                  <c:v>15.1953</c:v>
                </c:pt>
                <c:pt idx="2967">
                  <c:v>15.194000000000001</c:v>
                </c:pt>
                <c:pt idx="2968">
                  <c:v>15.2883</c:v>
                </c:pt>
                <c:pt idx="2969">
                  <c:v>15.234</c:v>
                </c:pt>
                <c:pt idx="2970">
                  <c:v>15.2719</c:v>
                </c:pt>
                <c:pt idx="2971">
                  <c:v>15.2986</c:v>
                </c:pt>
                <c:pt idx="2972">
                  <c:v>15.1226</c:v>
                </c:pt>
                <c:pt idx="2973">
                  <c:v>15.0497</c:v>
                </c:pt>
                <c:pt idx="2974">
                  <c:v>15.0593</c:v>
                </c:pt>
                <c:pt idx="2975">
                  <c:v>14.9948</c:v>
                </c:pt>
                <c:pt idx="2976">
                  <c:v>14.7608</c:v>
                </c:pt>
                <c:pt idx="2977">
                  <c:v>14.8109</c:v>
                </c:pt>
                <c:pt idx="2978">
                  <c:v>14.725</c:v>
                </c:pt>
                <c:pt idx="2979">
                  <c:v>14.860099999999999</c:v>
                </c:pt>
                <c:pt idx="2980">
                  <c:v>14.8872</c:v>
                </c:pt>
                <c:pt idx="2981">
                  <c:v>14.853199999999999</c:v>
                </c:pt>
                <c:pt idx="2982">
                  <c:v>14.866899999999999</c:v>
                </c:pt>
                <c:pt idx="2983">
                  <c:v>14.8413</c:v>
                </c:pt>
                <c:pt idx="2984">
                  <c:v>14.8018</c:v>
                </c:pt>
                <c:pt idx="2985">
                  <c:v>14.8842</c:v>
                </c:pt>
                <c:pt idx="2986">
                  <c:v>14.8675</c:v>
                </c:pt>
                <c:pt idx="2987">
                  <c:v>14.8957</c:v>
                </c:pt>
                <c:pt idx="2988">
                  <c:v>15.063000000000001</c:v>
                </c:pt>
                <c:pt idx="2989">
                  <c:v>14.906000000000001</c:v>
                </c:pt>
                <c:pt idx="2990">
                  <c:v>14.786099999999999</c:v>
                </c:pt>
                <c:pt idx="2991">
                  <c:v>14.6814</c:v>
                </c:pt>
                <c:pt idx="2992">
                  <c:v>14.718999999999999</c:v>
                </c:pt>
                <c:pt idx="2993">
                  <c:v>14.591200000000001</c:v>
                </c:pt>
                <c:pt idx="2994">
                  <c:v>14.76</c:v>
                </c:pt>
                <c:pt idx="2995">
                  <c:v>14.477499999999999</c:v>
                </c:pt>
                <c:pt idx="2996">
                  <c:v>14.4977</c:v>
                </c:pt>
                <c:pt idx="2997">
                  <c:v>14.588200000000001</c:v>
                </c:pt>
                <c:pt idx="2998">
                  <c:v>14.4634</c:v>
                </c:pt>
                <c:pt idx="2999">
                  <c:v>14.5939</c:v>
                </c:pt>
                <c:pt idx="3000">
                  <c:v>14.445399999999999</c:v>
                </c:pt>
                <c:pt idx="3001">
                  <c:v>14.565200000000001</c:v>
                </c:pt>
                <c:pt idx="3002">
                  <c:v>14.5723</c:v>
                </c:pt>
                <c:pt idx="3003">
                  <c:v>14.6541</c:v>
                </c:pt>
                <c:pt idx="3004">
                  <c:v>14.6996</c:v>
                </c:pt>
                <c:pt idx="3005">
                  <c:v>14.8047</c:v>
                </c:pt>
                <c:pt idx="3006">
                  <c:v>14.8628</c:v>
                </c:pt>
                <c:pt idx="3007">
                  <c:v>14.682</c:v>
                </c:pt>
                <c:pt idx="3008">
                  <c:v>14.7986</c:v>
                </c:pt>
                <c:pt idx="3009">
                  <c:v>14.8247</c:v>
                </c:pt>
                <c:pt idx="3010">
                  <c:v>14.795999999999999</c:v>
                </c:pt>
                <c:pt idx="3011">
                  <c:v>14.838800000000001</c:v>
                </c:pt>
                <c:pt idx="3012">
                  <c:v>14.932399999999999</c:v>
                </c:pt>
                <c:pt idx="3013">
                  <c:v>14.882999999999999</c:v>
                </c:pt>
                <c:pt idx="3014">
                  <c:v>14.890700000000001</c:v>
                </c:pt>
                <c:pt idx="3015">
                  <c:v>14.8847</c:v>
                </c:pt>
                <c:pt idx="3016">
                  <c:v>15.010300000000001</c:v>
                </c:pt>
                <c:pt idx="3017">
                  <c:v>14.9621</c:v>
                </c:pt>
                <c:pt idx="3018">
                  <c:v>15.1</c:v>
                </c:pt>
                <c:pt idx="3019">
                  <c:v>15.162000000000001</c:v>
                </c:pt>
                <c:pt idx="3020">
                  <c:v>15.130599999999999</c:v>
                </c:pt>
                <c:pt idx="3021">
                  <c:v>15.154999999999999</c:v>
                </c:pt>
                <c:pt idx="3022">
                  <c:v>15.0702</c:v>
                </c:pt>
                <c:pt idx="3023">
                  <c:v>14.9412</c:v>
                </c:pt>
                <c:pt idx="3024">
                  <c:v>15.029500000000001</c:v>
                </c:pt>
                <c:pt idx="3025">
                  <c:v>14.972</c:v>
                </c:pt>
                <c:pt idx="3026">
                  <c:v>15.0419</c:v>
                </c:pt>
                <c:pt idx="3027">
                  <c:v>15.024699999999999</c:v>
                </c:pt>
                <c:pt idx="3028">
                  <c:v>15.05</c:v>
                </c:pt>
                <c:pt idx="3029">
                  <c:v>14.8581</c:v>
                </c:pt>
                <c:pt idx="3030">
                  <c:v>14.8218</c:v>
                </c:pt>
                <c:pt idx="3031">
                  <c:v>14.816599999999999</c:v>
                </c:pt>
                <c:pt idx="3032">
                  <c:v>14.612399999999999</c:v>
                </c:pt>
                <c:pt idx="3033">
                  <c:v>14.681699999999999</c:v>
                </c:pt>
                <c:pt idx="3034">
                  <c:v>14.677</c:v>
                </c:pt>
                <c:pt idx="3035">
                  <c:v>14.772399999999999</c:v>
                </c:pt>
                <c:pt idx="3036">
                  <c:v>14.806699999999999</c:v>
                </c:pt>
                <c:pt idx="3037">
                  <c:v>14.8146</c:v>
                </c:pt>
                <c:pt idx="3038">
                  <c:v>14.7963</c:v>
                </c:pt>
                <c:pt idx="3039">
                  <c:v>14.8162</c:v>
                </c:pt>
                <c:pt idx="3040">
                  <c:v>14.930099999999999</c:v>
                </c:pt>
                <c:pt idx="3041">
                  <c:v>14.9427</c:v>
                </c:pt>
                <c:pt idx="3042">
                  <c:v>14.987399999999999</c:v>
                </c:pt>
                <c:pt idx="3043">
                  <c:v>14.929500000000001</c:v>
                </c:pt>
                <c:pt idx="3044">
                  <c:v>14.784700000000001</c:v>
                </c:pt>
                <c:pt idx="3045">
                  <c:v>14.801399999999999</c:v>
                </c:pt>
                <c:pt idx="3046">
                  <c:v>14.686</c:v>
                </c:pt>
                <c:pt idx="3047">
                  <c:v>14.5427</c:v>
                </c:pt>
                <c:pt idx="3048">
                  <c:v>14.4518</c:v>
                </c:pt>
                <c:pt idx="3049">
                  <c:v>14.4498</c:v>
                </c:pt>
                <c:pt idx="3050">
                  <c:v>14.523300000000001</c:v>
                </c:pt>
                <c:pt idx="3051">
                  <c:v>14.4871</c:v>
                </c:pt>
                <c:pt idx="3052">
                  <c:v>14.555899999999999</c:v>
                </c:pt>
                <c:pt idx="3053">
                  <c:v>14.548299999999999</c:v>
                </c:pt>
                <c:pt idx="3054">
                  <c:v>14.589499999999999</c:v>
                </c:pt>
                <c:pt idx="3055">
                  <c:v>14.633800000000001</c:v>
                </c:pt>
                <c:pt idx="3056">
                  <c:v>14.635300000000001</c:v>
                </c:pt>
                <c:pt idx="3057">
                  <c:v>14.6907</c:v>
                </c:pt>
                <c:pt idx="3058">
                  <c:v>14.815200000000001</c:v>
                </c:pt>
                <c:pt idx="3059">
                  <c:v>14.890599999999999</c:v>
                </c:pt>
                <c:pt idx="3060">
                  <c:v>14.854799999999999</c:v>
                </c:pt>
                <c:pt idx="3061">
                  <c:v>14.924200000000001</c:v>
                </c:pt>
                <c:pt idx="3062">
                  <c:v>14.9773</c:v>
                </c:pt>
                <c:pt idx="3063">
                  <c:v>15.020099999999999</c:v>
                </c:pt>
                <c:pt idx="3064">
                  <c:v>14.881</c:v>
                </c:pt>
                <c:pt idx="3065">
                  <c:v>14.8987</c:v>
                </c:pt>
                <c:pt idx="3066">
                  <c:v>14.818199999999999</c:v>
                </c:pt>
                <c:pt idx="3067">
                  <c:v>14.8912</c:v>
                </c:pt>
                <c:pt idx="3068">
                  <c:v>14.7265</c:v>
                </c:pt>
                <c:pt idx="3069">
                  <c:v>14.598100000000001</c:v>
                </c:pt>
                <c:pt idx="3070">
                  <c:v>14.413500000000001</c:v>
                </c:pt>
                <c:pt idx="3071">
                  <c:v>14.4306</c:v>
                </c:pt>
                <c:pt idx="3072">
                  <c:v>14.2104</c:v>
                </c:pt>
                <c:pt idx="3073">
                  <c:v>13.9384</c:v>
                </c:pt>
                <c:pt idx="3074">
                  <c:v>13.9139</c:v>
                </c:pt>
                <c:pt idx="3075">
                  <c:v>13.9201</c:v>
                </c:pt>
                <c:pt idx="3076">
                  <c:v>14.1416</c:v>
                </c:pt>
                <c:pt idx="3077">
                  <c:v>14.0604</c:v>
                </c:pt>
                <c:pt idx="3078">
                  <c:v>13.9854</c:v>
                </c:pt>
                <c:pt idx="3079">
                  <c:v>13.9838</c:v>
                </c:pt>
                <c:pt idx="3080">
                  <c:v>13.9315</c:v>
                </c:pt>
                <c:pt idx="3081">
                  <c:v>13.7226</c:v>
                </c:pt>
                <c:pt idx="3082">
                  <c:v>13.673999999999999</c:v>
                </c:pt>
                <c:pt idx="3083">
                  <c:v>13.7559</c:v>
                </c:pt>
                <c:pt idx="3084">
                  <c:v>13.6783</c:v>
                </c:pt>
                <c:pt idx="3085">
                  <c:v>13.7598</c:v>
                </c:pt>
                <c:pt idx="3086">
                  <c:v>13.752599999999999</c:v>
                </c:pt>
                <c:pt idx="3087">
                  <c:v>13.9682</c:v>
                </c:pt>
                <c:pt idx="3088">
                  <c:v>14.0496</c:v>
                </c:pt>
                <c:pt idx="3089">
                  <c:v>14.1776</c:v>
                </c:pt>
                <c:pt idx="3090">
                  <c:v>14.145099999999999</c:v>
                </c:pt>
                <c:pt idx="3091">
                  <c:v>14.154400000000001</c:v>
                </c:pt>
                <c:pt idx="3092">
                  <c:v>14.306800000000001</c:v>
                </c:pt>
                <c:pt idx="3093">
                  <c:v>14.318199999999999</c:v>
                </c:pt>
                <c:pt idx="3094">
                  <c:v>14.218500000000001</c:v>
                </c:pt>
                <c:pt idx="3095">
                  <c:v>14.0442</c:v>
                </c:pt>
                <c:pt idx="3096">
                  <c:v>14.149100000000001</c:v>
                </c:pt>
                <c:pt idx="3097">
                  <c:v>14.06</c:v>
                </c:pt>
                <c:pt idx="3098">
                  <c:v>13.9216</c:v>
                </c:pt>
                <c:pt idx="3099">
                  <c:v>13.923999999999999</c:v>
                </c:pt>
                <c:pt idx="3100">
                  <c:v>13.834099999999999</c:v>
                </c:pt>
                <c:pt idx="3101">
                  <c:v>13.663</c:v>
                </c:pt>
                <c:pt idx="3102">
                  <c:v>13.823499999999999</c:v>
                </c:pt>
                <c:pt idx="3103">
                  <c:v>13.7286</c:v>
                </c:pt>
                <c:pt idx="3104">
                  <c:v>13.771000000000001</c:v>
                </c:pt>
                <c:pt idx="3105">
                  <c:v>13.9443</c:v>
                </c:pt>
                <c:pt idx="3106">
                  <c:v>13.898300000000001</c:v>
                </c:pt>
                <c:pt idx="3107">
                  <c:v>13.8932</c:v>
                </c:pt>
                <c:pt idx="3108">
                  <c:v>13.923500000000001</c:v>
                </c:pt>
                <c:pt idx="3109">
                  <c:v>13.874700000000001</c:v>
                </c:pt>
                <c:pt idx="3110">
                  <c:v>14.0212</c:v>
                </c:pt>
                <c:pt idx="3111">
                  <c:v>13.917199999999999</c:v>
                </c:pt>
                <c:pt idx="3112">
                  <c:v>13.7531</c:v>
                </c:pt>
                <c:pt idx="3113">
                  <c:v>13.344099999999999</c:v>
                </c:pt>
                <c:pt idx="3114">
                  <c:v>13.449199999999999</c:v>
                </c:pt>
                <c:pt idx="3115">
                  <c:v>13.195399999999999</c:v>
                </c:pt>
                <c:pt idx="3116">
                  <c:v>13.387</c:v>
                </c:pt>
                <c:pt idx="3117">
                  <c:v>13.629</c:v>
                </c:pt>
                <c:pt idx="3118">
                  <c:v>13.602499999999999</c:v>
                </c:pt>
                <c:pt idx="3119">
                  <c:v>13.506</c:v>
                </c:pt>
                <c:pt idx="3120">
                  <c:v>13.360300000000001</c:v>
                </c:pt>
                <c:pt idx="3121">
                  <c:v>13.253</c:v>
                </c:pt>
                <c:pt idx="3122">
                  <c:v>13.315200000000001</c:v>
                </c:pt>
                <c:pt idx="3123">
                  <c:v>13.136200000000001</c:v>
                </c:pt>
                <c:pt idx="3124">
                  <c:v>13.135400000000001</c:v>
                </c:pt>
                <c:pt idx="3125">
                  <c:v>13.108499999999999</c:v>
                </c:pt>
                <c:pt idx="3126">
                  <c:v>13.107799999999999</c:v>
                </c:pt>
                <c:pt idx="3127">
                  <c:v>13.1022</c:v>
                </c:pt>
                <c:pt idx="3128">
                  <c:v>12.886200000000001</c:v>
                </c:pt>
                <c:pt idx="3129">
                  <c:v>13.148099999999999</c:v>
                </c:pt>
                <c:pt idx="3130">
                  <c:v>13.2034</c:v>
                </c:pt>
                <c:pt idx="3131">
                  <c:v>13.204499999999999</c:v>
                </c:pt>
                <c:pt idx="3132">
                  <c:v>13.186199999999999</c:v>
                </c:pt>
                <c:pt idx="3133">
                  <c:v>13.0566</c:v>
                </c:pt>
                <c:pt idx="3134">
                  <c:v>13.4285</c:v>
                </c:pt>
                <c:pt idx="3135">
                  <c:v>13.4148</c:v>
                </c:pt>
                <c:pt idx="3136">
                  <c:v>13.5471</c:v>
                </c:pt>
                <c:pt idx="3137">
                  <c:v>13.6267</c:v>
                </c:pt>
                <c:pt idx="3138">
                  <c:v>13.67</c:v>
                </c:pt>
                <c:pt idx="3139">
                  <c:v>13.6858</c:v>
                </c:pt>
                <c:pt idx="3140">
                  <c:v>13.6168</c:v>
                </c:pt>
                <c:pt idx="3141">
                  <c:v>13.6868</c:v>
                </c:pt>
                <c:pt idx="3142">
                  <c:v>13.7675</c:v>
                </c:pt>
                <c:pt idx="3143">
                  <c:v>13.7882</c:v>
                </c:pt>
                <c:pt idx="3144">
                  <c:v>14.0395</c:v>
                </c:pt>
                <c:pt idx="3145">
                  <c:v>14.0131</c:v>
                </c:pt>
                <c:pt idx="3146">
                  <c:v>13.971</c:v>
                </c:pt>
                <c:pt idx="3147">
                  <c:v>13.9681</c:v>
                </c:pt>
                <c:pt idx="3148">
                  <c:v>14.0625</c:v>
                </c:pt>
                <c:pt idx="3149">
                  <c:v>14.1738</c:v>
                </c:pt>
                <c:pt idx="3150">
                  <c:v>14.042299999999999</c:v>
                </c:pt>
                <c:pt idx="3151">
                  <c:v>14.1692</c:v>
                </c:pt>
                <c:pt idx="3152">
                  <c:v>14.3134</c:v>
                </c:pt>
                <c:pt idx="3153">
                  <c:v>14.373900000000001</c:v>
                </c:pt>
                <c:pt idx="3154">
                  <c:v>14.4076</c:v>
                </c:pt>
                <c:pt idx="3155">
                  <c:v>14.4169</c:v>
                </c:pt>
                <c:pt idx="3156">
                  <c:v>14.603899999999999</c:v>
                </c:pt>
                <c:pt idx="3157">
                  <c:v>14.6516</c:v>
                </c:pt>
                <c:pt idx="3158">
                  <c:v>14.467700000000001</c:v>
                </c:pt>
                <c:pt idx="3159">
                  <c:v>14.3977</c:v>
                </c:pt>
                <c:pt idx="3160">
                  <c:v>14.516500000000001</c:v>
                </c:pt>
                <c:pt idx="3161">
                  <c:v>14.590199999999999</c:v>
                </c:pt>
                <c:pt idx="3162">
                  <c:v>14.673999999999999</c:v>
                </c:pt>
                <c:pt idx="3163">
                  <c:v>14.763500000000001</c:v>
                </c:pt>
                <c:pt idx="3164">
                  <c:v>14.9673</c:v>
                </c:pt>
                <c:pt idx="3165">
                  <c:v>15.0359</c:v>
                </c:pt>
                <c:pt idx="3166">
                  <c:v>15.0101</c:v>
                </c:pt>
                <c:pt idx="3167">
                  <c:v>15.1614</c:v>
                </c:pt>
                <c:pt idx="3168">
                  <c:v>15.177899999999999</c:v>
                </c:pt>
                <c:pt idx="3169">
                  <c:v>15.1821</c:v>
                </c:pt>
                <c:pt idx="3170">
                  <c:v>15.218299999999999</c:v>
                </c:pt>
                <c:pt idx="3171">
                  <c:v>15.2965</c:v>
                </c:pt>
                <c:pt idx="3172">
                  <c:v>13.825799999999999</c:v>
                </c:pt>
                <c:pt idx="3173">
                  <c:v>13.86</c:v>
                </c:pt>
                <c:pt idx="3174">
                  <c:v>13.9176</c:v>
                </c:pt>
                <c:pt idx="3175">
                  <c:v>13.940300000000001</c:v>
                </c:pt>
                <c:pt idx="3176">
                  <c:v>13.957800000000001</c:v>
                </c:pt>
                <c:pt idx="3177">
                  <c:v>13.9481</c:v>
                </c:pt>
                <c:pt idx="3178">
                  <c:v>13.8691</c:v>
                </c:pt>
                <c:pt idx="3179">
                  <c:v>13.7636</c:v>
                </c:pt>
                <c:pt idx="3180">
                  <c:v>13.879200000000001</c:v>
                </c:pt>
                <c:pt idx="3181">
                  <c:v>13.8848</c:v>
                </c:pt>
                <c:pt idx="3182">
                  <c:v>13.981299999999999</c:v>
                </c:pt>
                <c:pt idx="3183">
                  <c:v>14.0725</c:v>
                </c:pt>
                <c:pt idx="3184">
                  <c:v>14.175000000000001</c:v>
                </c:pt>
                <c:pt idx="3185">
                  <c:v>14.1995</c:v>
                </c:pt>
                <c:pt idx="3186">
                  <c:v>14.2943</c:v>
                </c:pt>
                <c:pt idx="3187">
                  <c:v>14.168200000000001</c:v>
                </c:pt>
                <c:pt idx="3188">
                  <c:v>14.1645</c:v>
                </c:pt>
                <c:pt idx="3189">
                  <c:v>13.985900000000001</c:v>
                </c:pt>
                <c:pt idx="3190">
                  <c:v>13.9314</c:v>
                </c:pt>
                <c:pt idx="3191">
                  <c:v>14.0276</c:v>
                </c:pt>
                <c:pt idx="3192">
                  <c:v>14.014699999999999</c:v>
                </c:pt>
                <c:pt idx="3193">
                  <c:v>13.9879</c:v>
                </c:pt>
                <c:pt idx="3194">
                  <c:v>14.0664</c:v>
                </c:pt>
                <c:pt idx="3195">
                  <c:v>14.2204</c:v>
                </c:pt>
                <c:pt idx="3196">
                  <c:v>14.273999999999999</c:v>
                </c:pt>
                <c:pt idx="3197">
                  <c:v>14.431800000000001</c:v>
                </c:pt>
                <c:pt idx="3198">
                  <c:v>14.4017</c:v>
                </c:pt>
                <c:pt idx="3199">
                  <c:v>14.407400000000001</c:v>
                </c:pt>
                <c:pt idx="3200">
                  <c:v>14.402900000000001</c:v>
                </c:pt>
                <c:pt idx="3201">
                  <c:v>14.3345</c:v>
                </c:pt>
                <c:pt idx="3202">
                  <c:v>14.363799999999999</c:v>
                </c:pt>
                <c:pt idx="3203">
                  <c:v>14.375</c:v>
                </c:pt>
                <c:pt idx="3204">
                  <c:v>14.4129</c:v>
                </c:pt>
                <c:pt idx="3205">
                  <c:v>14.4465</c:v>
                </c:pt>
                <c:pt idx="3206">
                  <c:v>14.4908</c:v>
                </c:pt>
                <c:pt idx="3207">
                  <c:v>14.5237</c:v>
                </c:pt>
                <c:pt idx="3208">
                  <c:v>14.5389</c:v>
                </c:pt>
                <c:pt idx="3209">
                  <c:v>14.5398</c:v>
                </c:pt>
                <c:pt idx="3210">
                  <c:v>14.533899999999999</c:v>
                </c:pt>
                <c:pt idx="3211">
                  <c:v>14.557600000000001</c:v>
                </c:pt>
                <c:pt idx="3212">
                  <c:v>14.5365</c:v>
                </c:pt>
                <c:pt idx="3213">
                  <c:v>14.505100000000001</c:v>
                </c:pt>
                <c:pt idx="3214">
                  <c:v>14.5464</c:v>
                </c:pt>
                <c:pt idx="3215">
                  <c:v>14.570600000000001</c:v>
                </c:pt>
                <c:pt idx="3216">
                  <c:v>14.573399999999999</c:v>
                </c:pt>
                <c:pt idx="3217">
                  <c:v>14.5703</c:v>
                </c:pt>
                <c:pt idx="3218">
                  <c:v>14.4762</c:v>
                </c:pt>
                <c:pt idx="3219">
                  <c:v>14.5175</c:v>
                </c:pt>
                <c:pt idx="3220">
                  <c:v>14.396699999999999</c:v>
                </c:pt>
                <c:pt idx="3221">
                  <c:v>14.199400000000001</c:v>
                </c:pt>
                <c:pt idx="3222">
                  <c:v>14.2217</c:v>
                </c:pt>
                <c:pt idx="3223">
                  <c:v>13.988099999999999</c:v>
                </c:pt>
                <c:pt idx="3224">
                  <c:v>14.0381</c:v>
                </c:pt>
                <c:pt idx="3225">
                  <c:v>13.877599999999999</c:v>
                </c:pt>
                <c:pt idx="3226">
                  <c:v>14.0268</c:v>
                </c:pt>
                <c:pt idx="3227">
                  <c:v>14.095599999999999</c:v>
                </c:pt>
                <c:pt idx="3228">
                  <c:v>14.276300000000001</c:v>
                </c:pt>
                <c:pt idx="3229">
                  <c:v>14.2348</c:v>
                </c:pt>
                <c:pt idx="3230">
                  <c:v>14.0891</c:v>
                </c:pt>
                <c:pt idx="3231">
                  <c:v>14.164899999999999</c:v>
                </c:pt>
                <c:pt idx="3232">
                  <c:v>14.151899999999999</c:v>
                </c:pt>
                <c:pt idx="3233">
                  <c:v>13.958399999999999</c:v>
                </c:pt>
                <c:pt idx="3234">
                  <c:v>14.040699999999999</c:v>
                </c:pt>
                <c:pt idx="3235">
                  <c:v>14.0731</c:v>
                </c:pt>
                <c:pt idx="3236">
                  <c:v>14.037699999999999</c:v>
                </c:pt>
                <c:pt idx="3237">
                  <c:v>13.831099999999999</c:v>
                </c:pt>
                <c:pt idx="3238">
                  <c:v>13.8903</c:v>
                </c:pt>
                <c:pt idx="3239">
                  <c:v>13.7827</c:v>
                </c:pt>
                <c:pt idx="3240">
                  <c:v>13.852600000000001</c:v>
                </c:pt>
                <c:pt idx="3241">
                  <c:v>13.9481</c:v>
                </c:pt>
                <c:pt idx="3242">
                  <c:v>14.003399999999999</c:v>
                </c:pt>
                <c:pt idx="3243">
                  <c:v>14.010400000000001</c:v>
                </c:pt>
                <c:pt idx="3244">
                  <c:v>14.16</c:v>
                </c:pt>
                <c:pt idx="3245">
                  <c:v>14.205299999999999</c:v>
                </c:pt>
                <c:pt idx="3246">
                  <c:v>14.3118</c:v>
                </c:pt>
                <c:pt idx="3247">
                  <c:v>14.267300000000001</c:v>
                </c:pt>
                <c:pt idx="3248">
                  <c:v>14.2849</c:v>
                </c:pt>
                <c:pt idx="3249">
                  <c:v>14.227499999999999</c:v>
                </c:pt>
                <c:pt idx="3250">
                  <c:v>14.2281</c:v>
                </c:pt>
                <c:pt idx="3251">
                  <c:v>14.466200000000001</c:v>
                </c:pt>
                <c:pt idx="3252">
                  <c:v>14.4679</c:v>
                </c:pt>
                <c:pt idx="3253">
                  <c:v>14.5245</c:v>
                </c:pt>
                <c:pt idx="3254">
                  <c:v>14.4876</c:v>
                </c:pt>
                <c:pt idx="3255">
                  <c:v>14.5031</c:v>
                </c:pt>
                <c:pt idx="3256">
                  <c:v>14.486700000000001</c:v>
                </c:pt>
                <c:pt idx="3257">
                  <c:v>14.449299999999999</c:v>
                </c:pt>
                <c:pt idx="3258">
                  <c:v>14.4594</c:v>
                </c:pt>
                <c:pt idx="3259">
                  <c:v>14.570399999999999</c:v>
                </c:pt>
                <c:pt idx="3260">
                  <c:v>14.6858</c:v>
                </c:pt>
                <c:pt idx="3261">
                  <c:v>14.7408</c:v>
                </c:pt>
                <c:pt idx="3262">
                  <c:v>14.875999999999999</c:v>
                </c:pt>
                <c:pt idx="3263">
                  <c:v>14.894399999999999</c:v>
                </c:pt>
                <c:pt idx="3264">
                  <c:v>14.7883</c:v>
                </c:pt>
                <c:pt idx="3265">
                  <c:v>14.786799999999999</c:v>
                </c:pt>
                <c:pt idx="3266">
                  <c:v>14.7309</c:v>
                </c:pt>
                <c:pt idx="3267">
                  <c:v>14.7225</c:v>
                </c:pt>
                <c:pt idx="3268">
                  <c:v>14.707700000000001</c:v>
                </c:pt>
                <c:pt idx="3269">
                  <c:v>14.7241</c:v>
                </c:pt>
                <c:pt idx="3270">
                  <c:v>14.7698</c:v>
                </c:pt>
                <c:pt idx="3271">
                  <c:v>14.821999999999999</c:v>
                </c:pt>
                <c:pt idx="3272">
                  <c:v>14.7751</c:v>
                </c:pt>
                <c:pt idx="3273">
                  <c:v>14.7384</c:v>
                </c:pt>
                <c:pt idx="3274">
                  <c:v>14.7593</c:v>
                </c:pt>
                <c:pt idx="3275">
                  <c:v>14.7818</c:v>
                </c:pt>
                <c:pt idx="3276">
                  <c:v>14.9251</c:v>
                </c:pt>
                <c:pt idx="3277">
                  <c:v>14.930400000000001</c:v>
                </c:pt>
                <c:pt idx="3278">
                  <c:v>14.8466</c:v>
                </c:pt>
                <c:pt idx="3279">
                  <c:v>14.8972</c:v>
                </c:pt>
                <c:pt idx="3280">
                  <c:v>14.921200000000001</c:v>
                </c:pt>
                <c:pt idx="3281">
                  <c:v>14.7216</c:v>
                </c:pt>
                <c:pt idx="3282">
                  <c:v>14.7498</c:v>
                </c:pt>
                <c:pt idx="3283">
                  <c:v>14.8414</c:v>
                </c:pt>
                <c:pt idx="3284">
                  <c:v>14.490500000000001</c:v>
                </c:pt>
                <c:pt idx="3285">
                  <c:v>14.184799999999999</c:v>
                </c:pt>
                <c:pt idx="3286">
                  <c:v>14.1386</c:v>
                </c:pt>
                <c:pt idx="3287">
                  <c:v>14.178699999999999</c:v>
                </c:pt>
                <c:pt idx="3288">
                  <c:v>14.426600000000001</c:v>
                </c:pt>
                <c:pt idx="3289">
                  <c:v>14.316000000000001</c:v>
                </c:pt>
                <c:pt idx="3290">
                  <c:v>14.272600000000001</c:v>
                </c:pt>
                <c:pt idx="3291">
                  <c:v>14.3447</c:v>
                </c:pt>
                <c:pt idx="3292">
                  <c:v>14.0878</c:v>
                </c:pt>
                <c:pt idx="3293">
                  <c:v>14.0436</c:v>
                </c:pt>
                <c:pt idx="3294">
                  <c:v>14.228400000000001</c:v>
                </c:pt>
                <c:pt idx="3295">
                  <c:v>14.393000000000001</c:v>
                </c:pt>
                <c:pt idx="3296">
                  <c:v>14.300800000000001</c:v>
                </c:pt>
                <c:pt idx="3297">
                  <c:v>14.4742</c:v>
                </c:pt>
                <c:pt idx="3298">
                  <c:v>14.421799999999999</c:v>
                </c:pt>
                <c:pt idx="3299">
                  <c:v>14.3246</c:v>
                </c:pt>
                <c:pt idx="3300">
                  <c:v>14.3172</c:v>
                </c:pt>
                <c:pt idx="3301">
                  <c:v>14.4032</c:v>
                </c:pt>
                <c:pt idx="3302">
                  <c:v>14.3673</c:v>
                </c:pt>
                <c:pt idx="3303">
                  <c:v>14.5114</c:v>
                </c:pt>
                <c:pt idx="3304">
                  <c:v>14.6</c:v>
                </c:pt>
                <c:pt idx="3305">
                  <c:v>14.652900000000001</c:v>
                </c:pt>
                <c:pt idx="3306">
                  <c:v>14.6075</c:v>
                </c:pt>
                <c:pt idx="3307">
                  <c:v>14.748100000000001</c:v>
                </c:pt>
                <c:pt idx="3308">
                  <c:v>14.8675</c:v>
                </c:pt>
                <c:pt idx="3309">
                  <c:v>14.921099999999999</c:v>
                </c:pt>
                <c:pt idx="3310">
                  <c:v>14.8802</c:v>
                </c:pt>
                <c:pt idx="3311">
                  <c:v>14.899699999999999</c:v>
                </c:pt>
                <c:pt idx="3312">
                  <c:v>15.022399999999999</c:v>
                </c:pt>
                <c:pt idx="3313">
                  <c:v>15.072100000000001</c:v>
                </c:pt>
                <c:pt idx="3314">
                  <c:v>15.1074</c:v>
                </c:pt>
                <c:pt idx="3315">
                  <c:v>14.991</c:v>
                </c:pt>
                <c:pt idx="3316">
                  <c:v>15.000999999999999</c:v>
                </c:pt>
                <c:pt idx="3317">
                  <c:v>15.0083</c:v>
                </c:pt>
                <c:pt idx="3318">
                  <c:v>15.096</c:v>
                </c:pt>
                <c:pt idx="3319">
                  <c:v>15.1264</c:v>
                </c:pt>
                <c:pt idx="3320">
                  <c:v>14.9701</c:v>
                </c:pt>
                <c:pt idx="3321">
                  <c:v>14.989699999999999</c:v>
                </c:pt>
                <c:pt idx="3322">
                  <c:v>14.889900000000001</c:v>
                </c:pt>
                <c:pt idx="3323">
                  <c:v>14.9748</c:v>
                </c:pt>
                <c:pt idx="3324">
                  <c:v>15.042400000000001</c:v>
                </c:pt>
                <c:pt idx="3325">
                  <c:v>15.085599999999999</c:v>
                </c:pt>
                <c:pt idx="3326">
                  <c:v>14.8917</c:v>
                </c:pt>
                <c:pt idx="3327">
                  <c:v>14.5082</c:v>
                </c:pt>
                <c:pt idx="3328">
                  <c:v>14.530799999999999</c:v>
                </c:pt>
                <c:pt idx="3329">
                  <c:v>14.6394</c:v>
                </c:pt>
                <c:pt idx="3330">
                  <c:v>14.766</c:v>
                </c:pt>
                <c:pt idx="3331">
                  <c:v>14.6023</c:v>
                </c:pt>
                <c:pt idx="3332">
                  <c:v>14.6911</c:v>
                </c:pt>
                <c:pt idx="3333">
                  <c:v>14.8085</c:v>
                </c:pt>
                <c:pt idx="3334">
                  <c:v>15.161</c:v>
                </c:pt>
                <c:pt idx="3335">
                  <c:v>15.1037</c:v>
                </c:pt>
                <c:pt idx="3336">
                  <c:v>15.247999999999999</c:v>
                </c:pt>
                <c:pt idx="3337">
                  <c:v>15.2286</c:v>
                </c:pt>
                <c:pt idx="3338">
                  <c:v>15.209300000000001</c:v>
                </c:pt>
                <c:pt idx="3339">
                  <c:v>15.1813</c:v>
                </c:pt>
                <c:pt idx="3340">
                  <c:v>15.2301</c:v>
                </c:pt>
                <c:pt idx="3341">
                  <c:v>15.2286</c:v>
                </c:pt>
                <c:pt idx="3342">
                  <c:v>15.251300000000001</c:v>
                </c:pt>
                <c:pt idx="3343">
                  <c:v>15.3392</c:v>
                </c:pt>
                <c:pt idx="3344">
                  <c:v>15.3512</c:v>
                </c:pt>
                <c:pt idx="3345">
                  <c:v>15.400700000000001</c:v>
                </c:pt>
                <c:pt idx="3346">
                  <c:v>15.3878</c:v>
                </c:pt>
                <c:pt idx="3347">
                  <c:v>15.4261</c:v>
                </c:pt>
                <c:pt idx="3348">
                  <c:v>15.3687</c:v>
                </c:pt>
                <c:pt idx="3349">
                  <c:v>15.4838</c:v>
                </c:pt>
                <c:pt idx="3350">
                  <c:v>15.6248</c:v>
                </c:pt>
                <c:pt idx="3351">
                  <c:v>15.666499999999999</c:v>
                </c:pt>
                <c:pt idx="3352">
                  <c:v>15.7113</c:v>
                </c:pt>
                <c:pt idx="3353">
                  <c:v>15.7546</c:v>
                </c:pt>
                <c:pt idx="3354">
                  <c:v>15.716200000000001</c:v>
                </c:pt>
                <c:pt idx="3355">
                  <c:v>15.7219</c:v>
                </c:pt>
                <c:pt idx="3356">
                  <c:v>15.817399999999999</c:v>
                </c:pt>
                <c:pt idx="3357">
                  <c:v>15.7934</c:v>
                </c:pt>
                <c:pt idx="3358">
                  <c:v>15.726699999999999</c:v>
                </c:pt>
                <c:pt idx="3359">
                  <c:v>15.791700000000001</c:v>
                </c:pt>
                <c:pt idx="3360">
                  <c:v>15.794700000000001</c:v>
                </c:pt>
                <c:pt idx="3361">
                  <c:v>15.773999999999999</c:v>
                </c:pt>
                <c:pt idx="3362">
                  <c:v>15.709</c:v>
                </c:pt>
                <c:pt idx="3363">
                  <c:v>15.656000000000001</c:v>
                </c:pt>
                <c:pt idx="3364">
                  <c:v>15.738</c:v>
                </c:pt>
                <c:pt idx="3365">
                  <c:v>15.8886</c:v>
                </c:pt>
                <c:pt idx="3366">
                  <c:v>15.919</c:v>
                </c:pt>
                <c:pt idx="3367">
                  <c:v>15.9724</c:v>
                </c:pt>
                <c:pt idx="3368">
                  <c:v>15.948</c:v>
                </c:pt>
                <c:pt idx="3369">
                  <c:v>15.8832</c:v>
                </c:pt>
                <c:pt idx="3370">
                  <c:v>15.6373</c:v>
                </c:pt>
                <c:pt idx="3371">
                  <c:v>15.5299</c:v>
                </c:pt>
                <c:pt idx="3372">
                  <c:v>15.716100000000001</c:v>
                </c:pt>
                <c:pt idx="3373">
                  <c:v>15.7028</c:v>
                </c:pt>
                <c:pt idx="3374">
                  <c:v>15.857900000000001</c:v>
                </c:pt>
                <c:pt idx="3375">
                  <c:v>15.8117</c:v>
                </c:pt>
                <c:pt idx="3376">
                  <c:v>15.770200000000001</c:v>
                </c:pt>
                <c:pt idx="3377">
                  <c:v>15.8164</c:v>
                </c:pt>
                <c:pt idx="3378">
                  <c:v>15.8789</c:v>
                </c:pt>
                <c:pt idx="3379">
                  <c:v>16.048999999999999</c:v>
                </c:pt>
                <c:pt idx="3380">
                  <c:v>16.284800000000001</c:v>
                </c:pt>
                <c:pt idx="3381">
                  <c:v>16.101700000000001</c:v>
                </c:pt>
                <c:pt idx="3382">
                  <c:v>16.0761</c:v>
                </c:pt>
                <c:pt idx="3383">
                  <c:v>16.096299999999999</c:v>
                </c:pt>
                <c:pt idx="3384">
                  <c:v>16.216000000000001</c:v>
                </c:pt>
                <c:pt idx="3385">
                  <c:v>16.264500000000002</c:v>
                </c:pt>
                <c:pt idx="3386">
                  <c:v>16.2864</c:v>
                </c:pt>
                <c:pt idx="3387">
                  <c:v>16.287099999999999</c:v>
                </c:pt>
                <c:pt idx="3388">
                  <c:v>16.287800000000001</c:v>
                </c:pt>
                <c:pt idx="3389">
                  <c:v>16.330300000000001</c:v>
                </c:pt>
                <c:pt idx="3390">
                  <c:v>16.196400000000001</c:v>
                </c:pt>
                <c:pt idx="3391">
                  <c:v>16.186900000000001</c:v>
                </c:pt>
                <c:pt idx="3392">
                  <c:v>16.1877</c:v>
                </c:pt>
                <c:pt idx="3393">
                  <c:v>16.349</c:v>
                </c:pt>
                <c:pt idx="3394">
                  <c:v>16.282599999999999</c:v>
                </c:pt>
                <c:pt idx="3395">
                  <c:v>16.229399999999998</c:v>
                </c:pt>
                <c:pt idx="3396">
                  <c:v>16.271599999999999</c:v>
                </c:pt>
                <c:pt idx="3397">
                  <c:v>16.296500000000002</c:v>
                </c:pt>
                <c:pt idx="3398">
                  <c:v>16.340800000000002</c:v>
                </c:pt>
                <c:pt idx="3399">
                  <c:v>16.327500000000001</c:v>
                </c:pt>
                <c:pt idx="3400">
                  <c:v>16.303699999999999</c:v>
                </c:pt>
                <c:pt idx="3401">
                  <c:v>16.355799999999999</c:v>
                </c:pt>
                <c:pt idx="3402">
                  <c:v>16.375599999999999</c:v>
                </c:pt>
                <c:pt idx="3403">
                  <c:v>16.434999999999999</c:v>
                </c:pt>
                <c:pt idx="3404">
                  <c:v>16.607299999999999</c:v>
                </c:pt>
                <c:pt idx="3405">
                  <c:v>16.599299999999999</c:v>
                </c:pt>
                <c:pt idx="3406">
                  <c:v>16.566199999999998</c:v>
                </c:pt>
                <c:pt idx="3407">
                  <c:v>16.5471</c:v>
                </c:pt>
                <c:pt idx="3408">
                  <c:v>16.371200000000002</c:v>
                </c:pt>
                <c:pt idx="3409">
                  <c:v>16.54</c:v>
                </c:pt>
                <c:pt idx="3410">
                  <c:v>16.175599999999999</c:v>
                </c:pt>
                <c:pt idx="3411">
                  <c:v>16.365200000000002</c:v>
                </c:pt>
                <c:pt idx="3412">
                  <c:v>16.542200000000001</c:v>
                </c:pt>
                <c:pt idx="3413">
                  <c:v>16.4087</c:v>
                </c:pt>
                <c:pt idx="3414">
                  <c:v>16.241800000000001</c:v>
                </c:pt>
                <c:pt idx="3415">
                  <c:v>16.297000000000001</c:v>
                </c:pt>
                <c:pt idx="3416">
                  <c:v>16.524000000000001</c:v>
                </c:pt>
                <c:pt idx="3417">
                  <c:v>16.712800000000001</c:v>
                </c:pt>
                <c:pt idx="3418">
                  <c:v>16.871500000000001</c:v>
                </c:pt>
                <c:pt idx="3419">
                  <c:v>16.8431</c:v>
                </c:pt>
                <c:pt idx="3420">
                  <c:v>16.858799999999999</c:v>
                </c:pt>
                <c:pt idx="3421">
                  <c:v>16.976199999999999</c:v>
                </c:pt>
                <c:pt idx="3422">
                  <c:v>17.091699999999999</c:v>
                </c:pt>
                <c:pt idx="3423">
                  <c:v>17.125</c:v>
                </c:pt>
                <c:pt idx="3424">
                  <c:v>17.216799999999999</c:v>
                </c:pt>
                <c:pt idx="3425">
                  <c:v>17.275300000000001</c:v>
                </c:pt>
                <c:pt idx="3426">
                  <c:v>17.2469</c:v>
                </c:pt>
                <c:pt idx="3427">
                  <c:v>17.399899999999999</c:v>
                </c:pt>
                <c:pt idx="3428">
                  <c:v>17.512799999999999</c:v>
                </c:pt>
                <c:pt idx="3429">
                  <c:v>17.302199999999999</c:v>
                </c:pt>
                <c:pt idx="3430">
                  <c:v>16.6419</c:v>
                </c:pt>
                <c:pt idx="3431">
                  <c:v>16.376799999999999</c:v>
                </c:pt>
                <c:pt idx="3432">
                  <c:v>16.3963</c:v>
                </c:pt>
                <c:pt idx="3433">
                  <c:v>14.334199999999999</c:v>
                </c:pt>
                <c:pt idx="3434">
                  <c:v>13.853899999999999</c:v>
                </c:pt>
                <c:pt idx="3435">
                  <c:v>13.9612</c:v>
                </c:pt>
                <c:pt idx="3436">
                  <c:v>14.168100000000001</c:v>
                </c:pt>
                <c:pt idx="3437">
                  <c:v>14.3759</c:v>
                </c:pt>
                <c:pt idx="3438">
                  <c:v>14.201000000000001</c:v>
                </c:pt>
                <c:pt idx="3439">
                  <c:v>13.732100000000001</c:v>
                </c:pt>
                <c:pt idx="3440">
                  <c:v>12.8025</c:v>
                </c:pt>
                <c:pt idx="3441">
                  <c:v>12.742000000000001</c:v>
                </c:pt>
                <c:pt idx="3442">
                  <c:v>12.744300000000001</c:v>
                </c:pt>
                <c:pt idx="3443">
                  <c:v>11.2942</c:v>
                </c:pt>
                <c:pt idx="3444">
                  <c:v>11.506399999999999</c:v>
                </c:pt>
                <c:pt idx="3445">
                  <c:v>11.1061</c:v>
                </c:pt>
                <c:pt idx="3446">
                  <c:v>11.4054</c:v>
                </c:pt>
                <c:pt idx="3447">
                  <c:v>11.126899999999999</c:v>
                </c:pt>
                <c:pt idx="3448">
                  <c:v>11.5871</c:v>
                </c:pt>
                <c:pt idx="3449">
                  <c:v>11.906700000000001</c:v>
                </c:pt>
                <c:pt idx="3450">
                  <c:v>11.5327</c:v>
                </c:pt>
                <c:pt idx="3451">
                  <c:v>12.708299999999999</c:v>
                </c:pt>
                <c:pt idx="3452">
                  <c:v>13.3096</c:v>
                </c:pt>
                <c:pt idx="3453">
                  <c:v>13.8246</c:v>
                </c:pt>
                <c:pt idx="3454">
                  <c:v>13.4857</c:v>
                </c:pt>
                <c:pt idx="3455">
                  <c:v>13.800700000000001</c:v>
                </c:pt>
                <c:pt idx="3456">
                  <c:v>14.2174</c:v>
                </c:pt>
                <c:pt idx="3457">
                  <c:v>14.19</c:v>
                </c:pt>
                <c:pt idx="3458">
                  <c:v>14.411</c:v>
                </c:pt>
                <c:pt idx="3459">
                  <c:v>14.313599999999999</c:v>
                </c:pt>
                <c:pt idx="3460">
                  <c:v>15.089600000000001</c:v>
                </c:pt>
                <c:pt idx="3461">
                  <c:v>15.604900000000001</c:v>
                </c:pt>
                <c:pt idx="3462">
                  <c:v>15.803800000000001</c:v>
                </c:pt>
                <c:pt idx="3463">
                  <c:v>16.286300000000001</c:v>
                </c:pt>
                <c:pt idx="3464">
                  <c:v>16.2851</c:v>
                </c:pt>
                <c:pt idx="3465">
                  <c:v>16.303899999999999</c:v>
                </c:pt>
                <c:pt idx="3466">
                  <c:v>16.559899999999999</c:v>
                </c:pt>
                <c:pt idx="3467">
                  <c:v>16.027000000000001</c:v>
                </c:pt>
                <c:pt idx="3468">
                  <c:v>16.186699999999998</c:v>
                </c:pt>
                <c:pt idx="3469">
                  <c:v>16.732199999999999</c:v>
                </c:pt>
                <c:pt idx="3470">
                  <c:v>16.958300000000001</c:v>
                </c:pt>
                <c:pt idx="3471">
                  <c:v>16.481100000000001</c:v>
                </c:pt>
                <c:pt idx="3472">
                  <c:v>16.9346</c:v>
                </c:pt>
                <c:pt idx="3473">
                  <c:v>17.216100000000001</c:v>
                </c:pt>
                <c:pt idx="3474">
                  <c:v>17.147200000000002</c:v>
                </c:pt>
                <c:pt idx="3475">
                  <c:v>17.619800000000001</c:v>
                </c:pt>
                <c:pt idx="3476">
                  <c:v>17.992000000000001</c:v>
                </c:pt>
                <c:pt idx="3477">
                  <c:v>18.489000000000001</c:v>
                </c:pt>
                <c:pt idx="3478">
                  <c:v>18.206099999999999</c:v>
                </c:pt>
                <c:pt idx="3479">
                  <c:v>18.106100000000001</c:v>
                </c:pt>
                <c:pt idx="3480">
                  <c:v>17.714600000000001</c:v>
                </c:pt>
                <c:pt idx="3481">
                  <c:v>18.208500000000001</c:v>
                </c:pt>
                <c:pt idx="3482">
                  <c:v>18.152000000000001</c:v>
                </c:pt>
                <c:pt idx="3483">
                  <c:v>18.4681</c:v>
                </c:pt>
                <c:pt idx="3484">
                  <c:v>18.621400000000001</c:v>
                </c:pt>
                <c:pt idx="3485">
                  <c:v>18.638999999999999</c:v>
                </c:pt>
                <c:pt idx="3486">
                  <c:v>18.791599999999999</c:v>
                </c:pt>
                <c:pt idx="3487">
                  <c:v>18.500900000000001</c:v>
                </c:pt>
                <c:pt idx="3488">
                  <c:v>18.106100000000001</c:v>
                </c:pt>
                <c:pt idx="3489">
                  <c:v>18.2958</c:v>
                </c:pt>
                <c:pt idx="3490">
                  <c:v>19.104900000000001</c:v>
                </c:pt>
                <c:pt idx="3491">
                  <c:v>19.067900000000002</c:v>
                </c:pt>
                <c:pt idx="3492">
                  <c:v>19.3169</c:v>
                </c:pt>
                <c:pt idx="3493">
                  <c:v>19.2179</c:v>
                </c:pt>
                <c:pt idx="3494">
                  <c:v>19.224900000000002</c:v>
                </c:pt>
                <c:pt idx="3495">
                  <c:v>19.534400000000002</c:v>
                </c:pt>
                <c:pt idx="3496">
                  <c:v>19.805499999999999</c:v>
                </c:pt>
                <c:pt idx="3497">
                  <c:v>19.869399999999999</c:v>
                </c:pt>
                <c:pt idx="3498">
                  <c:v>20.2698</c:v>
                </c:pt>
                <c:pt idx="3499">
                  <c:v>20.0243</c:v>
                </c:pt>
                <c:pt idx="3500">
                  <c:v>20.2989</c:v>
                </c:pt>
                <c:pt idx="3501">
                  <c:v>20.683199999999999</c:v>
                </c:pt>
                <c:pt idx="3502">
                  <c:v>21.223700000000001</c:v>
                </c:pt>
                <c:pt idx="3503">
                  <c:v>21.120200000000001</c:v>
                </c:pt>
                <c:pt idx="3504">
                  <c:v>21.700700000000001</c:v>
                </c:pt>
                <c:pt idx="3505">
                  <c:v>21.632200000000001</c:v>
                </c:pt>
                <c:pt idx="3506">
                  <c:v>21.380700000000001</c:v>
                </c:pt>
                <c:pt idx="3507">
                  <c:v>21.3429</c:v>
                </c:pt>
                <c:pt idx="3508">
                  <c:v>20.465900000000001</c:v>
                </c:pt>
                <c:pt idx="3509">
                  <c:v>20.5578</c:v>
                </c:pt>
                <c:pt idx="3510">
                  <c:v>20.5185</c:v>
                </c:pt>
                <c:pt idx="3511">
                  <c:v>21.134</c:v>
                </c:pt>
                <c:pt idx="3512">
                  <c:v>21.3309</c:v>
                </c:pt>
                <c:pt idx="3513">
                  <c:v>21.1341</c:v>
                </c:pt>
                <c:pt idx="3514">
                  <c:v>21.347100000000001</c:v>
                </c:pt>
                <c:pt idx="3515">
                  <c:v>21.226099999999999</c:v>
                </c:pt>
                <c:pt idx="3516">
                  <c:v>21.5444</c:v>
                </c:pt>
                <c:pt idx="3517">
                  <c:v>20.9664</c:v>
                </c:pt>
                <c:pt idx="3518">
                  <c:v>21.096499999999999</c:v>
                </c:pt>
                <c:pt idx="3519">
                  <c:v>21.033999999999999</c:v>
                </c:pt>
                <c:pt idx="3520">
                  <c:v>21.141500000000001</c:v>
                </c:pt>
                <c:pt idx="3521">
                  <c:v>21.242799999999999</c:v>
                </c:pt>
                <c:pt idx="3522">
                  <c:v>21.357199999999999</c:v>
                </c:pt>
                <c:pt idx="3523">
                  <c:v>21.810500000000001</c:v>
                </c:pt>
                <c:pt idx="3524">
                  <c:v>21.645600000000002</c:v>
                </c:pt>
                <c:pt idx="3525">
                  <c:v>22.036200000000001</c:v>
                </c:pt>
                <c:pt idx="3526">
                  <c:v>21.9085</c:v>
                </c:pt>
                <c:pt idx="3527">
                  <c:v>21.756499999999999</c:v>
                </c:pt>
                <c:pt idx="3528">
                  <c:v>21.533000000000001</c:v>
                </c:pt>
                <c:pt idx="3529">
                  <c:v>21.745200000000001</c:v>
                </c:pt>
                <c:pt idx="3530">
                  <c:v>22.032399999999999</c:v>
                </c:pt>
                <c:pt idx="3531">
                  <c:v>21.985499999999998</c:v>
                </c:pt>
                <c:pt idx="3532">
                  <c:v>22.368400000000001</c:v>
                </c:pt>
                <c:pt idx="3533">
                  <c:v>22.377400000000002</c:v>
                </c:pt>
                <c:pt idx="3534">
                  <c:v>22.4834</c:v>
                </c:pt>
                <c:pt idx="3535">
                  <c:v>22.653500000000001</c:v>
                </c:pt>
                <c:pt idx="3536">
                  <c:v>22.741900000000001</c:v>
                </c:pt>
                <c:pt idx="3537">
                  <c:v>22.561599999999999</c:v>
                </c:pt>
                <c:pt idx="3538">
                  <c:v>22.615300000000001</c:v>
                </c:pt>
                <c:pt idx="3539">
                  <c:v>22.217400000000001</c:v>
                </c:pt>
                <c:pt idx="3540">
                  <c:v>22.208200000000001</c:v>
                </c:pt>
                <c:pt idx="3541">
                  <c:v>22.368200000000002</c:v>
                </c:pt>
                <c:pt idx="3542">
                  <c:v>22.359200000000001</c:v>
                </c:pt>
                <c:pt idx="3543">
                  <c:v>22.011700000000001</c:v>
                </c:pt>
                <c:pt idx="3544">
                  <c:v>21.938300000000002</c:v>
                </c:pt>
                <c:pt idx="3545">
                  <c:v>22.453499999999998</c:v>
                </c:pt>
                <c:pt idx="3546">
                  <c:v>22.526700000000002</c:v>
                </c:pt>
                <c:pt idx="3547">
                  <c:v>22.651700000000002</c:v>
                </c:pt>
                <c:pt idx="3548">
                  <c:v>22.5566</c:v>
                </c:pt>
                <c:pt idx="3549">
                  <c:v>22.493300000000001</c:v>
                </c:pt>
                <c:pt idx="3550">
                  <c:v>22.546700000000001</c:v>
                </c:pt>
                <c:pt idx="3551">
                  <c:v>22.88</c:v>
                </c:pt>
                <c:pt idx="3552">
                  <c:v>23.1919</c:v>
                </c:pt>
                <c:pt idx="3553">
                  <c:v>23.0626</c:v>
                </c:pt>
                <c:pt idx="3554">
                  <c:v>22.881599999999999</c:v>
                </c:pt>
                <c:pt idx="3555">
                  <c:v>22.967199999999998</c:v>
                </c:pt>
                <c:pt idx="3556">
                  <c:v>22.844999999999999</c:v>
                </c:pt>
                <c:pt idx="3557">
                  <c:v>23.020600000000002</c:v>
                </c:pt>
                <c:pt idx="3558">
                  <c:v>22.789100000000001</c:v>
                </c:pt>
                <c:pt idx="3559">
                  <c:v>22.764900000000001</c:v>
                </c:pt>
                <c:pt idx="3560">
                  <c:v>23.172899999999998</c:v>
                </c:pt>
                <c:pt idx="3561">
                  <c:v>23.0458</c:v>
                </c:pt>
                <c:pt idx="3562">
                  <c:v>23.2895</c:v>
                </c:pt>
                <c:pt idx="3563">
                  <c:v>23.183399999999999</c:v>
                </c:pt>
                <c:pt idx="3564">
                  <c:v>23.060199999999998</c:v>
                </c:pt>
                <c:pt idx="3565">
                  <c:v>22.993600000000001</c:v>
                </c:pt>
                <c:pt idx="3566">
                  <c:v>22.922499999999999</c:v>
                </c:pt>
                <c:pt idx="3567">
                  <c:v>23.286100000000001</c:v>
                </c:pt>
                <c:pt idx="3568">
                  <c:v>22.9681</c:v>
                </c:pt>
                <c:pt idx="3569">
                  <c:v>22.7026</c:v>
                </c:pt>
                <c:pt idx="3570">
                  <c:v>23.095199999999998</c:v>
                </c:pt>
                <c:pt idx="3571">
                  <c:v>22.839700000000001</c:v>
                </c:pt>
                <c:pt idx="3572">
                  <c:v>23.2332</c:v>
                </c:pt>
                <c:pt idx="3573">
                  <c:v>23.1174</c:v>
                </c:pt>
                <c:pt idx="3574">
                  <c:v>23.160699999999999</c:v>
                </c:pt>
                <c:pt idx="3575">
                  <c:v>23.404399999999999</c:v>
                </c:pt>
                <c:pt idx="3576">
                  <c:v>23.534500000000001</c:v>
                </c:pt>
                <c:pt idx="3577">
                  <c:v>23.647099999999998</c:v>
                </c:pt>
                <c:pt idx="3578">
                  <c:v>23.496700000000001</c:v>
                </c:pt>
                <c:pt idx="3579">
                  <c:v>23.344999999999999</c:v>
                </c:pt>
                <c:pt idx="3580">
                  <c:v>22.450299999999999</c:v>
                </c:pt>
                <c:pt idx="3581">
                  <c:v>22.460100000000001</c:v>
                </c:pt>
                <c:pt idx="3582">
                  <c:v>22.5884</c:v>
                </c:pt>
                <c:pt idx="3583">
                  <c:v>22.3813</c:v>
                </c:pt>
                <c:pt idx="3584">
                  <c:v>22.3339</c:v>
                </c:pt>
                <c:pt idx="3585">
                  <c:v>22.777899999999999</c:v>
                </c:pt>
                <c:pt idx="3586">
                  <c:v>22.709800000000001</c:v>
                </c:pt>
                <c:pt idx="3587">
                  <c:v>22.6739</c:v>
                </c:pt>
                <c:pt idx="3588">
                  <c:v>22.541399999999999</c:v>
                </c:pt>
                <c:pt idx="3589">
                  <c:v>22.594000000000001</c:v>
                </c:pt>
                <c:pt idx="3590">
                  <c:v>22.763999999999999</c:v>
                </c:pt>
                <c:pt idx="3591">
                  <c:v>22.754000000000001</c:v>
                </c:pt>
                <c:pt idx="3592">
                  <c:v>22.7791</c:v>
                </c:pt>
                <c:pt idx="3593">
                  <c:v>22.956900000000001</c:v>
                </c:pt>
                <c:pt idx="3594">
                  <c:v>23.0472</c:v>
                </c:pt>
                <c:pt idx="3595">
                  <c:v>23.183900000000001</c:v>
                </c:pt>
                <c:pt idx="3596">
                  <c:v>23.0214</c:v>
                </c:pt>
                <c:pt idx="3597">
                  <c:v>22.972899999999999</c:v>
                </c:pt>
                <c:pt idx="3598">
                  <c:v>22.427499999999998</c:v>
                </c:pt>
                <c:pt idx="3599">
                  <c:v>22.733599999999999</c:v>
                </c:pt>
                <c:pt idx="3600">
                  <c:v>22.656300000000002</c:v>
                </c:pt>
                <c:pt idx="3601">
                  <c:v>22.469100000000001</c:v>
                </c:pt>
                <c:pt idx="3602">
                  <c:v>22.183499999999999</c:v>
                </c:pt>
                <c:pt idx="3603">
                  <c:v>22.111699999999999</c:v>
                </c:pt>
                <c:pt idx="3604">
                  <c:v>22.189800000000002</c:v>
                </c:pt>
                <c:pt idx="3605">
                  <c:v>21.736799999999999</c:v>
                </c:pt>
                <c:pt idx="3606">
                  <c:v>21.5137</c:v>
                </c:pt>
                <c:pt idx="3607">
                  <c:v>20.860499999999998</c:v>
                </c:pt>
                <c:pt idx="3608">
                  <c:v>20.751300000000001</c:v>
                </c:pt>
                <c:pt idx="3609">
                  <c:v>20.857700000000001</c:v>
                </c:pt>
                <c:pt idx="3610">
                  <c:v>21.1235</c:v>
                </c:pt>
                <c:pt idx="3611">
                  <c:v>21.6159</c:v>
                </c:pt>
                <c:pt idx="3612">
                  <c:v>22.0169</c:v>
                </c:pt>
                <c:pt idx="3613">
                  <c:v>22.270700000000001</c:v>
                </c:pt>
                <c:pt idx="3614">
                  <c:v>22.226099999999999</c:v>
                </c:pt>
                <c:pt idx="3615">
                  <c:v>23.111999999999998</c:v>
                </c:pt>
                <c:pt idx="3616">
                  <c:v>23.310400000000001</c:v>
                </c:pt>
                <c:pt idx="3617">
                  <c:v>23.515599999999999</c:v>
                </c:pt>
                <c:pt idx="3618">
                  <c:v>23.263000000000002</c:v>
                </c:pt>
                <c:pt idx="3619">
                  <c:v>23.272400000000001</c:v>
                </c:pt>
                <c:pt idx="3620">
                  <c:v>23.510899999999999</c:v>
                </c:pt>
                <c:pt idx="3621">
                  <c:v>23.482299999999999</c:v>
                </c:pt>
                <c:pt idx="3622">
                  <c:v>23.553999999999998</c:v>
                </c:pt>
                <c:pt idx="3623">
                  <c:v>23.372900000000001</c:v>
                </c:pt>
                <c:pt idx="3624">
                  <c:v>23.501100000000001</c:v>
                </c:pt>
                <c:pt idx="3625">
                  <c:v>23.429600000000001</c:v>
                </c:pt>
                <c:pt idx="3626">
                  <c:v>23.653099999999998</c:v>
                </c:pt>
                <c:pt idx="3627">
                  <c:v>23.633700000000001</c:v>
                </c:pt>
                <c:pt idx="3628">
                  <c:v>23.6509</c:v>
                </c:pt>
                <c:pt idx="3629">
                  <c:v>23.767099999999999</c:v>
                </c:pt>
                <c:pt idx="3630">
                  <c:v>23.524899999999999</c:v>
                </c:pt>
                <c:pt idx="3631">
                  <c:v>23.7258</c:v>
                </c:pt>
                <c:pt idx="3632">
                  <c:v>23.757999999999999</c:v>
                </c:pt>
                <c:pt idx="3633">
                  <c:v>23.804200000000002</c:v>
                </c:pt>
                <c:pt idx="3634">
                  <c:v>23.950700000000001</c:v>
                </c:pt>
                <c:pt idx="3635">
                  <c:v>23.885100000000001</c:v>
                </c:pt>
                <c:pt idx="3636">
                  <c:v>23.887</c:v>
                </c:pt>
                <c:pt idx="3637">
                  <c:v>23.945399999999999</c:v>
                </c:pt>
                <c:pt idx="3638">
                  <c:v>23.854600000000001</c:v>
                </c:pt>
                <c:pt idx="3639">
                  <c:v>23.6584</c:v>
                </c:pt>
                <c:pt idx="3640">
                  <c:v>23.759899999999998</c:v>
                </c:pt>
                <c:pt idx="3641">
                  <c:v>23.793299999999999</c:v>
                </c:pt>
                <c:pt idx="3642">
                  <c:v>23.986999999999998</c:v>
                </c:pt>
                <c:pt idx="3643">
                  <c:v>24.035299999999999</c:v>
                </c:pt>
                <c:pt idx="3644">
                  <c:v>23.931999999999999</c:v>
                </c:pt>
                <c:pt idx="3645">
                  <c:v>23.408300000000001</c:v>
                </c:pt>
                <c:pt idx="3646">
                  <c:v>23.642600000000002</c:v>
                </c:pt>
                <c:pt idx="3647">
                  <c:v>23.901700000000002</c:v>
                </c:pt>
                <c:pt idx="3648">
                  <c:v>23.932099999999998</c:v>
                </c:pt>
                <c:pt idx="3649">
                  <c:v>23.933499999999999</c:v>
                </c:pt>
                <c:pt idx="3650">
                  <c:v>24.061199999999999</c:v>
                </c:pt>
                <c:pt idx="3651">
                  <c:v>24.244</c:v>
                </c:pt>
                <c:pt idx="3652">
                  <c:v>24.1678</c:v>
                </c:pt>
                <c:pt idx="3653">
                  <c:v>24.0824</c:v>
                </c:pt>
                <c:pt idx="3654">
                  <c:v>24.082599999999999</c:v>
                </c:pt>
                <c:pt idx="3655">
                  <c:v>24.232600000000001</c:v>
                </c:pt>
                <c:pt idx="3656">
                  <c:v>24.186299999999999</c:v>
                </c:pt>
                <c:pt idx="3657">
                  <c:v>24.5063</c:v>
                </c:pt>
                <c:pt idx="3658">
                  <c:v>24.6297</c:v>
                </c:pt>
                <c:pt idx="3659">
                  <c:v>24.743099999999998</c:v>
                </c:pt>
                <c:pt idx="3660">
                  <c:v>24.5945</c:v>
                </c:pt>
                <c:pt idx="3661">
                  <c:v>24.610700000000001</c:v>
                </c:pt>
                <c:pt idx="3662">
                  <c:v>24.622</c:v>
                </c:pt>
                <c:pt idx="3663">
                  <c:v>24.784400000000002</c:v>
                </c:pt>
                <c:pt idx="3664">
                  <c:v>24.5336</c:v>
                </c:pt>
                <c:pt idx="3665">
                  <c:v>24.574300000000001</c:v>
                </c:pt>
                <c:pt idx="3666">
                  <c:v>24.495100000000001</c:v>
                </c:pt>
                <c:pt idx="3667">
                  <c:v>24.587900000000001</c:v>
                </c:pt>
                <c:pt idx="3668">
                  <c:v>24.6663</c:v>
                </c:pt>
                <c:pt idx="3669">
                  <c:v>24.481200000000001</c:v>
                </c:pt>
                <c:pt idx="3670">
                  <c:v>24.259899999999998</c:v>
                </c:pt>
                <c:pt idx="3671">
                  <c:v>24.495200000000001</c:v>
                </c:pt>
                <c:pt idx="3672">
                  <c:v>24.2044</c:v>
                </c:pt>
                <c:pt idx="3673">
                  <c:v>24.247800000000002</c:v>
                </c:pt>
                <c:pt idx="3674">
                  <c:v>23.781700000000001</c:v>
                </c:pt>
                <c:pt idx="3675">
                  <c:v>24.0962</c:v>
                </c:pt>
                <c:pt idx="3676">
                  <c:v>24.485800000000001</c:v>
                </c:pt>
                <c:pt idx="3677">
                  <c:v>24.981999999999999</c:v>
                </c:pt>
                <c:pt idx="3678">
                  <c:v>25.23</c:v>
                </c:pt>
                <c:pt idx="3679">
                  <c:v>25.063300000000002</c:v>
                </c:pt>
                <c:pt idx="3680">
                  <c:v>25.126000000000001</c:v>
                </c:pt>
                <c:pt idx="3681">
                  <c:v>25.239899999999999</c:v>
                </c:pt>
                <c:pt idx="3682">
                  <c:v>25.374300000000002</c:v>
                </c:pt>
                <c:pt idx="3683">
                  <c:v>25.6099</c:v>
                </c:pt>
                <c:pt idx="3684">
                  <c:v>25.6557</c:v>
                </c:pt>
                <c:pt idx="3685">
                  <c:v>26.044899999999998</c:v>
                </c:pt>
                <c:pt idx="3686">
                  <c:v>25.972799999999999</c:v>
                </c:pt>
                <c:pt idx="3687">
                  <c:v>25.724299999999999</c:v>
                </c:pt>
                <c:pt idx="3688">
                  <c:v>25.582899999999999</c:v>
                </c:pt>
                <c:pt idx="3689">
                  <c:v>25.669</c:v>
                </c:pt>
                <c:pt idx="3690">
                  <c:v>25.530999999999999</c:v>
                </c:pt>
                <c:pt idx="3691">
                  <c:v>25.215599999999998</c:v>
                </c:pt>
                <c:pt idx="3692">
                  <c:v>25.3672</c:v>
                </c:pt>
                <c:pt idx="3693">
                  <c:v>17.601900000000001</c:v>
                </c:pt>
                <c:pt idx="3694">
                  <c:v>17.2821</c:v>
                </c:pt>
                <c:pt idx="3695">
                  <c:v>17.584399999999999</c:v>
                </c:pt>
                <c:pt idx="3696">
                  <c:v>17.6051</c:v>
                </c:pt>
                <c:pt idx="3697">
                  <c:v>17.606300000000001</c:v>
                </c:pt>
                <c:pt idx="3698">
                  <c:v>17.546299999999999</c:v>
                </c:pt>
                <c:pt idx="3699">
                  <c:v>17.398099999999999</c:v>
                </c:pt>
                <c:pt idx="3700">
                  <c:v>17.729800000000001</c:v>
                </c:pt>
                <c:pt idx="3701">
                  <c:v>17.842400000000001</c:v>
                </c:pt>
                <c:pt idx="3702">
                  <c:v>17.901599999999998</c:v>
                </c:pt>
                <c:pt idx="3703">
                  <c:v>17.987200000000001</c:v>
                </c:pt>
                <c:pt idx="3704">
                  <c:v>17.901299999999999</c:v>
                </c:pt>
                <c:pt idx="3705">
                  <c:v>17.890599999999999</c:v>
                </c:pt>
                <c:pt idx="3706">
                  <c:v>18.031600000000001</c:v>
                </c:pt>
                <c:pt idx="3707">
                  <c:v>17.950399999999998</c:v>
                </c:pt>
                <c:pt idx="3708">
                  <c:v>17.979199999999999</c:v>
                </c:pt>
                <c:pt idx="3709">
                  <c:v>17.819800000000001</c:v>
                </c:pt>
                <c:pt idx="3710">
                  <c:v>18.0152</c:v>
                </c:pt>
                <c:pt idx="3711">
                  <c:v>17.967300000000002</c:v>
                </c:pt>
                <c:pt idx="3712">
                  <c:v>17.928100000000001</c:v>
                </c:pt>
                <c:pt idx="3713">
                  <c:v>17.892199999999999</c:v>
                </c:pt>
                <c:pt idx="3714">
                  <c:v>18.046299999999999</c:v>
                </c:pt>
                <c:pt idx="3715">
                  <c:v>18.0731</c:v>
                </c:pt>
                <c:pt idx="3716">
                  <c:v>18.191500000000001</c:v>
                </c:pt>
                <c:pt idx="3717">
                  <c:v>18.1252</c:v>
                </c:pt>
                <c:pt idx="3718">
                  <c:v>18.218599999999999</c:v>
                </c:pt>
                <c:pt idx="3719">
                  <c:v>18.2178</c:v>
                </c:pt>
                <c:pt idx="3720">
                  <c:v>18.220199999999998</c:v>
                </c:pt>
                <c:pt idx="3721">
                  <c:v>18.3764</c:v>
                </c:pt>
                <c:pt idx="3722">
                  <c:v>18.354500000000002</c:v>
                </c:pt>
                <c:pt idx="3723">
                  <c:v>18.462299999999999</c:v>
                </c:pt>
                <c:pt idx="3724">
                  <c:v>18.484300000000001</c:v>
                </c:pt>
                <c:pt idx="3725">
                  <c:v>18.3491</c:v>
                </c:pt>
                <c:pt idx="3726">
                  <c:v>18.327500000000001</c:v>
                </c:pt>
                <c:pt idx="3727">
                  <c:v>18.3703</c:v>
                </c:pt>
                <c:pt idx="3728">
                  <c:v>18.4483</c:v>
                </c:pt>
                <c:pt idx="3729">
                  <c:v>18.603200000000001</c:v>
                </c:pt>
                <c:pt idx="3730">
                  <c:v>18.537099999999999</c:v>
                </c:pt>
                <c:pt idx="3731">
                  <c:v>18.162600000000001</c:v>
                </c:pt>
                <c:pt idx="3732">
                  <c:v>18.2393</c:v>
                </c:pt>
                <c:pt idx="3733">
                  <c:v>18.327000000000002</c:v>
                </c:pt>
                <c:pt idx="3734">
                  <c:v>18.2681</c:v>
                </c:pt>
                <c:pt idx="3735">
                  <c:v>18.291499999999999</c:v>
                </c:pt>
                <c:pt idx="3736">
                  <c:v>18.1876</c:v>
                </c:pt>
                <c:pt idx="3737">
                  <c:v>18.081600000000002</c:v>
                </c:pt>
                <c:pt idx="3738">
                  <c:v>17.956800000000001</c:v>
                </c:pt>
                <c:pt idx="3739">
                  <c:v>17.838699999999999</c:v>
                </c:pt>
                <c:pt idx="3740">
                  <c:v>17.921099999999999</c:v>
                </c:pt>
                <c:pt idx="3741">
                  <c:v>17.626799999999999</c:v>
                </c:pt>
                <c:pt idx="3742">
                  <c:v>17.8734</c:v>
                </c:pt>
                <c:pt idx="3743">
                  <c:v>17.7928</c:v>
                </c:pt>
                <c:pt idx="3744">
                  <c:v>17.9695</c:v>
                </c:pt>
                <c:pt idx="3745">
                  <c:v>17.939499999999999</c:v>
                </c:pt>
                <c:pt idx="3746">
                  <c:v>17.5822</c:v>
                </c:pt>
                <c:pt idx="3747">
                  <c:v>17.606000000000002</c:v>
                </c:pt>
                <c:pt idx="3748">
                  <c:v>17.542000000000002</c:v>
                </c:pt>
                <c:pt idx="3749">
                  <c:v>17.7364</c:v>
                </c:pt>
                <c:pt idx="3750">
                  <c:v>17.696300000000001</c:v>
                </c:pt>
                <c:pt idx="3751">
                  <c:v>17.723400000000002</c:v>
                </c:pt>
                <c:pt idx="3752">
                  <c:v>17.452000000000002</c:v>
                </c:pt>
                <c:pt idx="3753">
                  <c:v>17.670300000000001</c:v>
                </c:pt>
                <c:pt idx="3754">
                  <c:v>17.7591</c:v>
                </c:pt>
                <c:pt idx="3755">
                  <c:v>17.776399999999999</c:v>
                </c:pt>
                <c:pt idx="3756">
                  <c:v>17.777699999999999</c:v>
                </c:pt>
                <c:pt idx="3757">
                  <c:v>17.778400000000001</c:v>
                </c:pt>
                <c:pt idx="3758">
                  <c:v>17.804200000000002</c:v>
                </c:pt>
                <c:pt idx="3759">
                  <c:v>17.8995</c:v>
                </c:pt>
                <c:pt idx="3760">
                  <c:v>17.8018</c:v>
                </c:pt>
                <c:pt idx="3761">
                  <c:v>17.927800000000001</c:v>
                </c:pt>
                <c:pt idx="3762">
                  <c:v>17.9605</c:v>
                </c:pt>
                <c:pt idx="3763">
                  <c:v>17.897600000000001</c:v>
                </c:pt>
                <c:pt idx="3764">
                  <c:v>17.9636</c:v>
                </c:pt>
                <c:pt idx="3765">
                  <c:v>18.003799999999998</c:v>
                </c:pt>
                <c:pt idx="3766">
                  <c:v>18.0091</c:v>
                </c:pt>
                <c:pt idx="3767">
                  <c:v>18.013300000000001</c:v>
                </c:pt>
                <c:pt idx="3768">
                  <c:v>17.997699999999998</c:v>
                </c:pt>
                <c:pt idx="3769">
                  <c:v>18.1052</c:v>
                </c:pt>
                <c:pt idx="3770">
                  <c:v>18.104199999999999</c:v>
                </c:pt>
                <c:pt idx="3771">
                  <c:v>18.122900000000001</c:v>
                </c:pt>
                <c:pt idx="3772">
                  <c:v>18.160799999999998</c:v>
                </c:pt>
                <c:pt idx="3773">
                  <c:v>18.098800000000001</c:v>
                </c:pt>
                <c:pt idx="3774">
                  <c:v>17.788900000000002</c:v>
                </c:pt>
                <c:pt idx="3775">
                  <c:v>17.956800000000001</c:v>
                </c:pt>
                <c:pt idx="3776">
                  <c:v>17.8978</c:v>
                </c:pt>
                <c:pt idx="3777">
                  <c:v>17.739999999999998</c:v>
                </c:pt>
                <c:pt idx="3778">
                  <c:v>17.888400000000001</c:v>
                </c:pt>
                <c:pt idx="3779">
                  <c:v>17.9069</c:v>
                </c:pt>
                <c:pt idx="3780">
                  <c:v>17.758900000000001</c:v>
                </c:pt>
                <c:pt idx="3781">
                  <c:v>17.799099999999999</c:v>
                </c:pt>
                <c:pt idx="3782">
                  <c:v>17.6419</c:v>
                </c:pt>
                <c:pt idx="3783">
                  <c:v>17.7182</c:v>
                </c:pt>
                <c:pt idx="3784">
                  <c:v>17.743200000000002</c:v>
                </c:pt>
                <c:pt idx="3785">
                  <c:v>17.808399999999999</c:v>
                </c:pt>
                <c:pt idx="3786">
                  <c:v>17.6952</c:v>
                </c:pt>
                <c:pt idx="3787">
                  <c:v>17.7743</c:v>
                </c:pt>
                <c:pt idx="3788">
                  <c:v>17.453800000000001</c:v>
                </c:pt>
                <c:pt idx="3789">
                  <c:v>17.661300000000001</c:v>
                </c:pt>
                <c:pt idx="3790">
                  <c:v>17.763200000000001</c:v>
                </c:pt>
                <c:pt idx="3791">
                  <c:v>17.708600000000001</c:v>
                </c:pt>
                <c:pt idx="3792">
                  <c:v>17.663599999999999</c:v>
                </c:pt>
                <c:pt idx="3793">
                  <c:v>17.465699999999998</c:v>
                </c:pt>
                <c:pt idx="3794">
                  <c:v>17.3721</c:v>
                </c:pt>
                <c:pt idx="3795">
                  <c:v>16.9727</c:v>
                </c:pt>
                <c:pt idx="3796">
                  <c:v>17.0672</c:v>
                </c:pt>
                <c:pt idx="3797">
                  <c:v>17.317900000000002</c:v>
                </c:pt>
                <c:pt idx="3798">
                  <c:v>17.3582</c:v>
                </c:pt>
                <c:pt idx="3799">
                  <c:v>17.507000000000001</c:v>
                </c:pt>
                <c:pt idx="3800">
                  <c:v>17.4754</c:v>
                </c:pt>
                <c:pt idx="3801">
                  <c:v>17.3536</c:v>
                </c:pt>
                <c:pt idx="3802">
                  <c:v>17.422899999999998</c:v>
                </c:pt>
                <c:pt idx="3803">
                  <c:v>17.476900000000001</c:v>
                </c:pt>
                <c:pt idx="3804">
                  <c:v>17.321899999999999</c:v>
                </c:pt>
                <c:pt idx="3805">
                  <c:v>17.284199999999998</c:v>
                </c:pt>
                <c:pt idx="3806">
                  <c:v>17.264700000000001</c:v>
                </c:pt>
                <c:pt idx="3807">
                  <c:v>17.2225</c:v>
                </c:pt>
                <c:pt idx="3808">
                  <c:v>17.221599999999999</c:v>
                </c:pt>
                <c:pt idx="3809">
                  <c:v>17.177499999999998</c:v>
                </c:pt>
                <c:pt idx="3810">
                  <c:v>17.122299999999999</c:v>
                </c:pt>
                <c:pt idx="3811">
                  <c:v>17.143699999999999</c:v>
                </c:pt>
                <c:pt idx="3812">
                  <c:v>17.209099999999999</c:v>
                </c:pt>
                <c:pt idx="3813">
                  <c:v>17.2195</c:v>
                </c:pt>
                <c:pt idx="3814">
                  <c:v>17.244399999999999</c:v>
                </c:pt>
                <c:pt idx="3815">
                  <c:v>17.1433</c:v>
                </c:pt>
                <c:pt idx="3816">
                  <c:v>17.120999999999999</c:v>
                </c:pt>
                <c:pt idx="3817">
                  <c:v>17.1434</c:v>
                </c:pt>
                <c:pt idx="3818">
                  <c:v>16.8614</c:v>
                </c:pt>
                <c:pt idx="3819">
                  <c:v>16.906199999999998</c:v>
                </c:pt>
                <c:pt idx="3820">
                  <c:v>16.973199999999999</c:v>
                </c:pt>
                <c:pt idx="3821">
                  <c:v>16.9693</c:v>
                </c:pt>
                <c:pt idx="3822">
                  <c:v>16.963799999999999</c:v>
                </c:pt>
                <c:pt idx="3823">
                  <c:v>16.9101</c:v>
                </c:pt>
                <c:pt idx="3824">
                  <c:v>16.984100000000002</c:v>
                </c:pt>
                <c:pt idx="3825">
                  <c:v>16.9984</c:v>
                </c:pt>
                <c:pt idx="3826">
                  <c:v>16.9344</c:v>
                </c:pt>
                <c:pt idx="3827">
                  <c:v>17.040800000000001</c:v>
                </c:pt>
                <c:pt idx="3828">
                  <c:v>17.1126</c:v>
                </c:pt>
                <c:pt idx="3829">
                  <c:v>17.0063</c:v>
                </c:pt>
                <c:pt idx="3830">
                  <c:v>17.145</c:v>
                </c:pt>
                <c:pt idx="3831">
                  <c:v>17.034600000000001</c:v>
                </c:pt>
                <c:pt idx="3832">
                  <c:v>16.852499999999999</c:v>
                </c:pt>
                <c:pt idx="3833">
                  <c:v>16.843800000000002</c:v>
                </c:pt>
                <c:pt idx="3834">
                  <c:v>16.802700000000002</c:v>
                </c:pt>
                <c:pt idx="3835">
                  <c:v>16.854800000000001</c:v>
                </c:pt>
                <c:pt idx="3836">
                  <c:v>16.831099999999999</c:v>
                </c:pt>
                <c:pt idx="3837">
                  <c:v>16.6829</c:v>
                </c:pt>
                <c:pt idx="3838">
                  <c:v>16.747299999999999</c:v>
                </c:pt>
                <c:pt idx="3839">
                  <c:v>16.601400000000002</c:v>
                </c:pt>
                <c:pt idx="3840">
                  <c:v>16.301400000000001</c:v>
                </c:pt>
                <c:pt idx="3841">
                  <c:v>16.439299999999999</c:v>
                </c:pt>
                <c:pt idx="3842">
                  <c:v>16.6539</c:v>
                </c:pt>
                <c:pt idx="3843">
                  <c:v>16.8139</c:v>
                </c:pt>
                <c:pt idx="3844">
                  <c:v>16.6571</c:v>
                </c:pt>
                <c:pt idx="3845">
                  <c:v>16.619199999999999</c:v>
                </c:pt>
                <c:pt idx="3846">
                  <c:v>16.2577</c:v>
                </c:pt>
                <c:pt idx="3847">
                  <c:v>16.3492</c:v>
                </c:pt>
                <c:pt idx="3848">
                  <c:v>16.32</c:v>
                </c:pt>
                <c:pt idx="3849">
                  <c:v>16.240100000000002</c:v>
                </c:pt>
                <c:pt idx="3850">
                  <c:v>16.167200000000001</c:v>
                </c:pt>
                <c:pt idx="3851">
                  <c:v>16.329599999999999</c:v>
                </c:pt>
                <c:pt idx="3852">
                  <c:v>16.165500000000002</c:v>
                </c:pt>
                <c:pt idx="3853">
                  <c:v>16.419</c:v>
                </c:pt>
                <c:pt idx="3854">
                  <c:v>16.341799999999999</c:v>
                </c:pt>
                <c:pt idx="3855">
                  <c:v>16.3506</c:v>
                </c:pt>
                <c:pt idx="3856">
                  <c:v>16.317699999999999</c:v>
                </c:pt>
                <c:pt idx="3857">
                  <c:v>16.418199999999999</c:v>
                </c:pt>
                <c:pt idx="3858">
                  <c:v>16.576799999999999</c:v>
                </c:pt>
                <c:pt idx="3859">
                  <c:v>16.686800000000002</c:v>
                </c:pt>
                <c:pt idx="3860">
                  <c:v>16.608699999999999</c:v>
                </c:pt>
                <c:pt idx="3861">
                  <c:v>16.664899999999999</c:v>
                </c:pt>
                <c:pt idx="3862">
                  <c:v>16.725999999999999</c:v>
                </c:pt>
                <c:pt idx="3863">
                  <c:v>16.669799999999999</c:v>
                </c:pt>
                <c:pt idx="3864">
                  <c:v>16.7332</c:v>
                </c:pt>
                <c:pt idx="3865">
                  <c:v>16.725000000000001</c:v>
                </c:pt>
                <c:pt idx="3866">
                  <c:v>16.823599999999999</c:v>
                </c:pt>
                <c:pt idx="3867">
                  <c:v>16.738399999999999</c:v>
                </c:pt>
                <c:pt idx="3868">
                  <c:v>16.767199999999999</c:v>
                </c:pt>
                <c:pt idx="3869">
                  <c:v>16.7074</c:v>
                </c:pt>
                <c:pt idx="3870">
                  <c:v>16.7559</c:v>
                </c:pt>
                <c:pt idx="3871">
                  <c:v>16.787099999999999</c:v>
                </c:pt>
                <c:pt idx="3872">
                  <c:v>16.828099999999999</c:v>
                </c:pt>
                <c:pt idx="3873">
                  <c:v>16.861899999999999</c:v>
                </c:pt>
                <c:pt idx="3874">
                  <c:v>16.8306</c:v>
                </c:pt>
                <c:pt idx="3875">
                  <c:v>16.853000000000002</c:v>
                </c:pt>
                <c:pt idx="3876">
                  <c:v>16.792300000000001</c:v>
                </c:pt>
                <c:pt idx="3877">
                  <c:v>16.805900000000001</c:v>
                </c:pt>
                <c:pt idx="3878">
                  <c:v>16.810300000000002</c:v>
                </c:pt>
                <c:pt idx="3879">
                  <c:v>16.841100000000001</c:v>
                </c:pt>
                <c:pt idx="3880">
                  <c:v>16.7605</c:v>
                </c:pt>
                <c:pt idx="3881">
                  <c:v>16.703700000000001</c:v>
                </c:pt>
                <c:pt idx="3882">
                  <c:v>16.6829</c:v>
                </c:pt>
                <c:pt idx="3883">
                  <c:v>16.608599999999999</c:v>
                </c:pt>
                <c:pt idx="3884">
                  <c:v>16.531099999999999</c:v>
                </c:pt>
                <c:pt idx="3885">
                  <c:v>16.638300000000001</c:v>
                </c:pt>
                <c:pt idx="3886">
                  <c:v>16.4268</c:v>
                </c:pt>
                <c:pt idx="3887">
                  <c:v>16.424299999999999</c:v>
                </c:pt>
                <c:pt idx="3888">
                  <c:v>16.4925</c:v>
                </c:pt>
                <c:pt idx="3889">
                  <c:v>15.9092</c:v>
                </c:pt>
                <c:pt idx="3890">
                  <c:v>15.9991</c:v>
                </c:pt>
                <c:pt idx="3891">
                  <c:v>15.865600000000001</c:v>
                </c:pt>
                <c:pt idx="3892">
                  <c:v>16.134699999999999</c:v>
                </c:pt>
                <c:pt idx="3893">
                  <c:v>15.947699999999999</c:v>
                </c:pt>
                <c:pt idx="3894">
                  <c:v>15.869899999999999</c:v>
                </c:pt>
                <c:pt idx="3895">
                  <c:v>16.057500000000001</c:v>
                </c:pt>
                <c:pt idx="3896">
                  <c:v>16.457000000000001</c:v>
                </c:pt>
                <c:pt idx="3897">
                  <c:v>16.4053</c:v>
                </c:pt>
                <c:pt idx="3898">
                  <c:v>16.372699999999998</c:v>
                </c:pt>
                <c:pt idx="3899">
                  <c:v>16.2988</c:v>
                </c:pt>
                <c:pt idx="3900">
                  <c:v>16.209599999999998</c:v>
                </c:pt>
                <c:pt idx="3901">
                  <c:v>16.0627</c:v>
                </c:pt>
                <c:pt idx="3902">
                  <c:v>16.0931</c:v>
                </c:pt>
                <c:pt idx="3903">
                  <c:v>16.2974</c:v>
                </c:pt>
                <c:pt idx="3904">
                  <c:v>16.1982</c:v>
                </c:pt>
                <c:pt idx="3905">
                  <c:v>15.9618</c:v>
                </c:pt>
                <c:pt idx="3906">
                  <c:v>16.188099999999999</c:v>
                </c:pt>
                <c:pt idx="3907">
                  <c:v>16.339300000000001</c:v>
                </c:pt>
                <c:pt idx="3908">
                  <c:v>16.4969</c:v>
                </c:pt>
                <c:pt idx="3909">
                  <c:v>16.480399999999999</c:v>
                </c:pt>
                <c:pt idx="3910">
                  <c:v>16.587199999999999</c:v>
                </c:pt>
                <c:pt idx="3911">
                  <c:v>16.6877</c:v>
                </c:pt>
                <c:pt idx="3912">
                  <c:v>16.679300000000001</c:v>
                </c:pt>
                <c:pt idx="3913">
                  <c:v>16.700199999999999</c:v>
                </c:pt>
                <c:pt idx="3914">
                  <c:v>16.677</c:v>
                </c:pt>
                <c:pt idx="3915">
                  <c:v>16.751300000000001</c:v>
                </c:pt>
                <c:pt idx="3916">
                  <c:v>16.884599999999999</c:v>
                </c:pt>
                <c:pt idx="3917">
                  <c:v>16.877199999999998</c:v>
                </c:pt>
                <c:pt idx="3918">
                  <c:v>16.667100000000001</c:v>
                </c:pt>
                <c:pt idx="3919">
                  <c:v>16.606100000000001</c:v>
                </c:pt>
                <c:pt idx="3920">
                  <c:v>16.3611</c:v>
                </c:pt>
                <c:pt idx="3921">
                  <c:v>16.510899999999999</c:v>
                </c:pt>
                <c:pt idx="3922">
                  <c:v>16.627500000000001</c:v>
                </c:pt>
                <c:pt idx="3923">
                  <c:v>16.630400000000002</c:v>
                </c:pt>
                <c:pt idx="3924">
                  <c:v>16.478100000000001</c:v>
                </c:pt>
                <c:pt idx="3925">
                  <c:v>16.565200000000001</c:v>
                </c:pt>
                <c:pt idx="3926">
                  <c:v>16.389600000000002</c:v>
                </c:pt>
                <c:pt idx="3927">
                  <c:v>16.426100000000002</c:v>
                </c:pt>
                <c:pt idx="3928">
                  <c:v>16.511199999999999</c:v>
                </c:pt>
                <c:pt idx="3929">
                  <c:v>16.0106</c:v>
                </c:pt>
                <c:pt idx="3930">
                  <c:v>15.3697</c:v>
                </c:pt>
                <c:pt idx="3931">
                  <c:v>15.4673</c:v>
                </c:pt>
                <c:pt idx="3932">
                  <c:v>15.7255</c:v>
                </c:pt>
                <c:pt idx="3933">
                  <c:v>15.7989</c:v>
                </c:pt>
                <c:pt idx="3934">
                  <c:v>15.6846</c:v>
                </c:pt>
                <c:pt idx="3935">
                  <c:v>15.7866</c:v>
                </c:pt>
                <c:pt idx="3936">
                  <c:v>15.991199999999999</c:v>
                </c:pt>
                <c:pt idx="3937">
                  <c:v>15.8405</c:v>
                </c:pt>
                <c:pt idx="3938">
                  <c:v>15.5776</c:v>
                </c:pt>
                <c:pt idx="3939">
                  <c:v>15.343</c:v>
                </c:pt>
                <c:pt idx="3940">
                  <c:v>15.4337</c:v>
                </c:pt>
                <c:pt idx="3941">
                  <c:v>15.358499999999999</c:v>
                </c:pt>
                <c:pt idx="3942">
                  <c:v>15.639699999999999</c:v>
                </c:pt>
                <c:pt idx="3943">
                  <c:v>15.661300000000001</c:v>
                </c:pt>
                <c:pt idx="3944">
                  <c:v>15.553800000000001</c:v>
                </c:pt>
                <c:pt idx="3945">
                  <c:v>15.2638</c:v>
                </c:pt>
                <c:pt idx="3946">
                  <c:v>15.4793</c:v>
                </c:pt>
                <c:pt idx="3947">
                  <c:v>15.491400000000001</c:v>
                </c:pt>
                <c:pt idx="3948">
                  <c:v>15.0305</c:v>
                </c:pt>
                <c:pt idx="3949">
                  <c:v>14.8634</c:v>
                </c:pt>
                <c:pt idx="3950">
                  <c:v>14.680300000000001</c:v>
                </c:pt>
                <c:pt idx="3951">
                  <c:v>14.7212</c:v>
                </c:pt>
                <c:pt idx="3952">
                  <c:v>14.574999999999999</c:v>
                </c:pt>
                <c:pt idx="3953">
                  <c:v>13.9777</c:v>
                </c:pt>
                <c:pt idx="3954">
                  <c:v>14.448600000000001</c:v>
                </c:pt>
                <c:pt idx="3955">
                  <c:v>14.4373</c:v>
                </c:pt>
                <c:pt idx="3956">
                  <c:v>14.0572</c:v>
                </c:pt>
                <c:pt idx="3957">
                  <c:v>14.1768</c:v>
                </c:pt>
                <c:pt idx="3958">
                  <c:v>13.872400000000001</c:v>
                </c:pt>
                <c:pt idx="3959">
                  <c:v>13.3378</c:v>
                </c:pt>
                <c:pt idx="3960">
                  <c:v>13.158799999999999</c:v>
                </c:pt>
                <c:pt idx="3961">
                  <c:v>13.0954</c:v>
                </c:pt>
                <c:pt idx="3962">
                  <c:v>13.740500000000001</c:v>
                </c:pt>
                <c:pt idx="3963">
                  <c:v>13.465400000000001</c:v>
                </c:pt>
                <c:pt idx="3964">
                  <c:v>13.590400000000001</c:v>
                </c:pt>
                <c:pt idx="3965">
                  <c:v>13.7544</c:v>
                </c:pt>
                <c:pt idx="3966">
                  <c:v>13.723100000000001</c:v>
                </c:pt>
                <c:pt idx="3967">
                  <c:v>14.1587</c:v>
                </c:pt>
                <c:pt idx="3968">
                  <c:v>14.242800000000001</c:v>
                </c:pt>
                <c:pt idx="3969">
                  <c:v>14.3561</c:v>
                </c:pt>
                <c:pt idx="3970">
                  <c:v>14.2986</c:v>
                </c:pt>
                <c:pt idx="3971">
                  <c:v>14.3956</c:v>
                </c:pt>
                <c:pt idx="3972">
                  <c:v>14.2179</c:v>
                </c:pt>
                <c:pt idx="3973">
                  <c:v>14.1716</c:v>
                </c:pt>
                <c:pt idx="3974">
                  <c:v>14.1556</c:v>
                </c:pt>
                <c:pt idx="3975">
                  <c:v>14.1942</c:v>
                </c:pt>
                <c:pt idx="3976">
                  <c:v>14.4626</c:v>
                </c:pt>
                <c:pt idx="3977">
                  <c:v>14.427899999999999</c:v>
                </c:pt>
                <c:pt idx="3978">
                  <c:v>14.282400000000001</c:v>
                </c:pt>
                <c:pt idx="3979">
                  <c:v>14.340199999999999</c:v>
                </c:pt>
                <c:pt idx="3980">
                  <c:v>14.4053</c:v>
                </c:pt>
                <c:pt idx="3981">
                  <c:v>14.3939</c:v>
                </c:pt>
                <c:pt idx="3982">
                  <c:v>14.1599</c:v>
                </c:pt>
                <c:pt idx="3983">
                  <c:v>14.0709</c:v>
                </c:pt>
                <c:pt idx="3984">
                  <c:v>14.2502</c:v>
                </c:pt>
                <c:pt idx="3985">
                  <c:v>14.1557</c:v>
                </c:pt>
                <c:pt idx="3986">
                  <c:v>14.075799999999999</c:v>
                </c:pt>
                <c:pt idx="3987">
                  <c:v>14.053599999999999</c:v>
                </c:pt>
                <c:pt idx="3988">
                  <c:v>14.120900000000001</c:v>
                </c:pt>
                <c:pt idx="3989">
                  <c:v>14.1198</c:v>
                </c:pt>
                <c:pt idx="3990">
                  <c:v>14.0992</c:v>
                </c:pt>
                <c:pt idx="3991">
                  <c:v>13.9894</c:v>
                </c:pt>
                <c:pt idx="3992">
                  <c:v>14.0997</c:v>
                </c:pt>
                <c:pt idx="3993">
                  <c:v>14.145899999999999</c:v>
                </c:pt>
                <c:pt idx="3994">
                  <c:v>13.8889</c:v>
                </c:pt>
                <c:pt idx="3995">
                  <c:v>13.5953</c:v>
                </c:pt>
                <c:pt idx="3996">
                  <c:v>13.450699999999999</c:v>
                </c:pt>
                <c:pt idx="3997">
                  <c:v>13.5105</c:v>
                </c:pt>
                <c:pt idx="3998">
                  <c:v>13.551500000000001</c:v>
                </c:pt>
                <c:pt idx="3999">
                  <c:v>13.629200000000001</c:v>
                </c:pt>
                <c:pt idx="4000">
                  <c:v>13.410399999999999</c:v>
                </c:pt>
                <c:pt idx="4001">
                  <c:v>13.4573</c:v>
                </c:pt>
                <c:pt idx="4002">
                  <c:v>13.3017</c:v>
                </c:pt>
                <c:pt idx="4003">
                  <c:v>13.1831</c:v>
                </c:pt>
                <c:pt idx="4004">
                  <c:v>12.937799999999999</c:v>
                </c:pt>
                <c:pt idx="4005">
                  <c:v>12.5627</c:v>
                </c:pt>
                <c:pt idx="4006">
                  <c:v>12.6197</c:v>
                </c:pt>
                <c:pt idx="4007">
                  <c:v>12.807600000000001</c:v>
                </c:pt>
                <c:pt idx="4008">
                  <c:v>12.676500000000001</c:v>
                </c:pt>
                <c:pt idx="4009">
                  <c:v>12.9506</c:v>
                </c:pt>
                <c:pt idx="4010">
                  <c:v>12.9406</c:v>
                </c:pt>
                <c:pt idx="4011">
                  <c:v>13.0886</c:v>
                </c:pt>
                <c:pt idx="4012">
                  <c:v>12.9268</c:v>
                </c:pt>
                <c:pt idx="4013">
                  <c:v>12.757400000000001</c:v>
                </c:pt>
                <c:pt idx="4014">
                  <c:v>12.8253</c:v>
                </c:pt>
                <c:pt idx="4015">
                  <c:v>13.0037</c:v>
                </c:pt>
                <c:pt idx="4016">
                  <c:v>12.876200000000001</c:v>
                </c:pt>
                <c:pt idx="4017">
                  <c:v>12.957700000000001</c:v>
                </c:pt>
                <c:pt idx="4018">
                  <c:v>13.0586</c:v>
                </c:pt>
                <c:pt idx="4019">
                  <c:v>13.246499999999999</c:v>
                </c:pt>
                <c:pt idx="4020">
                  <c:v>13.3315</c:v>
                </c:pt>
                <c:pt idx="4021">
                  <c:v>13.2125</c:v>
                </c:pt>
                <c:pt idx="4022">
                  <c:v>13.0532</c:v>
                </c:pt>
                <c:pt idx="4023">
                  <c:v>13.1508</c:v>
                </c:pt>
                <c:pt idx="4024">
                  <c:v>13.1197</c:v>
                </c:pt>
                <c:pt idx="4025">
                  <c:v>13.2303</c:v>
                </c:pt>
                <c:pt idx="4026">
                  <c:v>13.1927</c:v>
                </c:pt>
                <c:pt idx="4027">
                  <c:v>13.093400000000001</c:v>
                </c:pt>
                <c:pt idx="4028">
                  <c:v>12.9071</c:v>
                </c:pt>
                <c:pt idx="4029">
                  <c:v>12.510300000000001</c:v>
                </c:pt>
                <c:pt idx="4030">
                  <c:v>12.186199999999999</c:v>
                </c:pt>
                <c:pt idx="4031">
                  <c:v>12.0359</c:v>
                </c:pt>
                <c:pt idx="4032">
                  <c:v>12.1935</c:v>
                </c:pt>
                <c:pt idx="4033">
                  <c:v>11.910500000000001</c:v>
                </c:pt>
                <c:pt idx="4034">
                  <c:v>11.8988</c:v>
                </c:pt>
                <c:pt idx="4035">
                  <c:v>11.973100000000001</c:v>
                </c:pt>
                <c:pt idx="4036">
                  <c:v>12.0206</c:v>
                </c:pt>
                <c:pt idx="4037">
                  <c:v>11.9389</c:v>
                </c:pt>
                <c:pt idx="4038">
                  <c:v>11.833399999999999</c:v>
                </c:pt>
                <c:pt idx="4039">
                  <c:v>12.146000000000001</c:v>
                </c:pt>
                <c:pt idx="4040">
                  <c:v>12.213200000000001</c:v>
                </c:pt>
                <c:pt idx="4041">
                  <c:v>12.2401</c:v>
                </c:pt>
                <c:pt idx="4042">
                  <c:v>12.135899999999999</c:v>
                </c:pt>
                <c:pt idx="4043">
                  <c:v>11.960100000000001</c:v>
                </c:pt>
                <c:pt idx="4044">
                  <c:v>11.918799999999999</c:v>
                </c:pt>
                <c:pt idx="4045">
                  <c:v>11.9923</c:v>
                </c:pt>
                <c:pt idx="4046">
                  <c:v>11.6859</c:v>
                </c:pt>
                <c:pt idx="4047">
                  <c:v>11.786300000000001</c:v>
                </c:pt>
                <c:pt idx="4048">
                  <c:v>11.9976</c:v>
                </c:pt>
                <c:pt idx="4049">
                  <c:v>12.0616</c:v>
                </c:pt>
                <c:pt idx="4050">
                  <c:v>11.9611</c:v>
                </c:pt>
                <c:pt idx="4051">
                  <c:v>12.008800000000001</c:v>
                </c:pt>
                <c:pt idx="4052">
                  <c:v>11.9132</c:v>
                </c:pt>
                <c:pt idx="4053">
                  <c:v>11.697800000000001</c:v>
                </c:pt>
                <c:pt idx="4054">
                  <c:v>11.933400000000001</c:v>
                </c:pt>
                <c:pt idx="4055">
                  <c:v>12.057399999999999</c:v>
                </c:pt>
                <c:pt idx="4056">
                  <c:v>12.2524</c:v>
                </c:pt>
                <c:pt idx="4057">
                  <c:v>12.231400000000001</c:v>
                </c:pt>
                <c:pt idx="4058">
                  <c:v>12.2996</c:v>
                </c:pt>
                <c:pt idx="4059">
                  <c:v>12.3459</c:v>
                </c:pt>
                <c:pt idx="4060">
                  <c:v>12.3665</c:v>
                </c:pt>
                <c:pt idx="4061">
                  <c:v>12.339499999999999</c:v>
                </c:pt>
                <c:pt idx="4062">
                  <c:v>12.3781</c:v>
                </c:pt>
                <c:pt idx="4063">
                  <c:v>12.504300000000001</c:v>
                </c:pt>
                <c:pt idx="4064">
                  <c:v>12.634</c:v>
                </c:pt>
                <c:pt idx="4065">
                  <c:v>12.578900000000001</c:v>
                </c:pt>
                <c:pt idx="4066">
                  <c:v>12.4854</c:v>
                </c:pt>
                <c:pt idx="4067">
                  <c:v>12.497</c:v>
                </c:pt>
                <c:pt idx="4068">
                  <c:v>12.522600000000001</c:v>
                </c:pt>
                <c:pt idx="4069">
                  <c:v>12.4031</c:v>
                </c:pt>
                <c:pt idx="4070">
                  <c:v>12.4788</c:v>
                </c:pt>
                <c:pt idx="4071">
                  <c:v>12.3904</c:v>
                </c:pt>
                <c:pt idx="4072">
                  <c:v>12.507199999999999</c:v>
                </c:pt>
                <c:pt idx="4073">
                  <c:v>12.5604</c:v>
                </c:pt>
                <c:pt idx="4074">
                  <c:v>12.5464</c:v>
                </c:pt>
                <c:pt idx="4075">
                  <c:v>12.5402</c:v>
                </c:pt>
                <c:pt idx="4076">
                  <c:v>12.5496</c:v>
                </c:pt>
                <c:pt idx="4077">
                  <c:v>12.4305</c:v>
                </c:pt>
                <c:pt idx="4078">
                  <c:v>12.4604</c:v>
                </c:pt>
                <c:pt idx="4079">
                  <c:v>12.3485</c:v>
                </c:pt>
                <c:pt idx="4080">
                  <c:v>12.198499999999999</c:v>
                </c:pt>
                <c:pt idx="4081">
                  <c:v>12.140700000000001</c:v>
                </c:pt>
                <c:pt idx="4082">
                  <c:v>12.151999999999999</c:v>
                </c:pt>
                <c:pt idx="4083">
                  <c:v>12.192600000000001</c:v>
                </c:pt>
                <c:pt idx="4084">
                  <c:v>11.994199999999999</c:v>
                </c:pt>
                <c:pt idx="4085">
                  <c:v>11.8947</c:v>
                </c:pt>
                <c:pt idx="4086">
                  <c:v>11.8276</c:v>
                </c:pt>
                <c:pt idx="4087">
                  <c:v>11.6989</c:v>
                </c:pt>
                <c:pt idx="4088">
                  <c:v>11.466100000000001</c:v>
                </c:pt>
                <c:pt idx="4089">
                  <c:v>11.7074</c:v>
                </c:pt>
                <c:pt idx="4090">
                  <c:v>11.626200000000001</c:v>
                </c:pt>
                <c:pt idx="4091">
                  <c:v>11.656000000000001</c:v>
                </c:pt>
                <c:pt idx="4092">
                  <c:v>11.6119</c:v>
                </c:pt>
                <c:pt idx="4093">
                  <c:v>11.675700000000001</c:v>
                </c:pt>
                <c:pt idx="4094">
                  <c:v>11.882999999999999</c:v>
                </c:pt>
                <c:pt idx="4095">
                  <c:v>12.1092</c:v>
                </c:pt>
                <c:pt idx="4096">
                  <c:v>11.8919</c:v>
                </c:pt>
                <c:pt idx="4097">
                  <c:v>11.7864</c:v>
                </c:pt>
                <c:pt idx="4098">
                  <c:v>11.6988</c:v>
                </c:pt>
                <c:pt idx="4099">
                  <c:v>11.4816</c:v>
                </c:pt>
                <c:pt idx="4100">
                  <c:v>11.479900000000001</c:v>
                </c:pt>
                <c:pt idx="4101">
                  <c:v>11.338800000000001</c:v>
                </c:pt>
                <c:pt idx="4102">
                  <c:v>11.3919</c:v>
                </c:pt>
                <c:pt idx="4103">
                  <c:v>11.1692</c:v>
                </c:pt>
                <c:pt idx="4104">
                  <c:v>10.854100000000001</c:v>
                </c:pt>
                <c:pt idx="4105">
                  <c:v>10.783899999999999</c:v>
                </c:pt>
                <c:pt idx="4106">
                  <c:v>10.761699999999999</c:v>
                </c:pt>
                <c:pt idx="4107">
                  <c:v>10.819599999999999</c:v>
                </c:pt>
                <c:pt idx="4108">
                  <c:v>10.6509</c:v>
                </c:pt>
                <c:pt idx="4109">
                  <c:v>10.7882</c:v>
                </c:pt>
                <c:pt idx="4110">
                  <c:v>10.8757</c:v>
                </c:pt>
                <c:pt idx="4111">
                  <c:v>11.261699999999999</c:v>
                </c:pt>
                <c:pt idx="4112">
                  <c:v>11.135</c:v>
                </c:pt>
                <c:pt idx="4113">
                  <c:v>11.051399999999999</c:v>
                </c:pt>
                <c:pt idx="4114">
                  <c:v>10.9093</c:v>
                </c:pt>
                <c:pt idx="4115">
                  <c:v>10.851699999999999</c:v>
                </c:pt>
                <c:pt idx="4116">
                  <c:v>10.816700000000001</c:v>
                </c:pt>
                <c:pt idx="4117">
                  <c:v>10.726599999999999</c:v>
                </c:pt>
                <c:pt idx="4118">
                  <c:v>10.848599999999999</c:v>
                </c:pt>
                <c:pt idx="4119">
                  <c:v>10.8979</c:v>
                </c:pt>
                <c:pt idx="4120">
                  <c:v>11.1456</c:v>
                </c:pt>
                <c:pt idx="4121">
                  <c:v>11.1982</c:v>
                </c:pt>
                <c:pt idx="4122">
                  <c:v>11.1149</c:v>
                </c:pt>
                <c:pt idx="4123">
                  <c:v>11.1569</c:v>
                </c:pt>
                <c:pt idx="4124">
                  <c:v>11.105499999999999</c:v>
                </c:pt>
                <c:pt idx="4125">
                  <c:v>11.2753</c:v>
                </c:pt>
                <c:pt idx="4126">
                  <c:v>11.458399999999999</c:v>
                </c:pt>
                <c:pt idx="4127">
                  <c:v>11.5518</c:v>
                </c:pt>
                <c:pt idx="4128">
                  <c:v>11.523999999999999</c:v>
                </c:pt>
                <c:pt idx="4129">
                  <c:v>11.451700000000001</c:v>
                </c:pt>
                <c:pt idx="4130">
                  <c:v>11.484999999999999</c:v>
                </c:pt>
                <c:pt idx="4131">
                  <c:v>11.561</c:v>
                </c:pt>
                <c:pt idx="4132">
                  <c:v>11.514200000000001</c:v>
                </c:pt>
                <c:pt idx="4133">
                  <c:v>11.3901</c:v>
                </c:pt>
                <c:pt idx="4134">
                  <c:v>11.641</c:v>
                </c:pt>
                <c:pt idx="4135">
                  <c:v>11.7126</c:v>
                </c:pt>
                <c:pt idx="4136">
                  <c:v>11.817500000000001</c:v>
                </c:pt>
                <c:pt idx="4137">
                  <c:v>11.767799999999999</c:v>
                </c:pt>
                <c:pt idx="4138">
                  <c:v>12.0801</c:v>
                </c:pt>
                <c:pt idx="4139">
                  <c:v>12.1113</c:v>
                </c:pt>
                <c:pt idx="4140">
                  <c:v>12.148999999999999</c:v>
                </c:pt>
                <c:pt idx="4141">
                  <c:v>12.2468</c:v>
                </c:pt>
                <c:pt idx="4142">
                  <c:v>12.1348</c:v>
                </c:pt>
                <c:pt idx="4143">
                  <c:v>12.0672</c:v>
                </c:pt>
                <c:pt idx="4144">
                  <c:v>12.1974</c:v>
                </c:pt>
                <c:pt idx="4145">
                  <c:v>12.152200000000001</c:v>
                </c:pt>
                <c:pt idx="4146">
                  <c:v>12.2234</c:v>
                </c:pt>
                <c:pt idx="4147">
                  <c:v>12.314399999999999</c:v>
                </c:pt>
                <c:pt idx="4148">
                  <c:v>12.3843</c:v>
                </c:pt>
                <c:pt idx="4149">
                  <c:v>12.382999999999999</c:v>
                </c:pt>
                <c:pt idx="4150">
                  <c:v>12.299099999999999</c:v>
                </c:pt>
                <c:pt idx="4151">
                  <c:v>12.2781</c:v>
                </c:pt>
                <c:pt idx="4152">
                  <c:v>12.335800000000001</c:v>
                </c:pt>
                <c:pt idx="4153">
                  <c:v>12.5137</c:v>
                </c:pt>
                <c:pt idx="4154">
                  <c:v>12.5198</c:v>
                </c:pt>
                <c:pt idx="4155">
                  <c:v>12.470800000000001</c:v>
                </c:pt>
                <c:pt idx="4156">
                  <c:v>12.389699999999999</c:v>
                </c:pt>
                <c:pt idx="4157">
                  <c:v>12.3385</c:v>
                </c:pt>
                <c:pt idx="4158">
                  <c:v>12.3188</c:v>
                </c:pt>
                <c:pt idx="4159">
                  <c:v>12.430199999999999</c:v>
                </c:pt>
                <c:pt idx="4160">
                  <c:v>12.356</c:v>
                </c:pt>
                <c:pt idx="4161">
                  <c:v>12.5318</c:v>
                </c:pt>
                <c:pt idx="4162">
                  <c:v>12.533899999999999</c:v>
                </c:pt>
                <c:pt idx="4163">
                  <c:v>12.1639</c:v>
                </c:pt>
                <c:pt idx="4164">
                  <c:v>12.027799999999999</c:v>
                </c:pt>
                <c:pt idx="4165">
                  <c:v>12.1044</c:v>
                </c:pt>
                <c:pt idx="4166">
                  <c:v>12.064500000000001</c:v>
                </c:pt>
                <c:pt idx="4167">
                  <c:v>12.2791</c:v>
                </c:pt>
                <c:pt idx="4168">
                  <c:v>12.1577</c:v>
                </c:pt>
                <c:pt idx="4169">
                  <c:v>12.1623</c:v>
                </c:pt>
                <c:pt idx="4170">
                  <c:v>12.164300000000001</c:v>
                </c:pt>
                <c:pt idx="4171">
                  <c:v>12.180300000000001</c:v>
                </c:pt>
                <c:pt idx="4172">
                  <c:v>12.168900000000001</c:v>
                </c:pt>
                <c:pt idx="4173">
                  <c:v>12.257999999999999</c:v>
                </c:pt>
                <c:pt idx="4174">
                  <c:v>12.1082</c:v>
                </c:pt>
                <c:pt idx="4175">
                  <c:v>12.2446</c:v>
                </c:pt>
                <c:pt idx="4176">
                  <c:v>12.402699999999999</c:v>
                </c:pt>
                <c:pt idx="4177">
                  <c:v>12.593</c:v>
                </c:pt>
                <c:pt idx="4178">
                  <c:v>12.572100000000001</c:v>
                </c:pt>
                <c:pt idx="4179">
                  <c:v>12.713900000000001</c:v>
                </c:pt>
                <c:pt idx="4180">
                  <c:v>12.8339</c:v>
                </c:pt>
                <c:pt idx="4181">
                  <c:v>12.7563</c:v>
                </c:pt>
                <c:pt idx="4182">
                  <c:v>12.8109</c:v>
                </c:pt>
                <c:pt idx="4183">
                  <c:v>12.8955</c:v>
                </c:pt>
                <c:pt idx="4184">
                  <c:v>12.96</c:v>
                </c:pt>
                <c:pt idx="4185">
                  <c:v>13.033799999999999</c:v>
                </c:pt>
                <c:pt idx="4186">
                  <c:v>13.1006</c:v>
                </c:pt>
                <c:pt idx="4187">
                  <c:v>13.1304</c:v>
                </c:pt>
                <c:pt idx="4188">
                  <c:v>12.9077</c:v>
                </c:pt>
                <c:pt idx="4189">
                  <c:v>13.0601</c:v>
                </c:pt>
                <c:pt idx="4190">
                  <c:v>13.1252</c:v>
                </c:pt>
                <c:pt idx="4191">
                  <c:v>13.098800000000001</c:v>
                </c:pt>
                <c:pt idx="4192">
                  <c:v>13.045199999999999</c:v>
                </c:pt>
                <c:pt idx="4193">
                  <c:v>13.0884</c:v>
                </c:pt>
                <c:pt idx="4194">
                  <c:v>13.127000000000001</c:v>
                </c:pt>
                <c:pt idx="4195">
                  <c:v>13.110799999999999</c:v>
                </c:pt>
                <c:pt idx="4196">
                  <c:v>13.016999999999999</c:v>
                </c:pt>
                <c:pt idx="4197">
                  <c:v>13.0764</c:v>
                </c:pt>
                <c:pt idx="4198">
                  <c:v>13.2148</c:v>
                </c:pt>
                <c:pt idx="4199">
                  <c:v>13.2464</c:v>
                </c:pt>
                <c:pt idx="4200">
                  <c:v>13.141500000000001</c:v>
                </c:pt>
                <c:pt idx="4201">
                  <c:v>13.3284</c:v>
                </c:pt>
                <c:pt idx="4202">
                  <c:v>13.319000000000001</c:v>
                </c:pt>
                <c:pt idx="4203">
                  <c:v>13.520899999999999</c:v>
                </c:pt>
                <c:pt idx="4204">
                  <c:v>13.390599999999999</c:v>
                </c:pt>
                <c:pt idx="4205">
                  <c:v>13.539199999999999</c:v>
                </c:pt>
                <c:pt idx="4206">
                  <c:v>13.486599999999999</c:v>
                </c:pt>
                <c:pt idx="4207">
                  <c:v>13.4916</c:v>
                </c:pt>
                <c:pt idx="4208">
                  <c:v>13.5136</c:v>
                </c:pt>
                <c:pt idx="4209">
                  <c:v>13.500299999999999</c:v>
                </c:pt>
                <c:pt idx="4210">
                  <c:v>13.514099999999999</c:v>
                </c:pt>
                <c:pt idx="4211">
                  <c:v>13.4679</c:v>
                </c:pt>
                <c:pt idx="4212">
                  <c:v>13.43</c:v>
                </c:pt>
                <c:pt idx="4213">
                  <c:v>13.301500000000001</c:v>
                </c:pt>
                <c:pt idx="4214">
                  <c:v>13.138400000000001</c:v>
                </c:pt>
                <c:pt idx="4215">
                  <c:v>13.179</c:v>
                </c:pt>
                <c:pt idx="4216">
                  <c:v>13.1303</c:v>
                </c:pt>
                <c:pt idx="4217">
                  <c:v>13.053800000000001</c:v>
                </c:pt>
                <c:pt idx="4218">
                  <c:v>13.1036</c:v>
                </c:pt>
                <c:pt idx="4219">
                  <c:v>13.2325</c:v>
                </c:pt>
                <c:pt idx="4220">
                  <c:v>13.242100000000001</c:v>
                </c:pt>
                <c:pt idx="4221">
                  <c:v>13.1244</c:v>
                </c:pt>
                <c:pt idx="4222">
                  <c:v>13.121700000000001</c:v>
                </c:pt>
                <c:pt idx="4223">
                  <c:v>13.091100000000001</c:v>
                </c:pt>
                <c:pt idx="4224">
                  <c:v>12.929600000000001</c:v>
                </c:pt>
                <c:pt idx="4225">
                  <c:v>12.638500000000001</c:v>
                </c:pt>
                <c:pt idx="4226">
                  <c:v>12.842700000000001</c:v>
                </c:pt>
                <c:pt idx="4227">
                  <c:v>12.4336</c:v>
                </c:pt>
                <c:pt idx="4228">
                  <c:v>12.5709</c:v>
                </c:pt>
                <c:pt idx="4229">
                  <c:v>12.4376</c:v>
                </c:pt>
                <c:pt idx="4230">
                  <c:v>12.4778</c:v>
                </c:pt>
                <c:pt idx="4231">
                  <c:v>12.6568</c:v>
                </c:pt>
                <c:pt idx="4232">
                  <c:v>12.6843</c:v>
                </c:pt>
                <c:pt idx="4233">
                  <c:v>12.68</c:v>
                </c:pt>
                <c:pt idx="4234">
                  <c:v>12.484500000000001</c:v>
                </c:pt>
                <c:pt idx="4235">
                  <c:v>12.6089</c:v>
                </c:pt>
                <c:pt idx="4236">
                  <c:v>12.6106</c:v>
                </c:pt>
                <c:pt idx="4237">
                  <c:v>12.7761</c:v>
                </c:pt>
                <c:pt idx="4238">
                  <c:v>12.9503</c:v>
                </c:pt>
                <c:pt idx="4239">
                  <c:v>13.0406</c:v>
                </c:pt>
                <c:pt idx="4240">
                  <c:v>13.045999999999999</c:v>
                </c:pt>
                <c:pt idx="4241">
                  <c:v>13.069699999999999</c:v>
                </c:pt>
                <c:pt idx="4242">
                  <c:v>13.046799999999999</c:v>
                </c:pt>
                <c:pt idx="4243">
                  <c:v>13.1249</c:v>
                </c:pt>
                <c:pt idx="4244">
                  <c:v>13.1252</c:v>
                </c:pt>
                <c:pt idx="4245">
                  <c:v>13.111000000000001</c:v>
                </c:pt>
                <c:pt idx="4246">
                  <c:v>13.2028</c:v>
                </c:pt>
                <c:pt idx="4247">
                  <c:v>13.255100000000001</c:v>
                </c:pt>
                <c:pt idx="4248">
                  <c:v>13.3139</c:v>
                </c:pt>
                <c:pt idx="4249">
                  <c:v>13.3781</c:v>
                </c:pt>
                <c:pt idx="4250">
                  <c:v>13.3543</c:v>
                </c:pt>
                <c:pt idx="4251">
                  <c:v>13.4072</c:v>
                </c:pt>
                <c:pt idx="4252">
                  <c:v>13.3963</c:v>
                </c:pt>
                <c:pt idx="4253">
                  <c:v>13.366899999999999</c:v>
                </c:pt>
                <c:pt idx="4254">
                  <c:v>13.4175</c:v>
                </c:pt>
                <c:pt idx="4255">
                  <c:v>13.4191</c:v>
                </c:pt>
                <c:pt idx="4256">
                  <c:v>13.3637</c:v>
                </c:pt>
                <c:pt idx="4257">
                  <c:v>13.263400000000001</c:v>
                </c:pt>
                <c:pt idx="4258">
                  <c:v>13.277200000000001</c:v>
                </c:pt>
                <c:pt idx="4259">
                  <c:v>13.3428</c:v>
                </c:pt>
                <c:pt idx="4260">
                  <c:v>13.338100000000001</c:v>
                </c:pt>
                <c:pt idx="4261">
                  <c:v>13.167400000000001</c:v>
                </c:pt>
                <c:pt idx="4262">
                  <c:v>13.2052</c:v>
                </c:pt>
                <c:pt idx="4263">
                  <c:v>13.1012</c:v>
                </c:pt>
                <c:pt idx="4264">
                  <c:v>13.2371</c:v>
                </c:pt>
                <c:pt idx="4265">
                  <c:v>13.285</c:v>
                </c:pt>
                <c:pt idx="4266">
                  <c:v>13.2209</c:v>
                </c:pt>
                <c:pt idx="4267">
                  <c:v>13.1563</c:v>
                </c:pt>
                <c:pt idx="4268">
                  <c:v>13.1348</c:v>
                </c:pt>
                <c:pt idx="4269">
                  <c:v>13.164</c:v>
                </c:pt>
                <c:pt idx="4270">
                  <c:v>13.1769</c:v>
                </c:pt>
                <c:pt idx="4271">
                  <c:v>13.1084</c:v>
                </c:pt>
                <c:pt idx="4272">
                  <c:v>13.0609</c:v>
                </c:pt>
                <c:pt idx="4273">
                  <c:v>13.0886</c:v>
                </c:pt>
                <c:pt idx="4274">
                  <c:v>13.1783</c:v>
                </c:pt>
                <c:pt idx="4275">
                  <c:v>13.1739</c:v>
                </c:pt>
                <c:pt idx="4276">
                  <c:v>13.065099999999999</c:v>
                </c:pt>
                <c:pt idx="4277">
                  <c:v>12.8286</c:v>
                </c:pt>
                <c:pt idx="4278">
                  <c:v>12.7775</c:v>
                </c:pt>
                <c:pt idx="4279">
                  <c:v>12.9244</c:v>
                </c:pt>
                <c:pt idx="4280">
                  <c:v>12.9078</c:v>
                </c:pt>
                <c:pt idx="4281">
                  <c:v>12.7858</c:v>
                </c:pt>
                <c:pt idx="4282">
                  <c:v>12.629300000000001</c:v>
                </c:pt>
                <c:pt idx="4283">
                  <c:v>12.7433</c:v>
                </c:pt>
                <c:pt idx="4284">
                  <c:v>12.929</c:v>
                </c:pt>
                <c:pt idx="4285">
                  <c:v>12.8691</c:v>
                </c:pt>
                <c:pt idx="4286">
                  <c:v>12.900600000000001</c:v>
                </c:pt>
                <c:pt idx="4287">
                  <c:v>12.900499999999999</c:v>
                </c:pt>
                <c:pt idx="4288">
                  <c:v>12.911899999999999</c:v>
                </c:pt>
                <c:pt idx="4289">
                  <c:v>12.8895</c:v>
                </c:pt>
                <c:pt idx="4290">
                  <c:v>12.920500000000001</c:v>
                </c:pt>
                <c:pt idx="4291">
                  <c:v>12.948700000000001</c:v>
                </c:pt>
                <c:pt idx="4292">
                  <c:v>13.0124</c:v>
                </c:pt>
                <c:pt idx="4293">
                  <c:v>13.0159</c:v>
                </c:pt>
                <c:pt idx="4294">
                  <c:v>13.1022</c:v>
                </c:pt>
                <c:pt idx="4295">
                  <c:v>12.9544</c:v>
                </c:pt>
                <c:pt idx="4296">
                  <c:v>12.888299999999999</c:v>
                </c:pt>
                <c:pt idx="4297">
                  <c:v>12.847300000000001</c:v>
                </c:pt>
                <c:pt idx="4298">
                  <c:v>12.785299999999999</c:v>
                </c:pt>
                <c:pt idx="4299">
                  <c:v>12.730499999999999</c:v>
                </c:pt>
                <c:pt idx="4300">
                  <c:v>12.7293</c:v>
                </c:pt>
                <c:pt idx="4301">
                  <c:v>12.7415</c:v>
                </c:pt>
                <c:pt idx="4302">
                  <c:v>12.8391</c:v>
                </c:pt>
                <c:pt idx="4303">
                  <c:v>12.854200000000001</c:v>
                </c:pt>
                <c:pt idx="4304">
                  <c:v>13.021699999999999</c:v>
                </c:pt>
                <c:pt idx="4305">
                  <c:v>12.995799999999999</c:v>
                </c:pt>
                <c:pt idx="4306">
                  <c:v>12.996600000000001</c:v>
                </c:pt>
                <c:pt idx="4307">
                  <c:v>12.8965</c:v>
                </c:pt>
                <c:pt idx="4308">
                  <c:v>12.599399999999999</c:v>
                </c:pt>
                <c:pt idx="4309">
                  <c:v>12.6412</c:v>
                </c:pt>
                <c:pt idx="4310">
                  <c:v>12.6782</c:v>
                </c:pt>
                <c:pt idx="4311">
                  <c:v>12.766999999999999</c:v>
                </c:pt>
                <c:pt idx="4312">
                  <c:v>12.9917</c:v>
                </c:pt>
                <c:pt idx="4313">
                  <c:v>13.086399999999999</c:v>
                </c:pt>
                <c:pt idx="4314">
                  <c:v>13.0977</c:v>
                </c:pt>
                <c:pt idx="4315">
                  <c:v>13.0342</c:v>
                </c:pt>
                <c:pt idx="4316">
                  <c:v>13.131600000000001</c:v>
                </c:pt>
                <c:pt idx="4317">
                  <c:v>13.1769</c:v>
                </c:pt>
                <c:pt idx="4318">
                  <c:v>13.228</c:v>
                </c:pt>
                <c:pt idx="4319">
                  <c:v>13.2691</c:v>
                </c:pt>
                <c:pt idx="4320">
                  <c:v>13.2783</c:v>
                </c:pt>
                <c:pt idx="4321">
                  <c:v>13.3306</c:v>
                </c:pt>
                <c:pt idx="4322">
                  <c:v>13.2525</c:v>
                </c:pt>
                <c:pt idx="4323">
                  <c:v>13.3803</c:v>
                </c:pt>
                <c:pt idx="4324">
                  <c:v>13.357100000000001</c:v>
                </c:pt>
                <c:pt idx="4325">
                  <c:v>13.347200000000001</c:v>
                </c:pt>
                <c:pt idx="4326">
                  <c:v>13.2194</c:v>
                </c:pt>
                <c:pt idx="4327">
                  <c:v>13.0358</c:v>
                </c:pt>
                <c:pt idx="4328">
                  <c:v>12.942600000000001</c:v>
                </c:pt>
                <c:pt idx="4329">
                  <c:v>12.983599999999999</c:v>
                </c:pt>
                <c:pt idx="4330">
                  <c:v>13.013199999999999</c:v>
                </c:pt>
                <c:pt idx="4331">
                  <c:v>12.9732</c:v>
                </c:pt>
                <c:pt idx="4332">
                  <c:v>13.028</c:v>
                </c:pt>
                <c:pt idx="4333">
                  <c:v>13.15</c:v>
                </c:pt>
                <c:pt idx="4334">
                  <c:v>12.997199999999999</c:v>
                </c:pt>
                <c:pt idx="4335">
                  <c:v>13.0137</c:v>
                </c:pt>
                <c:pt idx="4336">
                  <c:v>12.885999999999999</c:v>
                </c:pt>
                <c:pt idx="4337">
                  <c:v>12.862399999999999</c:v>
                </c:pt>
                <c:pt idx="4338">
                  <c:v>12.7301</c:v>
                </c:pt>
                <c:pt idx="4339">
                  <c:v>12.6541</c:v>
                </c:pt>
                <c:pt idx="4340">
                  <c:v>12.669700000000001</c:v>
                </c:pt>
                <c:pt idx="4341">
                  <c:v>12.744400000000001</c:v>
                </c:pt>
                <c:pt idx="4342">
                  <c:v>12.7883</c:v>
                </c:pt>
                <c:pt idx="4343">
                  <c:v>12.720599999999999</c:v>
                </c:pt>
                <c:pt idx="4344">
                  <c:v>12.727600000000001</c:v>
                </c:pt>
                <c:pt idx="4345">
                  <c:v>12.8164</c:v>
                </c:pt>
                <c:pt idx="4346">
                  <c:v>12.9514</c:v>
                </c:pt>
                <c:pt idx="4347">
                  <c:v>12.942500000000001</c:v>
                </c:pt>
                <c:pt idx="4348">
                  <c:v>12.906700000000001</c:v>
                </c:pt>
                <c:pt idx="4349">
                  <c:v>12.9011</c:v>
                </c:pt>
                <c:pt idx="4350">
                  <c:v>12.8941</c:v>
                </c:pt>
                <c:pt idx="4351">
                  <c:v>12.8536</c:v>
                </c:pt>
                <c:pt idx="4352">
                  <c:v>12.7906</c:v>
                </c:pt>
                <c:pt idx="4353">
                  <c:v>12.769500000000001</c:v>
                </c:pt>
                <c:pt idx="4354">
                  <c:v>12.7996</c:v>
                </c:pt>
                <c:pt idx="4355">
                  <c:v>12.8576</c:v>
                </c:pt>
                <c:pt idx="4356">
                  <c:v>12.8344</c:v>
                </c:pt>
                <c:pt idx="4357">
                  <c:v>12.795400000000001</c:v>
                </c:pt>
                <c:pt idx="4358">
                  <c:v>12.963100000000001</c:v>
                </c:pt>
                <c:pt idx="4359">
                  <c:v>12.994400000000001</c:v>
                </c:pt>
                <c:pt idx="4360">
                  <c:v>12.8309</c:v>
                </c:pt>
                <c:pt idx="4361">
                  <c:v>12.821099999999999</c:v>
                </c:pt>
                <c:pt idx="4362">
                  <c:v>12.9458</c:v>
                </c:pt>
                <c:pt idx="4363">
                  <c:v>12.767099999999999</c:v>
                </c:pt>
                <c:pt idx="4364">
                  <c:v>12.733000000000001</c:v>
                </c:pt>
                <c:pt idx="4365">
                  <c:v>12.6396</c:v>
                </c:pt>
                <c:pt idx="4366">
                  <c:v>12.5655</c:v>
                </c:pt>
                <c:pt idx="4367">
                  <c:v>12.523199999999999</c:v>
                </c:pt>
                <c:pt idx="4368">
                  <c:v>12.5665</c:v>
                </c:pt>
                <c:pt idx="4369">
                  <c:v>12.6195</c:v>
                </c:pt>
                <c:pt idx="4370">
                  <c:v>12.479699999999999</c:v>
                </c:pt>
                <c:pt idx="4371">
                  <c:v>12.328799999999999</c:v>
                </c:pt>
                <c:pt idx="4372">
                  <c:v>12.2943</c:v>
                </c:pt>
                <c:pt idx="4373">
                  <c:v>12.334199999999999</c:v>
                </c:pt>
                <c:pt idx="4374">
                  <c:v>12.438700000000001</c:v>
                </c:pt>
                <c:pt idx="4375">
                  <c:v>12.4017</c:v>
                </c:pt>
                <c:pt idx="4376">
                  <c:v>12.6577</c:v>
                </c:pt>
                <c:pt idx="4377">
                  <c:v>12.6775</c:v>
                </c:pt>
                <c:pt idx="4378">
                  <c:v>12.686299999999999</c:v>
                </c:pt>
                <c:pt idx="4379">
                  <c:v>12.553100000000001</c:v>
                </c:pt>
                <c:pt idx="4380">
                  <c:v>12.579800000000001</c:v>
                </c:pt>
                <c:pt idx="4381">
                  <c:v>12.5806</c:v>
                </c:pt>
                <c:pt idx="4382">
                  <c:v>12.4428</c:v>
                </c:pt>
                <c:pt idx="4383">
                  <c:v>12.3047</c:v>
                </c:pt>
                <c:pt idx="4384">
                  <c:v>12.1342</c:v>
                </c:pt>
                <c:pt idx="4385">
                  <c:v>12.142899999999999</c:v>
                </c:pt>
                <c:pt idx="4386">
                  <c:v>12.189299999999999</c:v>
                </c:pt>
                <c:pt idx="4387">
                  <c:v>12.191000000000001</c:v>
                </c:pt>
                <c:pt idx="4388">
                  <c:v>12.1333</c:v>
                </c:pt>
                <c:pt idx="4389">
                  <c:v>12.052199999999999</c:v>
                </c:pt>
                <c:pt idx="4390">
                  <c:v>12.0998</c:v>
                </c:pt>
                <c:pt idx="4391">
                  <c:v>12.176500000000001</c:v>
                </c:pt>
                <c:pt idx="4392">
                  <c:v>12.253399999999999</c:v>
                </c:pt>
                <c:pt idx="4393">
                  <c:v>12.4703</c:v>
                </c:pt>
                <c:pt idx="4394">
                  <c:v>12.5151</c:v>
                </c:pt>
                <c:pt idx="4395">
                  <c:v>12.4932</c:v>
                </c:pt>
                <c:pt idx="4396">
                  <c:v>12.4636</c:v>
                </c:pt>
                <c:pt idx="4397">
                  <c:v>12.4918</c:v>
                </c:pt>
                <c:pt idx="4398">
                  <c:v>12.603899999999999</c:v>
                </c:pt>
                <c:pt idx="4399">
                  <c:v>12.472099999999999</c:v>
                </c:pt>
                <c:pt idx="4400">
                  <c:v>12.569900000000001</c:v>
                </c:pt>
                <c:pt idx="4401">
                  <c:v>12.791600000000001</c:v>
                </c:pt>
                <c:pt idx="4402">
                  <c:v>12.8513</c:v>
                </c:pt>
                <c:pt idx="4403">
                  <c:v>12.765499999999999</c:v>
                </c:pt>
                <c:pt idx="4404">
                  <c:v>12.899699999999999</c:v>
                </c:pt>
                <c:pt idx="4405">
                  <c:v>12.9328</c:v>
                </c:pt>
                <c:pt idx="4406">
                  <c:v>12.928699999999999</c:v>
                </c:pt>
                <c:pt idx="4407">
                  <c:v>12.984500000000001</c:v>
                </c:pt>
                <c:pt idx="4408">
                  <c:v>13.0198</c:v>
                </c:pt>
                <c:pt idx="4409">
                  <c:v>13.070399999999999</c:v>
                </c:pt>
                <c:pt idx="4410">
                  <c:v>13.0197</c:v>
                </c:pt>
                <c:pt idx="4411">
                  <c:v>12.9902</c:v>
                </c:pt>
                <c:pt idx="4412">
                  <c:v>13.0572</c:v>
                </c:pt>
                <c:pt idx="4413">
                  <c:v>13.1084</c:v>
                </c:pt>
                <c:pt idx="4414">
                  <c:v>13.228999999999999</c:v>
                </c:pt>
                <c:pt idx="4415">
                  <c:v>13.2113</c:v>
                </c:pt>
                <c:pt idx="4416">
                  <c:v>13.2514</c:v>
                </c:pt>
                <c:pt idx="4417">
                  <c:v>13.309799999999999</c:v>
                </c:pt>
                <c:pt idx="4418">
                  <c:v>13.2692</c:v>
                </c:pt>
                <c:pt idx="4419">
                  <c:v>13.3576</c:v>
                </c:pt>
                <c:pt idx="4420">
                  <c:v>13.3872</c:v>
                </c:pt>
                <c:pt idx="4421">
                  <c:v>13.391400000000001</c:v>
                </c:pt>
                <c:pt idx="4422">
                  <c:v>13.3888</c:v>
                </c:pt>
                <c:pt idx="4423">
                  <c:v>13.5381</c:v>
                </c:pt>
                <c:pt idx="4424">
                  <c:v>13.5288</c:v>
                </c:pt>
                <c:pt idx="4425">
                  <c:v>13.511100000000001</c:v>
                </c:pt>
                <c:pt idx="4426">
                  <c:v>13.565</c:v>
                </c:pt>
                <c:pt idx="4427">
                  <c:v>13.5998</c:v>
                </c:pt>
                <c:pt idx="4428">
                  <c:v>13.5753</c:v>
                </c:pt>
                <c:pt idx="4429">
                  <c:v>13.6014</c:v>
                </c:pt>
                <c:pt idx="4430">
                  <c:v>13.6006</c:v>
                </c:pt>
                <c:pt idx="4431">
                  <c:v>13.603400000000001</c:v>
                </c:pt>
                <c:pt idx="4432">
                  <c:v>13.6417</c:v>
                </c:pt>
                <c:pt idx="4433">
                  <c:v>13.6252</c:v>
                </c:pt>
                <c:pt idx="4434">
                  <c:v>13.651400000000001</c:v>
                </c:pt>
                <c:pt idx="4435">
                  <c:v>13.652799999999999</c:v>
                </c:pt>
                <c:pt idx="4436">
                  <c:v>13.6365</c:v>
                </c:pt>
                <c:pt idx="4437">
                  <c:v>13.516400000000001</c:v>
                </c:pt>
                <c:pt idx="4438">
                  <c:v>13.6168</c:v>
                </c:pt>
                <c:pt idx="4439">
                  <c:v>13.5769</c:v>
                </c:pt>
                <c:pt idx="4440">
                  <c:v>13.6357</c:v>
                </c:pt>
                <c:pt idx="4441">
                  <c:v>13.6113</c:v>
                </c:pt>
                <c:pt idx="4442">
                  <c:v>13.594099999999999</c:v>
                </c:pt>
                <c:pt idx="4443">
                  <c:v>13.492000000000001</c:v>
                </c:pt>
                <c:pt idx="4444">
                  <c:v>13.612399999999999</c:v>
                </c:pt>
                <c:pt idx="4445">
                  <c:v>13.546200000000001</c:v>
                </c:pt>
                <c:pt idx="4446">
                  <c:v>13.529</c:v>
                </c:pt>
                <c:pt idx="4447">
                  <c:v>13.3803</c:v>
                </c:pt>
                <c:pt idx="4448">
                  <c:v>13.469799999999999</c:v>
                </c:pt>
                <c:pt idx="4449">
                  <c:v>13.318899999999999</c:v>
                </c:pt>
                <c:pt idx="4450">
                  <c:v>13.435600000000001</c:v>
                </c:pt>
                <c:pt idx="4451">
                  <c:v>13.4764</c:v>
                </c:pt>
                <c:pt idx="4452">
                  <c:v>13.6289</c:v>
                </c:pt>
                <c:pt idx="4453">
                  <c:v>13.6873</c:v>
                </c:pt>
                <c:pt idx="4454">
                  <c:v>13.835599999999999</c:v>
                </c:pt>
                <c:pt idx="4455">
                  <c:v>13.868399999999999</c:v>
                </c:pt>
                <c:pt idx="4456">
                  <c:v>13.894299999999999</c:v>
                </c:pt>
                <c:pt idx="4457">
                  <c:v>13.926500000000001</c:v>
                </c:pt>
                <c:pt idx="4458">
                  <c:v>13.932</c:v>
                </c:pt>
                <c:pt idx="4459">
                  <c:v>13.926600000000001</c:v>
                </c:pt>
                <c:pt idx="4460">
                  <c:v>13.9015</c:v>
                </c:pt>
                <c:pt idx="4461">
                  <c:v>13.9649</c:v>
                </c:pt>
                <c:pt idx="4462">
                  <c:v>13.943</c:v>
                </c:pt>
                <c:pt idx="4463">
                  <c:v>14.333299999999999</c:v>
                </c:pt>
                <c:pt idx="4464">
                  <c:v>14.32</c:v>
                </c:pt>
                <c:pt idx="4465">
                  <c:v>14.389699999999999</c:v>
                </c:pt>
                <c:pt idx="4466">
                  <c:v>14.257199999999999</c:v>
                </c:pt>
                <c:pt idx="4467">
                  <c:v>14.361499999999999</c:v>
                </c:pt>
                <c:pt idx="4468">
                  <c:v>14.425700000000001</c:v>
                </c:pt>
                <c:pt idx="4469">
                  <c:v>14.5124</c:v>
                </c:pt>
                <c:pt idx="4470">
                  <c:v>14.5246</c:v>
                </c:pt>
                <c:pt idx="4471">
                  <c:v>14.4833</c:v>
                </c:pt>
                <c:pt idx="4472">
                  <c:v>14.540800000000001</c:v>
                </c:pt>
                <c:pt idx="4473">
                  <c:v>14.6957</c:v>
                </c:pt>
                <c:pt idx="4474">
                  <c:v>14.909800000000001</c:v>
                </c:pt>
                <c:pt idx="4475">
                  <c:v>14.8512</c:v>
                </c:pt>
                <c:pt idx="4476">
                  <c:v>13.803800000000001</c:v>
                </c:pt>
                <c:pt idx="4477">
                  <c:v>13.7614</c:v>
                </c:pt>
                <c:pt idx="4478">
                  <c:v>13.7615</c:v>
                </c:pt>
                <c:pt idx="4479">
                  <c:v>13.849600000000001</c:v>
                </c:pt>
                <c:pt idx="4480">
                  <c:v>13.8454</c:v>
                </c:pt>
                <c:pt idx="4481">
                  <c:v>13.8337</c:v>
                </c:pt>
                <c:pt idx="4482">
                  <c:v>13.8912</c:v>
                </c:pt>
                <c:pt idx="4483">
                  <c:v>14.041</c:v>
                </c:pt>
                <c:pt idx="4484">
                  <c:v>14.0449</c:v>
                </c:pt>
                <c:pt idx="4485">
                  <c:v>13.992900000000001</c:v>
                </c:pt>
                <c:pt idx="4486">
                  <c:v>14.141299999999999</c:v>
                </c:pt>
                <c:pt idx="4487">
                  <c:v>14.1677</c:v>
                </c:pt>
                <c:pt idx="4488">
                  <c:v>14.1259</c:v>
                </c:pt>
                <c:pt idx="4489">
                  <c:v>14.0875</c:v>
                </c:pt>
                <c:pt idx="4490">
                  <c:v>14.053599999999999</c:v>
                </c:pt>
                <c:pt idx="4491">
                  <c:v>14.0876</c:v>
                </c:pt>
                <c:pt idx="4492">
                  <c:v>14.090299999999999</c:v>
                </c:pt>
                <c:pt idx="4493">
                  <c:v>14.2212</c:v>
                </c:pt>
                <c:pt idx="4494">
                  <c:v>14.2155</c:v>
                </c:pt>
                <c:pt idx="4495">
                  <c:v>14.232200000000001</c:v>
                </c:pt>
                <c:pt idx="4496">
                  <c:v>14.2738</c:v>
                </c:pt>
                <c:pt idx="4497">
                  <c:v>14.3025</c:v>
                </c:pt>
                <c:pt idx="4498">
                  <c:v>14.3271</c:v>
                </c:pt>
                <c:pt idx="4499">
                  <c:v>14.3287</c:v>
                </c:pt>
                <c:pt idx="4500">
                  <c:v>14.3178</c:v>
                </c:pt>
                <c:pt idx="4501">
                  <c:v>14.2043</c:v>
                </c:pt>
                <c:pt idx="4502">
                  <c:v>14.2681</c:v>
                </c:pt>
                <c:pt idx="4503">
                  <c:v>14.3035</c:v>
                </c:pt>
                <c:pt idx="4504">
                  <c:v>14.170999999999999</c:v>
                </c:pt>
                <c:pt idx="4505">
                  <c:v>14.2461</c:v>
                </c:pt>
                <c:pt idx="4506">
                  <c:v>14.138299999999999</c:v>
                </c:pt>
                <c:pt idx="4507">
                  <c:v>14.132199999999999</c:v>
                </c:pt>
                <c:pt idx="4508">
                  <c:v>14.0595</c:v>
                </c:pt>
                <c:pt idx="4509">
                  <c:v>14.0657</c:v>
                </c:pt>
                <c:pt idx="4510">
                  <c:v>14.074400000000001</c:v>
                </c:pt>
                <c:pt idx="4511">
                  <c:v>13.8629</c:v>
                </c:pt>
                <c:pt idx="4512">
                  <c:v>13.8855</c:v>
                </c:pt>
                <c:pt idx="4513">
                  <c:v>13.9178</c:v>
                </c:pt>
                <c:pt idx="4514">
                  <c:v>13.915900000000001</c:v>
                </c:pt>
                <c:pt idx="4515">
                  <c:v>14.0076</c:v>
                </c:pt>
                <c:pt idx="4516">
                  <c:v>14.1691</c:v>
                </c:pt>
                <c:pt idx="4517">
                  <c:v>14.1059</c:v>
                </c:pt>
                <c:pt idx="4518">
                  <c:v>14.0219</c:v>
                </c:pt>
                <c:pt idx="4519">
                  <c:v>14.170400000000001</c:v>
                </c:pt>
                <c:pt idx="4520">
                  <c:v>14.1782</c:v>
                </c:pt>
                <c:pt idx="4521">
                  <c:v>14.0802</c:v>
                </c:pt>
                <c:pt idx="4522">
                  <c:v>14.059100000000001</c:v>
                </c:pt>
                <c:pt idx="4523">
                  <c:v>14.0131</c:v>
                </c:pt>
                <c:pt idx="4524">
                  <c:v>14.0761</c:v>
                </c:pt>
                <c:pt idx="4525">
                  <c:v>14.146699999999999</c:v>
                </c:pt>
                <c:pt idx="4526">
                  <c:v>14.3048</c:v>
                </c:pt>
                <c:pt idx="4527">
                  <c:v>14.3444</c:v>
                </c:pt>
                <c:pt idx="4528">
                  <c:v>14.3621</c:v>
                </c:pt>
                <c:pt idx="4529">
                  <c:v>14.4658</c:v>
                </c:pt>
                <c:pt idx="4530">
                  <c:v>14.469900000000001</c:v>
                </c:pt>
                <c:pt idx="4531">
                  <c:v>14.4854</c:v>
                </c:pt>
                <c:pt idx="4532">
                  <c:v>14.5855</c:v>
                </c:pt>
                <c:pt idx="4533">
                  <c:v>14.5587</c:v>
                </c:pt>
                <c:pt idx="4534">
                  <c:v>14.560700000000001</c:v>
                </c:pt>
                <c:pt idx="4535">
                  <c:v>14.582700000000001</c:v>
                </c:pt>
                <c:pt idx="4536">
                  <c:v>14.5596</c:v>
                </c:pt>
                <c:pt idx="4537">
                  <c:v>14.5021</c:v>
                </c:pt>
                <c:pt idx="4538">
                  <c:v>14.507899999999999</c:v>
                </c:pt>
                <c:pt idx="4539">
                  <c:v>14.4627</c:v>
                </c:pt>
                <c:pt idx="4540">
                  <c:v>14.510999999999999</c:v>
                </c:pt>
                <c:pt idx="4541">
                  <c:v>14.4207</c:v>
                </c:pt>
                <c:pt idx="4542">
                  <c:v>14.2499</c:v>
                </c:pt>
                <c:pt idx="4543">
                  <c:v>14.3286</c:v>
                </c:pt>
                <c:pt idx="4544">
                  <c:v>14.368</c:v>
                </c:pt>
                <c:pt idx="4545">
                  <c:v>14.418100000000001</c:v>
                </c:pt>
                <c:pt idx="4546">
                  <c:v>14.334</c:v>
                </c:pt>
                <c:pt idx="4547">
                  <c:v>14.4443</c:v>
                </c:pt>
                <c:pt idx="4548">
                  <c:v>14.548299999999999</c:v>
                </c:pt>
                <c:pt idx="4549">
                  <c:v>14.500999999999999</c:v>
                </c:pt>
                <c:pt idx="4550">
                  <c:v>14.446999999999999</c:v>
                </c:pt>
                <c:pt idx="4551">
                  <c:v>14.3073</c:v>
                </c:pt>
                <c:pt idx="4552">
                  <c:v>14.4711</c:v>
                </c:pt>
                <c:pt idx="4553">
                  <c:v>14.2616</c:v>
                </c:pt>
                <c:pt idx="4554">
                  <c:v>14.1031</c:v>
                </c:pt>
                <c:pt idx="4555">
                  <c:v>14.1173</c:v>
                </c:pt>
                <c:pt idx="4556">
                  <c:v>14.229699999999999</c:v>
                </c:pt>
                <c:pt idx="4557">
                  <c:v>14.208299999999999</c:v>
                </c:pt>
                <c:pt idx="4558">
                  <c:v>14.341699999999999</c:v>
                </c:pt>
                <c:pt idx="4559">
                  <c:v>14.230600000000001</c:v>
                </c:pt>
                <c:pt idx="4560">
                  <c:v>14.297700000000001</c:v>
                </c:pt>
                <c:pt idx="4561">
                  <c:v>14.2681</c:v>
                </c:pt>
                <c:pt idx="4562">
                  <c:v>14.185700000000001</c:v>
                </c:pt>
                <c:pt idx="4563">
                  <c:v>14.1319</c:v>
                </c:pt>
                <c:pt idx="4564">
                  <c:v>14.1061</c:v>
                </c:pt>
                <c:pt idx="4565">
                  <c:v>14.1632</c:v>
                </c:pt>
                <c:pt idx="4566">
                  <c:v>14.116300000000001</c:v>
                </c:pt>
                <c:pt idx="4567">
                  <c:v>14.2394</c:v>
                </c:pt>
                <c:pt idx="4568">
                  <c:v>14.324400000000001</c:v>
                </c:pt>
                <c:pt idx="4569">
                  <c:v>14.2989</c:v>
                </c:pt>
                <c:pt idx="4570">
                  <c:v>14.3055</c:v>
                </c:pt>
                <c:pt idx="4571">
                  <c:v>14.1761</c:v>
                </c:pt>
                <c:pt idx="4572">
                  <c:v>14.3147</c:v>
                </c:pt>
                <c:pt idx="4573">
                  <c:v>14.396000000000001</c:v>
                </c:pt>
                <c:pt idx="4574">
                  <c:v>14.5501</c:v>
                </c:pt>
                <c:pt idx="4575">
                  <c:v>14.415699999999999</c:v>
                </c:pt>
                <c:pt idx="4576">
                  <c:v>14.382999999999999</c:v>
                </c:pt>
                <c:pt idx="4577">
                  <c:v>14.3162</c:v>
                </c:pt>
                <c:pt idx="4578">
                  <c:v>14.2941</c:v>
                </c:pt>
                <c:pt idx="4579">
                  <c:v>14.1835</c:v>
                </c:pt>
                <c:pt idx="4580">
                  <c:v>14.3127</c:v>
                </c:pt>
                <c:pt idx="4581">
                  <c:v>14.330299999999999</c:v>
                </c:pt>
                <c:pt idx="4582">
                  <c:v>14.2477</c:v>
                </c:pt>
                <c:pt idx="4583">
                  <c:v>14.1556</c:v>
                </c:pt>
                <c:pt idx="4584">
                  <c:v>14.2865</c:v>
                </c:pt>
                <c:pt idx="4585">
                  <c:v>14.2498</c:v>
                </c:pt>
                <c:pt idx="4586">
                  <c:v>14.3123</c:v>
                </c:pt>
                <c:pt idx="4587">
                  <c:v>14.426600000000001</c:v>
                </c:pt>
              </c:numCache>
            </c:numRef>
          </c:val>
          <c:smooth val="0"/>
          <c:extLst>
            <c:ext xmlns:c16="http://schemas.microsoft.com/office/drawing/2014/chart" uri="{C3380CC4-5D6E-409C-BE32-E72D297353CC}">
              <c16:uniqueId val="{00000001-21D4-4464-AA71-6481D7758C48}"/>
            </c:ext>
          </c:extLst>
        </c:ser>
        <c:ser>
          <c:idx val="2"/>
          <c:order val="2"/>
          <c:tx>
            <c:strRef>
              <c:f>Worksheet!$E$6</c:f>
              <c:strCache>
                <c:ptCount val="1"/>
              </c:strCache>
            </c:strRef>
          </c:tx>
          <c:spPr>
            <a:ln w="15875" cap="rnd">
              <a:solidFill>
                <a:schemeClr val="tx2"/>
              </a:solidFill>
              <a:prstDash val="sysDash"/>
              <a:round/>
            </a:ln>
            <a:effectLst/>
          </c:spPr>
          <c:marker>
            <c:symbol val="none"/>
          </c:marker>
          <c:cat>
            <c:numRef>
              <c:f>Worksheet!$A$8:$A$6089</c:f>
              <c:numCache>
                <c:formatCode>dd\.mm\.yyyy</c:formatCode>
                <c:ptCount val="6082"/>
                <c:pt idx="0">
                  <c:v>39083</c:v>
                </c:pt>
                <c:pt idx="1">
                  <c:v>39084</c:v>
                </c:pt>
                <c:pt idx="2">
                  <c:v>39085</c:v>
                </c:pt>
                <c:pt idx="3">
                  <c:v>39086</c:v>
                </c:pt>
                <c:pt idx="4">
                  <c:v>39087</c:v>
                </c:pt>
                <c:pt idx="5">
                  <c:v>39090</c:v>
                </c:pt>
                <c:pt idx="6">
                  <c:v>39091</c:v>
                </c:pt>
                <c:pt idx="7">
                  <c:v>39092</c:v>
                </c:pt>
                <c:pt idx="8">
                  <c:v>39093</c:v>
                </c:pt>
                <c:pt idx="9">
                  <c:v>39094</c:v>
                </c:pt>
                <c:pt idx="10">
                  <c:v>39097</c:v>
                </c:pt>
                <c:pt idx="11">
                  <c:v>39098</c:v>
                </c:pt>
                <c:pt idx="12">
                  <c:v>39099</c:v>
                </c:pt>
                <c:pt idx="13">
                  <c:v>39100</c:v>
                </c:pt>
                <c:pt idx="14">
                  <c:v>39101</c:v>
                </c:pt>
                <c:pt idx="15">
                  <c:v>39104</c:v>
                </c:pt>
                <c:pt idx="16">
                  <c:v>39105</c:v>
                </c:pt>
                <c:pt idx="17">
                  <c:v>39106</c:v>
                </c:pt>
                <c:pt idx="18">
                  <c:v>39107</c:v>
                </c:pt>
                <c:pt idx="19">
                  <c:v>39108</c:v>
                </c:pt>
                <c:pt idx="20">
                  <c:v>39111</c:v>
                </c:pt>
                <c:pt idx="21">
                  <c:v>39112</c:v>
                </c:pt>
                <c:pt idx="22">
                  <c:v>39113</c:v>
                </c:pt>
                <c:pt idx="23">
                  <c:v>39114</c:v>
                </c:pt>
                <c:pt idx="24">
                  <c:v>39115</c:v>
                </c:pt>
                <c:pt idx="25">
                  <c:v>39118</c:v>
                </c:pt>
                <c:pt idx="26">
                  <c:v>39119</c:v>
                </c:pt>
                <c:pt idx="27">
                  <c:v>39120</c:v>
                </c:pt>
                <c:pt idx="28">
                  <c:v>39121</c:v>
                </c:pt>
                <c:pt idx="29">
                  <c:v>39122</c:v>
                </c:pt>
                <c:pt idx="30">
                  <c:v>39125</c:v>
                </c:pt>
                <c:pt idx="31">
                  <c:v>39126</c:v>
                </c:pt>
                <c:pt idx="32">
                  <c:v>39127</c:v>
                </c:pt>
                <c:pt idx="33">
                  <c:v>39128</c:v>
                </c:pt>
                <c:pt idx="34">
                  <c:v>39129</c:v>
                </c:pt>
                <c:pt idx="35">
                  <c:v>39132</c:v>
                </c:pt>
                <c:pt idx="36">
                  <c:v>39133</c:v>
                </c:pt>
                <c:pt idx="37">
                  <c:v>39134</c:v>
                </c:pt>
                <c:pt idx="38">
                  <c:v>39135</c:v>
                </c:pt>
                <c:pt idx="39">
                  <c:v>39136</c:v>
                </c:pt>
                <c:pt idx="40">
                  <c:v>39139</c:v>
                </c:pt>
                <c:pt idx="41">
                  <c:v>39140</c:v>
                </c:pt>
                <c:pt idx="42">
                  <c:v>39141</c:v>
                </c:pt>
                <c:pt idx="43">
                  <c:v>39142</c:v>
                </c:pt>
                <c:pt idx="44">
                  <c:v>39143</c:v>
                </c:pt>
                <c:pt idx="45">
                  <c:v>39146</c:v>
                </c:pt>
                <c:pt idx="46">
                  <c:v>39147</c:v>
                </c:pt>
                <c:pt idx="47">
                  <c:v>39148</c:v>
                </c:pt>
                <c:pt idx="48">
                  <c:v>39149</c:v>
                </c:pt>
                <c:pt idx="49">
                  <c:v>39150</c:v>
                </c:pt>
                <c:pt idx="50">
                  <c:v>39153</c:v>
                </c:pt>
                <c:pt idx="51">
                  <c:v>39154</c:v>
                </c:pt>
                <c:pt idx="52">
                  <c:v>39155</c:v>
                </c:pt>
                <c:pt idx="53">
                  <c:v>39156</c:v>
                </c:pt>
                <c:pt idx="54">
                  <c:v>39157</c:v>
                </c:pt>
                <c:pt idx="55">
                  <c:v>39160</c:v>
                </c:pt>
                <c:pt idx="56">
                  <c:v>39161</c:v>
                </c:pt>
                <c:pt idx="57">
                  <c:v>39162</c:v>
                </c:pt>
                <c:pt idx="58">
                  <c:v>39163</c:v>
                </c:pt>
                <c:pt idx="59">
                  <c:v>39164</c:v>
                </c:pt>
                <c:pt idx="60">
                  <c:v>39167</c:v>
                </c:pt>
                <c:pt idx="61">
                  <c:v>39168</c:v>
                </c:pt>
                <c:pt idx="62">
                  <c:v>39169</c:v>
                </c:pt>
                <c:pt idx="63">
                  <c:v>39170</c:v>
                </c:pt>
                <c:pt idx="64">
                  <c:v>39171</c:v>
                </c:pt>
                <c:pt idx="65">
                  <c:v>39174</c:v>
                </c:pt>
                <c:pt idx="66">
                  <c:v>39175</c:v>
                </c:pt>
                <c:pt idx="67">
                  <c:v>39176</c:v>
                </c:pt>
                <c:pt idx="68">
                  <c:v>39177</c:v>
                </c:pt>
                <c:pt idx="69">
                  <c:v>39178</c:v>
                </c:pt>
                <c:pt idx="70">
                  <c:v>39181</c:v>
                </c:pt>
                <c:pt idx="71">
                  <c:v>39182</c:v>
                </c:pt>
                <c:pt idx="72">
                  <c:v>39183</c:v>
                </c:pt>
                <c:pt idx="73">
                  <c:v>39184</c:v>
                </c:pt>
                <c:pt idx="74">
                  <c:v>39185</c:v>
                </c:pt>
                <c:pt idx="75">
                  <c:v>39188</c:v>
                </c:pt>
                <c:pt idx="76">
                  <c:v>39189</c:v>
                </c:pt>
                <c:pt idx="77">
                  <c:v>39190</c:v>
                </c:pt>
                <c:pt idx="78">
                  <c:v>39191</c:v>
                </c:pt>
                <c:pt idx="79">
                  <c:v>39192</c:v>
                </c:pt>
                <c:pt idx="80">
                  <c:v>39195</c:v>
                </c:pt>
                <c:pt idx="81">
                  <c:v>39196</c:v>
                </c:pt>
                <c:pt idx="82">
                  <c:v>39197</c:v>
                </c:pt>
                <c:pt idx="83">
                  <c:v>39198</c:v>
                </c:pt>
                <c:pt idx="84">
                  <c:v>39199</c:v>
                </c:pt>
                <c:pt idx="85">
                  <c:v>39202</c:v>
                </c:pt>
                <c:pt idx="86">
                  <c:v>39203</c:v>
                </c:pt>
                <c:pt idx="87">
                  <c:v>39204</c:v>
                </c:pt>
                <c:pt idx="88">
                  <c:v>39205</c:v>
                </c:pt>
                <c:pt idx="89">
                  <c:v>39206</c:v>
                </c:pt>
                <c:pt idx="90">
                  <c:v>39209</c:v>
                </c:pt>
                <c:pt idx="91">
                  <c:v>39210</c:v>
                </c:pt>
                <c:pt idx="92">
                  <c:v>39211</c:v>
                </c:pt>
                <c:pt idx="93">
                  <c:v>39212</c:v>
                </c:pt>
                <c:pt idx="94">
                  <c:v>39213</c:v>
                </c:pt>
                <c:pt idx="95">
                  <c:v>39216</c:v>
                </c:pt>
                <c:pt idx="96">
                  <c:v>39217</c:v>
                </c:pt>
                <c:pt idx="97">
                  <c:v>39218</c:v>
                </c:pt>
                <c:pt idx="98">
                  <c:v>39219</c:v>
                </c:pt>
                <c:pt idx="99">
                  <c:v>39220</c:v>
                </c:pt>
                <c:pt idx="100">
                  <c:v>39223</c:v>
                </c:pt>
                <c:pt idx="101">
                  <c:v>39224</c:v>
                </c:pt>
                <c:pt idx="102">
                  <c:v>39225</c:v>
                </c:pt>
                <c:pt idx="103">
                  <c:v>39226</c:v>
                </c:pt>
                <c:pt idx="104">
                  <c:v>39227</c:v>
                </c:pt>
                <c:pt idx="105">
                  <c:v>39230</c:v>
                </c:pt>
                <c:pt idx="106">
                  <c:v>39231</c:v>
                </c:pt>
                <c:pt idx="107">
                  <c:v>39232</c:v>
                </c:pt>
                <c:pt idx="108">
                  <c:v>39233</c:v>
                </c:pt>
                <c:pt idx="109">
                  <c:v>39234</c:v>
                </c:pt>
                <c:pt idx="110">
                  <c:v>39237</c:v>
                </c:pt>
                <c:pt idx="111">
                  <c:v>39238</c:v>
                </c:pt>
                <c:pt idx="112">
                  <c:v>39239</c:v>
                </c:pt>
                <c:pt idx="113">
                  <c:v>39240</c:v>
                </c:pt>
                <c:pt idx="114">
                  <c:v>39241</c:v>
                </c:pt>
                <c:pt idx="115">
                  <c:v>39244</c:v>
                </c:pt>
                <c:pt idx="116">
                  <c:v>39245</c:v>
                </c:pt>
                <c:pt idx="117">
                  <c:v>39246</c:v>
                </c:pt>
                <c:pt idx="118">
                  <c:v>39247</c:v>
                </c:pt>
                <c:pt idx="119">
                  <c:v>39248</c:v>
                </c:pt>
                <c:pt idx="120">
                  <c:v>39251</c:v>
                </c:pt>
                <c:pt idx="121">
                  <c:v>39252</c:v>
                </c:pt>
                <c:pt idx="122">
                  <c:v>39253</c:v>
                </c:pt>
                <c:pt idx="123">
                  <c:v>39254</c:v>
                </c:pt>
                <c:pt idx="124">
                  <c:v>39255</c:v>
                </c:pt>
                <c:pt idx="125">
                  <c:v>39258</c:v>
                </c:pt>
                <c:pt idx="126">
                  <c:v>39259</c:v>
                </c:pt>
                <c:pt idx="127">
                  <c:v>39260</c:v>
                </c:pt>
                <c:pt idx="128">
                  <c:v>39261</c:v>
                </c:pt>
                <c:pt idx="129">
                  <c:v>39262</c:v>
                </c:pt>
                <c:pt idx="130">
                  <c:v>39265</c:v>
                </c:pt>
                <c:pt idx="131">
                  <c:v>39266</c:v>
                </c:pt>
                <c:pt idx="132">
                  <c:v>39267</c:v>
                </c:pt>
                <c:pt idx="133">
                  <c:v>39268</c:v>
                </c:pt>
                <c:pt idx="134">
                  <c:v>39269</c:v>
                </c:pt>
                <c:pt idx="135">
                  <c:v>39272</c:v>
                </c:pt>
                <c:pt idx="136">
                  <c:v>39273</c:v>
                </c:pt>
                <c:pt idx="137">
                  <c:v>39274</c:v>
                </c:pt>
                <c:pt idx="138">
                  <c:v>39275</c:v>
                </c:pt>
                <c:pt idx="139">
                  <c:v>39276</c:v>
                </c:pt>
                <c:pt idx="140">
                  <c:v>39279</c:v>
                </c:pt>
                <c:pt idx="141">
                  <c:v>39280</c:v>
                </c:pt>
                <c:pt idx="142">
                  <c:v>39281</c:v>
                </c:pt>
                <c:pt idx="143">
                  <c:v>39282</c:v>
                </c:pt>
                <c:pt idx="144">
                  <c:v>39283</c:v>
                </c:pt>
                <c:pt idx="145">
                  <c:v>39286</c:v>
                </c:pt>
                <c:pt idx="146">
                  <c:v>39287</c:v>
                </c:pt>
                <c:pt idx="147">
                  <c:v>39288</c:v>
                </c:pt>
                <c:pt idx="148">
                  <c:v>39289</c:v>
                </c:pt>
                <c:pt idx="149">
                  <c:v>39290</c:v>
                </c:pt>
                <c:pt idx="150">
                  <c:v>39293</c:v>
                </c:pt>
                <c:pt idx="151">
                  <c:v>39294</c:v>
                </c:pt>
                <c:pt idx="152">
                  <c:v>39295</c:v>
                </c:pt>
                <c:pt idx="153">
                  <c:v>39296</c:v>
                </c:pt>
                <c:pt idx="154">
                  <c:v>39297</c:v>
                </c:pt>
                <c:pt idx="155">
                  <c:v>39300</c:v>
                </c:pt>
                <c:pt idx="156">
                  <c:v>39301</c:v>
                </c:pt>
                <c:pt idx="157">
                  <c:v>39302</c:v>
                </c:pt>
                <c:pt idx="158">
                  <c:v>39303</c:v>
                </c:pt>
                <c:pt idx="159">
                  <c:v>39304</c:v>
                </c:pt>
                <c:pt idx="160">
                  <c:v>39307</c:v>
                </c:pt>
                <c:pt idx="161">
                  <c:v>39308</c:v>
                </c:pt>
                <c:pt idx="162">
                  <c:v>39309</c:v>
                </c:pt>
                <c:pt idx="163">
                  <c:v>39310</c:v>
                </c:pt>
                <c:pt idx="164">
                  <c:v>39311</c:v>
                </c:pt>
                <c:pt idx="165">
                  <c:v>39314</c:v>
                </c:pt>
                <c:pt idx="166">
                  <c:v>39315</c:v>
                </c:pt>
                <c:pt idx="167">
                  <c:v>39316</c:v>
                </c:pt>
                <c:pt idx="168">
                  <c:v>39317</c:v>
                </c:pt>
                <c:pt idx="169">
                  <c:v>39318</c:v>
                </c:pt>
                <c:pt idx="170">
                  <c:v>39321</c:v>
                </c:pt>
                <c:pt idx="171">
                  <c:v>39322</c:v>
                </c:pt>
                <c:pt idx="172">
                  <c:v>39323</c:v>
                </c:pt>
                <c:pt idx="173">
                  <c:v>39324</c:v>
                </c:pt>
                <c:pt idx="174">
                  <c:v>39325</c:v>
                </c:pt>
                <c:pt idx="175">
                  <c:v>39328</c:v>
                </c:pt>
                <c:pt idx="176">
                  <c:v>39329</c:v>
                </c:pt>
                <c:pt idx="177">
                  <c:v>39330</c:v>
                </c:pt>
                <c:pt idx="178">
                  <c:v>39331</c:v>
                </c:pt>
                <c:pt idx="179">
                  <c:v>39332</c:v>
                </c:pt>
                <c:pt idx="180">
                  <c:v>39335</c:v>
                </c:pt>
                <c:pt idx="181">
                  <c:v>39336</c:v>
                </c:pt>
                <c:pt idx="182">
                  <c:v>39337</c:v>
                </c:pt>
                <c:pt idx="183">
                  <c:v>39338</c:v>
                </c:pt>
                <c:pt idx="184">
                  <c:v>39339</c:v>
                </c:pt>
                <c:pt idx="185">
                  <c:v>39342</c:v>
                </c:pt>
                <c:pt idx="186">
                  <c:v>39343</c:v>
                </c:pt>
                <c:pt idx="187">
                  <c:v>39344</c:v>
                </c:pt>
                <c:pt idx="188">
                  <c:v>39345</c:v>
                </c:pt>
                <c:pt idx="189">
                  <c:v>39346</c:v>
                </c:pt>
                <c:pt idx="190">
                  <c:v>39349</c:v>
                </c:pt>
                <c:pt idx="191">
                  <c:v>39350</c:v>
                </c:pt>
                <c:pt idx="192">
                  <c:v>39351</c:v>
                </c:pt>
                <c:pt idx="193">
                  <c:v>39352</c:v>
                </c:pt>
                <c:pt idx="194">
                  <c:v>39353</c:v>
                </c:pt>
                <c:pt idx="195">
                  <c:v>39356</c:v>
                </c:pt>
                <c:pt idx="196">
                  <c:v>39357</c:v>
                </c:pt>
                <c:pt idx="197">
                  <c:v>39358</c:v>
                </c:pt>
                <c:pt idx="198">
                  <c:v>39359</c:v>
                </c:pt>
                <c:pt idx="199">
                  <c:v>39360</c:v>
                </c:pt>
                <c:pt idx="200">
                  <c:v>39363</c:v>
                </c:pt>
                <c:pt idx="201">
                  <c:v>39364</c:v>
                </c:pt>
                <c:pt idx="202">
                  <c:v>39365</c:v>
                </c:pt>
                <c:pt idx="203">
                  <c:v>39366</c:v>
                </c:pt>
                <c:pt idx="204">
                  <c:v>39367</c:v>
                </c:pt>
                <c:pt idx="205">
                  <c:v>39370</c:v>
                </c:pt>
                <c:pt idx="206">
                  <c:v>39371</c:v>
                </c:pt>
                <c:pt idx="207">
                  <c:v>39372</c:v>
                </c:pt>
                <c:pt idx="208">
                  <c:v>39373</c:v>
                </c:pt>
                <c:pt idx="209">
                  <c:v>39374</c:v>
                </c:pt>
                <c:pt idx="210">
                  <c:v>39377</c:v>
                </c:pt>
                <c:pt idx="211">
                  <c:v>39378</c:v>
                </c:pt>
                <c:pt idx="212">
                  <c:v>39379</c:v>
                </c:pt>
                <c:pt idx="213">
                  <c:v>39380</c:v>
                </c:pt>
                <c:pt idx="214">
                  <c:v>39381</c:v>
                </c:pt>
                <c:pt idx="215">
                  <c:v>39384</c:v>
                </c:pt>
                <c:pt idx="216">
                  <c:v>39385</c:v>
                </c:pt>
                <c:pt idx="217">
                  <c:v>39386</c:v>
                </c:pt>
                <c:pt idx="218">
                  <c:v>39387</c:v>
                </c:pt>
                <c:pt idx="219">
                  <c:v>39388</c:v>
                </c:pt>
                <c:pt idx="220">
                  <c:v>39391</c:v>
                </c:pt>
                <c:pt idx="221">
                  <c:v>39392</c:v>
                </c:pt>
                <c:pt idx="222">
                  <c:v>39393</c:v>
                </c:pt>
                <c:pt idx="223">
                  <c:v>39394</c:v>
                </c:pt>
                <c:pt idx="224">
                  <c:v>39395</c:v>
                </c:pt>
                <c:pt idx="225">
                  <c:v>39398</c:v>
                </c:pt>
                <c:pt idx="226">
                  <c:v>39399</c:v>
                </c:pt>
                <c:pt idx="227">
                  <c:v>39400</c:v>
                </c:pt>
                <c:pt idx="228">
                  <c:v>39401</c:v>
                </c:pt>
                <c:pt idx="229">
                  <c:v>39402</c:v>
                </c:pt>
                <c:pt idx="230">
                  <c:v>39405</c:v>
                </c:pt>
                <c:pt idx="231">
                  <c:v>39406</c:v>
                </c:pt>
                <c:pt idx="232">
                  <c:v>39407</c:v>
                </c:pt>
                <c:pt idx="233">
                  <c:v>39408</c:v>
                </c:pt>
                <c:pt idx="234">
                  <c:v>39409</c:v>
                </c:pt>
                <c:pt idx="235">
                  <c:v>39412</c:v>
                </c:pt>
                <c:pt idx="236">
                  <c:v>39413</c:v>
                </c:pt>
                <c:pt idx="237">
                  <c:v>39414</c:v>
                </c:pt>
                <c:pt idx="238">
                  <c:v>39415</c:v>
                </c:pt>
                <c:pt idx="239">
                  <c:v>39416</c:v>
                </c:pt>
                <c:pt idx="240">
                  <c:v>39419</c:v>
                </c:pt>
                <c:pt idx="241">
                  <c:v>39420</c:v>
                </c:pt>
                <c:pt idx="242">
                  <c:v>39421</c:v>
                </c:pt>
                <c:pt idx="243">
                  <c:v>39422</c:v>
                </c:pt>
                <c:pt idx="244">
                  <c:v>39423</c:v>
                </c:pt>
                <c:pt idx="245">
                  <c:v>39426</c:v>
                </c:pt>
                <c:pt idx="246">
                  <c:v>39427</c:v>
                </c:pt>
                <c:pt idx="247">
                  <c:v>39428</c:v>
                </c:pt>
                <c:pt idx="248">
                  <c:v>39429</c:v>
                </c:pt>
                <c:pt idx="249">
                  <c:v>39430</c:v>
                </c:pt>
                <c:pt idx="250">
                  <c:v>39433</c:v>
                </c:pt>
                <c:pt idx="251">
                  <c:v>39434</c:v>
                </c:pt>
                <c:pt idx="252">
                  <c:v>39435</c:v>
                </c:pt>
                <c:pt idx="253">
                  <c:v>39436</c:v>
                </c:pt>
                <c:pt idx="254">
                  <c:v>39437</c:v>
                </c:pt>
                <c:pt idx="255">
                  <c:v>39440</c:v>
                </c:pt>
                <c:pt idx="256">
                  <c:v>39441</c:v>
                </c:pt>
                <c:pt idx="257">
                  <c:v>39442</c:v>
                </c:pt>
                <c:pt idx="258">
                  <c:v>39443</c:v>
                </c:pt>
                <c:pt idx="259">
                  <c:v>39444</c:v>
                </c:pt>
                <c:pt idx="260">
                  <c:v>39447</c:v>
                </c:pt>
                <c:pt idx="261">
                  <c:v>39448</c:v>
                </c:pt>
                <c:pt idx="262">
                  <c:v>39449</c:v>
                </c:pt>
                <c:pt idx="263">
                  <c:v>39450</c:v>
                </c:pt>
                <c:pt idx="264">
                  <c:v>39451</c:v>
                </c:pt>
                <c:pt idx="265">
                  <c:v>39454</c:v>
                </c:pt>
                <c:pt idx="266">
                  <c:v>39455</c:v>
                </c:pt>
                <c:pt idx="267">
                  <c:v>39456</c:v>
                </c:pt>
                <c:pt idx="268">
                  <c:v>39457</c:v>
                </c:pt>
                <c:pt idx="269">
                  <c:v>39458</c:v>
                </c:pt>
                <c:pt idx="270">
                  <c:v>39461</c:v>
                </c:pt>
                <c:pt idx="271">
                  <c:v>39462</c:v>
                </c:pt>
                <c:pt idx="272">
                  <c:v>39463</c:v>
                </c:pt>
                <c:pt idx="273">
                  <c:v>39464</c:v>
                </c:pt>
                <c:pt idx="274">
                  <c:v>39465</c:v>
                </c:pt>
                <c:pt idx="275">
                  <c:v>39468</c:v>
                </c:pt>
                <c:pt idx="276">
                  <c:v>39469</c:v>
                </c:pt>
                <c:pt idx="277">
                  <c:v>39470</c:v>
                </c:pt>
                <c:pt idx="278">
                  <c:v>39471</c:v>
                </c:pt>
                <c:pt idx="279">
                  <c:v>39472</c:v>
                </c:pt>
                <c:pt idx="280">
                  <c:v>39475</c:v>
                </c:pt>
                <c:pt idx="281">
                  <c:v>39476</c:v>
                </c:pt>
                <c:pt idx="282">
                  <c:v>39477</c:v>
                </c:pt>
                <c:pt idx="283">
                  <c:v>39478</c:v>
                </c:pt>
                <c:pt idx="284">
                  <c:v>39479</c:v>
                </c:pt>
                <c:pt idx="285">
                  <c:v>39482</c:v>
                </c:pt>
                <c:pt idx="286">
                  <c:v>39483</c:v>
                </c:pt>
                <c:pt idx="287">
                  <c:v>39484</c:v>
                </c:pt>
                <c:pt idx="288">
                  <c:v>39485</c:v>
                </c:pt>
                <c:pt idx="289">
                  <c:v>39486</c:v>
                </c:pt>
                <c:pt idx="290">
                  <c:v>39489</c:v>
                </c:pt>
                <c:pt idx="291">
                  <c:v>39490</c:v>
                </c:pt>
                <c:pt idx="292">
                  <c:v>39491</c:v>
                </c:pt>
                <c:pt idx="293">
                  <c:v>39492</c:v>
                </c:pt>
                <c:pt idx="294">
                  <c:v>39493</c:v>
                </c:pt>
                <c:pt idx="295">
                  <c:v>39496</c:v>
                </c:pt>
                <c:pt idx="296">
                  <c:v>39497</c:v>
                </c:pt>
                <c:pt idx="297">
                  <c:v>39498</c:v>
                </c:pt>
                <c:pt idx="298">
                  <c:v>39499</c:v>
                </c:pt>
                <c:pt idx="299">
                  <c:v>39500</c:v>
                </c:pt>
                <c:pt idx="300">
                  <c:v>39503</c:v>
                </c:pt>
                <c:pt idx="301">
                  <c:v>39504</c:v>
                </c:pt>
                <c:pt idx="302">
                  <c:v>39505</c:v>
                </c:pt>
                <c:pt idx="303">
                  <c:v>39506</c:v>
                </c:pt>
                <c:pt idx="304">
                  <c:v>39507</c:v>
                </c:pt>
                <c:pt idx="305">
                  <c:v>39510</c:v>
                </c:pt>
                <c:pt idx="306">
                  <c:v>39511</c:v>
                </c:pt>
                <c:pt idx="307">
                  <c:v>39512</c:v>
                </c:pt>
                <c:pt idx="308">
                  <c:v>39513</c:v>
                </c:pt>
                <c:pt idx="309">
                  <c:v>39514</c:v>
                </c:pt>
                <c:pt idx="310">
                  <c:v>39517</c:v>
                </c:pt>
                <c:pt idx="311">
                  <c:v>39518</c:v>
                </c:pt>
                <c:pt idx="312">
                  <c:v>39519</c:v>
                </c:pt>
                <c:pt idx="313">
                  <c:v>39520</c:v>
                </c:pt>
                <c:pt idx="314">
                  <c:v>39521</c:v>
                </c:pt>
                <c:pt idx="315">
                  <c:v>39524</c:v>
                </c:pt>
                <c:pt idx="316">
                  <c:v>39525</c:v>
                </c:pt>
                <c:pt idx="317">
                  <c:v>39526</c:v>
                </c:pt>
                <c:pt idx="318">
                  <c:v>39527</c:v>
                </c:pt>
                <c:pt idx="319">
                  <c:v>39528</c:v>
                </c:pt>
                <c:pt idx="320">
                  <c:v>39531</c:v>
                </c:pt>
                <c:pt idx="321">
                  <c:v>39532</c:v>
                </c:pt>
                <c:pt idx="322">
                  <c:v>39533</c:v>
                </c:pt>
                <c:pt idx="323">
                  <c:v>39534</c:v>
                </c:pt>
                <c:pt idx="324">
                  <c:v>39535</c:v>
                </c:pt>
                <c:pt idx="325">
                  <c:v>39538</c:v>
                </c:pt>
                <c:pt idx="326">
                  <c:v>39539</c:v>
                </c:pt>
                <c:pt idx="327">
                  <c:v>39540</c:v>
                </c:pt>
                <c:pt idx="328">
                  <c:v>39541</c:v>
                </c:pt>
                <c:pt idx="329">
                  <c:v>39542</c:v>
                </c:pt>
                <c:pt idx="330">
                  <c:v>39545</c:v>
                </c:pt>
                <c:pt idx="331">
                  <c:v>39546</c:v>
                </c:pt>
                <c:pt idx="332">
                  <c:v>39547</c:v>
                </c:pt>
                <c:pt idx="333">
                  <c:v>39548</c:v>
                </c:pt>
                <c:pt idx="334">
                  <c:v>39549</c:v>
                </c:pt>
                <c:pt idx="335">
                  <c:v>39552</c:v>
                </c:pt>
                <c:pt idx="336">
                  <c:v>39553</c:v>
                </c:pt>
                <c:pt idx="337">
                  <c:v>39554</c:v>
                </c:pt>
                <c:pt idx="338">
                  <c:v>39555</c:v>
                </c:pt>
                <c:pt idx="339">
                  <c:v>39556</c:v>
                </c:pt>
                <c:pt idx="340">
                  <c:v>39559</c:v>
                </c:pt>
                <c:pt idx="341">
                  <c:v>39560</c:v>
                </c:pt>
                <c:pt idx="342">
                  <c:v>39561</c:v>
                </c:pt>
                <c:pt idx="343">
                  <c:v>39562</c:v>
                </c:pt>
                <c:pt idx="344">
                  <c:v>39563</c:v>
                </c:pt>
                <c:pt idx="345">
                  <c:v>39566</c:v>
                </c:pt>
                <c:pt idx="346">
                  <c:v>39567</c:v>
                </c:pt>
                <c:pt idx="347">
                  <c:v>39568</c:v>
                </c:pt>
                <c:pt idx="348">
                  <c:v>39569</c:v>
                </c:pt>
                <c:pt idx="349">
                  <c:v>39570</c:v>
                </c:pt>
                <c:pt idx="350">
                  <c:v>39573</c:v>
                </c:pt>
                <c:pt idx="351">
                  <c:v>39574</c:v>
                </c:pt>
                <c:pt idx="352">
                  <c:v>39575</c:v>
                </c:pt>
                <c:pt idx="353">
                  <c:v>39576</c:v>
                </c:pt>
                <c:pt idx="354">
                  <c:v>39577</c:v>
                </c:pt>
                <c:pt idx="355">
                  <c:v>39580</c:v>
                </c:pt>
                <c:pt idx="356">
                  <c:v>39581</c:v>
                </c:pt>
                <c:pt idx="357">
                  <c:v>39582</c:v>
                </c:pt>
                <c:pt idx="358">
                  <c:v>39583</c:v>
                </c:pt>
                <c:pt idx="359">
                  <c:v>39584</c:v>
                </c:pt>
                <c:pt idx="360">
                  <c:v>39587</c:v>
                </c:pt>
                <c:pt idx="361">
                  <c:v>39588</c:v>
                </c:pt>
                <c:pt idx="362">
                  <c:v>39589</c:v>
                </c:pt>
                <c:pt idx="363">
                  <c:v>39590</c:v>
                </c:pt>
                <c:pt idx="364">
                  <c:v>39591</c:v>
                </c:pt>
                <c:pt idx="365">
                  <c:v>39594</c:v>
                </c:pt>
                <c:pt idx="366">
                  <c:v>39595</c:v>
                </c:pt>
                <c:pt idx="367">
                  <c:v>39596</c:v>
                </c:pt>
                <c:pt idx="368">
                  <c:v>39597</c:v>
                </c:pt>
                <c:pt idx="369">
                  <c:v>39598</c:v>
                </c:pt>
                <c:pt idx="370">
                  <c:v>39601</c:v>
                </c:pt>
                <c:pt idx="371">
                  <c:v>39602</c:v>
                </c:pt>
                <c:pt idx="372">
                  <c:v>39603</c:v>
                </c:pt>
                <c:pt idx="373">
                  <c:v>39604</c:v>
                </c:pt>
                <c:pt idx="374">
                  <c:v>39605</c:v>
                </c:pt>
                <c:pt idx="375">
                  <c:v>39608</c:v>
                </c:pt>
                <c:pt idx="376">
                  <c:v>39609</c:v>
                </c:pt>
                <c:pt idx="377">
                  <c:v>39610</c:v>
                </c:pt>
                <c:pt idx="378">
                  <c:v>39611</c:v>
                </c:pt>
                <c:pt idx="379">
                  <c:v>39612</c:v>
                </c:pt>
                <c:pt idx="380">
                  <c:v>39615</c:v>
                </c:pt>
                <c:pt idx="381">
                  <c:v>39616</c:v>
                </c:pt>
                <c:pt idx="382">
                  <c:v>39617</c:v>
                </c:pt>
                <c:pt idx="383">
                  <c:v>39618</c:v>
                </c:pt>
                <c:pt idx="384">
                  <c:v>39619</c:v>
                </c:pt>
                <c:pt idx="385">
                  <c:v>39622</c:v>
                </c:pt>
                <c:pt idx="386">
                  <c:v>39623</c:v>
                </c:pt>
                <c:pt idx="387">
                  <c:v>39624</c:v>
                </c:pt>
                <c:pt idx="388">
                  <c:v>39625</c:v>
                </c:pt>
                <c:pt idx="389">
                  <c:v>39626</c:v>
                </c:pt>
                <c:pt idx="390">
                  <c:v>39629</c:v>
                </c:pt>
                <c:pt idx="391">
                  <c:v>39630</c:v>
                </c:pt>
                <c:pt idx="392">
                  <c:v>39631</c:v>
                </c:pt>
                <c:pt idx="393">
                  <c:v>39632</c:v>
                </c:pt>
                <c:pt idx="394">
                  <c:v>39633</c:v>
                </c:pt>
                <c:pt idx="395">
                  <c:v>39636</c:v>
                </c:pt>
                <c:pt idx="396">
                  <c:v>39637</c:v>
                </c:pt>
                <c:pt idx="397">
                  <c:v>39638</c:v>
                </c:pt>
                <c:pt idx="398">
                  <c:v>39639</c:v>
                </c:pt>
                <c:pt idx="399">
                  <c:v>39640</c:v>
                </c:pt>
                <c:pt idx="400">
                  <c:v>39643</c:v>
                </c:pt>
                <c:pt idx="401">
                  <c:v>39644</c:v>
                </c:pt>
                <c:pt idx="402">
                  <c:v>39645</c:v>
                </c:pt>
                <c:pt idx="403">
                  <c:v>39646</c:v>
                </c:pt>
                <c:pt idx="404">
                  <c:v>39647</c:v>
                </c:pt>
                <c:pt idx="405">
                  <c:v>39650</c:v>
                </c:pt>
                <c:pt idx="406">
                  <c:v>39651</c:v>
                </c:pt>
                <c:pt idx="407">
                  <c:v>39652</c:v>
                </c:pt>
                <c:pt idx="408">
                  <c:v>39653</c:v>
                </c:pt>
                <c:pt idx="409">
                  <c:v>39654</c:v>
                </c:pt>
                <c:pt idx="410">
                  <c:v>39657</c:v>
                </c:pt>
                <c:pt idx="411">
                  <c:v>39658</c:v>
                </c:pt>
                <c:pt idx="412">
                  <c:v>39659</c:v>
                </c:pt>
                <c:pt idx="413">
                  <c:v>39660</c:v>
                </c:pt>
                <c:pt idx="414">
                  <c:v>39661</c:v>
                </c:pt>
                <c:pt idx="415">
                  <c:v>39664</c:v>
                </c:pt>
                <c:pt idx="416">
                  <c:v>39665</c:v>
                </c:pt>
                <c:pt idx="417">
                  <c:v>39666</c:v>
                </c:pt>
                <c:pt idx="418">
                  <c:v>39667</c:v>
                </c:pt>
                <c:pt idx="419">
                  <c:v>39668</c:v>
                </c:pt>
                <c:pt idx="420">
                  <c:v>39671</c:v>
                </c:pt>
                <c:pt idx="421">
                  <c:v>39672</c:v>
                </c:pt>
                <c:pt idx="422">
                  <c:v>39673</c:v>
                </c:pt>
                <c:pt idx="423">
                  <c:v>39674</c:v>
                </c:pt>
                <c:pt idx="424">
                  <c:v>39675</c:v>
                </c:pt>
                <c:pt idx="425">
                  <c:v>39678</c:v>
                </c:pt>
                <c:pt idx="426">
                  <c:v>39679</c:v>
                </c:pt>
                <c:pt idx="427">
                  <c:v>39680</c:v>
                </c:pt>
                <c:pt idx="428">
                  <c:v>39681</c:v>
                </c:pt>
                <c:pt idx="429">
                  <c:v>39682</c:v>
                </c:pt>
                <c:pt idx="430">
                  <c:v>39685</c:v>
                </c:pt>
                <c:pt idx="431">
                  <c:v>39686</c:v>
                </c:pt>
                <c:pt idx="432">
                  <c:v>39687</c:v>
                </c:pt>
                <c:pt idx="433">
                  <c:v>39688</c:v>
                </c:pt>
                <c:pt idx="434">
                  <c:v>39689</c:v>
                </c:pt>
                <c:pt idx="435">
                  <c:v>39692</c:v>
                </c:pt>
                <c:pt idx="436">
                  <c:v>39693</c:v>
                </c:pt>
                <c:pt idx="437">
                  <c:v>39694</c:v>
                </c:pt>
                <c:pt idx="438">
                  <c:v>39695</c:v>
                </c:pt>
                <c:pt idx="439">
                  <c:v>39696</c:v>
                </c:pt>
                <c:pt idx="440">
                  <c:v>39699</c:v>
                </c:pt>
                <c:pt idx="441">
                  <c:v>39700</c:v>
                </c:pt>
                <c:pt idx="442">
                  <c:v>39701</c:v>
                </c:pt>
                <c:pt idx="443">
                  <c:v>39702</c:v>
                </c:pt>
                <c:pt idx="444">
                  <c:v>39703</c:v>
                </c:pt>
                <c:pt idx="445">
                  <c:v>39706</c:v>
                </c:pt>
                <c:pt idx="446">
                  <c:v>39707</c:v>
                </c:pt>
                <c:pt idx="447">
                  <c:v>39708</c:v>
                </c:pt>
                <c:pt idx="448">
                  <c:v>39709</c:v>
                </c:pt>
                <c:pt idx="449">
                  <c:v>39710</c:v>
                </c:pt>
                <c:pt idx="450">
                  <c:v>39713</c:v>
                </c:pt>
                <c:pt idx="451">
                  <c:v>39714</c:v>
                </c:pt>
                <c:pt idx="452">
                  <c:v>39715</c:v>
                </c:pt>
                <c:pt idx="453">
                  <c:v>39716</c:v>
                </c:pt>
                <c:pt idx="454">
                  <c:v>39717</c:v>
                </c:pt>
                <c:pt idx="455">
                  <c:v>39720</c:v>
                </c:pt>
                <c:pt idx="456">
                  <c:v>39721</c:v>
                </c:pt>
                <c:pt idx="457">
                  <c:v>39722</c:v>
                </c:pt>
                <c:pt idx="458">
                  <c:v>39723</c:v>
                </c:pt>
                <c:pt idx="459">
                  <c:v>39724</c:v>
                </c:pt>
                <c:pt idx="460">
                  <c:v>39727</c:v>
                </c:pt>
                <c:pt idx="461">
                  <c:v>39728</c:v>
                </c:pt>
                <c:pt idx="462">
                  <c:v>39729</c:v>
                </c:pt>
                <c:pt idx="463">
                  <c:v>39730</c:v>
                </c:pt>
                <c:pt idx="464">
                  <c:v>39731</c:v>
                </c:pt>
                <c:pt idx="465">
                  <c:v>39734</c:v>
                </c:pt>
                <c:pt idx="466">
                  <c:v>39735</c:v>
                </c:pt>
                <c:pt idx="467">
                  <c:v>39736</c:v>
                </c:pt>
                <c:pt idx="468">
                  <c:v>39737</c:v>
                </c:pt>
                <c:pt idx="469">
                  <c:v>39738</c:v>
                </c:pt>
                <c:pt idx="470">
                  <c:v>39741</c:v>
                </c:pt>
                <c:pt idx="471">
                  <c:v>39742</c:v>
                </c:pt>
                <c:pt idx="472">
                  <c:v>39743</c:v>
                </c:pt>
                <c:pt idx="473">
                  <c:v>39744</c:v>
                </c:pt>
                <c:pt idx="474">
                  <c:v>39745</c:v>
                </c:pt>
                <c:pt idx="475">
                  <c:v>39748</c:v>
                </c:pt>
                <c:pt idx="476">
                  <c:v>39749</c:v>
                </c:pt>
                <c:pt idx="477">
                  <c:v>39750</c:v>
                </c:pt>
                <c:pt idx="478">
                  <c:v>39751</c:v>
                </c:pt>
                <c:pt idx="479">
                  <c:v>39752</c:v>
                </c:pt>
                <c:pt idx="480">
                  <c:v>39755</c:v>
                </c:pt>
                <c:pt idx="481">
                  <c:v>39756</c:v>
                </c:pt>
                <c:pt idx="482">
                  <c:v>39757</c:v>
                </c:pt>
                <c:pt idx="483">
                  <c:v>39758</c:v>
                </c:pt>
                <c:pt idx="484">
                  <c:v>39759</c:v>
                </c:pt>
                <c:pt idx="485">
                  <c:v>39762</c:v>
                </c:pt>
                <c:pt idx="486">
                  <c:v>39763</c:v>
                </c:pt>
                <c:pt idx="487">
                  <c:v>39764</c:v>
                </c:pt>
                <c:pt idx="488">
                  <c:v>39765</c:v>
                </c:pt>
                <c:pt idx="489">
                  <c:v>39766</c:v>
                </c:pt>
                <c:pt idx="490">
                  <c:v>39769</c:v>
                </c:pt>
                <c:pt idx="491">
                  <c:v>39770</c:v>
                </c:pt>
                <c:pt idx="492">
                  <c:v>39771</c:v>
                </c:pt>
                <c:pt idx="493">
                  <c:v>39772</c:v>
                </c:pt>
                <c:pt idx="494">
                  <c:v>39773</c:v>
                </c:pt>
                <c:pt idx="495">
                  <c:v>39776</c:v>
                </c:pt>
                <c:pt idx="496">
                  <c:v>39777</c:v>
                </c:pt>
                <c:pt idx="497">
                  <c:v>39778</c:v>
                </c:pt>
                <c:pt idx="498">
                  <c:v>39779</c:v>
                </c:pt>
                <c:pt idx="499">
                  <c:v>39780</c:v>
                </c:pt>
                <c:pt idx="500">
                  <c:v>39783</c:v>
                </c:pt>
                <c:pt idx="501">
                  <c:v>39784</c:v>
                </c:pt>
                <c:pt idx="502">
                  <c:v>39785</c:v>
                </c:pt>
                <c:pt idx="503">
                  <c:v>39786</c:v>
                </c:pt>
                <c:pt idx="504">
                  <c:v>39787</c:v>
                </c:pt>
                <c:pt idx="505">
                  <c:v>39790</c:v>
                </c:pt>
                <c:pt idx="506">
                  <c:v>39791</c:v>
                </c:pt>
                <c:pt idx="507">
                  <c:v>39792</c:v>
                </c:pt>
                <c:pt idx="508">
                  <c:v>39793</c:v>
                </c:pt>
                <c:pt idx="509">
                  <c:v>39794</c:v>
                </c:pt>
                <c:pt idx="510">
                  <c:v>39797</c:v>
                </c:pt>
                <c:pt idx="511">
                  <c:v>39798</c:v>
                </c:pt>
                <c:pt idx="512">
                  <c:v>39799</c:v>
                </c:pt>
                <c:pt idx="513">
                  <c:v>39800</c:v>
                </c:pt>
                <c:pt idx="514">
                  <c:v>39801</c:v>
                </c:pt>
                <c:pt idx="515">
                  <c:v>39804</c:v>
                </c:pt>
                <c:pt idx="516">
                  <c:v>39805</c:v>
                </c:pt>
                <c:pt idx="517">
                  <c:v>39806</c:v>
                </c:pt>
                <c:pt idx="518">
                  <c:v>39807</c:v>
                </c:pt>
                <c:pt idx="519">
                  <c:v>39808</c:v>
                </c:pt>
                <c:pt idx="520">
                  <c:v>39811</c:v>
                </c:pt>
                <c:pt idx="521">
                  <c:v>39812</c:v>
                </c:pt>
                <c:pt idx="522">
                  <c:v>39813</c:v>
                </c:pt>
                <c:pt idx="523">
                  <c:v>39814</c:v>
                </c:pt>
                <c:pt idx="524">
                  <c:v>39815</c:v>
                </c:pt>
                <c:pt idx="525">
                  <c:v>39818</c:v>
                </c:pt>
                <c:pt idx="526">
                  <c:v>39819</c:v>
                </c:pt>
                <c:pt idx="527">
                  <c:v>39820</c:v>
                </c:pt>
                <c:pt idx="528">
                  <c:v>39821</c:v>
                </c:pt>
                <c:pt idx="529">
                  <c:v>39822</c:v>
                </c:pt>
                <c:pt idx="530">
                  <c:v>39825</c:v>
                </c:pt>
                <c:pt idx="531">
                  <c:v>39826</c:v>
                </c:pt>
                <c:pt idx="532">
                  <c:v>39827</c:v>
                </c:pt>
                <c:pt idx="533">
                  <c:v>39828</c:v>
                </c:pt>
                <c:pt idx="534">
                  <c:v>39829</c:v>
                </c:pt>
                <c:pt idx="535">
                  <c:v>39832</c:v>
                </c:pt>
                <c:pt idx="536">
                  <c:v>39833</c:v>
                </c:pt>
                <c:pt idx="537">
                  <c:v>39834</c:v>
                </c:pt>
                <c:pt idx="538">
                  <c:v>39835</c:v>
                </c:pt>
                <c:pt idx="539">
                  <c:v>39836</c:v>
                </c:pt>
                <c:pt idx="540">
                  <c:v>39839</c:v>
                </c:pt>
                <c:pt idx="541">
                  <c:v>39840</c:v>
                </c:pt>
                <c:pt idx="542">
                  <c:v>39841</c:v>
                </c:pt>
                <c:pt idx="543">
                  <c:v>39842</c:v>
                </c:pt>
                <c:pt idx="544">
                  <c:v>39843</c:v>
                </c:pt>
                <c:pt idx="545">
                  <c:v>39846</c:v>
                </c:pt>
                <c:pt idx="546">
                  <c:v>39847</c:v>
                </c:pt>
                <c:pt idx="547">
                  <c:v>39848</c:v>
                </c:pt>
                <c:pt idx="548">
                  <c:v>39849</c:v>
                </c:pt>
                <c:pt idx="549">
                  <c:v>39850</c:v>
                </c:pt>
                <c:pt idx="550">
                  <c:v>39853</c:v>
                </c:pt>
                <c:pt idx="551">
                  <c:v>39854</c:v>
                </c:pt>
                <c:pt idx="552">
                  <c:v>39855</c:v>
                </c:pt>
                <c:pt idx="553">
                  <c:v>39856</c:v>
                </c:pt>
                <c:pt idx="554">
                  <c:v>39857</c:v>
                </c:pt>
                <c:pt idx="555">
                  <c:v>39860</c:v>
                </c:pt>
                <c:pt idx="556">
                  <c:v>39861</c:v>
                </c:pt>
                <c:pt idx="557">
                  <c:v>39862</c:v>
                </c:pt>
                <c:pt idx="558">
                  <c:v>39863</c:v>
                </c:pt>
                <c:pt idx="559">
                  <c:v>39864</c:v>
                </c:pt>
                <c:pt idx="560">
                  <c:v>39867</c:v>
                </c:pt>
                <c:pt idx="561">
                  <c:v>39868</c:v>
                </c:pt>
                <c:pt idx="562">
                  <c:v>39869</c:v>
                </c:pt>
                <c:pt idx="563">
                  <c:v>39870</c:v>
                </c:pt>
                <c:pt idx="564">
                  <c:v>39871</c:v>
                </c:pt>
                <c:pt idx="565">
                  <c:v>39874</c:v>
                </c:pt>
                <c:pt idx="566">
                  <c:v>39875</c:v>
                </c:pt>
                <c:pt idx="567">
                  <c:v>39876</c:v>
                </c:pt>
                <c:pt idx="568">
                  <c:v>39877</c:v>
                </c:pt>
                <c:pt idx="569">
                  <c:v>39878</c:v>
                </c:pt>
                <c:pt idx="570">
                  <c:v>39881</c:v>
                </c:pt>
                <c:pt idx="571">
                  <c:v>39882</c:v>
                </c:pt>
                <c:pt idx="572">
                  <c:v>39883</c:v>
                </c:pt>
                <c:pt idx="573">
                  <c:v>39884</c:v>
                </c:pt>
                <c:pt idx="574">
                  <c:v>39885</c:v>
                </c:pt>
                <c:pt idx="575">
                  <c:v>39888</c:v>
                </c:pt>
                <c:pt idx="576">
                  <c:v>39889</c:v>
                </c:pt>
                <c:pt idx="577">
                  <c:v>39890</c:v>
                </c:pt>
                <c:pt idx="578">
                  <c:v>39891</c:v>
                </c:pt>
                <c:pt idx="579">
                  <c:v>39892</c:v>
                </c:pt>
                <c:pt idx="580">
                  <c:v>39895</c:v>
                </c:pt>
                <c:pt idx="581">
                  <c:v>39896</c:v>
                </c:pt>
                <c:pt idx="582">
                  <c:v>39897</c:v>
                </c:pt>
                <c:pt idx="583">
                  <c:v>39898</c:v>
                </c:pt>
                <c:pt idx="584">
                  <c:v>39899</c:v>
                </c:pt>
                <c:pt idx="585">
                  <c:v>39902</c:v>
                </c:pt>
                <c:pt idx="586">
                  <c:v>39903</c:v>
                </c:pt>
                <c:pt idx="587">
                  <c:v>39904</c:v>
                </c:pt>
                <c:pt idx="588">
                  <c:v>39905</c:v>
                </c:pt>
                <c:pt idx="589">
                  <c:v>39906</c:v>
                </c:pt>
                <c:pt idx="590">
                  <c:v>39909</c:v>
                </c:pt>
                <c:pt idx="591">
                  <c:v>39910</c:v>
                </c:pt>
                <c:pt idx="592">
                  <c:v>39911</c:v>
                </c:pt>
                <c:pt idx="593">
                  <c:v>39912</c:v>
                </c:pt>
                <c:pt idx="594">
                  <c:v>39913</c:v>
                </c:pt>
                <c:pt idx="595">
                  <c:v>39916</c:v>
                </c:pt>
                <c:pt idx="596">
                  <c:v>39917</c:v>
                </c:pt>
                <c:pt idx="597">
                  <c:v>39918</c:v>
                </c:pt>
                <c:pt idx="598">
                  <c:v>39919</c:v>
                </c:pt>
                <c:pt idx="599">
                  <c:v>39920</c:v>
                </c:pt>
                <c:pt idx="600">
                  <c:v>39923</c:v>
                </c:pt>
                <c:pt idx="601">
                  <c:v>39924</c:v>
                </c:pt>
                <c:pt idx="602">
                  <c:v>39925</c:v>
                </c:pt>
                <c:pt idx="603">
                  <c:v>39926</c:v>
                </c:pt>
                <c:pt idx="604">
                  <c:v>39927</c:v>
                </c:pt>
                <c:pt idx="605">
                  <c:v>39930</c:v>
                </c:pt>
                <c:pt idx="606">
                  <c:v>39931</c:v>
                </c:pt>
                <c:pt idx="607">
                  <c:v>39932</c:v>
                </c:pt>
                <c:pt idx="608">
                  <c:v>39933</c:v>
                </c:pt>
                <c:pt idx="609">
                  <c:v>39934</c:v>
                </c:pt>
                <c:pt idx="610">
                  <c:v>39937</c:v>
                </c:pt>
                <c:pt idx="611">
                  <c:v>39938</c:v>
                </c:pt>
                <c:pt idx="612">
                  <c:v>39939</c:v>
                </c:pt>
                <c:pt idx="613">
                  <c:v>39940</c:v>
                </c:pt>
                <c:pt idx="614">
                  <c:v>39941</c:v>
                </c:pt>
                <c:pt idx="615">
                  <c:v>39944</c:v>
                </c:pt>
                <c:pt idx="616">
                  <c:v>39945</c:v>
                </c:pt>
                <c:pt idx="617">
                  <c:v>39946</c:v>
                </c:pt>
                <c:pt idx="618">
                  <c:v>39947</c:v>
                </c:pt>
                <c:pt idx="619">
                  <c:v>39948</c:v>
                </c:pt>
                <c:pt idx="620">
                  <c:v>39951</c:v>
                </c:pt>
                <c:pt idx="621">
                  <c:v>39952</c:v>
                </c:pt>
                <c:pt idx="622">
                  <c:v>39953</c:v>
                </c:pt>
                <c:pt idx="623">
                  <c:v>39954</c:v>
                </c:pt>
                <c:pt idx="624">
                  <c:v>39955</c:v>
                </c:pt>
                <c:pt idx="625">
                  <c:v>39958</c:v>
                </c:pt>
                <c:pt idx="626">
                  <c:v>39959</c:v>
                </c:pt>
                <c:pt idx="627">
                  <c:v>39960</c:v>
                </c:pt>
                <c:pt idx="628">
                  <c:v>39961</c:v>
                </c:pt>
                <c:pt idx="629">
                  <c:v>39962</c:v>
                </c:pt>
                <c:pt idx="630">
                  <c:v>39965</c:v>
                </c:pt>
                <c:pt idx="631">
                  <c:v>39966</c:v>
                </c:pt>
                <c:pt idx="632">
                  <c:v>39967</c:v>
                </c:pt>
                <c:pt idx="633">
                  <c:v>39968</c:v>
                </c:pt>
                <c:pt idx="634">
                  <c:v>39969</c:v>
                </c:pt>
                <c:pt idx="635">
                  <c:v>39972</c:v>
                </c:pt>
                <c:pt idx="636">
                  <c:v>39973</c:v>
                </c:pt>
                <c:pt idx="637">
                  <c:v>39974</c:v>
                </c:pt>
                <c:pt idx="638">
                  <c:v>39975</c:v>
                </c:pt>
                <c:pt idx="639">
                  <c:v>39976</c:v>
                </c:pt>
                <c:pt idx="640">
                  <c:v>39979</c:v>
                </c:pt>
                <c:pt idx="641">
                  <c:v>39980</c:v>
                </c:pt>
                <c:pt idx="642">
                  <c:v>39981</c:v>
                </c:pt>
                <c:pt idx="643">
                  <c:v>39982</c:v>
                </c:pt>
                <c:pt idx="644">
                  <c:v>39983</c:v>
                </c:pt>
                <c:pt idx="645">
                  <c:v>39986</c:v>
                </c:pt>
                <c:pt idx="646">
                  <c:v>39987</c:v>
                </c:pt>
                <c:pt idx="647">
                  <c:v>39988</c:v>
                </c:pt>
                <c:pt idx="648">
                  <c:v>39989</c:v>
                </c:pt>
                <c:pt idx="649">
                  <c:v>39990</c:v>
                </c:pt>
                <c:pt idx="650">
                  <c:v>39993</c:v>
                </c:pt>
                <c:pt idx="651">
                  <c:v>39994</c:v>
                </c:pt>
                <c:pt idx="652">
                  <c:v>39995</c:v>
                </c:pt>
                <c:pt idx="653">
                  <c:v>39996</c:v>
                </c:pt>
                <c:pt idx="654">
                  <c:v>39997</c:v>
                </c:pt>
                <c:pt idx="655">
                  <c:v>40000</c:v>
                </c:pt>
                <c:pt idx="656">
                  <c:v>40001</c:v>
                </c:pt>
                <c:pt idx="657">
                  <c:v>40002</c:v>
                </c:pt>
                <c:pt idx="658">
                  <c:v>40003</c:v>
                </c:pt>
                <c:pt idx="659">
                  <c:v>40004</c:v>
                </c:pt>
                <c:pt idx="660">
                  <c:v>40007</c:v>
                </c:pt>
                <c:pt idx="661">
                  <c:v>40008</c:v>
                </c:pt>
                <c:pt idx="662">
                  <c:v>40009</c:v>
                </c:pt>
                <c:pt idx="663">
                  <c:v>40010</c:v>
                </c:pt>
                <c:pt idx="664">
                  <c:v>40011</c:v>
                </c:pt>
                <c:pt idx="665">
                  <c:v>40014</c:v>
                </c:pt>
                <c:pt idx="666">
                  <c:v>40015</c:v>
                </c:pt>
                <c:pt idx="667">
                  <c:v>40016</c:v>
                </c:pt>
                <c:pt idx="668">
                  <c:v>40017</c:v>
                </c:pt>
                <c:pt idx="669">
                  <c:v>40018</c:v>
                </c:pt>
                <c:pt idx="670">
                  <c:v>40021</c:v>
                </c:pt>
                <c:pt idx="671">
                  <c:v>40022</c:v>
                </c:pt>
                <c:pt idx="672">
                  <c:v>40023</c:v>
                </c:pt>
                <c:pt idx="673">
                  <c:v>40024</c:v>
                </c:pt>
                <c:pt idx="674">
                  <c:v>40025</c:v>
                </c:pt>
                <c:pt idx="675">
                  <c:v>40028</c:v>
                </c:pt>
                <c:pt idx="676">
                  <c:v>40029</c:v>
                </c:pt>
                <c:pt idx="677">
                  <c:v>40030</c:v>
                </c:pt>
                <c:pt idx="678">
                  <c:v>40031</c:v>
                </c:pt>
                <c:pt idx="679">
                  <c:v>40032</c:v>
                </c:pt>
                <c:pt idx="680">
                  <c:v>40035</c:v>
                </c:pt>
                <c:pt idx="681">
                  <c:v>40036</c:v>
                </c:pt>
                <c:pt idx="682">
                  <c:v>40037</c:v>
                </c:pt>
                <c:pt idx="683">
                  <c:v>40038</c:v>
                </c:pt>
                <c:pt idx="684">
                  <c:v>40039</c:v>
                </c:pt>
                <c:pt idx="685">
                  <c:v>40042</c:v>
                </c:pt>
                <c:pt idx="686">
                  <c:v>40043</c:v>
                </c:pt>
                <c:pt idx="687">
                  <c:v>40044</c:v>
                </c:pt>
                <c:pt idx="688">
                  <c:v>40045</c:v>
                </c:pt>
                <c:pt idx="689">
                  <c:v>40046</c:v>
                </c:pt>
                <c:pt idx="690">
                  <c:v>40049</c:v>
                </c:pt>
                <c:pt idx="691">
                  <c:v>40050</c:v>
                </c:pt>
                <c:pt idx="692">
                  <c:v>40051</c:v>
                </c:pt>
                <c:pt idx="693">
                  <c:v>40052</c:v>
                </c:pt>
                <c:pt idx="694">
                  <c:v>40053</c:v>
                </c:pt>
                <c:pt idx="695">
                  <c:v>40056</c:v>
                </c:pt>
                <c:pt idx="696">
                  <c:v>40057</c:v>
                </c:pt>
                <c:pt idx="697">
                  <c:v>40058</c:v>
                </c:pt>
                <c:pt idx="698">
                  <c:v>40059</c:v>
                </c:pt>
                <c:pt idx="699">
                  <c:v>40060</c:v>
                </c:pt>
                <c:pt idx="700">
                  <c:v>40063</c:v>
                </c:pt>
                <c:pt idx="701">
                  <c:v>40064</c:v>
                </c:pt>
                <c:pt idx="702">
                  <c:v>40065</c:v>
                </c:pt>
                <c:pt idx="703">
                  <c:v>40066</c:v>
                </c:pt>
                <c:pt idx="704">
                  <c:v>40067</c:v>
                </c:pt>
                <c:pt idx="705">
                  <c:v>40070</c:v>
                </c:pt>
                <c:pt idx="706">
                  <c:v>40071</c:v>
                </c:pt>
                <c:pt idx="707">
                  <c:v>40072</c:v>
                </c:pt>
                <c:pt idx="708">
                  <c:v>40073</c:v>
                </c:pt>
                <c:pt idx="709">
                  <c:v>40074</c:v>
                </c:pt>
                <c:pt idx="710">
                  <c:v>40077</c:v>
                </c:pt>
                <c:pt idx="711">
                  <c:v>40078</c:v>
                </c:pt>
                <c:pt idx="712">
                  <c:v>40079</c:v>
                </c:pt>
                <c:pt idx="713">
                  <c:v>40080</c:v>
                </c:pt>
                <c:pt idx="714">
                  <c:v>40081</c:v>
                </c:pt>
                <c:pt idx="715">
                  <c:v>40084</c:v>
                </c:pt>
                <c:pt idx="716">
                  <c:v>40085</c:v>
                </c:pt>
                <c:pt idx="717">
                  <c:v>40086</c:v>
                </c:pt>
                <c:pt idx="718">
                  <c:v>40087</c:v>
                </c:pt>
                <c:pt idx="719">
                  <c:v>40088</c:v>
                </c:pt>
                <c:pt idx="720">
                  <c:v>40091</c:v>
                </c:pt>
                <c:pt idx="721">
                  <c:v>40092</c:v>
                </c:pt>
                <c:pt idx="722">
                  <c:v>40093</c:v>
                </c:pt>
                <c:pt idx="723">
                  <c:v>40094</c:v>
                </c:pt>
                <c:pt idx="724">
                  <c:v>40095</c:v>
                </c:pt>
                <c:pt idx="725">
                  <c:v>40098</c:v>
                </c:pt>
                <c:pt idx="726">
                  <c:v>40099</c:v>
                </c:pt>
                <c:pt idx="727">
                  <c:v>40100</c:v>
                </c:pt>
                <c:pt idx="728">
                  <c:v>40101</c:v>
                </c:pt>
                <c:pt idx="729">
                  <c:v>40102</c:v>
                </c:pt>
                <c:pt idx="730">
                  <c:v>40105</c:v>
                </c:pt>
                <c:pt idx="731">
                  <c:v>40106</c:v>
                </c:pt>
                <c:pt idx="732">
                  <c:v>40107</c:v>
                </c:pt>
                <c:pt idx="733">
                  <c:v>40108</c:v>
                </c:pt>
                <c:pt idx="734">
                  <c:v>40109</c:v>
                </c:pt>
                <c:pt idx="735">
                  <c:v>40112</c:v>
                </c:pt>
                <c:pt idx="736">
                  <c:v>40113</c:v>
                </c:pt>
                <c:pt idx="737">
                  <c:v>40114</c:v>
                </c:pt>
                <c:pt idx="738">
                  <c:v>40115</c:v>
                </c:pt>
                <c:pt idx="739">
                  <c:v>40116</c:v>
                </c:pt>
                <c:pt idx="740">
                  <c:v>40119</c:v>
                </c:pt>
                <c:pt idx="741">
                  <c:v>40120</c:v>
                </c:pt>
                <c:pt idx="742">
                  <c:v>40121</c:v>
                </c:pt>
                <c:pt idx="743">
                  <c:v>40122</c:v>
                </c:pt>
                <c:pt idx="744">
                  <c:v>40123</c:v>
                </c:pt>
                <c:pt idx="745">
                  <c:v>40126</c:v>
                </c:pt>
                <c:pt idx="746">
                  <c:v>40127</c:v>
                </c:pt>
                <c:pt idx="747">
                  <c:v>40128</c:v>
                </c:pt>
                <c:pt idx="748">
                  <c:v>40129</c:v>
                </c:pt>
                <c:pt idx="749">
                  <c:v>40130</c:v>
                </c:pt>
                <c:pt idx="750">
                  <c:v>40133</c:v>
                </c:pt>
                <c:pt idx="751">
                  <c:v>40134</c:v>
                </c:pt>
                <c:pt idx="752">
                  <c:v>40135</c:v>
                </c:pt>
                <c:pt idx="753">
                  <c:v>40136</c:v>
                </c:pt>
                <c:pt idx="754">
                  <c:v>40137</c:v>
                </c:pt>
                <c:pt idx="755">
                  <c:v>40140</c:v>
                </c:pt>
                <c:pt idx="756">
                  <c:v>40141</c:v>
                </c:pt>
                <c:pt idx="757">
                  <c:v>40142</c:v>
                </c:pt>
                <c:pt idx="758">
                  <c:v>40143</c:v>
                </c:pt>
                <c:pt idx="759">
                  <c:v>40144</c:v>
                </c:pt>
                <c:pt idx="760">
                  <c:v>40147</c:v>
                </c:pt>
                <c:pt idx="761">
                  <c:v>40148</c:v>
                </c:pt>
                <c:pt idx="762">
                  <c:v>40149</c:v>
                </c:pt>
                <c:pt idx="763">
                  <c:v>40150</c:v>
                </c:pt>
                <c:pt idx="764">
                  <c:v>40151</c:v>
                </c:pt>
                <c:pt idx="765">
                  <c:v>40154</c:v>
                </c:pt>
                <c:pt idx="766">
                  <c:v>40155</c:v>
                </c:pt>
                <c:pt idx="767">
                  <c:v>40156</c:v>
                </c:pt>
                <c:pt idx="768">
                  <c:v>40157</c:v>
                </c:pt>
                <c:pt idx="769">
                  <c:v>40158</c:v>
                </c:pt>
                <c:pt idx="770">
                  <c:v>40161</c:v>
                </c:pt>
                <c:pt idx="771">
                  <c:v>40162</c:v>
                </c:pt>
                <c:pt idx="772">
                  <c:v>40163</c:v>
                </c:pt>
                <c:pt idx="773">
                  <c:v>40164</c:v>
                </c:pt>
                <c:pt idx="774">
                  <c:v>40165</c:v>
                </c:pt>
                <c:pt idx="775">
                  <c:v>40168</c:v>
                </c:pt>
                <c:pt idx="776">
                  <c:v>40169</c:v>
                </c:pt>
                <c:pt idx="777">
                  <c:v>40170</c:v>
                </c:pt>
                <c:pt idx="778">
                  <c:v>40171</c:v>
                </c:pt>
                <c:pt idx="779">
                  <c:v>40172</c:v>
                </c:pt>
                <c:pt idx="780">
                  <c:v>40175</c:v>
                </c:pt>
                <c:pt idx="781">
                  <c:v>40176</c:v>
                </c:pt>
                <c:pt idx="782">
                  <c:v>40177</c:v>
                </c:pt>
                <c:pt idx="783">
                  <c:v>40178</c:v>
                </c:pt>
                <c:pt idx="784">
                  <c:v>40179</c:v>
                </c:pt>
                <c:pt idx="785">
                  <c:v>40182</c:v>
                </c:pt>
                <c:pt idx="786">
                  <c:v>40183</c:v>
                </c:pt>
                <c:pt idx="787">
                  <c:v>40184</c:v>
                </c:pt>
                <c:pt idx="788">
                  <c:v>40185</c:v>
                </c:pt>
                <c:pt idx="789">
                  <c:v>40186</c:v>
                </c:pt>
                <c:pt idx="790">
                  <c:v>40189</c:v>
                </c:pt>
                <c:pt idx="791">
                  <c:v>40190</c:v>
                </c:pt>
                <c:pt idx="792">
                  <c:v>40191</c:v>
                </c:pt>
                <c:pt idx="793">
                  <c:v>40192</c:v>
                </c:pt>
                <c:pt idx="794">
                  <c:v>40193</c:v>
                </c:pt>
                <c:pt idx="795">
                  <c:v>40196</c:v>
                </c:pt>
                <c:pt idx="796">
                  <c:v>40197</c:v>
                </c:pt>
                <c:pt idx="797">
                  <c:v>40198</c:v>
                </c:pt>
                <c:pt idx="798">
                  <c:v>40199</c:v>
                </c:pt>
                <c:pt idx="799">
                  <c:v>40200</c:v>
                </c:pt>
                <c:pt idx="800">
                  <c:v>40203</c:v>
                </c:pt>
                <c:pt idx="801">
                  <c:v>40204</c:v>
                </c:pt>
                <c:pt idx="802">
                  <c:v>40205</c:v>
                </c:pt>
                <c:pt idx="803">
                  <c:v>40206</c:v>
                </c:pt>
                <c:pt idx="804">
                  <c:v>40207</c:v>
                </c:pt>
                <c:pt idx="805">
                  <c:v>40210</c:v>
                </c:pt>
                <c:pt idx="806">
                  <c:v>40211</c:v>
                </c:pt>
                <c:pt idx="807">
                  <c:v>40212</c:v>
                </c:pt>
                <c:pt idx="808">
                  <c:v>40213</c:v>
                </c:pt>
                <c:pt idx="809">
                  <c:v>40214</c:v>
                </c:pt>
                <c:pt idx="810">
                  <c:v>40217</c:v>
                </c:pt>
                <c:pt idx="811">
                  <c:v>40218</c:v>
                </c:pt>
                <c:pt idx="812">
                  <c:v>40219</c:v>
                </c:pt>
                <c:pt idx="813">
                  <c:v>40220</c:v>
                </c:pt>
                <c:pt idx="814">
                  <c:v>40221</c:v>
                </c:pt>
                <c:pt idx="815">
                  <c:v>40224</c:v>
                </c:pt>
                <c:pt idx="816">
                  <c:v>40225</c:v>
                </c:pt>
                <c:pt idx="817">
                  <c:v>40226</c:v>
                </c:pt>
                <c:pt idx="818">
                  <c:v>40227</c:v>
                </c:pt>
                <c:pt idx="819">
                  <c:v>40228</c:v>
                </c:pt>
                <c:pt idx="820">
                  <c:v>40231</c:v>
                </c:pt>
                <c:pt idx="821">
                  <c:v>40232</c:v>
                </c:pt>
                <c:pt idx="822">
                  <c:v>40233</c:v>
                </c:pt>
                <c:pt idx="823">
                  <c:v>40234</c:v>
                </c:pt>
                <c:pt idx="824">
                  <c:v>40235</c:v>
                </c:pt>
                <c:pt idx="825">
                  <c:v>40238</c:v>
                </c:pt>
                <c:pt idx="826">
                  <c:v>40239</c:v>
                </c:pt>
                <c:pt idx="827">
                  <c:v>40240</c:v>
                </c:pt>
                <c:pt idx="828">
                  <c:v>40241</c:v>
                </c:pt>
                <c:pt idx="829">
                  <c:v>40242</c:v>
                </c:pt>
                <c:pt idx="830">
                  <c:v>40245</c:v>
                </c:pt>
                <c:pt idx="831">
                  <c:v>40246</c:v>
                </c:pt>
                <c:pt idx="832">
                  <c:v>40247</c:v>
                </c:pt>
                <c:pt idx="833">
                  <c:v>40248</c:v>
                </c:pt>
                <c:pt idx="834">
                  <c:v>40249</c:v>
                </c:pt>
                <c:pt idx="835">
                  <c:v>40252</c:v>
                </c:pt>
                <c:pt idx="836">
                  <c:v>40253</c:v>
                </c:pt>
                <c:pt idx="837">
                  <c:v>40254</c:v>
                </c:pt>
                <c:pt idx="838">
                  <c:v>40255</c:v>
                </c:pt>
                <c:pt idx="839">
                  <c:v>40256</c:v>
                </c:pt>
                <c:pt idx="840">
                  <c:v>40259</c:v>
                </c:pt>
                <c:pt idx="841">
                  <c:v>40260</c:v>
                </c:pt>
                <c:pt idx="842">
                  <c:v>40261</c:v>
                </c:pt>
                <c:pt idx="843">
                  <c:v>40262</c:v>
                </c:pt>
                <c:pt idx="844">
                  <c:v>40263</c:v>
                </c:pt>
                <c:pt idx="845">
                  <c:v>40266</c:v>
                </c:pt>
                <c:pt idx="846">
                  <c:v>40267</c:v>
                </c:pt>
                <c:pt idx="847">
                  <c:v>40268</c:v>
                </c:pt>
                <c:pt idx="848">
                  <c:v>40269</c:v>
                </c:pt>
                <c:pt idx="849">
                  <c:v>40270</c:v>
                </c:pt>
                <c:pt idx="850">
                  <c:v>40273</c:v>
                </c:pt>
                <c:pt idx="851">
                  <c:v>40274</c:v>
                </c:pt>
                <c:pt idx="852">
                  <c:v>40275</c:v>
                </c:pt>
                <c:pt idx="853">
                  <c:v>40276</c:v>
                </c:pt>
                <c:pt idx="854">
                  <c:v>40277</c:v>
                </c:pt>
                <c:pt idx="855">
                  <c:v>40280</c:v>
                </c:pt>
                <c:pt idx="856">
                  <c:v>40281</c:v>
                </c:pt>
                <c:pt idx="857">
                  <c:v>40282</c:v>
                </c:pt>
                <c:pt idx="858">
                  <c:v>40283</c:v>
                </c:pt>
                <c:pt idx="859">
                  <c:v>40284</c:v>
                </c:pt>
                <c:pt idx="860">
                  <c:v>40287</c:v>
                </c:pt>
                <c:pt idx="861">
                  <c:v>40288</c:v>
                </c:pt>
                <c:pt idx="862">
                  <c:v>40289</c:v>
                </c:pt>
                <c:pt idx="863">
                  <c:v>40290</c:v>
                </c:pt>
                <c:pt idx="864">
                  <c:v>40291</c:v>
                </c:pt>
                <c:pt idx="865">
                  <c:v>40294</c:v>
                </c:pt>
                <c:pt idx="866">
                  <c:v>40295</c:v>
                </c:pt>
                <c:pt idx="867">
                  <c:v>40296</c:v>
                </c:pt>
                <c:pt idx="868">
                  <c:v>40297</c:v>
                </c:pt>
                <c:pt idx="869">
                  <c:v>40298</c:v>
                </c:pt>
                <c:pt idx="870">
                  <c:v>40301</c:v>
                </c:pt>
                <c:pt idx="871">
                  <c:v>40302</c:v>
                </c:pt>
                <c:pt idx="872">
                  <c:v>40303</c:v>
                </c:pt>
                <c:pt idx="873">
                  <c:v>40304</c:v>
                </c:pt>
                <c:pt idx="874">
                  <c:v>40305</c:v>
                </c:pt>
                <c:pt idx="875">
                  <c:v>40308</c:v>
                </c:pt>
                <c:pt idx="876">
                  <c:v>40309</c:v>
                </c:pt>
                <c:pt idx="877">
                  <c:v>40310</c:v>
                </c:pt>
                <c:pt idx="878">
                  <c:v>40311</c:v>
                </c:pt>
                <c:pt idx="879">
                  <c:v>40312</c:v>
                </c:pt>
                <c:pt idx="880">
                  <c:v>40315</c:v>
                </c:pt>
                <c:pt idx="881">
                  <c:v>40316</c:v>
                </c:pt>
                <c:pt idx="882">
                  <c:v>40317</c:v>
                </c:pt>
                <c:pt idx="883">
                  <c:v>40318</c:v>
                </c:pt>
                <c:pt idx="884">
                  <c:v>40319</c:v>
                </c:pt>
                <c:pt idx="885">
                  <c:v>40322</c:v>
                </c:pt>
                <c:pt idx="886">
                  <c:v>40323</c:v>
                </c:pt>
                <c:pt idx="887">
                  <c:v>40324</c:v>
                </c:pt>
                <c:pt idx="888">
                  <c:v>40325</c:v>
                </c:pt>
                <c:pt idx="889">
                  <c:v>40326</c:v>
                </c:pt>
                <c:pt idx="890">
                  <c:v>40329</c:v>
                </c:pt>
                <c:pt idx="891">
                  <c:v>40330</c:v>
                </c:pt>
                <c:pt idx="892">
                  <c:v>40331</c:v>
                </c:pt>
                <c:pt idx="893">
                  <c:v>40332</c:v>
                </c:pt>
                <c:pt idx="894">
                  <c:v>40333</c:v>
                </c:pt>
                <c:pt idx="895">
                  <c:v>40336</c:v>
                </c:pt>
                <c:pt idx="896">
                  <c:v>40337</c:v>
                </c:pt>
                <c:pt idx="897">
                  <c:v>40338</c:v>
                </c:pt>
                <c:pt idx="898">
                  <c:v>40339</c:v>
                </c:pt>
                <c:pt idx="899">
                  <c:v>40340</c:v>
                </c:pt>
                <c:pt idx="900">
                  <c:v>40343</c:v>
                </c:pt>
                <c:pt idx="901">
                  <c:v>40344</c:v>
                </c:pt>
                <c:pt idx="902">
                  <c:v>40345</c:v>
                </c:pt>
                <c:pt idx="903">
                  <c:v>40346</c:v>
                </c:pt>
                <c:pt idx="904">
                  <c:v>40347</c:v>
                </c:pt>
                <c:pt idx="905">
                  <c:v>40350</c:v>
                </c:pt>
                <c:pt idx="906">
                  <c:v>40351</c:v>
                </c:pt>
                <c:pt idx="907">
                  <c:v>40352</c:v>
                </c:pt>
                <c:pt idx="908">
                  <c:v>40353</c:v>
                </c:pt>
                <c:pt idx="909">
                  <c:v>40354</c:v>
                </c:pt>
                <c:pt idx="910">
                  <c:v>40357</c:v>
                </c:pt>
                <c:pt idx="911">
                  <c:v>40358</c:v>
                </c:pt>
                <c:pt idx="912">
                  <c:v>40359</c:v>
                </c:pt>
                <c:pt idx="913">
                  <c:v>40360</c:v>
                </c:pt>
                <c:pt idx="914">
                  <c:v>40361</c:v>
                </c:pt>
                <c:pt idx="915">
                  <c:v>40364</c:v>
                </c:pt>
                <c:pt idx="916">
                  <c:v>40365</c:v>
                </c:pt>
                <c:pt idx="917">
                  <c:v>40366</c:v>
                </c:pt>
                <c:pt idx="918">
                  <c:v>40367</c:v>
                </c:pt>
                <c:pt idx="919">
                  <c:v>40368</c:v>
                </c:pt>
                <c:pt idx="920">
                  <c:v>40371</c:v>
                </c:pt>
                <c:pt idx="921">
                  <c:v>40372</c:v>
                </c:pt>
                <c:pt idx="922">
                  <c:v>40373</c:v>
                </c:pt>
                <c:pt idx="923">
                  <c:v>40374</c:v>
                </c:pt>
                <c:pt idx="924">
                  <c:v>40375</c:v>
                </c:pt>
                <c:pt idx="925">
                  <c:v>40378</c:v>
                </c:pt>
                <c:pt idx="926">
                  <c:v>40379</c:v>
                </c:pt>
                <c:pt idx="927">
                  <c:v>40380</c:v>
                </c:pt>
                <c:pt idx="928">
                  <c:v>40381</c:v>
                </c:pt>
                <c:pt idx="929">
                  <c:v>40382</c:v>
                </c:pt>
                <c:pt idx="930">
                  <c:v>40385</c:v>
                </c:pt>
                <c:pt idx="931">
                  <c:v>40386</c:v>
                </c:pt>
                <c:pt idx="932">
                  <c:v>40387</c:v>
                </c:pt>
                <c:pt idx="933">
                  <c:v>40388</c:v>
                </c:pt>
                <c:pt idx="934">
                  <c:v>40389</c:v>
                </c:pt>
                <c:pt idx="935">
                  <c:v>40392</c:v>
                </c:pt>
                <c:pt idx="936">
                  <c:v>40393</c:v>
                </c:pt>
                <c:pt idx="937">
                  <c:v>40394</c:v>
                </c:pt>
                <c:pt idx="938">
                  <c:v>40395</c:v>
                </c:pt>
                <c:pt idx="939">
                  <c:v>40396</c:v>
                </c:pt>
                <c:pt idx="940">
                  <c:v>40399</c:v>
                </c:pt>
                <c:pt idx="941">
                  <c:v>40400</c:v>
                </c:pt>
                <c:pt idx="942">
                  <c:v>40401</c:v>
                </c:pt>
                <c:pt idx="943">
                  <c:v>40402</c:v>
                </c:pt>
                <c:pt idx="944">
                  <c:v>40403</c:v>
                </c:pt>
                <c:pt idx="945">
                  <c:v>40406</c:v>
                </c:pt>
                <c:pt idx="946">
                  <c:v>40407</c:v>
                </c:pt>
                <c:pt idx="947">
                  <c:v>40408</c:v>
                </c:pt>
                <c:pt idx="948">
                  <c:v>40409</c:v>
                </c:pt>
                <c:pt idx="949">
                  <c:v>40410</c:v>
                </c:pt>
                <c:pt idx="950">
                  <c:v>40413</c:v>
                </c:pt>
                <c:pt idx="951">
                  <c:v>40414</c:v>
                </c:pt>
                <c:pt idx="952">
                  <c:v>40415</c:v>
                </c:pt>
                <c:pt idx="953">
                  <c:v>40416</c:v>
                </c:pt>
                <c:pt idx="954">
                  <c:v>40417</c:v>
                </c:pt>
                <c:pt idx="955">
                  <c:v>40420</c:v>
                </c:pt>
                <c:pt idx="956">
                  <c:v>40421</c:v>
                </c:pt>
                <c:pt idx="957">
                  <c:v>40422</c:v>
                </c:pt>
                <c:pt idx="958">
                  <c:v>40423</c:v>
                </c:pt>
                <c:pt idx="959">
                  <c:v>40424</c:v>
                </c:pt>
                <c:pt idx="960">
                  <c:v>40427</c:v>
                </c:pt>
                <c:pt idx="961">
                  <c:v>40428</c:v>
                </c:pt>
                <c:pt idx="962">
                  <c:v>40429</c:v>
                </c:pt>
                <c:pt idx="963">
                  <c:v>40430</c:v>
                </c:pt>
                <c:pt idx="964">
                  <c:v>40431</c:v>
                </c:pt>
                <c:pt idx="965">
                  <c:v>40434</c:v>
                </c:pt>
                <c:pt idx="966">
                  <c:v>40435</c:v>
                </c:pt>
                <c:pt idx="967">
                  <c:v>40436</c:v>
                </c:pt>
                <c:pt idx="968">
                  <c:v>40437</c:v>
                </c:pt>
                <c:pt idx="969">
                  <c:v>40438</c:v>
                </c:pt>
                <c:pt idx="970">
                  <c:v>40441</c:v>
                </c:pt>
                <c:pt idx="971">
                  <c:v>40442</c:v>
                </c:pt>
                <c:pt idx="972">
                  <c:v>40443</c:v>
                </c:pt>
                <c:pt idx="973">
                  <c:v>40444</c:v>
                </c:pt>
                <c:pt idx="974">
                  <c:v>40445</c:v>
                </c:pt>
                <c:pt idx="975">
                  <c:v>40448</c:v>
                </c:pt>
                <c:pt idx="976">
                  <c:v>40449</c:v>
                </c:pt>
                <c:pt idx="977">
                  <c:v>40450</c:v>
                </c:pt>
                <c:pt idx="978">
                  <c:v>40451</c:v>
                </c:pt>
                <c:pt idx="979">
                  <c:v>40452</c:v>
                </c:pt>
                <c:pt idx="980">
                  <c:v>40455</c:v>
                </c:pt>
                <c:pt idx="981">
                  <c:v>40456</c:v>
                </c:pt>
                <c:pt idx="982">
                  <c:v>40457</c:v>
                </c:pt>
                <c:pt idx="983">
                  <c:v>40458</c:v>
                </c:pt>
                <c:pt idx="984">
                  <c:v>40459</c:v>
                </c:pt>
                <c:pt idx="985">
                  <c:v>40462</c:v>
                </c:pt>
                <c:pt idx="986">
                  <c:v>40463</c:v>
                </c:pt>
                <c:pt idx="987">
                  <c:v>40464</c:v>
                </c:pt>
                <c:pt idx="988">
                  <c:v>40465</c:v>
                </c:pt>
                <c:pt idx="989">
                  <c:v>40466</c:v>
                </c:pt>
                <c:pt idx="990">
                  <c:v>40469</c:v>
                </c:pt>
                <c:pt idx="991">
                  <c:v>40470</c:v>
                </c:pt>
                <c:pt idx="992">
                  <c:v>40471</c:v>
                </c:pt>
                <c:pt idx="993">
                  <c:v>40472</c:v>
                </c:pt>
                <c:pt idx="994">
                  <c:v>40473</c:v>
                </c:pt>
                <c:pt idx="995">
                  <c:v>40476</c:v>
                </c:pt>
                <c:pt idx="996">
                  <c:v>40477</c:v>
                </c:pt>
                <c:pt idx="997">
                  <c:v>40478</c:v>
                </c:pt>
                <c:pt idx="998">
                  <c:v>40479</c:v>
                </c:pt>
                <c:pt idx="999">
                  <c:v>40480</c:v>
                </c:pt>
                <c:pt idx="1000">
                  <c:v>40483</c:v>
                </c:pt>
                <c:pt idx="1001">
                  <c:v>40484</c:v>
                </c:pt>
                <c:pt idx="1002">
                  <c:v>40485</c:v>
                </c:pt>
                <c:pt idx="1003">
                  <c:v>40486</c:v>
                </c:pt>
                <c:pt idx="1004">
                  <c:v>40487</c:v>
                </c:pt>
                <c:pt idx="1005">
                  <c:v>40490</c:v>
                </c:pt>
                <c:pt idx="1006">
                  <c:v>40491</c:v>
                </c:pt>
                <c:pt idx="1007">
                  <c:v>40492</c:v>
                </c:pt>
                <c:pt idx="1008">
                  <c:v>40493</c:v>
                </c:pt>
                <c:pt idx="1009">
                  <c:v>40494</c:v>
                </c:pt>
                <c:pt idx="1010">
                  <c:v>40497</c:v>
                </c:pt>
                <c:pt idx="1011">
                  <c:v>40498</c:v>
                </c:pt>
                <c:pt idx="1012">
                  <c:v>40499</c:v>
                </c:pt>
                <c:pt idx="1013">
                  <c:v>40500</c:v>
                </c:pt>
                <c:pt idx="1014">
                  <c:v>40501</c:v>
                </c:pt>
                <c:pt idx="1015">
                  <c:v>40504</c:v>
                </c:pt>
                <c:pt idx="1016">
                  <c:v>40505</c:v>
                </c:pt>
                <c:pt idx="1017">
                  <c:v>40506</c:v>
                </c:pt>
                <c:pt idx="1018">
                  <c:v>40507</c:v>
                </c:pt>
                <c:pt idx="1019">
                  <c:v>40508</c:v>
                </c:pt>
                <c:pt idx="1020">
                  <c:v>40511</c:v>
                </c:pt>
                <c:pt idx="1021">
                  <c:v>40512</c:v>
                </c:pt>
                <c:pt idx="1022">
                  <c:v>40513</c:v>
                </c:pt>
                <c:pt idx="1023">
                  <c:v>40514</c:v>
                </c:pt>
                <c:pt idx="1024">
                  <c:v>40515</c:v>
                </c:pt>
                <c:pt idx="1025">
                  <c:v>40518</c:v>
                </c:pt>
                <c:pt idx="1026">
                  <c:v>40519</c:v>
                </c:pt>
                <c:pt idx="1027">
                  <c:v>40520</c:v>
                </c:pt>
                <c:pt idx="1028">
                  <c:v>40521</c:v>
                </c:pt>
                <c:pt idx="1029">
                  <c:v>40522</c:v>
                </c:pt>
                <c:pt idx="1030">
                  <c:v>40525</c:v>
                </c:pt>
                <c:pt idx="1031">
                  <c:v>40526</c:v>
                </c:pt>
                <c:pt idx="1032">
                  <c:v>40527</c:v>
                </c:pt>
                <c:pt idx="1033">
                  <c:v>40528</c:v>
                </c:pt>
                <c:pt idx="1034">
                  <c:v>40529</c:v>
                </c:pt>
                <c:pt idx="1035">
                  <c:v>40532</c:v>
                </c:pt>
                <c:pt idx="1036">
                  <c:v>40533</c:v>
                </c:pt>
                <c:pt idx="1037">
                  <c:v>40534</c:v>
                </c:pt>
                <c:pt idx="1038">
                  <c:v>40535</c:v>
                </c:pt>
                <c:pt idx="1039">
                  <c:v>40536</c:v>
                </c:pt>
                <c:pt idx="1040">
                  <c:v>40539</c:v>
                </c:pt>
                <c:pt idx="1041">
                  <c:v>40540</c:v>
                </c:pt>
                <c:pt idx="1042">
                  <c:v>40541</c:v>
                </c:pt>
                <c:pt idx="1043">
                  <c:v>40542</c:v>
                </c:pt>
                <c:pt idx="1044">
                  <c:v>40543</c:v>
                </c:pt>
                <c:pt idx="1045">
                  <c:v>40546</c:v>
                </c:pt>
                <c:pt idx="1046">
                  <c:v>40547</c:v>
                </c:pt>
                <c:pt idx="1047">
                  <c:v>40548</c:v>
                </c:pt>
                <c:pt idx="1048">
                  <c:v>40549</c:v>
                </c:pt>
                <c:pt idx="1049">
                  <c:v>40550</c:v>
                </c:pt>
                <c:pt idx="1050">
                  <c:v>40553</c:v>
                </c:pt>
                <c:pt idx="1051">
                  <c:v>40554</c:v>
                </c:pt>
                <c:pt idx="1052">
                  <c:v>40555</c:v>
                </c:pt>
                <c:pt idx="1053">
                  <c:v>40556</c:v>
                </c:pt>
                <c:pt idx="1054">
                  <c:v>40557</c:v>
                </c:pt>
                <c:pt idx="1055">
                  <c:v>40560</c:v>
                </c:pt>
                <c:pt idx="1056">
                  <c:v>40561</c:v>
                </c:pt>
                <c:pt idx="1057">
                  <c:v>40562</c:v>
                </c:pt>
                <c:pt idx="1058">
                  <c:v>40563</c:v>
                </c:pt>
                <c:pt idx="1059">
                  <c:v>40564</c:v>
                </c:pt>
                <c:pt idx="1060">
                  <c:v>40567</c:v>
                </c:pt>
                <c:pt idx="1061">
                  <c:v>40568</c:v>
                </c:pt>
                <c:pt idx="1062">
                  <c:v>40569</c:v>
                </c:pt>
                <c:pt idx="1063">
                  <c:v>40570</c:v>
                </c:pt>
                <c:pt idx="1064">
                  <c:v>40571</c:v>
                </c:pt>
                <c:pt idx="1065">
                  <c:v>40574</c:v>
                </c:pt>
                <c:pt idx="1066">
                  <c:v>40575</c:v>
                </c:pt>
                <c:pt idx="1067">
                  <c:v>40576</c:v>
                </c:pt>
                <c:pt idx="1068">
                  <c:v>40577</c:v>
                </c:pt>
                <c:pt idx="1069">
                  <c:v>40578</c:v>
                </c:pt>
                <c:pt idx="1070">
                  <c:v>40581</c:v>
                </c:pt>
                <c:pt idx="1071">
                  <c:v>40582</c:v>
                </c:pt>
                <c:pt idx="1072">
                  <c:v>40583</c:v>
                </c:pt>
                <c:pt idx="1073">
                  <c:v>40584</c:v>
                </c:pt>
                <c:pt idx="1074">
                  <c:v>40585</c:v>
                </c:pt>
                <c:pt idx="1075">
                  <c:v>40588</c:v>
                </c:pt>
                <c:pt idx="1076">
                  <c:v>40589</c:v>
                </c:pt>
                <c:pt idx="1077">
                  <c:v>40590</c:v>
                </c:pt>
                <c:pt idx="1078">
                  <c:v>40591</c:v>
                </c:pt>
                <c:pt idx="1079">
                  <c:v>40592</c:v>
                </c:pt>
                <c:pt idx="1080">
                  <c:v>40595</c:v>
                </c:pt>
                <c:pt idx="1081">
                  <c:v>40596</c:v>
                </c:pt>
                <c:pt idx="1082">
                  <c:v>40597</c:v>
                </c:pt>
                <c:pt idx="1083">
                  <c:v>40598</c:v>
                </c:pt>
                <c:pt idx="1084">
                  <c:v>40599</c:v>
                </c:pt>
                <c:pt idx="1085">
                  <c:v>40602</c:v>
                </c:pt>
                <c:pt idx="1086">
                  <c:v>40603</c:v>
                </c:pt>
                <c:pt idx="1087">
                  <c:v>40604</c:v>
                </c:pt>
                <c:pt idx="1088">
                  <c:v>40605</c:v>
                </c:pt>
                <c:pt idx="1089">
                  <c:v>40606</c:v>
                </c:pt>
                <c:pt idx="1090">
                  <c:v>40609</c:v>
                </c:pt>
                <c:pt idx="1091">
                  <c:v>40610</c:v>
                </c:pt>
                <c:pt idx="1092">
                  <c:v>40611</c:v>
                </c:pt>
                <c:pt idx="1093">
                  <c:v>40612</c:v>
                </c:pt>
                <c:pt idx="1094">
                  <c:v>40613</c:v>
                </c:pt>
                <c:pt idx="1095">
                  <c:v>40616</c:v>
                </c:pt>
                <c:pt idx="1096">
                  <c:v>40617</c:v>
                </c:pt>
                <c:pt idx="1097">
                  <c:v>40618</c:v>
                </c:pt>
                <c:pt idx="1098">
                  <c:v>40619</c:v>
                </c:pt>
                <c:pt idx="1099">
                  <c:v>40620</c:v>
                </c:pt>
                <c:pt idx="1100">
                  <c:v>40623</c:v>
                </c:pt>
                <c:pt idx="1101">
                  <c:v>40624</c:v>
                </c:pt>
                <c:pt idx="1102">
                  <c:v>40625</c:v>
                </c:pt>
                <c:pt idx="1103">
                  <c:v>40626</c:v>
                </c:pt>
                <c:pt idx="1104">
                  <c:v>40627</c:v>
                </c:pt>
                <c:pt idx="1105">
                  <c:v>40630</c:v>
                </c:pt>
                <c:pt idx="1106">
                  <c:v>40631</c:v>
                </c:pt>
                <c:pt idx="1107">
                  <c:v>40632</c:v>
                </c:pt>
                <c:pt idx="1108">
                  <c:v>40633</c:v>
                </c:pt>
                <c:pt idx="1109">
                  <c:v>40634</c:v>
                </c:pt>
                <c:pt idx="1110">
                  <c:v>40637</c:v>
                </c:pt>
                <c:pt idx="1111">
                  <c:v>40638</c:v>
                </c:pt>
                <c:pt idx="1112">
                  <c:v>40639</c:v>
                </c:pt>
                <c:pt idx="1113">
                  <c:v>40640</c:v>
                </c:pt>
                <c:pt idx="1114">
                  <c:v>40641</c:v>
                </c:pt>
                <c:pt idx="1115">
                  <c:v>40644</c:v>
                </c:pt>
                <c:pt idx="1116">
                  <c:v>40645</c:v>
                </c:pt>
                <c:pt idx="1117">
                  <c:v>40646</c:v>
                </c:pt>
                <c:pt idx="1118">
                  <c:v>40647</c:v>
                </c:pt>
                <c:pt idx="1119">
                  <c:v>40648</c:v>
                </c:pt>
                <c:pt idx="1120">
                  <c:v>40651</c:v>
                </c:pt>
                <c:pt idx="1121">
                  <c:v>40652</c:v>
                </c:pt>
                <c:pt idx="1122">
                  <c:v>40653</c:v>
                </c:pt>
                <c:pt idx="1123">
                  <c:v>40654</c:v>
                </c:pt>
                <c:pt idx="1124">
                  <c:v>40655</c:v>
                </c:pt>
                <c:pt idx="1125">
                  <c:v>40658</c:v>
                </c:pt>
                <c:pt idx="1126">
                  <c:v>40659</c:v>
                </c:pt>
                <c:pt idx="1127">
                  <c:v>40660</c:v>
                </c:pt>
                <c:pt idx="1128">
                  <c:v>40661</c:v>
                </c:pt>
                <c:pt idx="1129">
                  <c:v>40662</c:v>
                </c:pt>
                <c:pt idx="1130">
                  <c:v>40665</c:v>
                </c:pt>
                <c:pt idx="1131">
                  <c:v>40666</c:v>
                </c:pt>
                <c:pt idx="1132">
                  <c:v>40667</c:v>
                </c:pt>
                <c:pt idx="1133">
                  <c:v>40668</c:v>
                </c:pt>
                <c:pt idx="1134">
                  <c:v>40669</c:v>
                </c:pt>
                <c:pt idx="1135">
                  <c:v>40672</c:v>
                </c:pt>
                <c:pt idx="1136">
                  <c:v>40673</c:v>
                </c:pt>
                <c:pt idx="1137">
                  <c:v>40674</c:v>
                </c:pt>
                <c:pt idx="1138">
                  <c:v>40675</c:v>
                </c:pt>
                <c:pt idx="1139">
                  <c:v>40676</c:v>
                </c:pt>
                <c:pt idx="1140">
                  <c:v>40679</c:v>
                </c:pt>
                <c:pt idx="1141">
                  <c:v>40680</c:v>
                </c:pt>
                <c:pt idx="1142">
                  <c:v>40681</c:v>
                </c:pt>
                <c:pt idx="1143">
                  <c:v>40682</c:v>
                </c:pt>
                <c:pt idx="1144">
                  <c:v>40683</c:v>
                </c:pt>
                <c:pt idx="1145">
                  <c:v>40686</c:v>
                </c:pt>
                <c:pt idx="1146">
                  <c:v>40687</c:v>
                </c:pt>
                <c:pt idx="1147">
                  <c:v>40688</c:v>
                </c:pt>
                <c:pt idx="1148">
                  <c:v>40689</c:v>
                </c:pt>
                <c:pt idx="1149">
                  <c:v>40690</c:v>
                </c:pt>
                <c:pt idx="1150">
                  <c:v>40693</c:v>
                </c:pt>
                <c:pt idx="1151">
                  <c:v>40694</c:v>
                </c:pt>
                <c:pt idx="1152">
                  <c:v>40695</c:v>
                </c:pt>
                <c:pt idx="1153">
                  <c:v>40696</c:v>
                </c:pt>
                <c:pt idx="1154">
                  <c:v>40697</c:v>
                </c:pt>
                <c:pt idx="1155">
                  <c:v>40700</c:v>
                </c:pt>
                <c:pt idx="1156">
                  <c:v>40701</c:v>
                </c:pt>
                <c:pt idx="1157">
                  <c:v>40702</c:v>
                </c:pt>
                <c:pt idx="1158">
                  <c:v>40703</c:v>
                </c:pt>
                <c:pt idx="1159">
                  <c:v>40704</c:v>
                </c:pt>
                <c:pt idx="1160">
                  <c:v>40707</c:v>
                </c:pt>
                <c:pt idx="1161">
                  <c:v>40708</c:v>
                </c:pt>
                <c:pt idx="1162">
                  <c:v>40709</c:v>
                </c:pt>
                <c:pt idx="1163">
                  <c:v>40710</c:v>
                </c:pt>
                <c:pt idx="1164">
                  <c:v>40711</c:v>
                </c:pt>
                <c:pt idx="1165">
                  <c:v>40714</c:v>
                </c:pt>
                <c:pt idx="1166">
                  <c:v>40715</c:v>
                </c:pt>
                <c:pt idx="1167">
                  <c:v>40716</c:v>
                </c:pt>
                <c:pt idx="1168">
                  <c:v>40717</c:v>
                </c:pt>
                <c:pt idx="1169">
                  <c:v>40718</c:v>
                </c:pt>
                <c:pt idx="1170">
                  <c:v>40721</c:v>
                </c:pt>
                <c:pt idx="1171">
                  <c:v>40722</c:v>
                </c:pt>
                <c:pt idx="1172">
                  <c:v>40723</c:v>
                </c:pt>
                <c:pt idx="1173">
                  <c:v>40724</c:v>
                </c:pt>
                <c:pt idx="1174">
                  <c:v>40725</c:v>
                </c:pt>
                <c:pt idx="1175">
                  <c:v>40728</c:v>
                </c:pt>
                <c:pt idx="1176">
                  <c:v>40729</c:v>
                </c:pt>
                <c:pt idx="1177">
                  <c:v>40730</c:v>
                </c:pt>
                <c:pt idx="1178">
                  <c:v>40731</c:v>
                </c:pt>
                <c:pt idx="1179">
                  <c:v>40732</c:v>
                </c:pt>
                <c:pt idx="1180">
                  <c:v>40735</c:v>
                </c:pt>
                <c:pt idx="1181">
                  <c:v>40736</c:v>
                </c:pt>
                <c:pt idx="1182">
                  <c:v>40737</c:v>
                </c:pt>
                <c:pt idx="1183">
                  <c:v>40738</c:v>
                </c:pt>
                <c:pt idx="1184">
                  <c:v>40739</c:v>
                </c:pt>
                <c:pt idx="1185">
                  <c:v>40742</c:v>
                </c:pt>
                <c:pt idx="1186">
                  <c:v>40743</c:v>
                </c:pt>
                <c:pt idx="1187">
                  <c:v>40744</c:v>
                </c:pt>
                <c:pt idx="1188">
                  <c:v>40745</c:v>
                </c:pt>
                <c:pt idx="1189">
                  <c:v>40746</c:v>
                </c:pt>
                <c:pt idx="1190">
                  <c:v>40749</c:v>
                </c:pt>
                <c:pt idx="1191">
                  <c:v>40750</c:v>
                </c:pt>
                <c:pt idx="1192">
                  <c:v>40751</c:v>
                </c:pt>
                <c:pt idx="1193">
                  <c:v>40752</c:v>
                </c:pt>
                <c:pt idx="1194">
                  <c:v>40753</c:v>
                </c:pt>
                <c:pt idx="1195">
                  <c:v>40756</c:v>
                </c:pt>
                <c:pt idx="1196">
                  <c:v>40757</c:v>
                </c:pt>
                <c:pt idx="1197">
                  <c:v>40758</c:v>
                </c:pt>
                <c:pt idx="1198">
                  <c:v>40759</c:v>
                </c:pt>
                <c:pt idx="1199">
                  <c:v>40760</c:v>
                </c:pt>
                <c:pt idx="1200">
                  <c:v>40763</c:v>
                </c:pt>
                <c:pt idx="1201">
                  <c:v>40764</c:v>
                </c:pt>
                <c:pt idx="1202">
                  <c:v>40765</c:v>
                </c:pt>
                <c:pt idx="1203">
                  <c:v>40766</c:v>
                </c:pt>
                <c:pt idx="1204">
                  <c:v>40767</c:v>
                </c:pt>
                <c:pt idx="1205">
                  <c:v>40770</c:v>
                </c:pt>
                <c:pt idx="1206">
                  <c:v>40771</c:v>
                </c:pt>
                <c:pt idx="1207">
                  <c:v>40772</c:v>
                </c:pt>
                <c:pt idx="1208">
                  <c:v>40773</c:v>
                </c:pt>
                <c:pt idx="1209">
                  <c:v>40774</c:v>
                </c:pt>
                <c:pt idx="1210">
                  <c:v>40777</c:v>
                </c:pt>
                <c:pt idx="1211">
                  <c:v>40778</c:v>
                </c:pt>
                <c:pt idx="1212">
                  <c:v>40779</c:v>
                </c:pt>
                <c:pt idx="1213">
                  <c:v>40780</c:v>
                </c:pt>
                <c:pt idx="1214">
                  <c:v>40781</c:v>
                </c:pt>
                <c:pt idx="1215">
                  <c:v>40784</c:v>
                </c:pt>
                <c:pt idx="1216">
                  <c:v>40785</c:v>
                </c:pt>
                <c:pt idx="1217">
                  <c:v>40786</c:v>
                </c:pt>
                <c:pt idx="1218">
                  <c:v>40787</c:v>
                </c:pt>
                <c:pt idx="1219">
                  <c:v>40788</c:v>
                </c:pt>
                <c:pt idx="1220">
                  <c:v>40791</c:v>
                </c:pt>
                <c:pt idx="1221">
                  <c:v>40792</c:v>
                </c:pt>
                <c:pt idx="1222">
                  <c:v>40793</c:v>
                </c:pt>
                <c:pt idx="1223">
                  <c:v>40794</c:v>
                </c:pt>
                <c:pt idx="1224">
                  <c:v>40795</c:v>
                </c:pt>
                <c:pt idx="1225">
                  <c:v>40798</c:v>
                </c:pt>
                <c:pt idx="1226">
                  <c:v>40799</c:v>
                </c:pt>
                <c:pt idx="1227">
                  <c:v>40800</c:v>
                </c:pt>
                <c:pt idx="1228">
                  <c:v>40801</c:v>
                </c:pt>
                <c:pt idx="1229">
                  <c:v>40802</c:v>
                </c:pt>
                <c:pt idx="1230">
                  <c:v>40805</c:v>
                </c:pt>
                <c:pt idx="1231">
                  <c:v>40806</c:v>
                </c:pt>
                <c:pt idx="1232">
                  <c:v>40807</c:v>
                </c:pt>
                <c:pt idx="1233">
                  <c:v>40808</c:v>
                </c:pt>
                <c:pt idx="1234">
                  <c:v>40809</c:v>
                </c:pt>
                <c:pt idx="1235">
                  <c:v>40812</c:v>
                </c:pt>
                <c:pt idx="1236">
                  <c:v>40813</c:v>
                </c:pt>
                <c:pt idx="1237">
                  <c:v>40814</c:v>
                </c:pt>
                <c:pt idx="1238">
                  <c:v>40815</c:v>
                </c:pt>
                <c:pt idx="1239">
                  <c:v>40816</c:v>
                </c:pt>
                <c:pt idx="1240">
                  <c:v>40819</c:v>
                </c:pt>
                <c:pt idx="1241">
                  <c:v>40820</c:v>
                </c:pt>
                <c:pt idx="1242">
                  <c:v>40821</c:v>
                </c:pt>
                <c:pt idx="1243">
                  <c:v>40822</c:v>
                </c:pt>
                <c:pt idx="1244">
                  <c:v>40823</c:v>
                </c:pt>
                <c:pt idx="1245">
                  <c:v>40826</c:v>
                </c:pt>
                <c:pt idx="1246">
                  <c:v>40827</c:v>
                </c:pt>
                <c:pt idx="1247">
                  <c:v>40828</c:v>
                </c:pt>
                <c:pt idx="1248">
                  <c:v>40829</c:v>
                </c:pt>
                <c:pt idx="1249">
                  <c:v>40830</c:v>
                </c:pt>
                <c:pt idx="1250">
                  <c:v>40833</c:v>
                </c:pt>
                <c:pt idx="1251">
                  <c:v>40834</c:v>
                </c:pt>
                <c:pt idx="1252">
                  <c:v>40835</c:v>
                </c:pt>
                <c:pt idx="1253">
                  <c:v>40836</c:v>
                </c:pt>
                <c:pt idx="1254">
                  <c:v>40837</c:v>
                </c:pt>
                <c:pt idx="1255">
                  <c:v>40840</c:v>
                </c:pt>
                <c:pt idx="1256">
                  <c:v>40841</c:v>
                </c:pt>
                <c:pt idx="1257">
                  <c:v>40842</c:v>
                </c:pt>
                <c:pt idx="1258">
                  <c:v>40843</c:v>
                </c:pt>
                <c:pt idx="1259">
                  <c:v>40844</c:v>
                </c:pt>
                <c:pt idx="1260">
                  <c:v>40847</c:v>
                </c:pt>
                <c:pt idx="1261">
                  <c:v>40848</c:v>
                </c:pt>
                <c:pt idx="1262">
                  <c:v>40849</c:v>
                </c:pt>
                <c:pt idx="1263">
                  <c:v>40850</c:v>
                </c:pt>
                <c:pt idx="1264">
                  <c:v>40851</c:v>
                </c:pt>
                <c:pt idx="1265">
                  <c:v>40854</c:v>
                </c:pt>
                <c:pt idx="1266">
                  <c:v>40855</c:v>
                </c:pt>
                <c:pt idx="1267">
                  <c:v>40856</c:v>
                </c:pt>
                <c:pt idx="1268">
                  <c:v>40857</c:v>
                </c:pt>
                <c:pt idx="1269">
                  <c:v>40858</c:v>
                </c:pt>
                <c:pt idx="1270">
                  <c:v>40861</c:v>
                </c:pt>
                <c:pt idx="1271">
                  <c:v>40862</c:v>
                </c:pt>
                <c:pt idx="1272">
                  <c:v>40863</c:v>
                </c:pt>
                <c:pt idx="1273">
                  <c:v>40864</c:v>
                </c:pt>
                <c:pt idx="1274">
                  <c:v>40865</c:v>
                </c:pt>
                <c:pt idx="1275">
                  <c:v>40868</c:v>
                </c:pt>
                <c:pt idx="1276">
                  <c:v>40869</c:v>
                </c:pt>
                <c:pt idx="1277">
                  <c:v>40870</c:v>
                </c:pt>
                <c:pt idx="1278">
                  <c:v>40871</c:v>
                </c:pt>
                <c:pt idx="1279">
                  <c:v>40872</c:v>
                </c:pt>
                <c:pt idx="1280">
                  <c:v>40875</c:v>
                </c:pt>
                <c:pt idx="1281">
                  <c:v>40876</c:v>
                </c:pt>
                <c:pt idx="1282">
                  <c:v>40877</c:v>
                </c:pt>
                <c:pt idx="1283">
                  <c:v>40878</c:v>
                </c:pt>
                <c:pt idx="1284">
                  <c:v>40879</c:v>
                </c:pt>
                <c:pt idx="1285">
                  <c:v>40882</c:v>
                </c:pt>
                <c:pt idx="1286">
                  <c:v>40883</c:v>
                </c:pt>
                <c:pt idx="1287">
                  <c:v>40884</c:v>
                </c:pt>
                <c:pt idx="1288">
                  <c:v>40885</c:v>
                </c:pt>
                <c:pt idx="1289">
                  <c:v>40886</c:v>
                </c:pt>
                <c:pt idx="1290">
                  <c:v>40889</c:v>
                </c:pt>
                <c:pt idx="1291">
                  <c:v>40890</c:v>
                </c:pt>
                <c:pt idx="1292">
                  <c:v>40891</c:v>
                </c:pt>
                <c:pt idx="1293">
                  <c:v>40892</c:v>
                </c:pt>
                <c:pt idx="1294">
                  <c:v>40893</c:v>
                </c:pt>
                <c:pt idx="1295">
                  <c:v>40896</c:v>
                </c:pt>
                <c:pt idx="1296">
                  <c:v>40897</c:v>
                </c:pt>
                <c:pt idx="1297">
                  <c:v>40898</c:v>
                </c:pt>
                <c:pt idx="1298">
                  <c:v>40899</c:v>
                </c:pt>
                <c:pt idx="1299">
                  <c:v>40900</c:v>
                </c:pt>
                <c:pt idx="1300">
                  <c:v>40903</c:v>
                </c:pt>
                <c:pt idx="1301">
                  <c:v>40904</c:v>
                </c:pt>
                <c:pt idx="1302">
                  <c:v>40905</c:v>
                </c:pt>
                <c:pt idx="1303">
                  <c:v>40906</c:v>
                </c:pt>
                <c:pt idx="1304">
                  <c:v>40907</c:v>
                </c:pt>
                <c:pt idx="1305">
                  <c:v>40910</c:v>
                </c:pt>
                <c:pt idx="1306">
                  <c:v>40911</c:v>
                </c:pt>
                <c:pt idx="1307">
                  <c:v>40912</c:v>
                </c:pt>
                <c:pt idx="1308">
                  <c:v>40913</c:v>
                </c:pt>
                <c:pt idx="1309">
                  <c:v>40914</c:v>
                </c:pt>
                <c:pt idx="1310">
                  <c:v>40917</c:v>
                </c:pt>
                <c:pt idx="1311">
                  <c:v>40918</c:v>
                </c:pt>
                <c:pt idx="1312">
                  <c:v>40919</c:v>
                </c:pt>
                <c:pt idx="1313">
                  <c:v>40920</c:v>
                </c:pt>
                <c:pt idx="1314">
                  <c:v>40921</c:v>
                </c:pt>
                <c:pt idx="1315">
                  <c:v>40924</c:v>
                </c:pt>
                <c:pt idx="1316">
                  <c:v>40925</c:v>
                </c:pt>
                <c:pt idx="1317">
                  <c:v>40926</c:v>
                </c:pt>
                <c:pt idx="1318">
                  <c:v>40927</c:v>
                </c:pt>
                <c:pt idx="1319">
                  <c:v>40928</c:v>
                </c:pt>
                <c:pt idx="1320">
                  <c:v>40931</c:v>
                </c:pt>
                <c:pt idx="1321">
                  <c:v>40932</c:v>
                </c:pt>
                <c:pt idx="1322">
                  <c:v>40933</c:v>
                </c:pt>
                <c:pt idx="1323">
                  <c:v>40934</c:v>
                </c:pt>
                <c:pt idx="1324">
                  <c:v>40935</c:v>
                </c:pt>
                <c:pt idx="1325">
                  <c:v>40938</c:v>
                </c:pt>
                <c:pt idx="1326">
                  <c:v>40939</c:v>
                </c:pt>
                <c:pt idx="1327">
                  <c:v>40940</c:v>
                </c:pt>
                <c:pt idx="1328">
                  <c:v>40941</c:v>
                </c:pt>
                <c:pt idx="1329">
                  <c:v>40942</c:v>
                </c:pt>
                <c:pt idx="1330">
                  <c:v>40945</c:v>
                </c:pt>
                <c:pt idx="1331">
                  <c:v>40946</c:v>
                </c:pt>
                <c:pt idx="1332">
                  <c:v>40947</c:v>
                </c:pt>
                <c:pt idx="1333">
                  <c:v>40948</c:v>
                </c:pt>
                <c:pt idx="1334">
                  <c:v>40949</c:v>
                </c:pt>
                <c:pt idx="1335">
                  <c:v>40952</c:v>
                </c:pt>
                <c:pt idx="1336">
                  <c:v>40953</c:v>
                </c:pt>
                <c:pt idx="1337">
                  <c:v>40954</c:v>
                </c:pt>
                <c:pt idx="1338">
                  <c:v>40955</c:v>
                </c:pt>
                <c:pt idx="1339">
                  <c:v>40956</c:v>
                </c:pt>
                <c:pt idx="1340">
                  <c:v>40959</c:v>
                </c:pt>
                <c:pt idx="1341">
                  <c:v>40960</c:v>
                </c:pt>
                <c:pt idx="1342">
                  <c:v>40961</c:v>
                </c:pt>
                <c:pt idx="1343">
                  <c:v>40962</c:v>
                </c:pt>
                <c:pt idx="1344">
                  <c:v>40963</c:v>
                </c:pt>
                <c:pt idx="1345">
                  <c:v>40966</c:v>
                </c:pt>
                <c:pt idx="1346">
                  <c:v>40967</c:v>
                </c:pt>
                <c:pt idx="1347">
                  <c:v>40968</c:v>
                </c:pt>
                <c:pt idx="1348">
                  <c:v>40969</c:v>
                </c:pt>
                <c:pt idx="1349">
                  <c:v>40970</c:v>
                </c:pt>
                <c:pt idx="1350">
                  <c:v>40973</c:v>
                </c:pt>
                <c:pt idx="1351">
                  <c:v>40974</c:v>
                </c:pt>
                <c:pt idx="1352">
                  <c:v>40975</c:v>
                </c:pt>
                <c:pt idx="1353">
                  <c:v>40976</c:v>
                </c:pt>
                <c:pt idx="1354">
                  <c:v>40977</c:v>
                </c:pt>
                <c:pt idx="1355">
                  <c:v>40980</c:v>
                </c:pt>
                <c:pt idx="1356">
                  <c:v>40981</c:v>
                </c:pt>
                <c:pt idx="1357">
                  <c:v>40982</c:v>
                </c:pt>
                <c:pt idx="1358">
                  <c:v>40983</c:v>
                </c:pt>
                <c:pt idx="1359">
                  <c:v>40984</c:v>
                </c:pt>
                <c:pt idx="1360">
                  <c:v>40987</c:v>
                </c:pt>
                <c:pt idx="1361">
                  <c:v>40988</c:v>
                </c:pt>
                <c:pt idx="1362">
                  <c:v>40989</c:v>
                </c:pt>
                <c:pt idx="1363">
                  <c:v>40990</c:v>
                </c:pt>
                <c:pt idx="1364">
                  <c:v>40991</c:v>
                </c:pt>
                <c:pt idx="1365">
                  <c:v>40994</c:v>
                </c:pt>
                <c:pt idx="1366">
                  <c:v>40995</c:v>
                </c:pt>
                <c:pt idx="1367">
                  <c:v>40996</c:v>
                </c:pt>
                <c:pt idx="1368">
                  <c:v>40997</c:v>
                </c:pt>
                <c:pt idx="1369">
                  <c:v>40998</c:v>
                </c:pt>
                <c:pt idx="1370">
                  <c:v>41001</c:v>
                </c:pt>
                <c:pt idx="1371">
                  <c:v>41002</c:v>
                </c:pt>
                <c:pt idx="1372">
                  <c:v>41003</c:v>
                </c:pt>
                <c:pt idx="1373">
                  <c:v>41004</c:v>
                </c:pt>
                <c:pt idx="1374">
                  <c:v>41005</c:v>
                </c:pt>
                <c:pt idx="1375">
                  <c:v>41008</c:v>
                </c:pt>
                <c:pt idx="1376">
                  <c:v>41009</c:v>
                </c:pt>
                <c:pt idx="1377">
                  <c:v>41010</c:v>
                </c:pt>
                <c:pt idx="1378">
                  <c:v>41011</c:v>
                </c:pt>
                <c:pt idx="1379">
                  <c:v>41012</c:v>
                </c:pt>
                <c:pt idx="1380">
                  <c:v>41015</c:v>
                </c:pt>
                <c:pt idx="1381">
                  <c:v>41016</c:v>
                </c:pt>
                <c:pt idx="1382">
                  <c:v>41017</c:v>
                </c:pt>
                <c:pt idx="1383">
                  <c:v>41018</c:v>
                </c:pt>
                <c:pt idx="1384">
                  <c:v>41019</c:v>
                </c:pt>
                <c:pt idx="1385">
                  <c:v>41022</c:v>
                </c:pt>
                <c:pt idx="1386">
                  <c:v>41023</c:v>
                </c:pt>
                <c:pt idx="1387">
                  <c:v>41024</c:v>
                </c:pt>
                <c:pt idx="1388">
                  <c:v>41025</c:v>
                </c:pt>
                <c:pt idx="1389">
                  <c:v>41026</c:v>
                </c:pt>
                <c:pt idx="1390">
                  <c:v>41029</c:v>
                </c:pt>
                <c:pt idx="1391">
                  <c:v>41030</c:v>
                </c:pt>
                <c:pt idx="1392">
                  <c:v>41031</c:v>
                </c:pt>
                <c:pt idx="1393">
                  <c:v>41032</c:v>
                </c:pt>
                <c:pt idx="1394">
                  <c:v>41033</c:v>
                </c:pt>
                <c:pt idx="1395">
                  <c:v>41036</c:v>
                </c:pt>
                <c:pt idx="1396">
                  <c:v>41037</c:v>
                </c:pt>
                <c:pt idx="1397">
                  <c:v>41038</c:v>
                </c:pt>
                <c:pt idx="1398">
                  <c:v>41039</c:v>
                </c:pt>
                <c:pt idx="1399">
                  <c:v>41040</c:v>
                </c:pt>
                <c:pt idx="1400">
                  <c:v>41043</c:v>
                </c:pt>
                <c:pt idx="1401">
                  <c:v>41044</c:v>
                </c:pt>
                <c:pt idx="1402">
                  <c:v>41045</c:v>
                </c:pt>
                <c:pt idx="1403">
                  <c:v>41046</c:v>
                </c:pt>
                <c:pt idx="1404">
                  <c:v>41047</c:v>
                </c:pt>
                <c:pt idx="1405">
                  <c:v>41050</c:v>
                </c:pt>
                <c:pt idx="1406">
                  <c:v>41051</c:v>
                </c:pt>
                <c:pt idx="1407">
                  <c:v>41052</c:v>
                </c:pt>
                <c:pt idx="1408">
                  <c:v>41053</c:v>
                </c:pt>
                <c:pt idx="1409">
                  <c:v>41054</c:v>
                </c:pt>
                <c:pt idx="1410">
                  <c:v>41057</c:v>
                </c:pt>
                <c:pt idx="1411">
                  <c:v>41058</c:v>
                </c:pt>
                <c:pt idx="1412">
                  <c:v>41059</c:v>
                </c:pt>
                <c:pt idx="1413">
                  <c:v>41060</c:v>
                </c:pt>
                <c:pt idx="1414">
                  <c:v>41061</c:v>
                </c:pt>
                <c:pt idx="1415">
                  <c:v>41064</c:v>
                </c:pt>
                <c:pt idx="1416">
                  <c:v>41065</c:v>
                </c:pt>
                <c:pt idx="1417">
                  <c:v>41066</c:v>
                </c:pt>
                <c:pt idx="1418">
                  <c:v>41067</c:v>
                </c:pt>
                <c:pt idx="1419">
                  <c:v>41068</c:v>
                </c:pt>
                <c:pt idx="1420">
                  <c:v>41071</c:v>
                </c:pt>
                <c:pt idx="1421">
                  <c:v>41072</c:v>
                </c:pt>
                <c:pt idx="1422">
                  <c:v>41073</c:v>
                </c:pt>
                <c:pt idx="1423">
                  <c:v>41074</c:v>
                </c:pt>
                <c:pt idx="1424">
                  <c:v>41075</c:v>
                </c:pt>
                <c:pt idx="1425">
                  <c:v>41078</c:v>
                </c:pt>
                <c:pt idx="1426">
                  <c:v>41079</c:v>
                </c:pt>
                <c:pt idx="1427">
                  <c:v>41080</c:v>
                </c:pt>
                <c:pt idx="1428">
                  <c:v>41081</c:v>
                </c:pt>
                <c:pt idx="1429">
                  <c:v>41082</c:v>
                </c:pt>
                <c:pt idx="1430">
                  <c:v>41085</c:v>
                </c:pt>
                <c:pt idx="1431">
                  <c:v>41086</c:v>
                </c:pt>
                <c:pt idx="1432">
                  <c:v>41087</c:v>
                </c:pt>
                <c:pt idx="1433">
                  <c:v>41088</c:v>
                </c:pt>
                <c:pt idx="1434">
                  <c:v>41089</c:v>
                </c:pt>
                <c:pt idx="1435">
                  <c:v>41092</c:v>
                </c:pt>
                <c:pt idx="1436">
                  <c:v>41093</c:v>
                </c:pt>
                <c:pt idx="1437">
                  <c:v>41094</c:v>
                </c:pt>
                <c:pt idx="1438">
                  <c:v>41095</c:v>
                </c:pt>
                <c:pt idx="1439">
                  <c:v>41096</c:v>
                </c:pt>
                <c:pt idx="1440">
                  <c:v>41099</c:v>
                </c:pt>
                <c:pt idx="1441">
                  <c:v>41100</c:v>
                </c:pt>
                <c:pt idx="1442">
                  <c:v>41101</c:v>
                </c:pt>
                <c:pt idx="1443">
                  <c:v>41102</c:v>
                </c:pt>
                <c:pt idx="1444">
                  <c:v>41103</c:v>
                </c:pt>
                <c:pt idx="1445">
                  <c:v>41106</c:v>
                </c:pt>
                <c:pt idx="1446">
                  <c:v>41107</c:v>
                </c:pt>
                <c:pt idx="1447">
                  <c:v>41108</c:v>
                </c:pt>
                <c:pt idx="1448">
                  <c:v>41109</c:v>
                </c:pt>
                <c:pt idx="1449">
                  <c:v>41110</c:v>
                </c:pt>
                <c:pt idx="1450">
                  <c:v>41113</c:v>
                </c:pt>
                <c:pt idx="1451">
                  <c:v>41114</c:v>
                </c:pt>
                <c:pt idx="1452">
                  <c:v>41115</c:v>
                </c:pt>
                <c:pt idx="1453">
                  <c:v>41116</c:v>
                </c:pt>
                <c:pt idx="1454">
                  <c:v>41117</c:v>
                </c:pt>
                <c:pt idx="1455">
                  <c:v>41120</c:v>
                </c:pt>
                <c:pt idx="1456">
                  <c:v>41121</c:v>
                </c:pt>
                <c:pt idx="1457">
                  <c:v>41122</c:v>
                </c:pt>
                <c:pt idx="1458">
                  <c:v>41123</c:v>
                </c:pt>
                <c:pt idx="1459">
                  <c:v>41124</c:v>
                </c:pt>
                <c:pt idx="1460">
                  <c:v>41127</c:v>
                </c:pt>
                <c:pt idx="1461">
                  <c:v>41128</c:v>
                </c:pt>
                <c:pt idx="1462">
                  <c:v>41129</c:v>
                </c:pt>
                <c:pt idx="1463">
                  <c:v>41130</c:v>
                </c:pt>
                <c:pt idx="1464">
                  <c:v>41131</c:v>
                </c:pt>
                <c:pt idx="1465">
                  <c:v>41134</c:v>
                </c:pt>
                <c:pt idx="1466">
                  <c:v>41135</c:v>
                </c:pt>
                <c:pt idx="1467">
                  <c:v>41136</c:v>
                </c:pt>
                <c:pt idx="1468">
                  <c:v>41137</c:v>
                </c:pt>
                <c:pt idx="1469">
                  <c:v>41138</c:v>
                </c:pt>
                <c:pt idx="1470">
                  <c:v>41141</c:v>
                </c:pt>
                <c:pt idx="1471">
                  <c:v>41142</c:v>
                </c:pt>
                <c:pt idx="1472">
                  <c:v>41143</c:v>
                </c:pt>
                <c:pt idx="1473">
                  <c:v>41144</c:v>
                </c:pt>
                <c:pt idx="1474">
                  <c:v>41145</c:v>
                </c:pt>
                <c:pt idx="1475">
                  <c:v>41148</c:v>
                </c:pt>
                <c:pt idx="1476">
                  <c:v>41149</c:v>
                </c:pt>
                <c:pt idx="1477">
                  <c:v>41150</c:v>
                </c:pt>
                <c:pt idx="1478">
                  <c:v>41151</c:v>
                </c:pt>
                <c:pt idx="1479">
                  <c:v>41152</c:v>
                </c:pt>
                <c:pt idx="1480">
                  <c:v>41155</c:v>
                </c:pt>
                <c:pt idx="1481">
                  <c:v>41156</c:v>
                </c:pt>
                <c:pt idx="1482">
                  <c:v>41157</c:v>
                </c:pt>
                <c:pt idx="1483">
                  <c:v>41158</c:v>
                </c:pt>
                <c:pt idx="1484">
                  <c:v>41159</c:v>
                </c:pt>
                <c:pt idx="1485">
                  <c:v>41162</c:v>
                </c:pt>
                <c:pt idx="1486">
                  <c:v>41163</c:v>
                </c:pt>
                <c:pt idx="1487">
                  <c:v>41164</c:v>
                </c:pt>
                <c:pt idx="1488">
                  <c:v>41165</c:v>
                </c:pt>
                <c:pt idx="1489">
                  <c:v>41166</c:v>
                </c:pt>
                <c:pt idx="1490">
                  <c:v>41169</c:v>
                </c:pt>
                <c:pt idx="1491">
                  <c:v>41170</c:v>
                </c:pt>
                <c:pt idx="1492">
                  <c:v>41171</c:v>
                </c:pt>
                <c:pt idx="1493">
                  <c:v>41172</c:v>
                </c:pt>
                <c:pt idx="1494">
                  <c:v>41173</c:v>
                </c:pt>
                <c:pt idx="1495">
                  <c:v>41176</c:v>
                </c:pt>
                <c:pt idx="1496">
                  <c:v>41177</c:v>
                </c:pt>
                <c:pt idx="1497">
                  <c:v>41178</c:v>
                </c:pt>
                <c:pt idx="1498">
                  <c:v>41179</c:v>
                </c:pt>
                <c:pt idx="1499">
                  <c:v>41180</c:v>
                </c:pt>
                <c:pt idx="1500">
                  <c:v>41183</c:v>
                </c:pt>
                <c:pt idx="1501">
                  <c:v>41184</c:v>
                </c:pt>
                <c:pt idx="1502">
                  <c:v>41185</c:v>
                </c:pt>
                <c:pt idx="1503">
                  <c:v>41186</c:v>
                </c:pt>
                <c:pt idx="1504">
                  <c:v>41187</c:v>
                </c:pt>
                <c:pt idx="1505">
                  <c:v>41190</c:v>
                </c:pt>
                <c:pt idx="1506">
                  <c:v>41191</c:v>
                </c:pt>
                <c:pt idx="1507">
                  <c:v>41192</c:v>
                </c:pt>
                <c:pt idx="1508">
                  <c:v>41193</c:v>
                </c:pt>
                <c:pt idx="1509">
                  <c:v>41194</c:v>
                </c:pt>
                <c:pt idx="1510">
                  <c:v>41197</c:v>
                </c:pt>
                <c:pt idx="1511">
                  <c:v>41198</c:v>
                </c:pt>
                <c:pt idx="1512">
                  <c:v>41199</c:v>
                </c:pt>
                <c:pt idx="1513">
                  <c:v>41200</c:v>
                </c:pt>
                <c:pt idx="1514">
                  <c:v>41201</c:v>
                </c:pt>
                <c:pt idx="1515">
                  <c:v>41204</c:v>
                </c:pt>
                <c:pt idx="1516">
                  <c:v>41205</c:v>
                </c:pt>
                <c:pt idx="1517">
                  <c:v>41206</c:v>
                </c:pt>
                <c:pt idx="1518">
                  <c:v>41207</c:v>
                </c:pt>
                <c:pt idx="1519">
                  <c:v>41208</c:v>
                </c:pt>
                <c:pt idx="1520">
                  <c:v>41211</c:v>
                </c:pt>
                <c:pt idx="1521">
                  <c:v>41212</c:v>
                </c:pt>
                <c:pt idx="1522">
                  <c:v>41213</c:v>
                </c:pt>
                <c:pt idx="1523">
                  <c:v>41214</c:v>
                </c:pt>
                <c:pt idx="1524">
                  <c:v>41215</c:v>
                </c:pt>
                <c:pt idx="1525">
                  <c:v>41218</c:v>
                </c:pt>
                <c:pt idx="1526">
                  <c:v>41219</c:v>
                </c:pt>
                <c:pt idx="1527">
                  <c:v>41220</c:v>
                </c:pt>
                <c:pt idx="1528">
                  <c:v>41221</c:v>
                </c:pt>
                <c:pt idx="1529">
                  <c:v>41222</c:v>
                </c:pt>
                <c:pt idx="1530">
                  <c:v>41225</c:v>
                </c:pt>
                <c:pt idx="1531">
                  <c:v>41226</c:v>
                </c:pt>
                <c:pt idx="1532">
                  <c:v>41227</c:v>
                </c:pt>
                <c:pt idx="1533">
                  <c:v>41228</c:v>
                </c:pt>
                <c:pt idx="1534">
                  <c:v>41229</c:v>
                </c:pt>
                <c:pt idx="1535">
                  <c:v>41232</c:v>
                </c:pt>
                <c:pt idx="1536">
                  <c:v>41233</c:v>
                </c:pt>
                <c:pt idx="1537">
                  <c:v>41234</c:v>
                </c:pt>
                <c:pt idx="1538">
                  <c:v>41235</c:v>
                </c:pt>
                <c:pt idx="1539">
                  <c:v>41236</c:v>
                </c:pt>
                <c:pt idx="1540">
                  <c:v>41239</c:v>
                </c:pt>
                <c:pt idx="1541">
                  <c:v>41240</c:v>
                </c:pt>
                <c:pt idx="1542">
                  <c:v>41241</c:v>
                </c:pt>
                <c:pt idx="1543">
                  <c:v>41242</c:v>
                </c:pt>
                <c:pt idx="1544">
                  <c:v>41243</c:v>
                </c:pt>
                <c:pt idx="1545">
                  <c:v>41246</c:v>
                </c:pt>
                <c:pt idx="1546">
                  <c:v>41247</c:v>
                </c:pt>
                <c:pt idx="1547">
                  <c:v>41248</c:v>
                </c:pt>
                <c:pt idx="1548">
                  <c:v>41249</c:v>
                </c:pt>
                <c:pt idx="1549">
                  <c:v>41250</c:v>
                </c:pt>
                <c:pt idx="1550">
                  <c:v>41253</c:v>
                </c:pt>
                <c:pt idx="1551">
                  <c:v>41254</c:v>
                </c:pt>
                <c:pt idx="1552">
                  <c:v>41255</c:v>
                </c:pt>
                <c:pt idx="1553">
                  <c:v>41256</c:v>
                </c:pt>
                <c:pt idx="1554">
                  <c:v>41257</c:v>
                </c:pt>
                <c:pt idx="1555">
                  <c:v>41260</c:v>
                </c:pt>
                <c:pt idx="1556">
                  <c:v>41261</c:v>
                </c:pt>
                <c:pt idx="1557">
                  <c:v>41262</c:v>
                </c:pt>
                <c:pt idx="1558">
                  <c:v>41263</c:v>
                </c:pt>
                <c:pt idx="1559">
                  <c:v>41264</c:v>
                </c:pt>
                <c:pt idx="1560">
                  <c:v>41267</c:v>
                </c:pt>
                <c:pt idx="1561">
                  <c:v>41268</c:v>
                </c:pt>
                <c:pt idx="1562">
                  <c:v>41269</c:v>
                </c:pt>
                <c:pt idx="1563">
                  <c:v>41270</c:v>
                </c:pt>
                <c:pt idx="1564">
                  <c:v>41271</c:v>
                </c:pt>
                <c:pt idx="1565">
                  <c:v>41274</c:v>
                </c:pt>
                <c:pt idx="1566">
                  <c:v>41275</c:v>
                </c:pt>
                <c:pt idx="1567">
                  <c:v>41276</c:v>
                </c:pt>
                <c:pt idx="1568">
                  <c:v>41277</c:v>
                </c:pt>
                <c:pt idx="1569">
                  <c:v>41278</c:v>
                </c:pt>
                <c:pt idx="1570">
                  <c:v>41281</c:v>
                </c:pt>
                <c:pt idx="1571">
                  <c:v>41282</c:v>
                </c:pt>
                <c:pt idx="1572">
                  <c:v>41283</c:v>
                </c:pt>
                <c:pt idx="1573">
                  <c:v>41284</c:v>
                </c:pt>
                <c:pt idx="1574">
                  <c:v>41285</c:v>
                </c:pt>
                <c:pt idx="1575">
                  <c:v>41288</c:v>
                </c:pt>
                <c:pt idx="1576">
                  <c:v>41289</c:v>
                </c:pt>
                <c:pt idx="1577">
                  <c:v>41290</c:v>
                </c:pt>
                <c:pt idx="1578">
                  <c:v>41291</c:v>
                </c:pt>
                <c:pt idx="1579">
                  <c:v>41292</c:v>
                </c:pt>
                <c:pt idx="1580">
                  <c:v>41295</c:v>
                </c:pt>
                <c:pt idx="1581">
                  <c:v>41296</c:v>
                </c:pt>
                <c:pt idx="1582">
                  <c:v>41297</c:v>
                </c:pt>
                <c:pt idx="1583">
                  <c:v>41298</c:v>
                </c:pt>
                <c:pt idx="1584">
                  <c:v>41299</c:v>
                </c:pt>
                <c:pt idx="1585">
                  <c:v>41302</c:v>
                </c:pt>
                <c:pt idx="1586">
                  <c:v>41303</c:v>
                </c:pt>
                <c:pt idx="1587">
                  <c:v>41304</c:v>
                </c:pt>
                <c:pt idx="1588">
                  <c:v>41305</c:v>
                </c:pt>
                <c:pt idx="1589">
                  <c:v>41306</c:v>
                </c:pt>
                <c:pt idx="1590">
                  <c:v>41309</c:v>
                </c:pt>
                <c:pt idx="1591">
                  <c:v>41310</c:v>
                </c:pt>
                <c:pt idx="1592">
                  <c:v>41311</c:v>
                </c:pt>
                <c:pt idx="1593">
                  <c:v>41312</c:v>
                </c:pt>
                <c:pt idx="1594">
                  <c:v>41313</c:v>
                </c:pt>
                <c:pt idx="1595">
                  <c:v>41316</c:v>
                </c:pt>
                <c:pt idx="1596">
                  <c:v>41317</c:v>
                </c:pt>
                <c:pt idx="1597">
                  <c:v>41318</c:v>
                </c:pt>
                <c:pt idx="1598">
                  <c:v>41319</c:v>
                </c:pt>
                <c:pt idx="1599">
                  <c:v>41320</c:v>
                </c:pt>
                <c:pt idx="1600">
                  <c:v>41323</c:v>
                </c:pt>
                <c:pt idx="1601">
                  <c:v>41324</c:v>
                </c:pt>
                <c:pt idx="1602">
                  <c:v>41325</c:v>
                </c:pt>
                <c:pt idx="1603">
                  <c:v>41326</c:v>
                </c:pt>
                <c:pt idx="1604">
                  <c:v>41327</c:v>
                </c:pt>
                <c:pt idx="1605">
                  <c:v>41330</c:v>
                </c:pt>
                <c:pt idx="1606">
                  <c:v>41331</c:v>
                </c:pt>
                <c:pt idx="1607">
                  <c:v>41332</c:v>
                </c:pt>
                <c:pt idx="1608">
                  <c:v>41333</c:v>
                </c:pt>
                <c:pt idx="1609">
                  <c:v>41334</c:v>
                </c:pt>
                <c:pt idx="1610">
                  <c:v>41337</c:v>
                </c:pt>
                <c:pt idx="1611">
                  <c:v>41338</c:v>
                </c:pt>
                <c:pt idx="1612">
                  <c:v>41339</c:v>
                </c:pt>
                <c:pt idx="1613">
                  <c:v>41340</c:v>
                </c:pt>
                <c:pt idx="1614">
                  <c:v>41341</c:v>
                </c:pt>
                <c:pt idx="1615">
                  <c:v>41344</c:v>
                </c:pt>
                <c:pt idx="1616">
                  <c:v>41345</c:v>
                </c:pt>
                <c:pt idx="1617">
                  <c:v>41346</c:v>
                </c:pt>
                <c:pt idx="1618">
                  <c:v>41347</c:v>
                </c:pt>
                <c:pt idx="1619">
                  <c:v>41348</c:v>
                </c:pt>
                <c:pt idx="1620">
                  <c:v>41351</c:v>
                </c:pt>
                <c:pt idx="1621">
                  <c:v>41352</c:v>
                </c:pt>
                <c:pt idx="1622">
                  <c:v>41353</c:v>
                </c:pt>
                <c:pt idx="1623">
                  <c:v>41354</c:v>
                </c:pt>
                <c:pt idx="1624">
                  <c:v>41355</c:v>
                </c:pt>
                <c:pt idx="1625">
                  <c:v>41358</c:v>
                </c:pt>
                <c:pt idx="1626">
                  <c:v>41359</c:v>
                </c:pt>
                <c:pt idx="1627">
                  <c:v>41360</c:v>
                </c:pt>
                <c:pt idx="1628">
                  <c:v>41361</c:v>
                </c:pt>
                <c:pt idx="1629">
                  <c:v>41362</c:v>
                </c:pt>
                <c:pt idx="1630">
                  <c:v>41365</c:v>
                </c:pt>
                <c:pt idx="1631">
                  <c:v>41366</c:v>
                </c:pt>
                <c:pt idx="1632">
                  <c:v>41367</c:v>
                </c:pt>
                <c:pt idx="1633">
                  <c:v>41368</c:v>
                </c:pt>
                <c:pt idx="1634">
                  <c:v>41369</c:v>
                </c:pt>
                <c:pt idx="1635">
                  <c:v>41372</c:v>
                </c:pt>
                <c:pt idx="1636">
                  <c:v>41373</c:v>
                </c:pt>
                <c:pt idx="1637">
                  <c:v>41374</c:v>
                </c:pt>
                <c:pt idx="1638">
                  <c:v>41375</c:v>
                </c:pt>
                <c:pt idx="1639">
                  <c:v>41376</c:v>
                </c:pt>
                <c:pt idx="1640">
                  <c:v>41379</c:v>
                </c:pt>
                <c:pt idx="1641">
                  <c:v>41380</c:v>
                </c:pt>
                <c:pt idx="1642">
                  <c:v>41381</c:v>
                </c:pt>
                <c:pt idx="1643">
                  <c:v>41382</c:v>
                </c:pt>
                <c:pt idx="1644">
                  <c:v>41383</c:v>
                </c:pt>
                <c:pt idx="1645">
                  <c:v>41386</c:v>
                </c:pt>
                <c:pt idx="1646">
                  <c:v>41387</c:v>
                </c:pt>
                <c:pt idx="1647">
                  <c:v>41388</c:v>
                </c:pt>
                <c:pt idx="1648">
                  <c:v>41389</c:v>
                </c:pt>
                <c:pt idx="1649">
                  <c:v>41390</c:v>
                </c:pt>
                <c:pt idx="1650">
                  <c:v>41393</c:v>
                </c:pt>
                <c:pt idx="1651">
                  <c:v>41394</c:v>
                </c:pt>
                <c:pt idx="1652">
                  <c:v>41395</c:v>
                </c:pt>
                <c:pt idx="1653">
                  <c:v>41396</c:v>
                </c:pt>
                <c:pt idx="1654">
                  <c:v>41397</c:v>
                </c:pt>
                <c:pt idx="1655">
                  <c:v>41400</c:v>
                </c:pt>
                <c:pt idx="1656">
                  <c:v>41401</c:v>
                </c:pt>
                <c:pt idx="1657">
                  <c:v>41402</c:v>
                </c:pt>
                <c:pt idx="1658">
                  <c:v>41403</c:v>
                </c:pt>
                <c:pt idx="1659">
                  <c:v>41404</c:v>
                </c:pt>
                <c:pt idx="1660">
                  <c:v>41407</c:v>
                </c:pt>
                <c:pt idx="1661">
                  <c:v>41408</c:v>
                </c:pt>
                <c:pt idx="1662">
                  <c:v>41409</c:v>
                </c:pt>
                <c:pt idx="1663">
                  <c:v>41410</c:v>
                </c:pt>
                <c:pt idx="1664">
                  <c:v>41411</c:v>
                </c:pt>
                <c:pt idx="1665">
                  <c:v>41414</c:v>
                </c:pt>
                <c:pt idx="1666">
                  <c:v>41415</c:v>
                </c:pt>
                <c:pt idx="1667">
                  <c:v>41416</c:v>
                </c:pt>
                <c:pt idx="1668">
                  <c:v>41417</c:v>
                </c:pt>
                <c:pt idx="1669">
                  <c:v>41418</c:v>
                </c:pt>
                <c:pt idx="1670">
                  <c:v>41421</c:v>
                </c:pt>
                <c:pt idx="1671">
                  <c:v>41422</c:v>
                </c:pt>
                <c:pt idx="1672">
                  <c:v>41423</c:v>
                </c:pt>
                <c:pt idx="1673">
                  <c:v>41424</c:v>
                </c:pt>
                <c:pt idx="1674">
                  <c:v>41425</c:v>
                </c:pt>
                <c:pt idx="1675">
                  <c:v>41428</c:v>
                </c:pt>
                <c:pt idx="1676">
                  <c:v>41429</c:v>
                </c:pt>
                <c:pt idx="1677">
                  <c:v>41430</c:v>
                </c:pt>
                <c:pt idx="1678">
                  <c:v>41431</c:v>
                </c:pt>
                <c:pt idx="1679">
                  <c:v>41432</c:v>
                </c:pt>
                <c:pt idx="1680">
                  <c:v>41435</c:v>
                </c:pt>
                <c:pt idx="1681">
                  <c:v>41436</c:v>
                </c:pt>
                <c:pt idx="1682">
                  <c:v>41437</c:v>
                </c:pt>
                <c:pt idx="1683">
                  <c:v>41438</c:v>
                </c:pt>
                <c:pt idx="1684">
                  <c:v>41439</c:v>
                </c:pt>
                <c:pt idx="1685">
                  <c:v>41442</c:v>
                </c:pt>
                <c:pt idx="1686">
                  <c:v>41443</c:v>
                </c:pt>
                <c:pt idx="1687">
                  <c:v>41444</c:v>
                </c:pt>
                <c:pt idx="1688">
                  <c:v>41445</c:v>
                </c:pt>
                <c:pt idx="1689">
                  <c:v>41446</c:v>
                </c:pt>
                <c:pt idx="1690">
                  <c:v>41449</c:v>
                </c:pt>
                <c:pt idx="1691">
                  <c:v>41450</c:v>
                </c:pt>
                <c:pt idx="1692">
                  <c:v>41451</c:v>
                </c:pt>
                <c:pt idx="1693">
                  <c:v>41452</c:v>
                </c:pt>
                <c:pt idx="1694">
                  <c:v>41453</c:v>
                </c:pt>
                <c:pt idx="1695">
                  <c:v>41456</c:v>
                </c:pt>
                <c:pt idx="1696">
                  <c:v>41457</c:v>
                </c:pt>
                <c:pt idx="1697">
                  <c:v>41458</c:v>
                </c:pt>
                <c:pt idx="1698">
                  <c:v>41459</c:v>
                </c:pt>
                <c:pt idx="1699">
                  <c:v>41460</c:v>
                </c:pt>
                <c:pt idx="1700">
                  <c:v>41463</c:v>
                </c:pt>
                <c:pt idx="1701">
                  <c:v>41464</c:v>
                </c:pt>
                <c:pt idx="1702">
                  <c:v>41465</c:v>
                </c:pt>
                <c:pt idx="1703">
                  <c:v>41466</c:v>
                </c:pt>
                <c:pt idx="1704">
                  <c:v>41467</c:v>
                </c:pt>
                <c:pt idx="1705">
                  <c:v>41470</c:v>
                </c:pt>
                <c:pt idx="1706">
                  <c:v>41471</c:v>
                </c:pt>
                <c:pt idx="1707">
                  <c:v>41472</c:v>
                </c:pt>
                <c:pt idx="1708">
                  <c:v>41473</c:v>
                </c:pt>
                <c:pt idx="1709">
                  <c:v>41474</c:v>
                </c:pt>
                <c:pt idx="1710">
                  <c:v>41477</c:v>
                </c:pt>
                <c:pt idx="1711">
                  <c:v>41478</c:v>
                </c:pt>
                <c:pt idx="1712">
                  <c:v>41479</c:v>
                </c:pt>
                <c:pt idx="1713">
                  <c:v>41480</c:v>
                </c:pt>
                <c:pt idx="1714">
                  <c:v>41481</c:v>
                </c:pt>
                <c:pt idx="1715">
                  <c:v>41484</c:v>
                </c:pt>
                <c:pt idx="1716">
                  <c:v>41485</c:v>
                </c:pt>
                <c:pt idx="1717">
                  <c:v>41486</c:v>
                </c:pt>
                <c:pt idx="1718">
                  <c:v>41487</c:v>
                </c:pt>
                <c:pt idx="1719">
                  <c:v>41488</c:v>
                </c:pt>
                <c:pt idx="1720">
                  <c:v>41491</c:v>
                </c:pt>
                <c:pt idx="1721">
                  <c:v>41492</c:v>
                </c:pt>
                <c:pt idx="1722">
                  <c:v>41493</c:v>
                </c:pt>
                <c:pt idx="1723">
                  <c:v>41494</c:v>
                </c:pt>
                <c:pt idx="1724">
                  <c:v>41495</c:v>
                </c:pt>
                <c:pt idx="1725">
                  <c:v>41498</c:v>
                </c:pt>
                <c:pt idx="1726">
                  <c:v>41499</c:v>
                </c:pt>
                <c:pt idx="1727">
                  <c:v>41500</c:v>
                </c:pt>
                <c:pt idx="1728">
                  <c:v>41501</c:v>
                </c:pt>
                <c:pt idx="1729">
                  <c:v>41502</c:v>
                </c:pt>
                <c:pt idx="1730">
                  <c:v>41505</c:v>
                </c:pt>
                <c:pt idx="1731">
                  <c:v>41506</c:v>
                </c:pt>
                <c:pt idx="1732">
                  <c:v>41507</c:v>
                </c:pt>
                <c:pt idx="1733">
                  <c:v>41508</c:v>
                </c:pt>
                <c:pt idx="1734">
                  <c:v>41509</c:v>
                </c:pt>
                <c:pt idx="1735">
                  <c:v>41512</c:v>
                </c:pt>
                <c:pt idx="1736">
                  <c:v>41513</c:v>
                </c:pt>
                <c:pt idx="1737">
                  <c:v>41514</c:v>
                </c:pt>
                <c:pt idx="1738">
                  <c:v>41515</c:v>
                </c:pt>
                <c:pt idx="1739">
                  <c:v>41516</c:v>
                </c:pt>
                <c:pt idx="1740">
                  <c:v>41519</c:v>
                </c:pt>
                <c:pt idx="1741">
                  <c:v>41520</c:v>
                </c:pt>
                <c:pt idx="1742">
                  <c:v>41521</c:v>
                </c:pt>
                <c:pt idx="1743">
                  <c:v>41522</c:v>
                </c:pt>
                <c:pt idx="1744">
                  <c:v>41523</c:v>
                </c:pt>
                <c:pt idx="1745">
                  <c:v>41526</c:v>
                </c:pt>
                <c:pt idx="1746">
                  <c:v>41527</c:v>
                </c:pt>
                <c:pt idx="1747">
                  <c:v>41528</c:v>
                </c:pt>
                <c:pt idx="1748">
                  <c:v>41529</c:v>
                </c:pt>
                <c:pt idx="1749">
                  <c:v>41530</c:v>
                </c:pt>
                <c:pt idx="1750">
                  <c:v>41533</c:v>
                </c:pt>
                <c:pt idx="1751">
                  <c:v>41534</c:v>
                </c:pt>
                <c:pt idx="1752">
                  <c:v>41535</c:v>
                </c:pt>
                <c:pt idx="1753">
                  <c:v>41536</c:v>
                </c:pt>
                <c:pt idx="1754">
                  <c:v>41537</c:v>
                </c:pt>
                <c:pt idx="1755">
                  <c:v>41540</c:v>
                </c:pt>
                <c:pt idx="1756">
                  <c:v>41541</c:v>
                </c:pt>
                <c:pt idx="1757">
                  <c:v>41542</c:v>
                </c:pt>
                <c:pt idx="1758">
                  <c:v>41543</c:v>
                </c:pt>
                <c:pt idx="1759">
                  <c:v>41544</c:v>
                </c:pt>
                <c:pt idx="1760">
                  <c:v>41547</c:v>
                </c:pt>
                <c:pt idx="1761">
                  <c:v>41548</c:v>
                </c:pt>
                <c:pt idx="1762">
                  <c:v>41549</c:v>
                </c:pt>
                <c:pt idx="1763">
                  <c:v>41550</c:v>
                </c:pt>
                <c:pt idx="1764">
                  <c:v>41551</c:v>
                </c:pt>
                <c:pt idx="1765">
                  <c:v>41554</c:v>
                </c:pt>
                <c:pt idx="1766">
                  <c:v>41555</c:v>
                </c:pt>
                <c:pt idx="1767">
                  <c:v>41556</c:v>
                </c:pt>
                <c:pt idx="1768">
                  <c:v>41557</c:v>
                </c:pt>
                <c:pt idx="1769">
                  <c:v>41558</c:v>
                </c:pt>
                <c:pt idx="1770">
                  <c:v>41561</c:v>
                </c:pt>
                <c:pt idx="1771">
                  <c:v>41562</c:v>
                </c:pt>
                <c:pt idx="1772">
                  <c:v>41563</c:v>
                </c:pt>
                <c:pt idx="1773">
                  <c:v>41564</c:v>
                </c:pt>
                <c:pt idx="1774">
                  <c:v>41565</c:v>
                </c:pt>
                <c:pt idx="1775">
                  <c:v>41568</c:v>
                </c:pt>
                <c:pt idx="1776">
                  <c:v>41569</c:v>
                </c:pt>
                <c:pt idx="1777">
                  <c:v>41570</c:v>
                </c:pt>
                <c:pt idx="1778">
                  <c:v>41571</c:v>
                </c:pt>
                <c:pt idx="1779">
                  <c:v>41572</c:v>
                </c:pt>
                <c:pt idx="1780">
                  <c:v>41575</c:v>
                </c:pt>
                <c:pt idx="1781">
                  <c:v>41576</c:v>
                </c:pt>
                <c:pt idx="1782">
                  <c:v>41577</c:v>
                </c:pt>
                <c:pt idx="1783">
                  <c:v>41578</c:v>
                </c:pt>
                <c:pt idx="1784">
                  <c:v>41579</c:v>
                </c:pt>
                <c:pt idx="1785">
                  <c:v>41582</c:v>
                </c:pt>
                <c:pt idx="1786">
                  <c:v>41583</c:v>
                </c:pt>
                <c:pt idx="1787">
                  <c:v>41584</c:v>
                </c:pt>
                <c:pt idx="1788">
                  <c:v>41585</c:v>
                </c:pt>
                <c:pt idx="1789">
                  <c:v>41586</c:v>
                </c:pt>
                <c:pt idx="1790">
                  <c:v>41589</c:v>
                </c:pt>
                <c:pt idx="1791">
                  <c:v>41590</c:v>
                </c:pt>
                <c:pt idx="1792">
                  <c:v>41591</c:v>
                </c:pt>
                <c:pt idx="1793">
                  <c:v>41592</c:v>
                </c:pt>
                <c:pt idx="1794">
                  <c:v>41593</c:v>
                </c:pt>
                <c:pt idx="1795">
                  <c:v>41596</c:v>
                </c:pt>
                <c:pt idx="1796">
                  <c:v>41597</c:v>
                </c:pt>
                <c:pt idx="1797">
                  <c:v>41598</c:v>
                </c:pt>
                <c:pt idx="1798">
                  <c:v>41599</c:v>
                </c:pt>
                <c:pt idx="1799">
                  <c:v>41600</c:v>
                </c:pt>
                <c:pt idx="1800">
                  <c:v>41603</c:v>
                </c:pt>
                <c:pt idx="1801">
                  <c:v>41604</c:v>
                </c:pt>
                <c:pt idx="1802">
                  <c:v>41605</c:v>
                </c:pt>
                <c:pt idx="1803">
                  <c:v>41606</c:v>
                </c:pt>
                <c:pt idx="1804">
                  <c:v>41607</c:v>
                </c:pt>
                <c:pt idx="1805">
                  <c:v>41610</c:v>
                </c:pt>
                <c:pt idx="1806">
                  <c:v>41611</c:v>
                </c:pt>
                <c:pt idx="1807">
                  <c:v>41612</c:v>
                </c:pt>
                <c:pt idx="1808">
                  <c:v>41613</c:v>
                </c:pt>
                <c:pt idx="1809">
                  <c:v>41614</c:v>
                </c:pt>
                <c:pt idx="1810">
                  <c:v>41617</c:v>
                </c:pt>
                <c:pt idx="1811">
                  <c:v>41618</c:v>
                </c:pt>
                <c:pt idx="1812">
                  <c:v>41619</c:v>
                </c:pt>
                <c:pt idx="1813">
                  <c:v>41620</c:v>
                </c:pt>
                <c:pt idx="1814">
                  <c:v>41621</c:v>
                </c:pt>
                <c:pt idx="1815">
                  <c:v>41624</c:v>
                </c:pt>
                <c:pt idx="1816">
                  <c:v>41625</c:v>
                </c:pt>
                <c:pt idx="1817">
                  <c:v>41626</c:v>
                </c:pt>
                <c:pt idx="1818">
                  <c:v>41627</c:v>
                </c:pt>
                <c:pt idx="1819">
                  <c:v>41628</c:v>
                </c:pt>
                <c:pt idx="1820">
                  <c:v>41631</c:v>
                </c:pt>
                <c:pt idx="1821">
                  <c:v>41632</c:v>
                </c:pt>
                <c:pt idx="1822">
                  <c:v>41633</c:v>
                </c:pt>
                <c:pt idx="1823">
                  <c:v>41634</c:v>
                </c:pt>
                <c:pt idx="1824">
                  <c:v>41635</c:v>
                </c:pt>
                <c:pt idx="1825">
                  <c:v>41638</c:v>
                </c:pt>
                <c:pt idx="1826">
                  <c:v>41639</c:v>
                </c:pt>
                <c:pt idx="1827">
                  <c:v>41640</c:v>
                </c:pt>
                <c:pt idx="1828">
                  <c:v>41641</c:v>
                </c:pt>
                <c:pt idx="1829">
                  <c:v>41642</c:v>
                </c:pt>
                <c:pt idx="1830">
                  <c:v>41645</c:v>
                </c:pt>
                <c:pt idx="1831">
                  <c:v>41646</c:v>
                </c:pt>
                <c:pt idx="1832">
                  <c:v>41647</c:v>
                </c:pt>
                <c:pt idx="1833">
                  <c:v>41648</c:v>
                </c:pt>
                <c:pt idx="1834">
                  <c:v>41649</c:v>
                </c:pt>
                <c:pt idx="1835">
                  <c:v>41652</c:v>
                </c:pt>
                <c:pt idx="1836">
                  <c:v>41653</c:v>
                </c:pt>
                <c:pt idx="1837">
                  <c:v>41654</c:v>
                </c:pt>
                <c:pt idx="1838">
                  <c:v>41655</c:v>
                </c:pt>
                <c:pt idx="1839">
                  <c:v>41656</c:v>
                </c:pt>
                <c:pt idx="1840">
                  <c:v>41659</c:v>
                </c:pt>
                <c:pt idx="1841">
                  <c:v>41660</c:v>
                </c:pt>
                <c:pt idx="1842">
                  <c:v>41661</c:v>
                </c:pt>
                <c:pt idx="1843">
                  <c:v>41662</c:v>
                </c:pt>
                <c:pt idx="1844">
                  <c:v>41663</c:v>
                </c:pt>
                <c:pt idx="1845">
                  <c:v>41666</c:v>
                </c:pt>
                <c:pt idx="1846">
                  <c:v>41667</c:v>
                </c:pt>
                <c:pt idx="1847">
                  <c:v>41668</c:v>
                </c:pt>
                <c:pt idx="1848">
                  <c:v>41669</c:v>
                </c:pt>
                <c:pt idx="1849">
                  <c:v>41670</c:v>
                </c:pt>
                <c:pt idx="1850">
                  <c:v>41673</c:v>
                </c:pt>
                <c:pt idx="1851">
                  <c:v>41674</c:v>
                </c:pt>
                <c:pt idx="1852">
                  <c:v>41675</c:v>
                </c:pt>
                <c:pt idx="1853">
                  <c:v>41676</c:v>
                </c:pt>
                <c:pt idx="1854">
                  <c:v>41677</c:v>
                </c:pt>
                <c:pt idx="1855">
                  <c:v>41680</c:v>
                </c:pt>
                <c:pt idx="1856">
                  <c:v>41681</c:v>
                </c:pt>
                <c:pt idx="1857">
                  <c:v>41682</c:v>
                </c:pt>
                <c:pt idx="1858">
                  <c:v>41683</c:v>
                </c:pt>
                <c:pt idx="1859">
                  <c:v>41684</c:v>
                </c:pt>
                <c:pt idx="1860">
                  <c:v>41687</c:v>
                </c:pt>
                <c:pt idx="1861">
                  <c:v>41688</c:v>
                </c:pt>
                <c:pt idx="1862">
                  <c:v>41689</c:v>
                </c:pt>
                <c:pt idx="1863">
                  <c:v>41690</c:v>
                </c:pt>
                <c:pt idx="1864">
                  <c:v>41691</c:v>
                </c:pt>
                <c:pt idx="1865">
                  <c:v>41694</c:v>
                </c:pt>
                <c:pt idx="1866">
                  <c:v>41695</c:v>
                </c:pt>
                <c:pt idx="1867">
                  <c:v>41696</c:v>
                </c:pt>
                <c:pt idx="1868">
                  <c:v>41697</c:v>
                </c:pt>
                <c:pt idx="1869">
                  <c:v>41698</c:v>
                </c:pt>
                <c:pt idx="1870">
                  <c:v>41701</c:v>
                </c:pt>
                <c:pt idx="1871">
                  <c:v>41702</c:v>
                </c:pt>
                <c:pt idx="1872">
                  <c:v>41703</c:v>
                </c:pt>
                <c:pt idx="1873">
                  <c:v>41704</c:v>
                </c:pt>
                <c:pt idx="1874">
                  <c:v>41705</c:v>
                </c:pt>
                <c:pt idx="1875">
                  <c:v>41708</c:v>
                </c:pt>
                <c:pt idx="1876">
                  <c:v>41709</c:v>
                </c:pt>
                <c:pt idx="1877">
                  <c:v>41710</c:v>
                </c:pt>
                <c:pt idx="1878">
                  <c:v>41711</c:v>
                </c:pt>
                <c:pt idx="1879">
                  <c:v>41712</c:v>
                </c:pt>
                <c:pt idx="1880">
                  <c:v>41715</c:v>
                </c:pt>
                <c:pt idx="1881">
                  <c:v>41716</c:v>
                </c:pt>
                <c:pt idx="1882">
                  <c:v>41717</c:v>
                </c:pt>
                <c:pt idx="1883">
                  <c:v>41718</c:v>
                </c:pt>
                <c:pt idx="1884">
                  <c:v>41719</c:v>
                </c:pt>
                <c:pt idx="1885">
                  <c:v>41722</c:v>
                </c:pt>
                <c:pt idx="1886">
                  <c:v>41723</c:v>
                </c:pt>
                <c:pt idx="1887">
                  <c:v>41724</c:v>
                </c:pt>
                <c:pt idx="1888">
                  <c:v>41725</c:v>
                </c:pt>
                <c:pt idx="1889">
                  <c:v>41726</c:v>
                </c:pt>
                <c:pt idx="1890">
                  <c:v>41729</c:v>
                </c:pt>
                <c:pt idx="1891">
                  <c:v>41730</c:v>
                </c:pt>
                <c:pt idx="1892">
                  <c:v>41731</c:v>
                </c:pt>
                <c:pt idx="1893">
                  <c:v>41732</c:v>
                </c:pt>
                <c:pt idx="1894">
                  <c:v>41733</c:v>
                </c:pt>
                <c:pt idx="1895">
                  <c:v>41736</c:v>
                </c:pt>
                <c:pt idx="1896">
                  <c:v>41737</c:v>
                </c:pt>
                <c:pt idx="1897">
                  <c:v>41738</c:v>
                </c:pt>
                <c:pt idx="1898">
                  <c:v>41739</c:v>
                </c:pt>
                <c:pt idx="1899">
                  <c:v>41740</c:v>
                </c:pt>
                <c:pt idx="1900">
                  <c:v>41743</c:v>
                </c:pt>
                <c:pt idx="1901">
                  <c:v>41744</c:v>
                </c:pt>
                <c:pt idx="1902">
                  <c:v>41745</c:v>
                </c:pt>
                <c:pt idx="1903">
                  <c:v>41746</c:v>
                </c:pt>
                <c:pt idx="1904">
                  <c:v>41747</c:v>
                </c:pt>
                <c:pt idx="1905">
                  <c:v>41750</c:v>
                </c:pt>
                <c:pt idx="1906">
                  <c:v>41751</c:v>
                </c:pt>
                <c:pt idx="1907">
                  <c:v>41752</c:v>
                </c:pt>
                <c:pt idx="1908">
                  <c:v>41753</c:v>
                </c:pt>
                <c:pt idx="1909">
                  <c:v>41754</c:v>
                </c:pt>
                <c:pt idx="1910">
                  <c:v>41757</c:v>
                </c:pt>
                <c:pt idx="1911">
                  <c:v>41758</c:v>
                </c:pt>
                <c:pt idx="1912">
                  <c:v>41759</c:v>
                </c:pt>
                <c:pt idx="1913">
                  <c:v>41760</c:v>
                </c:pt>
                <c:pt idx="1914">
                  <c:v>41761</c:v>
                </c:pt>
                <c:pt idx="1915">
                  <c:v>41764</c:v>
                </c:pt>
                <c:pt idx="1916">
                  <c:v>41765</c:v>
                </c:pt>
                <c:pt idx="1917">
                  <c:v>41766</c:v>
                </c:pt>
                <c:pt idx="1918">
                  <c:v>41767</c:v>
                </c:pt>
                <c:pt idx="1919">
                  <c:v>41768</c:v>
                </c:pt>
                <c:pt idx="1920">
                  <c:v>41771</c:v>
                </c:pt>
                <c:pt idx="1921">
                  <c:v>41772</c:v>
                </c:pt>
                <c:pt idx="1922">
                  <c:v>41773</c:v>
                </c:pt>
                <c:pt idx="1923">
                  <c:v>41774</c:v>
                </c:pt>
                <c:pt idx="1924">
                  <c:v>41775</c:v>
                </c:pt>
                <c:pt idx="1925">
                  <c:v>41778</c:v>
                </c:pt>
                <c:pt idx="1926">
                  <c:v>41779</c:v>
                </c:pt>
                <c:pt idx="1927">
                  <c:v>41780</c:v>
                </c:pt>
                <c:pt idx="1928">
                  <c:v>41781</c:v>
                </c:pt>
                <c:pt idx="1929">
                  <c:v>41782</c:v>
                </c:pt>
                <c:pt idx="1930">
                  <c:v>41785</c:v>
                </c:pt>
                <c:pt idx="1931">
                  <c:v>41786</c:v>
                </c:pt>
                <c:pt idx="1932">
                  <c:v>41787</c:v>
                </c:pt>
                <c:pt idx="1933">
                  <c:v>41788</c:v>
                </c:pt>
                <c:pt idx="1934">
                  <c:v>41789</c:v>
                </c:pt>
                <c:pt idx="1935">
                  <c:v>41792</c:v>
                </c:pt>
                <c:pt idx="1936">
                  <c:v>41793</c:v>
                </c:pt>
                <c:pt idx="1937">
                  <c:v>41794</c:v>
                </c:pt>
                <c:pt idx="1938">
                  <c:v>41795</c:v>
                </c:pt>
                <c:pt idx="1939">
                  <c:v>41796</c:v>
                </c:pt>
                <c:pt idx="1940">
                  <c:v>41799</c:v>
                </c:pt>
                <c:pt idx="1941">
                  <c:v>41800</c:v>
                </c:pt>
                <c:pt idx="1942">
                  <c:v>41801</c:v>
                </c:pt>
                <c:pt idx="1943">
                  <c:v>41802</c:v>
                </c:pt>
                <c:pt idx="1944">
                  <c:v>41803</c:v>
                </c:pt>
                <c:pt idx="1945">
                  <c:v>41806</c:v>
                </c:pt>
                <c:pt idx="1946">
                  <c:v>41807</c:v>
                </c:pt>
                <c:pt idx="1947">
                  <c:v>41808</c:v>
                </c:pt>
                <c:pt idx="1948">
                  <c:v>41809</c:v>
                </c:pt>
                <c:pt idx="1949">
                  <c:v>41810</c:v>
                </c:pt>
                <c:pt idx="1950">
                  <c:v>41813</c:v>
                </c:pt>
                <c:pt idx="1951">
                  <c:v>41814</c:v>
                </c:pt>
                <c:pt idx="1952">
                  <c:v>41815</c:v>
                </c:pt>
                <c:pt idx="1953">
                  <c:v>41816</c:v>
                </c:pt>
                <c:pt idx="1954">
                  <c:v>41817</c:v>
                </c:pt>
                <c:pt idx="1955">
                  <c:v>41820</c:v>
                </c:pt>
                <c:pt idx="1956">
                  <c:v>41821</c:v>
                </c:pt>
                <c:pt idx="1957">
                  <c:v>41822</c:v>
                </c:pt>
                <c:pt idx="1958">
                  <c:v>41823</c:v>
                </c:pt>
                <c:pt idx="1959">
                  <c:v>41824</c:v>
                </c:pt>
                <c:pt idx="1960">
                  <c:v>41827</c:v>
                </c:pt>
                <c:pt idx="1961">
                  <c:v>41828</c:v>
                </c:pt>
                <c:pt idx="1962">
                  <c:v>41829</c:v>
                </c:pt>
                <c:pt idx="1963">
                  <c:v>41830</c:v>
                </c:pt>
                <c:pt idx="1964">
                  <c:v>41831</c:v>
                </c:pt>
                <c:pt idx="1965">
                  <c:v>41834</c:v>
                </c:pt>
                <c:pt idx="1966">
                  <c:v>41835</c:v>
                </c:pt>
                <c:pt idx="1967">
                  <c:v>41836</c:v>
                </c:pt>
                <c:pt idx="1968">
                  <c:v>41837</c:v>
                </c:pt>
                <c:pt idx="1969">
                  <c:v>41838</c:v>
                </c:pt>
                <c:pt idx="1970">
                  <c:v>41841</c:v>
                </c:pt>
                <c:pt idx="1971">
                  <c:v>41842</c:v>
                </c:pt>
                <c:pt idx="1972">
                  <c:v>41843</c:v>
                </c:pt>
                <c:pt idx="1973">
                  <c:v>41844</c:v>
                </c:pt>
                <c:pt idx="1974">
                  <c:v>41845</c:v>
                </c:pt>
                <c:pt idx="1975">
                  <c:v>41848</c:v>
                </c:pt>
                <c:pt idx="1976">
                  <c:v>41849</c:v>
                </c:pt>
                <c:pt idx="1977">
                  <c:v>41850</c:v>
                </c:pt>
                <c:pt idx="1978">
                  <c:v>41851</c:v>
                </c:pt>
                <c:pt idx="1979">
                  <c:v>41852</c:v>
                </c:pt>
                <c:pt idx="1980">
                  <c:v>41855</c:v>
                </c:pt>
                <c:pt idx="1981">
                  <c:v>41856</c:v>
                </c:pt>
                <c:pt idx="1982">
                  <c:v>41857</c:v>
                </c:pt>
                <c:pt idx="1983">
                  <c:v>41858</c:v>
                </c:pt>
                <c:pt idx="1984">
                  <c:v>41859</c:v>
                </c:pt>
                <c:pt idx="1985">
                  <c:v>41862</c:v>
                </c:pt>
                <c:pt idx="1986">
                  <c:v>41863</c:v>
                </c:pt>
                <c:pt idx="1987">
                  <c:v>41864</c:v>
                </c:pt>
                <c:pt idx="1988">
                  <c:v>41865</c:v>
                </c:pt>
                <c:pt idx="1989">
                  <c:v>41866</c:v>
                </c:pt>
                <c:pt idx="1990">
                  <c:v>41869</c:v>
                </c:pt>
                <c:pt idx="1991">
                  <c:v>41870</c:v>
                </c:pt>
                <c:pt idx="1992">
                  <c:v>41871</c:v>
                </c:pt>
                <c:pt idx="1993">
                  <c:v>41872</c:v>
                </c:pt>
                <c:pt idx="1994">
                  <c:v>41873</c:v>
                </c:pt>
                <c:pt idx="1995">
                  <c:v>41876</c:v>
                </c:pt>
                <c:pt idx="1996">
                  <c:v>41877</c:v>
                </c:pt>
                <c:pt idx="1997">
                  <c:v>41878</c:v>
                </c:pt>
                <c:pt idx="1998">
                  <c:v>41879</c:v>
                </c:pt>
                <c:pt idx="1999">
                  <c:v>41880</c:v>
                </c:pt>
                <c:pt idx="2000">
                  <c:v>41883</c:v>
                </c:pt>
                <c:pt idx="2001">
                  <c:v>41884</c:v>
                </c:pt>
                <c:pt idx="2002">
                  <c:v>41885</c:v>
                </c:pt>
                <c:pt idx="2003">
                  <c:v>41886</c:v>
                </c:pt>
                <c:pt idx="2004">
                  <c:v>41887</c:v>
                </c:pt>
                <c:pt idx="2005">
                  <c:v>41890</c:v>
                </c:pt>
                <c:pt idx="2006">
                  <c:v>41891</c:v>
                </c:pt>
                <c:pt idx="2007">
                  <c:v>41892</c:v>
                </c:pt>
                <c:pt idx="2008">
                  <c:v>41893</c:v>
                </c:pt>
                <c:pt idx="2009">
                  <c:v>41894</c:v>
                </c:pt>
                <c:pt idx="2010">
                  <c:v>41897</c:v>
                </c:pt>
                <c:pt idx="2011">
                  <c:v>41898</c:v>
                </c:pt>
                <c:pt idx="2012">
                  <c:v>41899</c:v>
                </c:pt>
                <c:pt idx="2013">
                  <c:v>41900</c:v>
                </c:pt>
                <c:pt idx="2014">
                  <c:v>41901</c:v>
                </c:pt>
                <c:pt idx="2015">
                  <c:v>41904</c:v>
                </c:pt>
                <c:pt idx="2016">
                  <c:v>41905</c:v>
                </c:pt>
                <c:pt idx="2017">
                  <c:v>41906</c:v>
                </c:pt>
                <c:pt idx="2018">
                  <c:v>41907</c:v>
                </c:pt>
                <c:pt idx="2019">
                  <c:v>41908</c:v>
                </c:pt>
                <c:pt idx="2020">
                  <c:v>41911</c:v>
                </c:pt>
                <c:pt idx="2021">
                  <c:v>41912</c:v>
                </c:pt>
                <c:pt idx="2022">
                  <c:v>41913</c:v>
                </c:pt>
                <c:pt idx="2023">
                  <c:v>41914</c:v>
                </c:pt>
                <c:pt idx="2024">
                  <c:v>41915</c:v>
                </c:pt>
                <c:pt idx="2025">
                  <c:v>41918</c:v>
                </c:pt>
                <c:pt idx="2026">
                  <c:v>41919</c:v>
                </c:pt>
                <c:pt idx="2027">
                  <c:v>41920</c:v>
                </c:pt>
                <c:pt idx="2028">
                  <c:v>41921</c:v>
                </c:pt>
                <c:pt idx="2029">
                  <c:v>41922</c:v>
                </c:pt>
                <c:pt idx="2030">
                  <c:v>41925</c:v>
                </c:pt>
                <c:pt idx="2031">
                  <c:v>41926</c:v>
                </c:pt>
                <c:pt idx="2032">
                  <c:v>41927</c:v>
                </c:pt>
                <c:pt idx="2033">
                  <c:v>41928</c:v>
                </c:pt>
                <c:pt idx="2034">
                  <c:v>41929</c:v>
                </c:pt>
                <c:pt idx="2035">
                  <c:v>41932</c:v>
                </c:pt>
                <c:pt idx="2036">
                  <c:v>41933</c:v>
                </c:pt>
                <c:pt idx="2037">
                  <c:v>41934</c:v>
                </c:pt>
                <c:pt idx="2038">
                  <c:v>41935</c:v>
                </c:pt>
                <c:pt idx="2039">
                  <c:v>41936</c:v>
                </c:pt>
                <c:pt idx="2040">
                  <c:v>41939</c:v>
                </c:pt>
                <c:pt idx="2041">
                  <c:v>41940</c:v>
                </c:pt>
                <c:pt idx="2042">
                  <c:v>41941</c:v>
                </c:pt>
                <c:pt idx="2043">
                  <c:v>41942</c:v>
                </c:pt>
                <c:pt idx="2044">
                  <c:v>41943</c:v>
                </c:pt>
                <c:pt idx="2045">
                  <c:v>41946</c:v>
                </c:pt>
                <c:pt idx="2046">
                  <c:v>41947</c:v>
                </c:pt>
                <c:pt idx="2047">
                  <c:v>41948</c:v>
                </c:pt>
                <c:pt idx="2048">
                  <c:v>41949</c:v>
                </c:pt>
                <c:pt idx="2049">
                  <c:v>41950</c:v>
                </c:pt>
                <c:pt idx="2050">
                  <c:v>41953</c:v>
                </c:pt>
                <c:pt idx="2051">
                  <c:v>41954</c:v>
                </c:pt>
                <c:pt idx="2052">
                  <c:v>41955</c:v>
                </c:pt>
                <c:pt idx="2053">
                  <c:v>41956</c:v>
                </c:pt>
                <c:pt idx="2054">
                  <c:v>41957</c:v>
                </c:pt>
                <c:pt idx="2055">
                  <c:v>41960</c:v>
                </c:pt>
                <c:pt idx="2056">
                  <c:v>41961</c:v>
                </c:pt>
                <c:pt idx="2057">
                  <c:v>41962</c:v>
                </c:pt>
                <c:pt idx="2058">
                  <c:v>41963</c:v>
                </c:pt>
                <c:pt idx="2059">
                  <c:v>41964</c:v>
                </c:pt>
                <c:pt idx="2060">
                  <c:v>41967</c:v>
                </c:pt>
                <c:pt idx="2061">
                  <c:v>41968</c:v>
                </c:pt>
                <c:pt idx="2062">
                  <c:v>41969</c:v>
                </c:pt>
                <c:pt idx="2063">
                  <c:v>41970</c:v>
                </c:pt>
                <c:pt idx="2064">
                  <c:v>41971</c:v>
                </c:pt>
                <c:pt idx="2065">
                  <c:v>41974</c:v>
                </c:pt>
                <c:pt idx="2066">
                  <c:v>41975</c:v>
                </c:pt>
                <c:pt idx="2067">
                  <c:v>41976</c:v>
                </c:pt>
                <c:pt idx="2068">
                  <c:v>41977</c:v>
                </c:pt>
                <c:pt idx="2069">
                  <c:v>41978</c:v>
                </c:pt>
                <c:pt idx="2070">
                  <c:v>41981</c:v>
                </c:pt>
                <c:pt idx="2071">
                  <c:v>41982</c:v>
                </c:pt>
                <c:pt idx="2072">
                  <c:v>41983</c:v>
                </c:pt>
                <c:pt idx="2073">
                  <c:v>41984</c:v>
                </c:pt>
                <c:pt idx="2074">
                  <c:v>41985</c:v>
                </c:pt>
                <c:pt idx="2075">
                  <c:v>41988</c:v>
                </c:pt>
                <c:pt idx="2076">
                  <c:v>41989</c:v>
                </c:pt>
                <c:pt idx="2077">
                  <c:v>41990</c:v>
                </c:pt>
                <c:pt idx="2078">
                  <c:v>41991</c:v>
                </c:pt>
                <c:pt idx="2079">
                  <c:v>41992</c:v>
                </c:pt>
                <c:pt idx="2080">
                  <c:v>41995</c:v>
                </c:pt>
                <c:pt idx="2081">
                  <c:v>41996</c:v>
                </c:pt>
                <c:pt idx="2082">
                  <c:v>41997</c:v>
                </c:pt>
                <c:pt idx="2083">
                  <c:v>41998</c:v>
                </c:pt>
                <c:pt idx="2084">
                  <c:v>41999</c:v>
                </c:pt>
                <c:pt idx="2085">
                  <c:v>42002</c:v>
                </c:pt>
                <c:pt idx="2086">
                  <c:v>42003</c:v>
                </c:pt>
                <c:pt idx="2087">
                  <c:v>42004</c:v>
                </c:pt>
                <c:pt idx="2088">
                  <c:v>42005</c:v>
                </c:pt>
                <c:pt idx="2089">
                  <c:v>42006</c:v>
                </c:pt>
                <c:pt idx="2090">
                  <c:v>42009</c:v>
                </c:pt>
                <c:pt idx="2091">
                  <c:v>42010</c:v>
                </c:pt>
                <c:pt idx="2092">
                  <c:v>42011</c:v>
                </c:pt>
                <c:pt idx="2093">
                  <c:v>42012</c:v>
                </c:pt>
                <c:pt idx="2094">
                  <c:v>42013</c:v>
                </c:pt>
                <c:pt idx="2095">
                  <c:v>42016</c:v>
                </c:pt>
                <c:pt idx="2096">
                  <c:v>42017</c:v>
                </c:pt>
                <c:pt idx="2097">
                  <c:v>42018</c:v>
                </c:pt>
                <c:pt idx="2098">
                  <c:v>42019</c:v>
                </c:pt>
                <c:pt idx="2099">
                  <c:v>42020</c:v>
                </c:pt>
                <c:pt idx="2100">
                  <c:v>42023</c:v>
                </c:pt>
                <c:pt idx="2101">
                  <c:v>42024</c:v>
                </c:pt>
                <c:pt idx="2102">
                  <c:v>42025</c:v>
                </c:pt>
                <c:pt idx="2103">
                  <c:v>42026</c:v>
                </c:pt>
                <c:pt idx="2104">
                  <c:v>42027</c:v>
                </c:pt>
                <c:pt idx="2105">
                  <c:v>42030</c:v>
                </c:pt>
                <c:pt idx="2106">
                  <c:v>42031</c:v>
                </c:pt>
                <c:pt idx="2107">
                  <c:v>42032</c:v>
                </c:pt>
                <c:pt idx="2108">
                  <c:v>42033</c:v>
                </c:pt>
                <c:pt idx="2109">
                  <c:v>42034</c:v>
                </c:pt>
                <c:pt idx="2110">
                  <c:v>42037</c:v>
                </c:pt>
                <c:pt idx="2111">
                  <c:v>42038</c:v>
                </c:pt>
                <c:pt idx="2112">
                  <c:v>42039</c:v>
                </c:pt>
                <c:pt idx="2113">
                  <c:v>42040</c:v>
                </c:pt>
                <c:pt idx="2114">
                  <c:v>42041</c:v>
                </c:pt>
                <c:pt idx="2115">
                  <c:v>42044</c:v>
                </c:pt>
                <c:pt idx="2116">
                  <c:v>42045</c:v>
                </c:pt>
                <c:pt idx="2117">
                  <c:v>42046</c:v>
                </c:pt>
                <c:pt idx="2118">
                  <c:v>42047</c:v>
                </c:pt>
                <c:pt idx="2119">
                  <c:v>42048</c:v>
                </c:pt>
                <c:pt idx="2120">
                  <c:v>42051</c:v>
                </c:pt>
                <c:pt idx="2121">
                  <c:v>42052</c:v>
                </c:pt>
                <c:pt idx="2122">
                  <c:v>42053</c:v>
                </c:pt>
                <c:pt idx="2123">
                  <c:v>42054</c:v>
                </c:pt>
                <c:pt idx="2124">
                  <c:v>42055</c:v>
                </c:pt>
                <c:pt idx="2125">
                  <c:v>42058</c:v>
                </c:pt>
                <c:pt idx="2126">
                  <c:v>42059</c:v>
                </c:pt>
                <c:pt idx="2127">
                  <c:v>42060</c:v>
                </c:pt>
                <c:pt idx="2128">
                  <c:v>42061</c:v>
                </c:pt>
                <c:pt idx="2129">
                  <c:v>42062</c:v>
                </c:pt>
                <c:pt idx="2130">
                  <c:v>42065</c:v>
                </c:pt>
                <c:pt idx="2131">
                  <c:v>42066</c:v>
                </c:pt>
                <c:pt idx="2132">
                  <c:v>42067</c:v>
                </c:pt>
                <c:pt idx="2133">
                  <c:v>42068</c:v>
                </c:pt>
                <c:pt idx="2134">
                  <c:v>42069</c:v>
                </c:pt>
                <c:pt idx="2135">
                  <c:v>42072</c:v>
                </c:pt>
                <c:pt idx="2136">
                  <c:v>42073</c:v>
                </c:pt>
                <c:pt idx="2137">
                  <c:v>42074</c:v>
                </c:pt>
                <c:pt idx="2138">
                  <c:v>42075</c:v>
                </c:pt>
                <c:pt idx="2139">
                  <c:v>42076</c:v>
                </c:pt>
                <c:pt idx="2140">
                  <c:v>42079</c:v>
                </c:pt>
                <c:pt idx="2141">
                  <c:v>42080</c:v>
                </c:pt>
                <c:pt idx="2142">
                  <c:v>42081</c:v>
                </c:pt>
                <c:pt idx="2143">
                  <c:v>42082</c:v>
                </c:pt>
                <c:pt idx="2144">
                  <c:v>42083</c:v>
                </c:pt>
                <c:pt idx="2145">
                  <c:v>42086</c:v>
                </c:pt>
                <c:pt idx="2146">
                  <c:v>42087</c:v>
                </c:pt>
                <c:pt idx="2147">
                  <c:v>42088</c:v>
                </c:pt>
                <c:pt idx="2148">
                  <c:v>42089</c:v>
                </c:pt>
                <c:pt idx="2149">
                  <c:v>42090</c:v>
                </c:pt>
                <c:pt idx="2150">
                  <c:v>42093</c:v>
                </c:pt>
                <c:pt idx="2151">
                  <c:v>42094</c:v>
                </c:pt>
                <c:pt idx="2152">
                  <c:v>42095</c:v>
                </c:pt>
                <c:pt idx="2153">
                  <c:v>42096</c:v>
                </c:pt>
                <c:pt idx="2154">
                  <c:v>42097</c:v>
                </c:pt>
                <c:pt idx="2155">
                  <c:v>42100</c:v>
                </c:pt>
                <c:pt idx="2156">
                  <c:v>42101</c:v>
                </c:pt>
                <c:pt idx="2157">
                  <c:v>42102</c:v>
                </c:pt>
                <c:pt idx="2158">
                  <c:v>42103</c:v>
                </c:pt>
                <c:pt idx="2159">
                  <c:v>42104</c:v>
                </c:pt>
                <c:pt idx="2160">
                  <c:v>42107</c:v>
                </c:pt>
                <c:pt idx="2161">
                  <c:v>42108</c:v>
                </c:pt>
                <c:pt idx="2162">
                  <c:v>42109</c:v>
                </c:pt>
                <c:pt idx="2163">
                  <c:v>42110</c:v>
                </c:pt>
                <c:pt idx="2164">
                  <c:v>42111</c:v>
                </c:pt>
                <c:pt idx="2165">
                  <c:v>42114</c:v>
                </c:pt>
                <c:pt idx="2166">
                  <c:v>42115</c:v>
                </c:pt>
                <c:pt idx="2167">
                  <c:v>42116</c:v>
                </c:pt>
                <c:pt idx="2168">
                  <c:v>42117</c:v>
                </c:pt>
                <c:pt idx="2169">
                  <c:v>42118</c:v>
                </c:pt>
                <c:pt idx="2170">
                  <c:v>42121</c:v>
                </c:pt>
                <c:pt idx="2171">
                  <c:v>42122</c:v>
                </c:pt>
                <c:pt idx="2172">
                  <c:v>42123</c:v>
                </c:pt>
                <c:pt idx="2173">
                  <c:v>42124</c:v>
                </c:pt>
                <c:pt idx="2174">
                  <c:v>42125</c:v>
                </c:pt>
                <c:pt idx="2175">
                  <c:v>42128</c:v>
                </c:pt>
                <c:pt idx="2176">
                  <c:v>42129</c:v>
                </c:pt>
                <c:pt idx="2177">
                  <c:v>42130</c:v>
                </c:pt>
                <c:pt idx="2178">
                  <c:v>42131</c:v>
                </c:pt>
                <c:pt idx="2179">
                  <c:v>42132</c:v>
                </c:pt>
                <c:pt idx="2180">
                  <c:v>42135</c:v>
                </c:pt>
                <c:pt idx="2181">
                  <c:v>42136</c:v>
                </c:pt>
                <c:pt idx="2182">
                  <c:v>42137</c:v>
                </c:pt>
                <c:pt idx="2183">
                  <c:v>42138</c:v>
                </c:pt>
                <c:pt idx="2184">
                  <c:v>42139</c:v>
                </c:pt>
                <c:pt idx="2185">
                  <c:v>42142</c:v>
                </c:pt>
                <c:pt idx="2186">
                  <c:v>42143</c:v>
                </c:pt>
                <c:pt idx="2187">
                  <c:v>42144</c:v>
                </c:pt>
                <c:pt idx="2188">
                  <c:v>42145</c:v>
                </c:pt>
                <c:pt idx="2189">
                  <c:v>42146</c:v>
                </c:pt>
                <c:pt idx="2190">
                  <c:v>42149</c:v>
                </c:pt>
                <c:pt idx="2191">
                  <c:v>42150</c:v>
                </c:pt>
                <c:pt idx="2192">
                  <c:v>42151</c:v>
                </c:pt>
                <c:pt idx="2193">
                  <c:v>42152</c:v>
                </c:pt>
                <c:pt idx="2194">
                  <c:v>42153</c:v>
                </c:pt>
                <c:pt idx="2195">
                  <c:v>42156</c:v>
                </c:pt>
                <c:pt idx="2196">
                  <c:v>42157</c:v>
                </c:pt>
                <c:pt idx="2197">
                  <c:v>42158</c:v>
                </c:pt>
                <c:pt idx="2198">
                  <c:v>42159</c:v>
                </c:pt>
                <c:pt idx="2199">
                  <c:v>42160</c:v>
                </c:pt>
                <c:pt idx="2200">
                  <c:v>42163</c:v>
                </c:pt>
                <c:pt idx="2201">
                  <c:v>42164</c:v>
                </c:pt>
                <c:pt idx="2202">
                  <c:v>42165</c:v>
                </c:pt>
                <c:pt idx="2203">
                  <c:v>42166</c:v>
                </c:pt>
                <c:pt idx="2204">
                  <c:v>42167</c:v>
                </c:pt>
                <c:pt idx="2205">
                  <c:v>42170</c:v>
                </c:pt>
                <c:pt idx="2206">
                  <c:v>42171</c:v>
                </c:pt>
                <c:pt idx="2207">
                  <c:v>42172</c:v>
                </c:pt>
                <c:pt idx="2208">
                  <c:v>42173</c:v>
                </c:pt>
                <c:pt idx="2209">
                  <c:v>42174</c:v>
                </c:pt>
                <c:pt idx="2210">
                  <c:v>42177</c:v>
                </c:pt>
                <c:pt idx="2211">
                  <c:v>42178</c:v>
                </c:pt>
                <c:pt idx="2212">
                  <c:v>42179</c:v>
                </c:pt>
                <c:pt idx="2213">
                  <c:v>42180</c:v>
                </c:pt>
                <c:pt idx="2214">
                  <c:v>42181</c:v>
                </c:pt>
                <c:pt idx="2215">
                  <c:v>42184</c:v>
                </c:pt>
                <c:pt idx="2216">
                  <c:v>42185</c:v>
                </c:pt>
                <c:pt idx="2217">
                  <c:v>42186</c:v>
                </c:pt>
                <c:pt idx="2218">
                  <c:v>42187</c:v>
                </c:pt>
                <c:pt idx="2219">
                  <c:v>42188</c:v>
                </c:pt>
                <c:pt idx="2220">
                  <c:v>42191</c:v>
                </c:pt>
                <c:pt idx="2221">
                  <c:v>42192</c:v>
                </c:pt>
                <c:pt idx="2222">
                  <c:v>42193</c:v>
                </c:pt>
                <c:pt idx="2223">
                  <c:v>42194</c:v>
                </c:pt>
                <c:pt idx="2224">
                  <c:v>42195</c:v>
                </c:pt>
                <c:pt idx="2225">
                  <c:v>42198</c:v>
                </c:pt>
                <c:pt idx="2226">
                  <c:v>42199</c:v>
                </c:pt>
                <c:pt idx="2227">
                  <c:v>42200</c:v>
                </c:pt>
                <c:pt idx="2228">
                  <c:v>42201</c:v>
                </c:pt>
                <c:pt idx="2229">
                  <c:v>42202</c:v>
                </c:pt>
                <c:pt idx="2230">
                  <c:v>42205</c:v>
                </c:pt>
                <c:pt idx="2231">
                  <c:v>42206</c:v>
                </c:pt>
                <c:pt idx="2232">
                  <c:v>42207</c:v>
                </c:pt>
                <c:pt idx="2233">
                  <c:v>42208</c:v>
                </c:pt>
                <c:pt idx="2234">
                  <c:v>42209</c:v>
                </c:pt>
                <c:pt idx="2235">
                  <c:v>42212</c:v>
                </c:pt>
                <c:pt idx="2236">
                  <c:v>42213</c:v>
                </c:pt>
                <c:pt idx="2237">
                  <c:v>42214</c:v>
                </c:pt>
                <c:pt idx="2238">
                  <c:v>42215</c:v>
                </c:pt>
                <c:pt idx="2239">
                  <c:v>42216</c:v>
                </c:pt>
                <c:pt idx="2240">
                  <c:v>42219</c:v>
                </c:pt>
                <c:pt idx="2241">
                  <c:v>42220</c:v>
                </c:pt>
                <c:pt idx="2242">
                  <c:v>42221</c:v>
                </c:pt>
                <c:pt idx="2243">
                  <c:v>42222</c:v>
                </c:pt>
                <c:pt idx="2244">
                  <c:v>42223</c:v>
                </c:pt>
                <c:pt idx="2245">
                  <c:v>42226</c:v>
                </c:pt>
                <c:pt idx="2246">
                  <c:v>42227</c:v>
                </c:pt>
                <c:pt idx="2247">
                  <c:v>42228</c:v>
                </c:pt>
                <c:pt idx="2248">
                  <c:v>42229</c:v>
                </c:pt>
                <c:pt idx="2249">
                  <c:v>42230</c:v>
                </c:pt>
                <c:pt idx="2250">
                  <c:v>42233</c:v>
                </c:pt>
                <c:pt idx="2251">
                  <c:v>42234</c:v>
                </c:pt>
                <c:pt idx="2252">
                  <c:v>42235</c:v>
                </c:pt>
                <c:pt idx="2253">
                  <c:v>42236</c:v>
                </c:pt>
                <c:pt idx="2254">
                  <c:v>42237</c:v>
                </c:pt>
                <c:pt idx="2255">
                  <c:v>42240</c:v>
                </c:pt>
                <c:pt idx="2256">
                  <c:v>42241</c:v>
                </c:pt>
                <c:pt idx="2257">
                  <c:v>42242</c:v>
                </c:pt>
                <c:pt idx="2258">
                  <c:v>42243</c:v>
                </c:pt>
                <c:pt idx="2259">
                  <c:v>42244</c:v>
                </c:pt>
                <c:pt idx="2260">
                  <c:v>42247</c:v>
                </c:pt>
                <c:pt idx="2261">
                  <c:v>42248</c:v>
                </c:pt>
                <c:pt idx="2262">
                  <c:v>42249</c:v>
                </c:pt>
                <c:pt idx="2263">
                  <c:v>42250</c:v>
                </c:pt>
                <c:pt idx="2264">
                  <c:v>42251</c:v>
                </c:pt>
                <c:pt idx="2265">
                  <c:v>42254</c:v>
                </c:pt>
                <c:pt idx="2266">
                  <c:v>42255</c:v>
                </c:pt>
                <c:pt idx="2267">
                  <c:v>42256</c:v>
                </c:pt>
                <c:pt idx="2268">
                  <c:v>42257</c:v>
                </c:pt>
                <c:pt idx="2269">
                  <c:v>42258</c:v>
                </c:pt>
                <c:pt idx="2270">
                  <c:v>42261</c:v>
                </c:pt>
                <c:pt idx="2271">
                  <c:v>42262</c:v>
                </c:pt>
                <c:pt idx="2272">
                  <c:v>42263</c:v>
                </c:pt>
                <c:pt idx="2273">
                  <c:v>42264</c:v>
                </c:pt>
                <c:pt idx="2274">
                  <c:v>42265</c:v>
                </c:pt>
                <c:pt idx="2275">
                  <c:v>42268</c:v>
                </c:pt>
                <c:pt idx="2276">
                  <c:v>42269</c:v>
                </c:pt>
                <c:pt idx="2277">
                  <c:v>42270</c:v>
                </c:pt>
                <c:pt idx="2278">
                  <c:v>42271</c:v>
                </c:pt>
                <c:pt idx="2279">
                  <c:v>42272</c:v>
                </c:pt>
                <c:pt idx="2280">
                  <c:v>42275</c:v>
                </c:pt>
                <c:pt idx="2281">
                  <c:v>42276</c:v>
                </c:pt>
                <c:pt idx="2282">
                  <c:v>42277</c:v>
                </c:pt>
                <c:pt idx="2283">
                  <c:v>42278</c:v>
                </c:pt>
                <c:pt idx="2284">
                  <c:v>42279</c:v>
                </c:pt>
                <c:pt idx="2285">
                  <c:v>42282</c:v>
                </c:pt>
                <c:pt idx="2286">
                  <c:v>42283</c:v>
                </c:pt>
                <c:pt idx="2287">
                  <c:v>42284</c:v>
                </c:pt>
                <c:pt idx="2288">
                  <c:v>42285</c:v>
                </c:pt>
                <c:pt idx="2289">
                  <c:v>42286</c:v>
                </c:pt>
                <c:pt idx="2290">
                  <c:v>42289</c:v>
                </c:pt>
                <c:pt idx="2291">
                  <c:v>42290</c:v>
                </c:pt>
                <c:pt idx="2292">
                  <c:v>42291</c:v>
                </c:pt>
                <c:pt idx="2293">
                  <c:v>42292</c:v>
                </c:pt>
                <c:pt idx="2294">
                  <c:v>42293</c:v>
                </c:pt>
                <c:pt idx="2295">
                  <c:v>42296</c:v>
                </c:pt>
                <c:pt idx="2296">
                  <c:v>42297</c:v>
                </c:pt>
                <c:pt idx="2297">
                  <c:v>42298</c:v>
                </c:pt>
                <c:pt idx="2298">
                  <c:v>42299</c:v>
                </c:pt>
                <c:pt idx="2299">
                  <c:v>42300</c:v>
                </c:pt>
                <c:pt idx="2300">
                  <c:v>42303</c:v>
                </c:pt>
                <c:pt idx="2301">
                  <c:v>42304</c:v>
                </c:pt>
                <c:pt idx="2302">
                  <c:v>42305</c:v>
                </c:pt>
                <c:pt idx="2303">
                  <c:v>42306</c:v>
                </c:pt>
                <c:pt idx="2304">
                  <c:v>42307</c:v>
                </c:pt>
                <c:pt idx="2305">
                  <c:v>42310</c:v>
                </c:pt>
                <c:pt idx="2306">
                  <c:v>42311</c:v>
                </c:pt>
                <c:pt idx="2307">
                  <c:v>42312</c:v>
                </c:pt>
                <c:pt idx="2308">
                  <c:v>42313</c:v>
                </c:pt>
                <c:pt idx="2309">
                  <c:v>42314</c:v>
                </c:pt>
                <c:pt idx="2310">
                  <c:v>42317</c:v>
                </c:pt>
                <c:pt idx="2311">
                  <c:v>42318</c:v>
                </c:pt>
                <c:pt idx="2312">
                  <c:v>42319</c:v>
                </c:pt>
                <c:pt idx="2313">
                  <c:v>42320</c:v>
                </c:pt>
                <c:pt idx="2314">
                  <c:v>42321</c:v>
                </c:pt>
                <c:pt idx="2315">
                  <c:v>42324</c:v>
                </c:pt>
                <c:pt idx="2316">
                  <c:v>42325</c:v>
                </c:pt>
                <c:pt idx="2317">
                  <c:v>42326</c:v>
                </c:pt>
                <c:pt idx="2318">
                  <c:v>42327</c:v>
                </c:pt>
                <c:pt idx="2319">
                  <c:v>42328</c:v>
                </c:pt>
                <c:pt idx="2320">
                  <c:v>42331</c:v>
                </c:pt>
                <c:pt idx="2321">
                  <c:v>42332</c:v>
                </c:pt>
                <c:pt idx="2322">
                  <c:v>42333</c:v>
                </c:pt>
                <c:pt idx="2323">
                  <c:v>42334</c:v>
                </c:pt>
                <c:pt idx="2324">
                  <c:v>42335</c:v>
                </c:pt>
                <c:pt idx="2325">
                  <c:v>42338</c:v>
                </c:pt>
                <c:pt idx="2326">
                  <c:v>42339</c:v>
                </c:pt>
                <c:pt idx="2327">
                  <c:v>42340</c:v>
                </c:pt>
                <c:pt idx="2328">
                  <c:v>42341</c:v>
                </c:pt>
                <c:pt idx="2329">
                  <c:v>42342</c:v>
                </c:pt>
                <c:pt idx="2330">
                  <c:v>42345</c:v>
                </c:pt>
                <c:pt idx="2331">
                  <c:v>42346</c:v>
                </c:pt>
                <c:pt idx="2332">
                  <c:v>42347</c:v>
                </c:pt>
                <c:pt idx="2333">
                  <c:v>42348</c:v>
                </c:pt>
                <c:pt idx="2334">
                  <c:v>42349</c:v>
                </c:pt>
                <c:pt idx="2335">
                  <c:v>42352</c:v>
                </c:pt>
                <c:pt idx="2336">
                  <c:v>42353</c:v>
                </c:pt>
                <c:pt idx="2337">
                  <c:v>42354</c:v>
                </c:pt>
                <c:pt idx="2338">
                  <c:v>42355</c:v>
                </c:pt>
                <c:pt idx="2339">
                  <c:v>42356</c:v>
                </c:pt>
                <c:pt idx="2340">
                  <c:v>42359</c:v>
                </c:pt>
                <c:pt idx="2341">
                  <c:v>42360</c:v>
                </c:pt>
                <c:pt idx="2342">
                  <c:v>42361</c:v>
                </c:pt>
                <c:pt idx="2343">
                  <c:v>42362</c:v>
                </c:pt>
                <c:pt idx="2344">
                  <c:v>42363</c:v>
                </c:pt>
                <c:pt idx="2345">
                  <c:v>42366</c:v>
                </c:pt>
                <c:pt idx="2346">
                  <c:v>42367</c:v>
                </c:pt>
                <c:pt idx="2347">
                  <c:v>42368</c:v>
                </c:pt>
                <c:pt idx="2348">
                  <c:v>42369</c:v>
                </c:pt>
                <c:pt idx="2349">
                  <c:v>42370</c:v>
                </c:pt>
                <c:pt idx="2350">
                  <c:v>42373</c:v>
                </c:pt>
                <c:pt idx="2351">
                  <c:v>42374</c:v>
                </c:pt>
                <c:pt idx="2352">
                  <c:v>42375</c:v>
                </c:pt>
                <c:pt idx="2353">
                  <c:v>42376</c:v>
                </c:pt>
                <c:pt idx="2354">
                  <c:v>42377</c:v>
                </c:pt>
                <c:pt idx="2355">
                  <c:v>42380</c:v>
                </c:pt>
                <c:pt idx="2356">
                  <c:v>42381</c:v>
                </c:pt>
                <c:pt idx="2357">
                  <c:v>42382</c:v>
                </c:pt>
                <c:pt idx="2358">
                  <c:v>42383</c:v>
                </c:pt>
                <c:pt idx="2359">
                  <c:v>42384</c:v>
                </c:pt>
                <c:pt idx="2360">
                  <c:v>42387</c:v>
                </c:pt>
                <c:pt idx="2361">
                  <c:v>42388</c:v>
                </c:pt>
                <c:pt idx="2362">
                  <c:v>42389</c:v>
                </c:pt>
                <c:pt idx="2363">
                  <c:v>42390</c:v>
                </c:pt>
                <c:pt idx="2364">
                  <c:v>42391</c:v>
                </c:pt>
                <c:pt idx="2365">
                  <c:v>42394</c:v>
                </c:pt>
                <c:pt idx="2366">
                  <c:v>42395</c:v>
                </c:pt>
                <c:pt idx="2367">
                  <c:v>42396</c:v>
                </c:pt>
                <c:pt idx="2368">
                  <c:v>42397</c:v>
                </c:pt>
                <c:pt idx="2369">
                  <c:v>42398</c:v>
                </c:pt>
                <c:pt idx="2370">
                  <c:v>42401</c:v>
                </c:pt>
                <c:pt idx="2371">
                  <c:v>42402</c:v>
                </c:pt>
                <c:pt idx="2372">
                  <c:v>42403</c:v>
                </c:pt>
                <c:pt idx="2373">
                  <c:v>42404</c:v>
                </c:pt>
                <c:pt idx="2374">
                  <c:v>42405</c:v>
                </c:pt>
                <c:pt idx="2375">
                  <c:v>42408</c:v>
                </c:pt>
                <c:pt idx="2376">
                  <c:v>42409</c:v>
                </c:pt>
                <c:pt idx="2377">
                  <c:v>42410</c:v>
                </c:pt>
                <c:pt idx="2378">
                  <c:v>42411</c:v>
                </c:pt>
                <c:pt idx="2379">
                  <c:v>42412</c:v>
                </c:pt>
                <c:pt idx="2380">
                  <c:v>42415</c:v>
                </c:pt>
                <c:pt idx="2381">
                  <c:v>42416</c:v>
                </c:pt>
                <c:pt idx="2382">
                  <c:v>42417</c:v>
                </c:pt>
                <c:pt idx="2383">
                  <c:v>42418</c:v>
                </c:pt>
                <c:pt idx="2384">
                  <c:v>42419</c:v>
                </c:pt>
                <c:pt idx="2385">
                  <c:v>42422</c:v>
                </c:pt>
                <c:pt idx="2386">
                  <c:v>42423</c:v>
                </c:pt>
                <c:pt idx="2387">
                  <c:v>42424</c:v>
                </c:pt>
                <c:pt idx="2388">
                  <c:v>42425</c:v>
                </c:pt>
                <c:pt idx="2389">
                  <c:v>42426</c:v>
                </c:pt>
                <c:pt idx="2390">
                  <c:v>42429</c:v>
                </c:pt>
                <c:pt idx="2391">
                  <c:v>42430</c:v>
                </c:pt>
                <c:pt idx="2392">
                  <c:v>42431</c:v>
                </c:pt>
                <c:pt idx="2393">
                  <c:v>42432</c:v>
                </c:pt>
                <c:pt idx="2394">
                  <c:v>42433</c:v>
                </c:pt>
                <c:pt idx="2395">
                  <c:v>42436</c:v>
                </c:pt>
                <c:pt idx="2396">
                  <c:v>42437</c:v>
                </c:pt>
                <c:pt idx="2397">
                  <c:v>42438</c:v>
                </c:pt>
                <c:pt idx="2398">
                  <c:v>42439</c:v>
                </c:pt>
                <c:pt idx="2399">
                  <c:v>42440</c:v>
                </c:pt>
                <c:pt idx="2400">
                  <c:v>42443</c:v>
                </c:pt>
                <c:pt idx="2401">
                  <c:v>42444</c:v>
                </c:pt>
                <c:pt idx="2402">
                  <c:v>42445</c:v>
                </c:pt>
                <c:pt idx="2403">
                  <c:v>42446</c:v>
                </c:pt>
                <c:pt idx="2404">
                  <c:v>42447</c:v>
                </c:pt>
                <c:pt idx="2405">
                  <c:v>42450</c:v>
                </c:pt>
                <c:pt idx="2406">
                  <c:v>42451</c:v>
                </c:pt>
                <c:pt idx="2407">
                  <c:v>42452</c:v>
                </c:pt>
                <c:pt idx="2408">
                  <c:v>42453</c:v>
                </c:pt>
                <c:pt idx="2409">
                  <c:v>42454</c:v>
                </c:pt>
                <c:pt idx="2410">
                  <c:v>42457</c:v>
                </c:pt>
                <c:pt idx="2411">
                  <c:v>42458</c:v>
                </c:pt>
                <c:pt idx="2412">
                  <c:v>42459</c:v>
                </c:pt>
                <c:pt idx="2413">
                  <c:v>42460</c:v>
                </c:pt>
                <c:pt idx="2414">
                  <c:v>42461</c:v>
                </c:pt>
                <c:pt idx="2415">
                  <c:v>42464</c:v>
                </c:pt>
                <c:pt idx="2416">
                  <c:v>42465</c:v>
                </c:pt>
                <c:pt idx="2417">
                  <c:v>42466</c:v>
                </c:pt>
                <c:pt idx="2418">
                  <c:v>42467</c:v>
                </c:pt>
                <c:pt idx="2419">
                  <c:v>42468</c:v>
                </c:pt>
                <c:pt idx="2420">
                  <c:v>42471</c:v>
                </c:pt>
                <c:pt idx="2421">
                  <c:v>42472</c:v>
                </c:pt>
                <c:pt idx="2422">
                  <c:v>42473</c:v>
                </c:pt>
                <c:pt idx="2423">
                  <c:v>42474</c:v>
                </c:pt>
                <c:pt idx="2424">
                  <c:v>42475</c:v>
                </c:pt>
                <c:pt idx="2425">
                  <c:v>42478</c:v>
                </c:pt>
                <c:pt idx="2426">
                  <c:v>42479</c:v>
                </c:pt>
                <c:pt idx="2427">
                  <c:v>42480</c:v>
                </c:pt>
                <c:pt idx="2428">
                  <c:v>42481</c:v>
                </c:pt>
                <c:pt idx="2429">
                  <c:v>42482</c:v>
                </c:pt>
                <c:pt idx="2430">
                  <c:v>42485</c:v>
                </c:pt>
                <c:pt idx="2431">
                  <c:v>42486</c:v>
                </c:pt>
                <c:pt idx="2432">
                  <c:v>42487</c:v>
                </c:pt>
                <c:pt idx="2433">
                  <c:v>42488</c:v>
                </c:pt>
                <c:pt idx="2434">
                  <c:v>42489</c:v>
                </c:pt>
                <c:pt idx="2435">
                  <c:v>42492</c:v>
                </c:pt>
                <c:pt idx="2436">
                  <c:v>42493</c:v>
                </c:pt>
                <c:pt idx="2437">
                  <c:v>42494</c:v>
                </c:pt>
                <c:pt idx="2438">
                  <c:v>42495</c:v>
                </c:pt>
                <c:pt idx="2439">
                  <c:v>42496</c:v>
                </c:pt>
                <c:pt idx="2440">
                  <c:v>42499</c:v>
                </c:pt>
                <c:pt idx="2441">
                  <c:v>42500</c:v>
                </c:pt>
                <c:pt idx="2442">
                  <c:v>42501</c:v>
                </c:pt>
                <c:pt idx="2443">
                  <c:v>42502</c:v>
                </c:pt>
                <c:pt idx="2444">
                  <c:v>42503</c:v>
                </c:pt>
                <c:pt idx="2445">
                  <c:v>42506</c:v>
                </c:pt>
                <c:pt idx="2446">
                  <c:v>42507</c:v>
                </c:pt>
                <c:pt idx="2447">
                  <c:v>42508</c:v>
                </c:pt>
                <c:pt idx="2448">
                  <c:v>42509</c:v>
                </c:pt>
                <c:pt idx="2449">
                  <c:v>42510</c:v>
                </c:pt>
                <c:pt idx="2450">
                  <c:v>42513</c:v>
                </c:pt>
                <c:pt idx="2451">
                  <c:v>42514</c:v>
                </c:pt>
                <c:pt idx="2452">
                  <c:v>42515</c:v>
                </c:pt>
                <c:pt idx="2453">
                  <c:v>42516</c:v>
                </c:pt>
                <c:pt idx="2454">
                  <c:v>42517</c:v>
                </c:pt>
                <c:pt idx="2455">
                  <c:v>42520</c:v>
                </c:pt>
                <c:pt idx="2456">
                  <c:v>42521</c:v>
                </c:pt>
                <c:pt idx="2457">
                  <c:v>42522</c:v>
                </c:pt>
                <c:pt idx="2458">
                  <c:v>42523</c:v>
                </c:pt>
                <c:pt idx="2459">
                  <c:v>42524</c:v>
                </c:pt>
                <c:pt idx="2460">
                  <c:v>42527</c:v>
                </c:pt>
                <c:pt idx="2461">
                  <c:v>42528</c:v>
                </c:pt>
                <c:pt idx="2462">
                  <c:v>42529</c:v>
                </c:pt>
                <c:pt idx="2463">
                  <c:v>42530</c:v>
                </c:pt>
                <c:pt idx="2464">
                  <c:v>42531</c:v>
                </c:pt>
                <c:pt idx="2465">
                  <c:v>42534</c:v>
                </c:pt>
                <c:pt idx="2466">
                  <c:v>42535</c:v>
                </c:pt>
                <c:pt idx="2467">
                  <c:v>42536</c:v>
                </c:pt>
                <c:pt idx="2468">
                  <c:v>42537</c:v>
                </c:pt>
                <c:pt idx="2469">
                  <c:v>42538</c:v>
                </c:pt>
                <c:pt idx="2470">
                  <c:v>42541</c:v>
                </c:pt>
                <c:pt idx="2471">
                  <c:v>42542</c:v>
                </c:pt>
                <c:pt idx="2472">
                  <c:v>42543</c:v>
                </c:pt>
                <c:pt idx="2473">
                  <c:v>42544</c:v>
                </c:pt>
                <c:pt idx="2474">
                  <c:v>42545</c:v>
                </c:pt>
                <c:pt idx="2475">
                  <c:v>42548</c:v>
                </c:pt>
                <c:pt idx="2476">
                  <c:v>42549</c:v>
                </c:pt>
                <c:pt idx="2477">
                  <c:v>42550</c:v>
                </c:pt>
                <c:pt idx="2478">
                  <c:v>42551</c:v>
                </c:pt>
                <c:pt idx="2479">
                  <c:v>42552</c:v>
                </c:pt>
                <c:pt idx="2480">
                  <c:v>42555</c:v>
                </c:pt>
                <c:pt idx="2481">
                  <c:v>42556</c:v>
                </c:pt>
                <c:pt idx="2482">
                  <c:v>42557</c:v>
                </c:pt>
                <c:pt idx="2483">
                  <c:v>42558</c:v>
                </c:pt>
                <c:pt idx="2484">
                  <c:v>42559</c:v>
                </c:pt>
                <c:pt idx="2485">
                  <c:v>42562</c:v>
                </c:pt>
                <c:pt idx="2486">
                  <c:v>42563</c:v>
                </c:pt>
                <c:pt idx="2487">
                  <c:v>42564</c:v>
                </c:pt>
                <c:pt idx="2488">
                  <c:v>42565</c:v>
                </c:pt>
                <c:pt idx="2489">
                  <c:v>42566</c:v>
                </c:pt>
                <c:pt idx="2490">
                  <c:v>42569</c:v>
                </c:pt>
                <c:pt idx="2491">
                  <c:v>42570</c:v>
                </c:pt>
                <c:pt idx="2492">
                  <c:v>42571</c:v>
                </c:pt>
                <c:pt idx="2493">
                  <c:v>42572</c:v>
                </c:pt>
                <c:pt idx="2494">
                  <c:v>42573</c:v>
                </c:pt>
                <c:pt idx="2495">
                  <c:v>42576</c:v>
                </c:pt>
                <c:pt idx="2496">
                  <c:v>42577</c:v>
                </c:pt>
                <c:pt idx="2497">
                  <c:v>42578</c:v>
                </c:pt>
                <c:pt idx="2498">
                  <c:v>42579</c:v>
                </c:pt>
                <c:pt idx="2499">
                  <c:v>42580</c:v>
                </c:pt>
                <c:pt idx="2500">
                  <c:v>42583</c:v>
                </c:pt>
                <c:pt idx="2501">
                  <c:v>42584</c:v>
                </c:pt>
                <c:pt idx="2502">
                  <c:v>42585</c:v>
                </c:pt>
                <c:pt idx="2503">
                  <c:v>42586</c:v>
                </c:pt>
                <c:pt idx="2504">
                  <c:v>42587</c:v>
                </c:pt>
                <c:pt idx="2505">
                  <c:v>42590</c:v>
                </c:pt>
                <c:pt idx="2506">
                  <c:v>42591</c:v>
                </c:pt>
                <c:pt idx="2507">
                  <c:v>42592</c:v>
                </c:pt>
                <c:pt idx="2508">
                  <c:v>42593</c:v>
                </c:pt>
                <c:pt idx="2509">
                  <c:v>42594</c:v>
                </c:pt>
                <c:pt idx="2510">
                  <c:v>42597</c:v>
                </c:pt>
                <c:pt idx="2511">
                  <c:v>42598</c:v>
                </c:pt>
                <c:pt idx="2512">
                  <c:v>42599</c:v>
                </c:pt>
                <c:pt idx="2513">
                  <c:v>42600</c:v>
                </c:pt>
                <c:pt idx="2514">
                  <c:v>42601</c:v>
                </c:pt>
                <c:pt idx="2515">
                  <c:v>42604</c:v>
                </c:pt>
                <c:pt idx="2516">
                  <c:v>42605</c:v>
                </c:pt>
                <c:pt idx="2517">
                  <c:v>42606</c:v>
                </c:pt>
                <c:pt idx="2518">
                  <c:v>42607</c:v>
                </c:pt>
                <c:pt idx="2519">
                  <c:v>42608</c:v>
                </c:pt>
                <c:pt idx="2520">
                  <c:v>42611</c:v>
                </c:pt>
                <c:pt idx="2521">
                  <c:v>42612</c:v>
                </c:pt>
                <c:pt idx="2522">
                  <c:v>42613</c:v>
                </c:pt>
                <c:pt idx="2523">
                  <c:v>42614</c:v>
                </c:pt>
                <c:pt idx="2524">
                  <c:v>42615</c:v>
                </c:pt>
                <c:pt idx="2525">
                  <c:v>42618</c:v>
                </c:pt>
                <c:pt idx="2526">
                  <c:v>42619</c:v>
                </c:pt>
                <c:pt idx="2527">
                  <c:v>42620</c:v>
                </c:pt>
                <c:pt idx="2528">
                  <c:v>42621</c:v>
                </c:pt>
                <c:pt idx="2529">
                  <c:v>42622</c:v>
                </c:pt>
                <c:pt idx="2530">
                  <c:v>42625</c:v>
                </c:pt>
                <c:pt idx="2531">
                  <c:v>42626</c:v>
                </c:pt>
                <c:pt idx="2532">
                  <c:v>42627</c:v>
                </c:pt>
                <c:pt idx="2533">
                  <c:v>42628</c:v>
                </c:pt>
                <c:pt idx="2534">
                  <c:v>42629</c:v>
                </c:pt>
                <c:pt idx="2535">
                  <c:v>42632</c:v>
                </c:pt>
                <c:pt idx="2536">
                  <c:v>42633</c:v>
                </c:pt>
                <c:pt idx="2537">
                  <c:v>42634</c:v>
                </c:pt>
                <c:pt idx="2538">
                  <c:v>42635</c:v>
                </c:pt>
                <c:pt idx="2539">
                  <c:v>42636</c:v>
                </c:pt>
                <c:pt idx="2540">
                  <c:v>42639</c:v>
                </c:pt>
                <c:pt idx="2541">
                  <c:v>42640</c:v>
                </c:pt>
                <c:pt idx="2542">
                  <c:v>42641</c:v>
                </c:pt>
                <c:pt idx="2543">
                  <c:v>42642</c:v>
                </c:pt>
                <c:pt idx="2544">
                  <c:v>42643</c:v>
                </c:pt>
                <c:pt idx="2545">
                  <c:v>42646</c:v>
                </c:pt>
                <c:pt idx="2546">
                  <c:v>42647</c:v>
                </c:pt>
                <c:pt idx="2547">
                  <c:v>42648</c:v>
                </c:pt>
                <c:pt idx="2548">
                  <c:v>42649</c:v>
                </c:pt>
                <c:pt idx="2549">
                  <c:v>42650</c:v>
                </c:pt>
                <c:pt idx="2550">
                  <c:v>42653</c:v>
                </c:pt>
                <c:pt idx="2551">
                  <c:v>42654</c:v>
                </c:pt>
                <c:pt idx="2552">
                  <c:v>42655</c:v>
                </c:pt>
                <c:pt idx="2553">
                  <c:v>42656</c:v>
                </c:pt>
                <c:pt idx="2554">
                  <c:v>42657</c:v>
                </c:pt>
                <c:pt idx="2555">
                  <c:v>42660</c:v>
                </c:pt>
                <c:pt idx="2556">
                  <c:v>42661</c:v>
                </c:pt>
                <c:pt idx="2557">
                  <c:v>42662</c:v>
                </c:pt>
                <c:pt idx="2558">
                  <c:v>42663</c:v>
                </c:pt>
                <c:pt idx="2559">
                  <c:v>42664</c:v>
                </c:pt>
                <c:pt idx="2560">
                  <c:v>42667</c:v>
                </c:pt>
                <c:pt idx="2561">
                  <c:v>42668</c:v>
                </c:pt>
                <c:pt idx="2562">
                  <c:v>42669</c:v>
                </c:pt>
                <c:pt idx="2563">
                  <c:v>42670</c:v>
                </c:pt>
                <c:pt idx="2564">
                  <c:v>42671</c:v>
                </c:pt>
                <c:pt idx="2565">
                  <c:v>42674</c:v>
                </c:pt>
                <c:pt idx="2566">
                  <c:v>42675</c:v>
                </c:pt>
                <c:pt idx="2567">
                  <c:v>42676</c:v>
                </c:pt>
                <c:pt idx="2568">
                  <c:v>42677</c:v>
                </c:pt>
                <c:pt idx="2569">
                  <c:v>42678</c:v>
                </c:pt>
                <c:pt idx="2570">
                  <c:v>42681</c:v>
                </c:pt>
                <c:pt idx="2571">
                  <c:v>42682</c:v>
                </c:pt>
                <c:pt idx="2572">
                  <c:v>42683</c:v>
                </c:pt>
                <c:pt idx="2573">
                  <c:v>42684</c:v>
                </c:pt>
                <c:pt idx="2574">
                  <c:v>42685</c:v>
                </c:pt>
                <c:pt idx="2575">
                  <c:v>42688</c:v>
                </c:pt>
                <c:pt idx="2576">
                  <c:v>42689</c:v>
                </c:pt>
                <c:pt idx="2577">
                  <c:v>42690</c:v>
                </c:pt>
                <c:pt idx="2578">
                  <c:v>42691</c:v>
                </c:pt>
                <c:pt idx="2579">
                  <c:v>42692</c:v>
                </c:pt>
                <c:pt idx="2580">
                  <c:v>42695</c:v>
                </c:pt>
                <c:pt idx="2581">
                  <c:v>42696</c:v>
                </c:pt>
                <c:pt idx="2582">
                  <c:v>42697</c:v>
                </c:pt>
                <c:pt idx="2583">
                  <c:v>42698</c:v>
                </c:pt>
                <c:pt idx="2584">
                  <c:v>42699</c:v>
                </c:pt>
                <c:pt idx="2585">
                  <c:v>42702</c:v>
                </c:pt>
                <c:pt idx="2586">
                  <c:v>42703</c:v>
                </c:pt>
                <c:pt idx="2587">
                  <c:v>42704</c:v>
                </c:pt>
                <c:pt idx="2588">
                  <c:v>42705</c:v>
                </c:pt>
                <c:pt idx="2589">
                  <c:v>42706</c:v>
                </c:pt>
                <c:pt idx="2590">
                  <c:v>42709</c:v>
                </c:pt>
                <c:pt idx="2591">
                  <c:v>42710</c:v>
                </c:pt>
                <c:pt idx="2592">
                  <c:v>42711</c:v>
                </c:pt>
                <c:pt idx="2593">
                  <c:v>42712</c:v>
                </c:pt>
                <c:pt idx="2594">
                  <c:v>42713</c:v>
                </c:pt>
                <c:pt idx="2595">
                  <c:v>42716</c:v>
                </c:pt>
                <c:pt idx="2596">
                  <c:v>42717</c:v>
                </c:pt>
                <c:pt idx="2597">
                  <c:v>42718</c:v>
                </c:pt>
                <c:pt idx="2598">
                  <c:v>42719</c:v>
                </c:pt>
                <c:pt idx="2599">
                  <c:v>42720</c:v>
                </c:pt>
                <c:pt idx="2600">
                  <c:v>42723</c:v>
                </c:pt>
                <c:pt idx="2601">
                  <c:v>42724</c:v>
                </c:pt>
                <c:pt idx="2602">
                  <c:v>42725</c:v>
                </c:pt>
                <c:pt idx="2603">
                  <c:v>42726</c:v>
                </c:pt>
                <c:pt idx="2604">
                  <c:v>42727</c:v>
                </c:pt>
                <c:pt idx="2605">
                  <c:v>42730</c:v>
                </c:pt>
                <c:pt idx="2606">
                  <c:v>42731</c:v>
                </c:pt>
                <c:pt idx="2607">
                  <c:v>42732</c:v>
                </c:pt>
                <c:pt idx="2608">
                  <c:v>42733</c:v>
                </c:pt>
                <c:pt idx="2609">
                  <c:v>42734</c:v>
                </c:pt>
                <c:pt idx="2610">
                  <c:v>42737</c:v>
                </c:pt>
                <c:pt idx="2611">
                  <c:v>42738</c:v>
                </c:pt>
                <c:pt idx="2612">
                  <c:v>42739</c:v>
                </c:pt>
                <c:pt idx="2613">
                  <c:v>42740</c:v>
                </c:pt>
                <c:pt idx="2614">
                  <c:v>42741</c:v>
                </c:pt>
                <c:pt idx="2615">
                  <c:v>42744</c:v>
                </c:pt>
                <c:pt idx="2616">
                  <c:v>42745</c:v>
                </c:pt>
                <c:pt idx="2617">
                  <c:v>42746</c:v>
                </c:pt>
                <c:pt idx="2618">
                  <c:v>42747</c:v>
                </c:pt>
                <c:pt idx="2619">
                  <c:v>42748</c:v>
                </c:pt>
                <c:pt idx="2620">
                  <c:v>42751</c:v>
                </c:pt>
                <c:pt idx="2621">
                  <c:v>42752</c:v>
                </c:pt>
                <c:pt idx="2622">
                  <c:v>42753</c:v>
                </c:pt>
                <c:pt idx="2623">
                  <c:v>42754</c:v>
                </c:pt>
                <c:pt idx="2624">
                  <c:v>42755</c:v>
                </c:pt>
                <c:pt idx="2625">
                  <c:v>42758</c:v>
                </c:pt>
                <c:pt idx="2626">
                  <c:v>42759</c:v>
                </c:pt>
                <c:pt idx="2627">
                  <c:v>42760</c:v>
                </c:pt>
                <c:pt idx="2628">
                  <c:v>42761</c:v>
                </c:pt>
                <c:pt idx="2629">
                  <c:v>42762</c:v>
                </c:pt>
                <c:pt idx="2630">
                  <c:v>42765</c:v>
                </c:pt>
                <c:pt idx="2631">
                  <c:v>42766</c:v>
                </c:pt>
                <c:pt idx="2632">
                  <c:v>42767</c:v>
                </c:pt>
                <c:pt idx="2633">
                  <c:v>42768</c:v>
                </c:pt>
                <c:pt idx="2634">
                  <c:v>42769</c:v>
                </c:pt>
                <c:pt idx="2635">
                  <c:v>42772</c:v>
                </c:pt>
                <c:pt idx="2636">
                  <c:v>42773</c:v>
                </c:pt>
                <c:pt idx="2637">
                  <c:v>42774</c:v>
                </c:pt>
                <c:pt idx="2638">
                  <c:v>42775</c:v>
                </c:pt>
                <c:pt idx="2639">
                  <c:v>42776</c:v>
                </c:pt>
                <c:pt idx="2640">
                  <c:v>42779</c:v>
                </c:pt>
                <c:pt idx="2641">
                  <c:v>42780</c:v>
                </c:pt>
                <c:pt idx="2642">
                  <c:v>42781</c:v>
                </c:pt>
                <c:pt idx="2643">
                  <c:v>42782</c:v>
                </c:pt>
                <c:pt idx="2644">
                  <c:v>42783</c:v>
                </c:pt>
                <c:pt idx="2645">
                  <c:v>42786</c:v>
                </c:pt>
                <c:pt idx="2646">
                  <c:v>42787</c:v>
                </c:pt>
                <c:pt idx="2647">
                  <c:v>42788</c:v>
                </c:pt>
                <c:pt idx="2648">
                  <c:v>42789</c:v>
                </c:pt>
                <c:pt idx="2649">
                  <c:v>42790</c:v>
                </c:pt>
                <c:pt idx="2650">
                  <c:v>42793</c:v>
                </c:pt>
                <c:pt idx="2651">
                  <c:v>42794</c:v>
                </c:pt>
                <c:pt idx="2652">
                  <c:v>42795</c:v>
                </c:pt>
                <c:pt idx="2653">
                  <c:v>42796</c:v>
                </c:pt>
                <c:pt idx="2654">
                  <c:v>42797</c:v>
                </c:pt>
                <c:pt idx="2655">
                  <c:v>42800</c:v>
                </c:pt>
                <c:pt idx="2656">
                  <c:v>42801</c:v>
                </c:pt>
                <c:pt idx="2657">
                  <c:v>42802</c:v>
                </c:pt>
                <c:pt idx="2658">
                  <c:v>42803</c:v>
                </c:pt>
                <c:pt idx="2659">
                  <c:v>42804</c:v>
                </c:pt>
                <c:pt idx="2660">
                  <c:v>42807</c:v>
                </c:pt>
                <c:pt idx="2661">
                  <c:v>42808</c:v>
                </c:pt>
                <c:pt idx="2662">
                  <c:v>42809</c:v>
                </c:pt>
                <c:pt idx="2663">
                  <c:v>42810</c:v>
                </c:pt>
                <c:pt idx="2664">
                  <c:v>42811</c:v>
                </c:pt>
                <c:pt idx="2665">
                  <c:v>42814</c:v>
                </c:pt>
                <c:pt idx="2666">
                  <c:v>42815</c:v>
                </c:pt>
                <c:pt idx="2667">
                  <c:v>42816</c:v>
                </c:pt>
                <c:pt idx="2668">
                  <c:v>42817</c:v>
                </c:pt>
                <c:pt idx="2669">
                  <c:v>42818</c:v>
                </c:pt>
                <c:pt idx="2670">
                  <c:v>42821</c:v>
                </c:pt>
                <c:pt idx="2671">
                  <c:v>42822</c:v>
                </c:pt>
                <c:pt idx="2672">
                  <c:v>42823</c:v>
                </c:pt>
                <c:pt idx="2673">
                  <c:v>42824</c:v>
                </c:pt>
                <c:pt idx="2674">
                  <c:v>42825</c:v>
                </c:pt>
                <c:pt idx="2675">
                  <c:v>42828</c:v>
                </c:pt>
                <c:pt idx="2676">
                  <c:v>42829</c:v>
                </c:pt>
                <c:pt idx="2677">
                  <c:v>42830</c:v>
                </c:pt>
                <c:pt idx="2678">
                  <c:v>42831</c:v>
                </c:pt>
                <c:pt idx="2679">
                  <c:v>42832</c:v>
                </c:pt>
                <c:pt idx="2680">
                  <c:v>42835</c:v>
                </c:pt>
                <c:pt idx="2681">
                  <c:v>42836</c:v>
                </c:pt>
                <c:pt idx="2682">
                  <c:v>42837</c:v>
                </c:pt>
                <c:pt idx="2683">
                  <c:v>42838</c:v>
                </c:pt>
                <c:pt idx="2684">
                  <c:v>42839</c:v>
                </c:pt>
                <c:pt idx="2685">
                  <c:v>42842</c:v>
                </c:pt>
                <c:pt idx="2686">
                  <c:v>42843</c:v>
                </c:pt>
                <c:pt idx="2687">
                  <c:v>42844</c:v>
                </c:pt>
                <c:pt idx="2688">
                  <c:v>42845</c:v>
                </c:pt>
                <c:pt idx="2689">
                  <c:v>42846</c:v>
                </c:pt>
                <c:pt idx="2690">
                  <c:v>42849</c:v>
                </c:pt>
                <c:pt idx="2691">
                  <c:v>42850</c:v>
                </c:pt>
                <c:pt idx="2692">
                  <c:v>42851</c:v>
                </c:pt>
                <c:pt idx="2693">
                  <c:v>42852</c:v>
                </c:pt>
                <c:pt idx="2694">
                  <c:v>42853</c:v>
                </c:pt>
                <c:pt idx="2695">
                  <c:v>42856</c:v>
                </c:pt>
                <c:pt idx="2696">
                  <c:v>42857</c:v>
                </c:pt>
                <c:pt idx="2697">
                  <c:v>42858</c:v>
                </c:pt>
                <c:pt idx="2698">
                  <c:v>42859</c:v>
                </c:pt>
                <c:pt idx="2699">
                  <c:v>42860</c:v>
                </c:pt>
                <c:pt idx="2700">
                  <c:v>42863</c:v>
                </c:pt>
                <c:pt idx="2701">
                  <c:v>42864</c:v>
                </c:pt>
                <c:pt idx="2702">
                  <c:v>42865</c:v>
                </c:pt>
                <c:pt idx="2703">
                  <c:v>42866</c:v>
                </c:pt>
                <c:pt idx="2704">
                  <c:v>42867</c:v>
                </c:pt>
                <c:pt idx="2705">
                  <c:v>42870</c:v>
                </c:pt>
                <c:pt idx="2706">
                  <c:v>42871</c:v>
                </c:pt>
                <c:pt idx="2707">
                  <c:v>42872</c:v>
                </c:pt>
                <c:pt idx="2708">
                  <c:v>42873</c:v>
                </c:pt>
                <c:pt idx="2709">
                  <c:v>42874</c:v>
                </c:pt>
                <c:pt idx="2710">
                  <c:v>42877</c:v>
                </c:pt>
                <c:pt idx="2711">
                  <c:v>42878</c:v>
                </c:pt>
                <c:pt idx="2712">
                  <c:v>42879</c:v>
                </c:pt>
                <c:pt idx="2713">
                  <c:v>42880</c:v>
                </c:pt>
                <c:pt idx="2714">
                  <c:v>42881</c:v>
                </c:pt>
                <c:pt idx="2715">
                  <c:v>42884</c:v>
                </c:pt>
                <c:pt idx="2716">
                  <c:v>42885</c:v>
                </c:pt>
                <c:pt idx="2717">
                  <c:v>42886</c:v>
                </c:pt>
                <c:pt idx="2718">
                  <c:v>42887</c:v>
                </c:pt>
                <c:pt idx="2719">
                  <c:v>42888</c:v>
                </c:pt>
                <c:pt idx="2720">
                  <c:v>42891</c:v>
                </c:pt>
                <c:pt idx="2721">
                  <c:v>42892</c:v>
                </c:pt>
                <c:pt idx="2722">
                  <c:v>42893</c:v>
                </c:pt>
                <c:pt idx="2723">
                  <c:v>42894</c:v>
                </c:pt>
                <c:pt idx="2724">
                  <c:v>42895</c:v>
                </c:pt>
                <c:pt idx="2725">
                  <c:v>42898</c:v>
                </c:pt>
                <c:pt idx="2726">
                  <c:v>42899</c:v>
                </c:pt>
                <c:pt idx="2727">
                  <c:v>42900</c:v>
                </c:pt>
                <c:pt idx="2728">
                  <c:v>42901</c:v>
                </c:pt>
                <c:pt idx="2729">
                  <c:v>42902</c:v>
                </c:pt>
                <c:pt idx="2730">
                  <c:v>42905</c:v>
                </c:pt>
                <c:pt idx="2731">
                  <c:v>42906</c:v>
                </c:pt>
                <c:pt idx="2732">
                  <c:v>42907</c:v>
                </c:pt>
                <c:pt idx="2733">
                  <c:v>42908</c:v>
                </c:pt>
                <c:pt idx="2734">
                  <c:v>42909</c:v>
                </c:pt>
                <c:pt idx="2735">
                  <c:v>42912</c:v>
                </c:pt>
                <c:pt idx="2736">
                  <c:v>42913</c:v>
                </c:pt>
                <c:pt idx="2737">
                  <c:v>42914</c:v>
                </c:pt>
                <c:pt idx="2738">
                  <c:v>42915</c:v>
                </c:pt>
                <c:pt idx="2739">
                  <c:v>42916</c:v>
                </c:pt>
                <c:pt idx="2740">
                  <c:v>42919</c:v>
                </c:pt>
                <c:pt idx="2741">
                  <c:v>42920</c:v>
                </c:pt>
                <c:pt idx="2742">
                  <c:v>42921</c:v>
                </c:pt>
                <c:pt idx="2743">
                  <c:v>42922</c:v>
                </c:pt>
                <c:pt idx="2744">
                  <c:v>42923</c:v>
                </c:pt>
                <c:pt idx="2745">
                  <c:v>42926</c:v>
                </c:pt>
                <c:pt idx="2746">
                  <c:v>42927</c:v>
                </c:pt>
                <c:pt idx="2747">
                  <c:v>42928</c:v>
                </c:pt>
                <c:pt idx="2748">
                  <c:v>42929</c:v>
                </c:pt>
                <c:pt idx="2749">
                  <c:v>42930</c:v>
                </c:pt>
                <c:pt idx="2750">
                  <c:v>42933</c:v>
                </c:pt>
                <c:pt idx="2751">
                  <c:v>42934</c:v>
                </c:pt>
                <c:pt idx="2752">
                  <c:v>42935</c:v>
                </c:pt>
                <c:pt idx="2753">
                  <c:v>42936</c:v>
                </c:pt>
                <c:pt idx="2754">
                  <c:v>42937</c:v>
                </c:pt>
                <c:pt idx="2755">
                  <c:v>42940</c:v>
                </c:pt>
                <c:pt idx="2756">
                  <c:v>42941</c:v>
                </c:pt>
                <c:pt idx="2757">
                  <c:v>42942</c:v>
                </c:pt>
                <c:pt idx="2758">
                  <c:v>42943</c:v>
                </c:pt>
                <c:pt idx="2759">
                  <c:v>42944</c:v>
                </c:pt>
                <c:pt idx="2760">
                  <c:v>42947</c:v>
                </c:pt>
                <c:pt idx="2761">
                  <c:v>42948</c:v>
                </c:pt>
                <c:pt idx="2762">
                  <c:v>42949</c:v>
                </c:pt>
                <c:pt idx="2763">
                  <c:v>42950</c:v>
                </c:pt>
                <c:pt idx="2764">
                  <c:v>42951</c:v>
                </c:pt>
                <c:pt idx="2765">
                  <c:v>42954</c:v>
                </c:pt>
                <c:pt idx="2766">
                  <c:v>42955</c:v>
                </c:pt>
                <c:pt idx="2767">
                  <c:v>42956</c:v>
                </c:pt>
                <c:pt idx="2768">
                  <c:v>42957</c:v>
                </c:pt>
                <c:pt idx="2769">
                  <c:v>42958</c:v>
                </c:pt>
                <c:pt idx="2770">
                  <c:v>42961</c:v>
                </c:pt>
                <c:pt idx="2771">
                  <c:v>42962</c:v>
                </c:pt>
                <c:pt idx="2772">
                  <c:v>42963</c:v>
                </c:pt>
                <c:pt idx="2773">
                  <c:v>42964</c:v>
                </c:pt>
                <c:pt idx="2774">
                  <c:v>42965</c:v>
                </c:pt>
                <c:pt idx="2775">
                  <c:v>42968</c:v>
                </c:pt>
                <c:pt idx="2776">
                  <c:v>42969</c:v>
                </c:pt>
                <c:pt idx="2777">
                  <c:v>42970</c:v>
                </c:pt>
                <c:pt idx="2778">
                  <c:v>42971</c:v>
                </c:pt>
                <c:pt idx="2779">
                  <c:v>42972</c:v>
                </c:pt>
                <c:pt idx="2780">
                  <c:v>42975</c:v>
                </c:pt>
                <c:pt idx="2781">
                  <c:v>42976</c:v>
                </c:pt>
                <c:pt idx="2782">
                  <c:v>42977</c:v>
                </c:pt>
                <c:pt idx="2783">
                  <c:v>42978</c:v>
                </c:pt>
                <c:pt idx="2784">
                  <c:v>42979</c:v>
                </c:pt>
                <c:pt idx="2785">
                  <c:v>42982</c:v>
                </c:pt>
                <c:pt idx="2786">
                  <c:v>42983</c:v>
                </c:pt>
                <c:pt idx="2787">
                  <c:v>42984</c:v>
                </c:pt>
                <c:pt idx="2788">
                  <c:v>42985</c:v>
                </c:pt>
                <c:pt idx="2789">
                  <c:v>42986</c:v>
                </c:pt>
                <c:pt idx="2790">
                  <c:v>42989</c:v>
                </c:pt>
                <c:pt idx="2791">
                  <c:v>42990</c:v>
                </c:pt>
                <c:pt idx="2792">
                  <c:v>42991</c:v>
                </c:pt>
                <c:pt idx="2793">
                  <c:v>42992</c:v>
                </c:pt>
                <c:pt idx="2794">
                  <c:v>42993</c:v>
                </c:pt>
                <c:pt idx="2795">
                  <c:v>42996</c:v>
                </c:pt>
                <c:pt idx="2796">
                  <c:v>42997</c:v>
                </c:pt>
                <c:pt idx="2797">
                  <c:v>42998</c:v>
                </c:pt>
                <c:pt idx="2798">
                  <c:v>42999</c:v>
                </c:pt>
                <c:pt idx="2799">
                  <c:v>43000</c:v>
                </c:pt>
                <c:pt idx="2800">
                  <c:v>43003</c:v>
                </c:pt>
                <c:pt idx="2801">
                  <c:v>43004</c:v>
                </c:pt>
                <c:pt idx="2802">
                  <c:v>43005</c:v>
                </c:pt>
                <c:pt idx="2803">
                  <c:v>43006</c:v>
                </c:pt>
                <c:pt idx="2804">
                  <c:v>43007</c:v>
                </c:pt>
                <c:pt idx="2805">
                  <c:v>43010</c:v>
                </c:pt>
                <c:pt idx="2806">
                  <c:v>43011</c:v>
                </c:pt>
                <c:pt idx="2807">
                  <c:v>43012</c:v>
                </c:pt>
                <c:pt idx="2808">
                  <c:v>43013</c:v>
                </c:pt>
                <c:pt idx="2809">
                  <c:v>43014</c:v>
                </c:pt>
                <c:pt idx="2810">
                  <c:v>43017</c:v>
                </c:pt>
                <c:pt idx="2811">
                  <c:v>43018</c:v>
                </c:pt>
                <c:pt idx="2812">
                  <c:v>43019</c:v>
                </c:pt>
                <c:pt idx="2813">
                  <c:v>43020</c:v>
                </c:pt>
                <c:pt idx="2814">
                  <c:v>43021</c:v>
                </c:pt>
                <c:pt idx="2815">
                  <c:v>43024</c:v>
                </c:pt>
                <c:pt idx="2816">
                  <c:v>43025</c:v>
                </c:pt>
                <c:pt idx="2817">
                  <c:v>43026</c:v>
                </c:pt>
                <c:pt idx="2818">
                  <c:v>43027</c:v>
                </c:pt>
                <c:pt idx="2819">
                  <c:v>43028</c:v>
                </c:pt>
                <c:pt idx="2820">
                  <c:v>43031</c:v>
                </c:pt>
                <c:pt idx="2821">
                  <c:v>43032</c:v>
                </c:pt>
                <c:pt idx="2822">
                  <c:v>43033</c:v>
                </c:pt>
                <c:pt idx="2823">
                  <c:v>43034</c:v>
                </c:pt>
                <c:pt idx="2824">
                  <c:v>43035</c:v>
                </c:pt>
                <c:pt idx="2825">
                  <c:v>43038</c:v>
                </c:pt>
                <c:pt idx="2826">
                  <c:v>43039</c:v>
                </c:pt>
                <c:pt idx="2827">
                  <c:v>43040</c:v>
                </c:pt>
                <c:pt idx="2828">
                  <c:v>43041</c:v>
                </c:pt>
                <c:pt idx="2829">
                  <c:v>43042</c:v>
                </c:pt>
                <c:pt idx="2830">
                  <c:v>43045</c:v>
                </c:pt>
                <c:pt idx="2831">
                  <c:v>43046</c:v>
                </c:pt>
                <c:pt idx="2832">
                  <c:v>43047</c:v>
                </c:pt>
                <c:pt idx="2833">
                  <c:v>43048</c:v>
                </c:pt>
                <c:pt idx="2834">
                  <c:v>43049</c:v>
                </c:pt>
                <c:pt idx="2835">
                  <c:v>43052</c:v>
                </c:pt>
                <c:pt idx="2836">
                  <c:v>43053</c:v>
                </c:pt>
                <c:pt idx="2837">
                  <c:v>43054</c:v>
                </c:pt>
                <c:pt idx="2838">
                  <c:v>43055</c:v>
                </c:pt>
                <c:pt idx="2839">
                  <c:v>43056</c:v>
                </c:pt>
                <c:pt idx="2840">
                  <c:v>43059</c:v>
                </c:pt>
                <c:pt idx="2841">
                  <c:v>43060</c:v>
                </c:pt>
                <c:pt idx="2842">
                  <c:v>43061</c:v>
                </c:pt>
                <c:pt idx="2843">
                  <c:v>43062</c:v>
                </c:pt>
                <c:pt idx="2844">
                  <c:v>43063</c:v>
                </c:pt>
                <c:pt idx="2845">
                  <c:v>43066</c:v>
                </c:pt>
                <c:pt idx="2846">
                  <c:v>43067</c:v>
                </c:pt>
                <c:pt idx="2847">
                  <c:v>43068</c:v>
                </c:pt>
                <c:pt idx="2848">
                  <c:v>43069</c:v>
                </c:pt>
                <c:pt idx="2849">
                  <c:v>43070</c:v>
                </c:pt>
                <c:pt idx="2850">
                  <c:v>43073</c:v>
                </c:pt>
                <c:pt idx="2851">
                  <c:v>43074</c:v>
                </c:pt>
                <c:pt idx="2852">
                  <c:v>43075</c:v>
                </c:pt>
                <c:pt idx="2853">
                  <c:v>43076</c:v>
                </c:pt>
                <c:pt idx="2854">
                  <c:v>43077</c:v>
                </c:pt>
                <c:pt idx="2855">
                  <c:v>43080</c:v>
                </c:pt>
                <c:pt idx="2856">
                  <c:v>43081</c:v>
                </c:pt>
                <c:pt idx="2857">
                  <c:v>43082</c:v>
                </c:pt>
                <c:pt idx="2858">
                  <c:v>43083</c:v>
                </c:pt>
                <c:pt idx="2859">
                  <c:v>43084</c:v>
                </c:pt>
                <c:pt idx="2860">
                  <c:v>43087</c:v>
                </c:pt>
                <c:pt idx="2861">
                  <c:v>43088</c:v>
                </c:pt>
                <c:pt idx="2862">
                  <c:v>43089</c:v>
                </c:pt>
                <c:pt idx="2863">
                  <c:v>43090</c:v>
                </c:pt>
                <c:pt idx="2864">
                  <c:v>43091</c:v>
                </c:pt>
                <c:pt idx="2865">
                  <c:v>43094</c:v>
                </c:pt>
                <c:pt idx="2866">
                  <c:v>43095</c:v>
                </c:pt>
                <c:pt idx="2867">
                  <c:v>43096</c:v>
                </c:pt>
                <c:pt idx="2868">
                  <c:v>43097</c:v>
                </c:pt>
                <c:pt idx="2869">
                  <c:v>43098</c:v>
                </c:pt>
                <c:pt idx="2870">
                  <c:v>43101</c:v>
                </c:pt>
                <c:pt idx="2871">
                  <c:v>43102</c:v>
                </c:pt>
                <c:pt idx="2872">
                  <c:v>43103</c:v>
                </c:pt>
                <c:pt idx="2873">
                  <c:v>43104</c:v>
                </c:pt>
                <c:pt idx="2874">
                  <c:v>43105</c:v>
                </c:pt>
                <c:pt idx="2875">
                  <c:v>43108</c:v>
                </c:pt>
                <c:pt idx="2876">
                  <c:v>43109</c:v>
                </c:pt>
                <c:pt idx="2877">
                  <c:v>43110</c:v>
                </c:pt>
                <c:pt idx="2878">
                  <c:v>43111</c:v>
                </c:pt>
                <c:pt idx="2879">
                  <c:v>43112</c:v>
                </c:pt>
                <c:pt idx="2880">
                  <c:v>43115</c:v>
                </c:pt>
                <c:pt idx="2881">
                  <c:v>43116</c:v>
                </c:pt>
                <c:pt idx="2882">
                  <c:v>43117</c:v>
                </c:pt>
                <c:pt idx="2883">
                  <c:v>43118</c:v>
                </c:pt>
                <c:pt idx="2884">
                  <c:v>43119</c:v>
                </c:pt>
                <c:pt idx="2885">
                  <c:v>43122</c:v>
                </c:pt>
                <c:pt idx="2886">
                  <c:v>43123</c:v>
                </c:pt>
                <c:pt idx="2887">
                  <c:v>43124</c:v>
                </c:pt>
                <c:pt idx="2888">
                  <c:v>43125</c:v>
                </c:pt>
                <c:pt idx="2889">
                  <c:v>43126</c:v>
                </c:pt>
                <c:pt idx="2890">
                  <c:v>43129</c:v>
                </c:pt>
                <c:pt idx="2891">
                  <c:v>43130</c:v>
                </c:pt>
                <c:pt idx="2892">
                  <c:v>43131</c:v>
                </c:pt>
                <c:pt idx="2893">
                  <c:v>43132</c:v>
                </c:pt>
                <c:pt idx="2894">
                  <c:v>43133</c:v>
                </c:pt>
                <c:pt idx="2895">
                  <c:v>43136</c:v>
                </c:pt>
                <c:pt idx="2896">
                  <c:v>43137</c:v>
                </c:pt>
                <c:pt idx="2897">
                  <c:v>43138</c:v>
                </c:pt>
                <c:pt idx="2898">
                  <c:v>43139</c:v>
                </c:pt>
                <c:pt idx="2899">
                  <c:v>43140</c:v>
                </c:pt>
                <c:pt idx="2900">
                  <c:v>43143</c:v>
                </c:pt>
                <c:pt idx="2901">
                  <c:v>43144</c:v>
                </c:pt>
                <c:pt idx="2902">
                  <c:v>43145</c:v>
                </c:pt>
                <c:pt idx="2903">
                  <c:v>43146</c:v>
                </c:pt>
                <c:pt idx="2904">
                  <c:v>43147</c:v>
                </c:pt>
                <c:pt idx="2905">
                  <c:v>43150</c:v>
                </c:pt>
                <c:pt idx="2906">
                  <c:v>43151</c:v>
                </c:pt>
                <c:pt idx="2907">
                  <c:v>43152</c:v>
                </c:pt>
                <c:pt idx="2908">
                  <c:v>43153</c:v>
                </c:pt>
                <c:pt idx="2909">
                  <c:v>43154</c:v>
                </c:pt>
                <c:pt idx="2910">
                  <c:v>43157</c:v>
                </c:pt>
                <c:pt idx="2911">
                  <c:v>43158</c:v>
                </c:pt>
                <c:pt idx="2912">
                  <c:v>43159</c:v>
                </c:pt>
                <c:pt idx="2913">
                  <c:v>43160</c:v>
                </c:pt>
                <c:pt idx="2914">
                  <c:v>43161</c:v>
                </c:pt>
                <c:pt idx="2915">
                  <c:v>43164</c:v>
                </c:pt>
                <c:pt idx="2916">
                  <c:v>43165</c:v>
                </c:pt>
                <c:pt idx="2917">
                  <c:v>43166</c:v>
                </c:pt>
                <c:pt idx="2918">
                  <c:v>43167</c:v>
                </c:pt>
                <c:pt idx="2919">
                  <c:v>43168</c:v>
                </c:pt>
                <c:pt idx="2920">
                  <c:v>43171</c:v>
                </c:pt>
                <c:pt idx="2921">
                  <c:v>43172</c:v>
                </c:pt>
                <c:pt idx="2922">
                  <c:v>43173</c:v>
                </c:pt>
                <c:pt idx="2923">
                  <c:v>43174</c:v>
                </c:pt>
                <c:pt idx="2924">
                  <c:v>43175</c:v>
                </c:pt>
                <c:pt idx="2925">
                  <c:v>43178</c:v>
                </c:pt>
                <c:pt idx="2926">
                  <c:v>43179</c:v>
                </c:pt>
                <c:pt idx="2927">
                  <c:v>43180</c:v>
                </c:pt>
                <c:pt idx="2928">
                  <c:v>43181</c:v>
                </c:pt>
                <c:pt idx="2929">
                  <c:v>43182</c:v>
                </c:pt>
                <c:pt idx="2930">
                  <c:v>43185</c:v>
                </c:pt>
                <c:pt idx="2931">
                  <c:v>43186</c:v>
                </c:pt>
                <c:pt idx="2932">
                  <c:v>43187</c:v>
                </c:pt>
                <c:pt idx="2933">
                  <c:v>43188</c:v>
                </c:pt>
                <c:pt idx="2934">
                  <c:v>43189</c:v>
                </c:pt>
                <c:pt idx="2935">
                  <c:v>43192</c:v>
                </c:pt>
                <c:pt idx="2936">
                  <c:v>43193</c:v>
                </c:pt>
                <c:pt idx="2937">
                  <c:v>43194</c:v>
                </c:pt>
                <c:pt idx="2938">
                  <c:v>43195</c:v>
                </c:pt>
                <c:pt idx="2939">
                  <c:v>43196</c:v>
                </c:pt>
                <c:pt idx="2940">
                  <c:v>43199</c:v>
                </c:pt>
                <c:pt idx="2941">
                  <c:v>43200</c:v>
                </c:pt>
                <c:pt idx="2942">
                  <c:v>43201</c:v>
                </c:pt>
                <c:pt idx="2943">
                  <c:v>43202</c:v>
                </c:pt>
                <c:pt idx="2944">
                  <c:v>43203</c:v>
                </c:pt>
                <c:pt idx="2945">
                  <c:v>43206</c:v>
                </c:pt>
                <c:pt idx="2946">
                  <c:v>43207</c:v>
                </c:pt>
                <c:pt idx="2947">
                  <c:v>43208</c:v>
                </c:pt>
                <c:pt idx="2948">
                  <c:v>43209</c:v>
                </c:pt>
                <c:pt idx="2949">
                  <c:v>43210</c:v>
                </c:pt>
                <c:pt idx="2950">
                  <c:v>43213</c:v>
                </c:pt>
                <c:pt idx="2951">
                  <c:v>43214</c:v>
                </c:pt>
                <c:pt idx="2952">
                  <c:v>43215</c:v>
                </c:pt>
                <c:pt idx="2953">
                  <c:v>43216</c:v>
                </c:pt>
                <c:pt idx="2954">
                  <c:v>43217</c:v>
                </c:pt>
                <c:pt idx="2955">
                  <c:v>43220</c:v>
                </c:pt>
                <c:pt idx="2956">
                  <c:v>43221</c:v>
                </c:pt>
                <c:pt idx="2957">
                  <c:v>43222</c:v>
                </c:pt>
                <c:pt idx="2958">
                  <c:v>43223</c:v>
                </c:pt>
                <c:pt idx="2959">
                  <c:v>43224</c:v>
                </c:pt>
                <c:pt idx="2960">
                  <c:v>43227</c:v>
                </c:pt>
                <c:pt idx="2961">
                  <c:v>43228</c:v>
                </c:pt>
                <c:pt idx="2962">
                  <c:v>43229</c:v>
                </c:pt>
                <c:pt idx="2963">
                  <c:v>43230</c:v>
                </c:pt>
                <c:pt idx="2964">
                  <c:v>43231</c:v>
                </c:pt>
                <c:pt idx="2965">
                  <c:v>43234</c:v>
                </c:pt>
                <c:pt idx="2966">
                  <c:v>43235</c:v>
                </c:pt>
                <c:pt idx="2967">
                  <c:v>43236</c:v>
                </c:pt>
                <c:pt idx="2968">
                  <c:v>43237</c:v>
                </c:pt>
                <c:pt idx="2969">
                  <c:v>43238</c:v>
                </c:pt>
                <c:pt idx="2970">
                  <c:v>43241</c:v>
                </c:pt>
                <c:pt idx="2971">
                  <c:v>43242</c:v>
                </c:pt>
                <c:pt idx="2972">
                  <c:v>43243</c:v>
                </c:pt>
                <c:pt idx="2973">
                  <c:v>43244</c:v>
                </c:pt>
                <c:pt idx="2974">
                  <c:v>43245</c:v>
                </c:pt>
                <c:pt idx="2975">
                  <c:v>43248</c:v>
                </c:pt>
                <c:pt idx="2976">
                  <c:v>43249</c:v>
                </c:pt>
                <c:pt idx="2977">
                  <c:v>43250</c:v>
                </c:pt>
                <c:pt idx="2978">
                  <c:v>43251</c:v>
                </c:pt>
                <c:pt idx="2979">
                  <c:v>43252</c:v>
                </c:pt>
                <c:pt idx="2980">
                  <c:v>43255</c:v>
                </c:pt>
                <c:pt idx="2981">
                  <c:v>43256</c:v>
                </c:pt>
                <c:pt idx="2982">
                  <c:v>43257</c:v>
                </c:pt>
                <c:pt idx="2983">
                  <c:v>43258</c:v>
                </c:pt>
                <c:pt idx="2984">
                  <c:v>43259</c:v>
                </c:pt>
                <c:pt idx="2985">
                  <c:v>43262</c:v>
                </c:pt>
                <c:pt idx="2986">
                  <c:v>43263</c:v>
                </c:pt>
                <c:pt idx="2987">
                  <c:v>43264</c:v>
                </c:pt>
                <c:pt idx="2988">
                  <c:v>43265</c:v>
                </c:pt>
                <c:pt idx="2989">
                  <c:v>43266</c:v>
                </c:pt>
                <c:pt idx="2990">
                  <c:v>43269</c:v>
                </c:pt>
                <c:pt idx="2991">
                  <c:v>43270</c:v>
                </c:pt>
                <c:pt idx="2992">
                  <c:v>43271</c:v>
                </c:pt>
                <c:pt idx="2993">
                  <c:v>43272</c:v>
                </c:pt>
                <c:pt idx="2994">
                  <c:v>43273</c:v>
                </c:pt>
                <c:pt idx="2995">
                  <c:v>43276</c:v>
                </c:pt>
                <c:pt idx="2996">
                  <c:v>43277</c:v>
                </c:pt>
                <c:pt idx="2997">
                  <c:v>43278</c:v>
                </c:pt>
                <c:pt idx="2998">
                  <c:v>43279</c:v>
                </c:pt>
                <c:pt idx="2999">
                  <c:v>43280</c:v>
                </c:pt>
                <c:pt idx="3000">
                  <c:v>43283</c:v>
                </c:pt>
                <c:pt idx="3001">
                  <c:v>43284</c:v>
                </c:pt>
                <c:pt idx="3002">
                  <c:v>43285</c:v>
                </c:pt>
                <c:pt idx="3003">
                  <c:v>43286</c:v>
                </c:pt>
                <c:pt idx="3004">
                  <c:v>43287</c:v>
                </c:pt>
                <c:pt idx="3005">
                  <c:v>43290</c:v>
                </c:pt>
                <c:pt idx="3006">
                  <c:v>43291</c:v>
                </c:pt>
                <c:pt idx="3007">
                  <c:v>43292</c:v>
                </c:pt>
                <c:pt idx="3008">
                  <c:v>43293</c:v>
                </c:pt>
                <c:pt idx="3009">
                  <c:v>43294</c:v>
                </c:pt>
                <c:pt idx="3010">
                  <c:v>43297</c:v>
                </c:pt>
                <c:pt idx="3011">
                  <c:v>43298</c:v>
                </c:pt>
                <c:pt idx="3012">
                  <c:v>43299</c:v>
                </c:pt>
                <c:pt idx="3013">
                  <c:v>43300</c:v>
                </c:pt>
                <c:pt idx="3014">
                  <c:v>43301</c:v>
                </c:pt>
                <c:pt idx="3015">
                  <c:v>43304</c:v>
                </c:pt>
                <c:pt idx="3016">
                  <c:v>43305</c:v>
                </c:pt>
                <c:pt idx="3017">
                  <c:v>43306</c:v>
                </c:pt>
                <c:pt idx="3018">
                  <c:v>43307</c:v>
                </c:pt>
                <c:pt idx="3019">
                  <c:v>43308</c:v>
                </c:pt>
                <c:pt idx="3020">
                  <c:v>43311</c:v>
                </c:pt>
                <c:pt idx="3021">
                  <c:v>43312</c:v>
                </c:pt>
                <c:pt idx="3022">
                  <c:v>43313</c:v>
                </c:pt>
                <c:pt idx="3023">
                  <c:v>43314</c:v>
                </c:pt>
                <c:pt idx="3024">
                  <c:v>43315</c:v>
                </c:pt>
                <c:pt idx="3025">
                  <c:v>43318</c:v>
                </c:pt>
                <c:pt idx="3026">
                  <c:v>43319</c:v>
                </c:pt>
                <c:pt idx="3027">
                  <c:v>43320</c:v>
                </c:pt>
                <c:pt idx="3028">
                  <c:v>43321</c:v>
                </c:pt>
                <c:pt idx="3029">
                  <c:v>43322</c:v>
                </c:pt>
                <c:pt idx="3030">
                  <c:v>43325</c:v>
                </c:pt>
                <c:pt idx="3031">
                  <c:v>43326</c:v>
                </c:pt>
                <c:pt idx="3032">
                  <c:v>43327</c:v>
                </c:pt>
                <c:pt idx="3033">
                  <c:v>43328</c:v>
                </c:pt>
                <c:pt idx="3034">
                  <c:v>43329</c:v>
                </c:pt>
                <c:pt idx="3035">
                  <c:v>43332</c:v>
                </c:pt>
                <c:pt idx="3036">
                  <c:v>43333</c:v>
                </c:pt>
                <c:pt idx="3037">
                  <c:v>43334</c:v>
                </c:pt>
                <c:pt idx="3038">
                  <c:v>43335</c:v>
                </c:pt>
                <c:pt idx="3039">
                  <c:v>43336</c:v>
                </c:pt>
                <c:pt idx="3040">
                  <c:v>43339</c:v>
                </c:pt>
                <c:pt idx="3041">
                  <c:v>43340</c:v>
                </c:pt>
                <c:pt idx="3042">
                  <c:v>43341</c:v>
                </c:pt>
                <c:pt idx="3043">
                  <c:v>43342</c:v>
                </c:pt>
                <c:pt idx="3044">
                  <c:v>43343</c:v>
                </c:pt>
                <c:pt idx="3045">
                  <c:v>43346</c:v>
                </c:pt>
                <c:pt idx="3046">
                  <c:v>43347</c:v>
                </c:pt>
                <c:pt idx="3047">
                  <c:v>43348</c:v>
                </c:pt>
                <c:pt idx="3048">
                  <c:v>43349</c:v>
                </c:pt>
                <c:pt idx="3049">
                  <c:v>43350</c:v>
                </c:pt>
                <c:pt idx="3050">
                  <c:v>43353</c:v>
                </c:pt>
                <c:pt idx="3051">
                  <c:v>43354</c:v>
                </c:pt>
                <c:pt idx="3052">
                  <c:v>43355</c:v>
                </c:pt>
                <c:pt idx="3053">
                  <c:v>43356</c:v>
                </c:pt>
                <c:pt idx="3054">
                  <c:v>43357</c:v>
                </c:pt>
                <c:pt idx="3055">
                  <c:v>43360</c:v>
                </c:pt>
                <c:pt idx="3056">
                  <c:v>43361</c:v>
                </c:pt>
                <c:pt idx="3057">
                  <c:v>43362</c:v>
                </c:pt>
                <c:pt idx="3058">
                  <c:v>43363</c:v>
                </c:pt>
                <c:pt idx="3059">
                  <c:v>43364</c:v>
                </c:pt>
                <c:pt idx="3060">
                  <c:v>43367</c:v>
                </c:pt>
                <c:pt idx="3061">
                  <c:v>43368</c:v>
                </c:pt>
                <c:pt idx="3062">
                  <c:v>43369</c:v>
                </c:pt>
                <c:pt idx="3063">
                  <c:v>43370</c:v>
                </c:pt>
                <c:pt idx="3064">
                  <c:v>43371</c:v>
                </c:pt>
                <c:pt idx="3065">
                  <c:v>43374</c:v>
                </c:pt>
                <c:pt idx="3066">
                  <c:v>43375</c:v>
                </c:pt>
                <c:pt idx="3067">
                  <c:v>43376</c:v>
                </c:pt>
                <c:pt idx="3068">
                  <c:v>43377</c:v>
                </c:pt>
                <c:pt idx="3069">
                  <c:v>43378</c:v>
                </c:pt>
                <c:pt idx="3070">
                  <c:v>43381</c:v>
                </c:pt>
                <c:pt idx="3071">
                  <c:v>43382</c:v>
                </c:pt>
                <c:pt idx="3072">
                  <c:v>43383</c:v>
                </c:pt>
                <c:pt idx="3073">
                  <c:v>43384</c:v>
                </c:pt>
                <c:pt idx="3074">
                  <c:v>43385</c:v>
                </c:pt>
                <c:pt idx="3075">
                  <c:v>43388</c:v>
                </c:pt>
                <c:pt idx="3076">
                  <c:v>43389</c:v>
                </c:pt>
                <c:pt idx="3077">
                  <c:v>43390</c:v>
                </c:pt>
                <c:pt idx="3078">
                  <c:v>43391</c:v>
                </c:pt>
                <c:pt idx="3079">
                  <c:v>43392</c:v>
                </c:pt>
                <c:pt idx="3080">
                  <c:v>43395</c:v>
                </c:pt>
                <c:pt idx="3081">
                  <c:v>43396</c:v>
                </c:pt>
                <c:pt idx="3082">
                  <c:v>43397</c:v>
                </c:pt>
                <c:pt idx="3083">
                  <c:v>43398</c:v>
                </c:pt>
                <c:pt idx="3084">
                  <c:v>43399</c:v>
                </c:pt>
                <c:pt idx="3085">
                  <c:v>43402</c:v>
                </c:pt>
                <c:pt idx="3086">
                  <c:v>43403</c:v>
                </c:pt>
                <c:pt idx="3087">
                  <c:v>43404</c:v>
                </c:pt>
                <c:pt idx="3088">
                  <c:v>43405</c:v>
                </c:pt>
                <c:pt idx="3089">
                  <c:v>43406</c:v>
                </c:pt>
                <c:pt idx="3090">
                  <c:v>43409</c:v>
                </c:pt>
                <c:pt idx="3091">
                  <c:v>43410</c:v>
                </c:pt>
                <c:pt idx="3092">
                  <c:v>43411</c:v>
                </c:pt>
                <c:pt idx="3093">
                  <c:v>43412</c:v>
                </c:pt>
                <c:pt idx="3094">
                  <c:v>43413</c:v>
                </c:pt>
                <c:pt idx="3095">
                  <c:v>43416</c:v>
                </c:pt>
                <c:pt idx="3096">
                  <c:v>43417</c:v>
                </c:pt>
                <c:pt idx="3097">
                  <c:v>43418</c:v>
                </c:pt>
                <c:pt idx="3098">
                  <c:v>43419</c:v>
                </c:pt>
                <c:pt idx="3099">
                  <c:v>43420</c:v>
                </c:pt>
                <c:pt idx="3100">
                  <c:v>43423</c:v>
                </c:pt>
                <c:pt idx="3101">
                  <c:v>43424</c:v>
                </c:pt>
                <c:pt idx="3102">
                  <c:v>43425</c:v>
                </c:pt>
                <c:pt idx="3103">
                  <c:v>43426</c:v>
                </c:pt>
                <c:pt idx="3104">
                  <c:v>43427</c:v>
                </c:pt>
                <c:pt idx="3105">
                  <c:v>43430</c:v>
                </c:pt>
                <c:pt idx="3106">
                  <c:v>43431</c:v>
                </c:pt>
                <c:pt idx="3107">
                  <c:v>43432</c:v>
                </c:pt>
                <c:pt idx="3108">
                  <c:v>43433</c:v>
                </c:pt>
                <c:pt idx="3109">
                  <c:v>43434</c:v>
                </c:pt>
                <c:pt idx="3110">
                  <c:v>43437</c:v>
                </c:pt>
                <c:pt idx="3111">
                  <c:v>43438</c:v>
                </c:pt>
                <c:pt idx="3112">
                  <c:v>43439</c:v>
                </c:pt>
                <c:pt idx="3113">
                  <c:v>43440</c:v>
                </c:pt>
                <c:pt idx="3114">
                  <c:v>43441</c:v>
                </c:pt>
                <c:pt idx="3115">
                  <c:v>43444</c:v>
                </c:pt>
                <c:pt idx="3116">
                  <c:v>43445</c:v>
                </c:pt>
                <c:pt idx="3117">
                  <c:v>43446</c:v>
                </c:pt>
                <c:pt idx="3118">
                  <c:v>43447</c:v>
                </c:pt>
                <c:pt idx="3119">
                  <c:v>43448</c:v>
                </c:pt>
                <c:pt idx="3120">
                  <c:v>43451</c:v>
                </c:pt>
                <c:pt idx="3121">
                  <c:v>43452</c:v>
                </c:pt>
                <c:pt idx="3122">
                  <c:v>43453</c:v>
                </c:pt>
                <c:pt idx="3123">
                  <c:v>43454</c:v>
                </c:pt>
                <c:pt idx="3124">
                  <c:v>43455</c:v>
                </c:pt>
                <c:pt idx="3125">
                  <c:v>43458</c:v>
                </c:pt>
                <c:pt idx="3126">
                  <c:v>43459</c:v>
                </c:pt>
                <c:pt idx="3127">
                  <c:v>43460</c:v>
                </c:pt>
                <c:pt idx="3128">
                  <c:v>43461</c:v>
                </c:pt>
                <c:pt idx="3129">
                  <c:v>43462</c:v>
                </c:pt>
                <c:pt idx="3130">
                  <c:v>43465</c:v>
                </c:pt>
                <c:pt idx="3131">
                  <c:v>43466</c:v>
                </c:pt>
                <c:pt idx="3132">
                  <c:v>43467</c:v>
                </c:pt>
                <c:pt idx="3133">
                  <c:v>43468</c:v>
                </c:pt>
                <c:pt idx="3134">
                  <c:v>43469</c:v>
                </c:pt>
                <c:pt idx="3135">
                  <c:v>43472</c:v>
                </c:pt>
                <c:pt idx="3136">
                  <c:v>43473</c:v>
                </c:pt>
                <c:pt idx="3137">
                  <c:v>43474</c:v>
                </c:pt>
                <c:pt idx="3138">
                  <c:v>43475</c:v>
                </c:pt>
                <c:pt idx="3139">
                  <c:v>43476</c:v>
                </c:pt>
                <c:pt idx="3140">
                  <c:v>43479</c:v>
                </c:pt>
                <c:pt idx="3141">
                  <c:v>43480</c:v>
                </c:pt>
                <c:pt idx="3142">
                  <c:v>43481</c:v>
                </c:pt>
                <c:pt idx="3143">
                  <c:v>43482</c:v>
                </c:pt>
                <c:pt idx="3144">
                  <c:v>43483</c:v>
                </c:pt>
                <c:pt idx="3145">
                  <c:v>43486</c:v>
                </c:pt>
                <c:pt idx="3146">
                  <c:v>43487</c:v>
                </c:pt>
                <c:pt idx="3147">
                  <c:v>43488</c:v>
                </c:pt>
                <c:pt idx="3148">
                  <c:v>43489</c:v>
                </c:pt>
                <c:pt idx="3149">
                  <c:v>43490</c:v>
                </c:pt>
                <c:pt idx="3150">
                  <c:v>43493</c:v>
                </c:pt>
                <c:pt idx="3151">
                  <c:v>43494</c:v>
                </c:pt>
                <c:pt idx="3152">
                  <c:v>43495</c:v>
                </c:pt>
                <c:pt idx="3153">
                  <c:v>43496</c:v>
                </c:pt>
                <c:pt idx="3154">
                  <c:v>43497</c:v>
                </c:pt>
                <c:pt idx="3155">
                  <c:v>43500</c:v>
                </c:pt>
                <c:pt idx="3156">
                  <c:v>43501</c:v>
                </c:pt>
                <c:pt idx="3157">
                  <c:v>43502</c:v>
                </c:pt>
                <c:pt idx="3158">
                  <c:v>43503</c:v>
                </c:pt>
                <c:pt idx="3159">
                  <c:v>43504</c:v>
                </c:pt>
                <c:pt idx="3160">
                  <c:v>43507</c:v>
                </c:pt>
                <c:pt idx="3161">
                  <c:v>43508</c:v>
                </c:pt>
                <c:pt idx="3162">
                  <c:v>43509</c:v>
                </c:pt>
                <c:pt idx="3163">
                  <c:v>43510</c:v>
                </c:pt>
                <c:pt idx="3164">
                  <c:v>43511</c:v>
                </c:pt>
                <c:pt idx="3165">
                  <c:v>43514</c:v>
                </c:pt>
                <c:pt idx="3166">
                  <c:v>43515</c:v>
                </c:pt>
                <c:pt idx="3167">
                  <c:v>43516</c:v>
                </c:pt>
                <c:pt idx="3168">
                  <c:v>43517</c:v>
                </c:pt>
                <c:pt idx="3169">
                  <c:v>43518</c:v>
                </c:pt>
                <c:pt idx="3170">
                  <c:v>43521</c:v>
                </c:pt>
                <c:pt idx="3171">
                  <c:v>43522</c:v>
                </c:pt>
                <c:pt idx="3172">
                  <c:v>43523</c:v>
                </c:pt>
                <c:pt idx="3173">
                  <c:v>43524</c:v>
                </c:pt>
                <c:pt idx="3174">
                  <c:v>43525</c:v>
                </c:pt>
                <c:pt idx="3175">
                  <c:v>43528</c:v>
                </c:pt>
                <c:pt idx="3176">
                  <c:v>43529</c:v>
                </c:pt>
                <c:pt idx="3177">
                  <c:v>43530</c:v>
                </c:pt>
                <c:pt idx="3178">
                  <c:v>43531</c:v>
                </c:pt>
                <c:pt idx="3179">
                  <c:v>43532</c:v>
                </c:pt>
                <c:pt idx="3180">
                  <c:v>43535</c:v>
                </c:pt>
                <c:pt idx="3181">
                  <c:v>43536</c:v>
                </c:pt>
                <c:pt idx="3182">
                  <c:v>43537</c:v>
                </c:pt>
                <c:pt idx="3183">
                  <c:v>43538</c:v>
                </c:pt>
                <c:pt idx="3184">
                  <c:v>43539</c:v>
                </c:pt>
                <c:pt idx="3185">
                  <c:v>43542</c:v>
                </c:pt>
                <c:pt idx="3186">
                  <c:v>43543</c:v>
                </c:pt>
                <c:pt idx="3187">
                  <c:v>43544</c:v>
                </c:pt>
                <c:pt idx="3188">
                  <c:v>43545</c:v>
                </c:pt>
                <c:pt idx="3189">
                  <c:v>43546</c:v>
                </c:pt>
                <c:pt idx="3190">
                  <c:v>43549</c:v>
                </c:pt>
                <c:pt idx="3191">
                  <c:v>43550</c:v>
                </c:pt>
                <c:pt idx="3192">
                  <c:v>43551</c:v>
                </c:pt>
                <c:pt idx="3193">
                  <c:v>43552</c:v>
                </c:pt>
                <c:pt idx="3194">
                  <c:v>43553</c:v>
                </c:pt>
                <c:pt idx="3195">
                  <c:v>43556</c:v>
                </c:pt>
                <c:pt idx="3196">
                  <c:v>43557</c:v>
                </c:pt>
                <c:pt idx="3197">
                  <c:v>43558</c:v>
                </c:pt>
                <c:pt idx="3198">
                  <c:v>43559</c:v>
                </c:pt>
                <c:pt idx="3199">
                  <c:v>43560</c:v>
                </c:pt>
                <c:pt idx="3200">
                  <c:v>43563</c:v>
                </c:pt>
                <c:pt idx="3201">
                  <c:v>43564</c:v>
                </c:pt>
                <c:pt idx="3202">
                  <c:v>43565</c:v>
                </c:pt>
                <c:pt idx="3203">
                  <c:v>43566</c:v>
                </c:pt>
                <c:pt idx="3204">
                  <c:v>43567</c:v>
                </c:pt>
                <c:pt idx="3205">
                  <c:v>43570</c:v>
                </c:pt>
                <c:pt idx="3206">
                  <c:v>43571</c:v>
                </c:pt>
                <c:pt idx="3207">
                  <c:v>43572</c:v>
                </c:pt>
                <c:pt idx="3208">
                  <c:v>43573</c:v>
                </c:pt>
                <c:pt idx="3209">
                  <c:v>43574</c:v>
                </c:pt>
                <c:pt idx="3210">
                  <c:v>43577</c:v>
                </c:pt>
                <c:pt idx="3211">
                  <c:v>43578</c:v>
                </c:pt>
                <c:pt idx="3212">
                  <c:v>43579</c:v>
                </c:pt>
                <c:pt idx="3213">
                  <c:v>43580</c:v>
                </c:pt>
                <c:pt idx="3214">
                  <c:v>43581</c:v>
                </c:pt>
                <c:pt idx="3215">
                  <c:v>43584</c:v>
                </c:pt>
                <c:pt idx="3216">
                  <c:v>43585</c:v>
                </c:pt>
                <c:pt idx="3217">
                  <c:v>43586</c:v>
                </c:pt>
                <c:pt idx="3218">
                  <c:v>43587</c:v>
                </c:pt>
                <c:pt idx="3219">
                  <c:v>43588</c:v>
                </c:pt>
                <c:pt idx="3220">
                  <c:v>43591</c:v>
                </c:pt>
                <c:pt idx="3221">
                  <c:v>43592</c:v>
                </c:pt>
                <c:pt idx="3222">
                  <c:v>43593</c:v>
                </c:pt>
                <c:pt idx="3223">
                  <c:v>43594</c:v>
                </c:pt>
                <c:pt idx="3224">
                  <c:v>43595</c:v>
                </c:pt>
                <c:pt idx="3225">
                  <c:v>43598</c:v>
                </c:pt>
                <c:pt idx="3226">
                  <c:v>43599</c:v>
                </c:pt>
                <c:pt idx="3227">
                  <c:v>43600</c:v>
                </c:pt>
                <c:pt idx="3228">
                  <c:v>43601</c:v>
                </c:pt>
                <c:pt idx="3229">
                  <c:v>43602</c:v>
                </c:pt>
                <c:pt idx="3230">
                  <c:v>43605</c:v>
                </c:pt>
                <c:pt idx="3231">
                  <c:v>43606</c:v>
                </c:pt>
                <c:pt idx="3232">
                  <c:v>43607</c:v>
                </c:pt>
                <c:pt idx="3233">
                  <c:v>43608</c:v>
                </c:pt>
                <c:pt idx="3234">
                  <c:v>43609</c:v>
                </c:pt>
                <c:pt idx="3235">
                  <c:v>43612</c:v>
                </c:pt>
                <c:pt idx="3236">
                  <c:v>43613</c:v>
                </c:pt>
                <c:pt idx="3237">
                  <c:v>43614</c:v>
                </c:pt>
                <c:pt idx="3238">
                  <c:v>43615</c:v>
                </c:pt>
                <c:pt idx="3239">
                  <c:v>43616</c:v>
                </c:pt>
                <c:pt idx="3240">
                  <c:v>43619</c:v>
                </c:pt>
                <c:pt idx="3241">
                  <c:v>43620</c:v>
                </c:pt>
                <c:pt idx="3242">
                  <c:v>43621</c:v>
                </c:pt>
                <c:pt idx="3243">
                  <c:v>43622</c:v>
                </c:pt>
                <c:pt idx="3244">
                  <c:v>43623</c:v>
                </c:pt>
                <c:pt idx="3245">
                  <c:v>43626</c:v>
                </c:pt>
                <c:pt idx="3246">
                  <c:v>43627</c:v>
                </c:pt>
                <c:pt idx="3247">
                  <c:v>43628</c:v>
                </c:pt>
                <c:pt idx="3248">
                  <c:v>43629</c:v>
                </c:pt>
                <c:pt idx="3249">
                  <c:v>43630</c:v>
                </c:pt>
                <c:pt idx="3250">
                  <c:v>43633</c:v>
                </c:pt>
                <c:pt idx="3251">
                  <c:v>43634</c:v>
                </c:pt>
                <c:pt idx="3252">
                  <c:v>43635</c:v>
                </c:pt>
                <c:pt idx="3253">
                  <c:v>43636</c:v>
                </c:pt>
                <c:pt idx="3254">
                  <c:v>43637</c:v>
                </c:pt>
                <c:pt idx="3255">
                  <c:v>43640</c:v>
                </c:pt>
                <c:pt idx="3256">
                  <c:v>43641</c:v>
                </c:pt>
                <c:pt idx="3257">
                  <c:v>43642</c:v>
                </c:pt>
                <c:pt idx="3258">
                  <c:v>43643</c:v>
                </c:pt>
                <c:pt idx="3259">
                  <c:v>43644</c:v>
                </c:pt>
                <c:pt idx="3260">
                  <c:v>43647</c:v>
                </c:pt>
                <c:pt idx="3261">
                  <c:v>43648</c:v>
                </c:pt>
                <c:pt idx="3262">
                  <c:v>43649</c:v>
                </c:pt>
                <c:pt idx="3263">
                  <c:v>43650</c:v>
                </c:pt>
                <c:pt idx="3264">
                  <c:v>43651</c:v>
                </c:pt>
                <c:pt idx="3265">
                  <c:v>43654</c:v>
                </c:pt>
                <c:pt idx="3266">
                  <c:v>43655</c:v>
                </c:pt>
                <c:pt idx="3267">
                  <c:v>43656</c:v>
                </c:pt>
                <c:pt idx="3268">
                  <c:v>43657</c:v>
                </c:pt>
                <c:pt idx="3269">
                  <c:v>43658</c:v>
                </c:pt>
                <c:pt idx="3270">
                  <c:v>43661</c:v>
                </c:pt>
                <c:pt idx="3271">
                  <c:v>43662</c:v>
                </c:pt>
                <c:pt idx="3272">
                  <c:v>43663</c:v>
                </c:pt>
                <c:pt idx="3273">
                  <c:v>43664</c:v>
                </c:pt>
                <c:pt idx="3274">
                  <c:v>43665</c:v>
                </c:pt>
                <c:pt idx="3275">
                  <c:v>43668</c:v>
                </c:pt>
                <c:pt idx="3276">
                  <c:v>43669</c:v>
                </c:pt>
                <c:pt idx="3277">
                  <c:v>43670</c:v>
                </c:pt>
                <c:pt idx="3278">
                  <c:v>43671</c:v>
                </c:pt>
                <c:pt idx="3279">
                  <c:v>43672</c:v>
                </c:pt>
                <c:pt idx="3280">
                  <c:v>43675</c:v>
                </c:pt>
                <c:pt idx="3281">
                  <c:v>43676</c:v>
                </c:pt>
                <c:pt idx="3282">
                  <c:v>43677</c:v>
                </c:pt>
                <c:pt idx="3283">
                  <c:v>43678</c:v>
                </c:pt>
                <c:pt idx="3284">
                  <c:v>43679</c:v>
                </c:pt>
                <c:pt idx="3285">
                  <c:v>43682</c:v>
                </c:pt>
                <c:pt idx="3286">
                  <c:v>43683</c:v>
                </c:pt>
                <c:pt idx="3287">
                  <c:v>43684</c:v>
                </c:pt>
                <c:pt idx="3288">
                  <c:v>43685</c:v>
                </c:pt>
                <c:pt idx="3289">
                  <c:v>43686</c:v>
                </c:pt>
                <c:pt idx="3290">
                  <c:v>43689</c:v>
                </c:pt>
                <c:pt idx="3291">
                  <c:v>43690</c:v>
                </c:pt>
                <c:pt idx="3292">
                  <c:v>43691</c:v>
                </c:pt>
                <c:pt idx="3293">
                  <c:v>43692</c:v>
                </c:pt>
                <c:pt idx="3294">
                  <c:v>43693</c:v>
                </c:pt>
                <c:pt idx="3295">
                  <c:v>43696</c:v>
                </c:pt>
                <c:pt idx="3296">
                  <c:v>43697</c:v>
                </c:pt>
                <c:pt idx="3297">
                  <c:v>43698</c:v>
                </c:pt>
                <c:pt idx="3298">
                  <c:v>43699</c:v>
                </c:pt>
                <c:pt idx="3299">
                  <c:v>43700</c:v>
                </c:pt>
                <c:pt idx="3300">
                  <c:v>43703</c:v>
                </c:pt>
                <c:pt idx="3301">
                  <c:v>43704</c:v>
                </c:pt>
                <c:pt idx="3302">
                  <c:v>43705</c:v>
                </c:pt>
                <c:pt idx="3303">
                  <c:v>43706</c:v>
                </c:pt>
                <c:pt idx="3304">
                  <c:v>43707</c:v>
                </c:pt>
                <c:pt idx="3305">
                  <c:v>43710</c:v>
                </c:pt>
                <c:pt idx="3306">
                  <c:v>43711</c:v>
                </c:pt>
                <c:pt idx="3307">
                  <c:v>43712</c:v>
                </c:pt>
                <c:pt idx="3308">
                  <c:v>43713</c:v>
                </c:pt>
                <c:pt idx="3309">
                  <c:v>43714</c:v>
                </c:pt>
                <c:pt idx="3310">
                  <c:v>43717</c:v>
                </c:pt>
                <c:pt idx="3311">
                  <c:v>43718</c:v>
                </c:pt>
                <c:pt idx="3312">
                  <c:v>43719</c:v>
                </c:pt>
                <c:pt idx="3313">
                  <c:v>43720</c:v>
                </c:pt>
                <c:pt idx="3314">
                  <c:v>43721</c:v>
                </c:pt>
                <c:pt idx="3315">
                  <c:v>43724</c:v>
                </c:pt>
                <c:pt idx="3316">
                  <c:v>43725</c:v>
                </c:pt>
                <c:pt idx="3317">
                  <c:v>43726</c:v>
                </c:pt>
                <c:pt idx="3318">
                  <c:v>43727</c:v>
                </c:pt>
                <c:pt idx="3319">
                  <c:v>43728</c:v>
                </c:pt>
                <c:pt idx="3320">
                  <c:v>43731</c:v>
                </c:pt>
                <c:pt idx="3321">
                  <c:v>43732</c:v>
                </c:pt>
                <c:pt idx="3322">
                  <c:v>43733</c:v>
                </c:pt>
                <c:pt idx="3323">
                  <c:v>43734</c:v>
                </c:pt>
                <c:pt idx="3324">
                  <c:v>43735</c:v>
                </c:pt>
                <c:pt idx="3325">
                  <c:v>43738</c:v>
                </c:pt>
                <c:pt idx="3326">
                  <c:v>43739</c:v>
                </c:pt>
                <c:pt idx="3327">
                  <c:v>43740</c:v>
                </c:pt>
                <c:pt idx="3328">
                  <c:v>43741</c:v>
                </c:pt>
                <c:pt idx="3329">
                  <c:v>43742</c:v>
                </c:pt>
                <c:pt idx="3330">
                  <c:v>43745</c:v>
                </c:pt>
                <c:pt idx="3331">
                  <c:v>43746</c:v>
                </c:pt>
                <c:pt idx="3332">
                  <c:v>43747</c:v>
                </c:pt>
                <c:pt idx="3333">
                  <c:v>43748</c:v>
                </c:pt>
                <c:pt idx="3334">
                  <c:v>43749</c:v>
                </c:pt>
                <c:pt idx="3335">
                  <c:v>43752</c:v>
                </c:pt>
                <c:pt idx="3336">
                  <c:v>43753</c:v>
                </c:pt>
                <c:pt idx="3337">
                  <c:v>43754</c:v>
                </c:pt>
                <c:pt idx="3338">
                  <c:v>43755</c:v>
                </c:pt>
                <c:pt idx="3339">
                  <c:v>43756</c:v>
                </c:pt>
                <c:pt idx="3340">
                  <c:v>43759</c:v>
                </c:pt>
                <c:pt idx="3341">
                  <c:v>43760</c:v>
                </c:pt>
                <c:pt idx="3342">
                  <c:v>43761</c:v>
                </c:pt>
                <c:pt idx="3343">
                  <c:v>43762</c:v>
                </c:pt>
                <c:pt idx="3344">
                  <c:v>43763</c:v>
                </c:pt>
                <c:pt idx="3345">
                  <c:v>43766</c:v>
                </c:pt>
                <c:pt idx="3346">
                  <c:v>43767</c:v>
                </c:pt>
                <c:pt idx="3347">
                  <c:v>43768</c:v>
                </c:pt>
                <c:pt idx="3348">
                  <c:v>43769</c:v>
                </c:pt>
                <c:pt idx="3349">
                  <c:v>43770</c:v>
                </c:pt>
                <c:pt idx="3350">
                  <c:v>43773</c:v>
                </c:pt>
                <c:pt idx="3351">
                  <c:v>43774</c:v>
                </c:pt>
                <c:pt idx="3352">
                  <c:v>43775</c:v>
                </c:pt>
                <c:pt idx="3353">
                  <c:v>43776</c:v>
                </c:pt>
                <c:pt idx="3354">
                  <c:v>43777</c:v>
                </c:pt>
                <c:pt idx="3355">
                  <c:v>43780</c:v>
                </c:pt>
                <c:pt idx="3356">
                  <c:v>43781</c:v>
                </c:pt>
                <c:pt idx="3357">
                  <c:v>43782</c:v>
                </c:pt>
                <c:pt idx="3358">
                  <c:v>43783</c:v>
                </c:pt>
                <c:pt idx="3359">
                  <c:v>43784</c:v>
                </c:pt>
                <c:pt idx="3360">
                  <c:v>43787</c:v>
                </c:pt>
                <c:pt idx="3361">
                  <c:v>43788</c:v>
                </c:pt>
                <c:pt idx="3362">
                  <c:v>43789</c:v>
                </c:pt>
                <c:pt idx="3363">
                  <c:v>43790</c:v>
                </c:pt>
                <c:pt idx="3364">
                  <c:v>43791</c:v>
                </c:pt>
                <c:pt idx="3365">
                  <c:v>43794</c:v>
                </c:pt>
                <c:pt idx="3366">
                  <c:v>43795</c:v>
                </c:pt>
                <c:pt idx="3367">
                  <c:v>43796</c:v>
                </c:pt>
                <c:pt idx="3368">
                  <c:v>43797</c:v>
                </c:pt>
                <c:pt idx="3369">
                  <c:v>43798</c:v>
                </c:pt>
                <c:pt idx="3370">
                  <c:v>43801</c:v>
                </c:pt>
                <c:pt idx="3371">
                  <c:v>43802</c:v>
                </c:pt>
                <c:pt idx="3372">
                  <c:v>43803</c:v>
                </c:pt>
                <c:pt idx="3373">
                  <c:v>43804</c:v>
                </c:pt>
                <c:pt idx="3374">
                  <c:v>43805</c:v>
                </c:pt>
                <c:pt idx="3375">
                  <c:v>43808</c:v>
                </c:pt>
                <c:pt idx="3376">
                  <c:v>43809</c:v>
                </c:pt>
                <c:pt idx="3377">
                  <c:v>43810</c:v>
                </c:pt>
                <c:pt idx="3378">
                  <c:v>43811</c:v>
                </c:pt>
                <c:pt idx="3379">
                  <c:v>43812</c:v>
                </c:pt>
                <c:pt idx="3380">
                  <c:v>43815</c:v>
                </c:pt>
                <c:pt idx="3381">
                  <c:v>43816</c:v>
                </c:pt>
                <c:pt idx="3382">
                  <c:v>43817</c:v>
                </c:pt>
                <c:pt idx="3383">
                  <c:v>43818</c:v>
                </c:pt>
                <c:pt idx="3384">
                  <c:v>43819</c:v>
                </c:pt>
                <c:pt idx="3385">
                  <c:v>43822</c:v>
                </c:pt>
                <c:pt idx="3386">
                  <c:v>43823</c:v>
                </c:pt>
                <c:pt idx="3387">
                  <c:v>43824</c:v>
                </c:pt>
                <c:pt idx="3388">
                  <c:v>43825</c:v>
                </c:pt>
                <c:pt idx="3389">
                  <c:v>43826</c:v>
                </c:pt>
                <c:pt idx="3390">
                  <c:v>43829</c:v>
                </c:pt>
                <c:pt idx="3391">
                  <c:v>43830</c:v>
                </c:pt>
                <c:pt idx="3392">
                  <c:v>43831</c:v>
                </c:pt>
                <c:pt idx="3393">
                  <c:v>43832</c:v>
                </c:pt>
                <c:pt idx="3394">
                  <c:v>43833</c:v>
                </c:pt>
                <c:pt idx="3395">
                  <c:v>43836</c:v>
                </c:pt>
                <c:pt idx="3396">
                  <c:v>43837</c:v>
                </c:pt>
                <c:pt idx="3397">
                  <c:v>43838</c:v>
                </c:pt>
                <c:pt idx="3398">
                  <c:v>43839</c:v>
                </c:pt>
                <c:pt idx="3399">
                  <c:v>43840</c:v>
                </c:pt>
                <c:pt idx="3400">
                  <c:v>43843</c:v>
                </c:pt>
                <c:pt idx="3401">
                  <c:v>43844</c:v>
                </c:pt>
                <c:pt idx="3402">
                  <c:v>43845</c:v>
                </c:pt>
                <c:pt idx="3403">
                  <c:v>43846</c:v>
                </c:pt>
                <c:pt idx="3404">
                  <c:v>43847</c:v>
                </c:pt>
                <c:pt idx="3405">
                  <c:v>43850</c:v>
                </c:pt>
                <c:pt idx="3406">
                  <c:v>43851</c:v>
                </c:pt>
                <c:pt idx="3407">
                  <c:v>43852</c:v>
                </c:pt>
                <c:pt idx="3408">
                  <c:v>43853</c:v>
                </c:pt>
                <c:pt idx="3409">
                  <c:v>43854</c:v>
                </c:pt>
                <c:pt idx="3410">
                  <c:v>43857</c:v>
                </c:pt>
                <c:pt idx="3411">
                  <c:v>43858</c:v>
                </c:pt>
                <c:pt idx="3412">
                  <c:v>43859</c:v>
                </c:pt>
                <c:pt idx="3413">
                  <c:v>43860</c:v>
                </c:pt>
                <c:pt idx="3414">
                  <c:v>43861</c:v>
                </c:pt>
                <c:pt idx="3415">
                  <c:v>43864</c:v>
                </c:pt>
                <c:pt idx="3416">
                  <c:v>43865</c:v>
                </c:pt>
                <c:pt idx="3417">
                  <c:v>43866</c:v>
                </c:pt>
                <c:pt idx="3418">
                  <c:v>43867</c:v>
                </c:pt>
                <c:pt idx="3419">
                  <c:v>43868</c:v>
                </c:pt>
                <c:pt idx="3420">
                  <c:v>43871</c:v>
                </c:pt>
                <c:pt idx="3421">
                  <c:v>43872</c:v>
                </c:pt>
                <c:pt idx="3422">
                  <c:v>43873</c:v>
                </c:pt>
                <c:pt idx="3423">
                  <c:v>43874</c:v>
                </c:pt>
                <c:pt idx="3424">
                  <c:v>43875</c:v>
                </c:pt>
                <c:pt idx="3425">
                  <c:v>43878</c:v>
                </c:pt>
                <c:pt idx="3426">
                  <c:v>43879</c:v>
                </c:pt>
                <c:pt idx="3427">
                  <c:v>43880</c:v>
                </c:pt>
                <c:pt idx="3428">
                  <c:v>43881</c:v>
                </c:pt>
                <c:pt idx="3429">
                  <c:v>43882</c:v>
                </c:pt>
                <c:pt idx="3430">
                  <c:v>43885</c:v>
                </c:pt>
                <c:pt idx="3431">
                  <c:v>43886</c:v>
                </c:pt>
                <c:pt idx="3432">
                  <c:v>43887</c:v>
                </c:pt>
                <c:pt idx="3433">
                  <c:v>43888</c:v>
                </c:pt>
                <c:pt idx="3434">
                  <c:v>43889</c:v>
                </c:pt>
                <c:pt idx="3435">
                  <c:v>43892</c:v>
                </c:pt>
                <c:pt idx="3436">
                  <c:v>43893</c:v>
                </c:pt>
                <c:pt idx="3437">
                  <c:v>43894</c:v>
                </c:pt>
                <c:pt idx="3438">
                  <c:v>43895</c:v>
                </c:pt>
                <c:pt idx="3439">
                  <c:v>43896</c:v>
                </c:pt>
                <c:pt idx="3440">
                  <c:v>43899</c:v>
                </c:pt>
                <c:pt idx="3441">
                  <c:v>43900</c:v>
                </c:pt>
                <c:pt idx="3442">
                  <c:v>43901</c:v>
                </c:pt>
                <c:pt idx="3443">
                  <c:v>43902</c:v>
                </c:pt>
                <c:pt idx="3444">
                  <c:v>43903</c:v>
                </c:pt>
                <c:pt idx="3445">
                  <c:v>43906</c:v>
                </c:pt>
                <c:pt idx="3446">
                  <c:v>43907</c:v>
                </c:pt>
                <c:pt idx="3447">
                  <c:v>43908</c:v>
                </c:pt>
                <c:pt idx="3448">
                  <c:v>43909</c:v>
                </c:pt>
                <c:pt idx="3449">
                  <c:v>43910</c:v>
                </c:pt>
                <c:pt idx="3450">
                  <c:v>43913</c:v>
                </c:pt>
                <c:pt idx="3451">
                  <c:v>43914</c:v>
                </c:pt>
                <c:pt idx="3452">
                  <c:v>43915</c:v>
                </c:pt>
                <c:pt idx="3453">
                  <c:v>43916</c:v>
                </c:pt>
                <c:pt idx="3454">
                  <c:v>43917</c:v>
                </c:pt>
                <c:pt idx="3455">
                  <c:v>43920</c:v>
                </c:pt>
                <c:pt idx="3456">
                  <c:v>43921</c:v>
                </c:pt>
                <c:pt idx="3457">
                  <c:v>43922</c:v>
                </c:pt>
                <c:pt idx="3458">
                  <c:v>43923</c:v>
                </c:pt>
                <c:pt idx="3459">
                  <c:v>43924</c:v>
                </c:pt>
                <c:pt idx="3460">
                  <c:v>43927</c:v>
                </c:pt>
                <c:pt idx="3461">
                  <c:v>43928</c:v>
                </c:pt>
                <c:pt idx="3462">
                  <c:v>43929</c:v>
                </c:pt>
                <c:pt idx="3463">
                  <c:v>43930</c:v>
                </c:pt>
                <c:pt idx="3464">
                  <c:v>43931</c:v>
                </c:pt>
                <c:pt idx="3465">
                  <c:v>43934</c:v>
                </c:pt>
                <c:pt idx="3466">
                  <c:v>43935</c:v>
                </c:pt>
                <c:pt idx="3467">
                  <c:v>43936</c:v>
                </c:pt>
                <c:pt idx="3468">
                  <c:v>43937</c:v>
                </c:pt>
                <c:pt idx="3469">
                  <c:v>43938</c:v>
                </c:pt>
                <c:pt idx="3470">
                  <c:v>43941</c:v>
                </c:pt>
                <c:pt idx="3471">
                  <c:v>43942</c:v>
                </c:pt>
                <c:pt idx="3472">
                  <c:v>43943</c:v>
                </c:pt>
                <c:pt idx="3473">
                  <c:v>43944</c:v>
                </c:pt>
                <c:pt idx="3474">
                  <c:v>43945</c:v>
                </c:pt>
                <c:pt idx="3475">
                  <c:v>43948</c:v>
                </c:pt>
                <c:pt idx="3476">
                  <c:v>43949</c:v>
                </c:pt>
                <c:pt idx="3477">
                  <c:v>43950</c:v>
                </c:pt>
                <c:pt idx="3478">
                  <c:v>43951</c:v>
                </c:pt>
                <c:pt idx="3479">
                  <c:v>43952</c:v>
                </c:pt>
                <c:pt idx="3480">
                  <c:v>43955</c:v>
                </c:pt>
                <c:pt idx="3481">
                  <c:v>43956</c:v>
                </c:pt>
                <c:pt idx="3482">
                  <c:v>43957</c:v>
                </c:pt>
                <c:pt idx="3483">
                  <c:v>43958</c:v>
                </c:pt>
                <c:pt idx="3484">
                  <c:v>43959</c:v>
                </c:pt>
                <c:pt idx="3485">
                  <c:v>43962</c:v>
                </c:pt>
                <c:pt idx="3486">
                  <c:v>43963</c:v>
                </c:pt>
                <c:pt idx="3487">
                  <c:v>43964</c:v>
                </c:pt>
                <c:pt idx="3488">
                  <c:v>43965</c:v>
                </c:pt>
                <c:pt idx="3489">
                  <c:v>43966</c:v>
                </c:pt>
                <c:pt idx="3490">
                  <c:v>43969</c:v>
                </c:pt>
                <c:pt idx="3491">
                  <c:v>43970</c:v>
                </c:pt>
                <c:pt idx="3492">
                  <c:v>43971</c:v>
                </c:pt>
                <c:pt idx="3493">
                  <c:v>43972</c:v>
                </c:pt>
                <c:pt idx="3494">
                  <c:v>43973</c:v>
                </c:pt>
                <c:pt idx="3495">
                  <c:v>43976</c:v>
                </c:pt>
                <c:pt idx="3496">
                  <c:v>43977</c:v>
                </c:pt>
                <c:pt idx="3497">
                  <c:v>43978</c:v>
                </c:pt>
                <c:pt idx="3498">
                  <c:v>43979</c:v>
                </c:pt>
                <c:pt idx="3499">
                  <c:v>43980</c:v>
                </c:pt>
                <c:pt idx="3500">
                  <c:v>43983</c:v>
                </c:pt>
                <c:pt idx="3501">
                  <c:v>43984</c:v>
                </c:pt>
                <c:pt idx="3502">
                  <c:v>43985</c:v>
                </c:pt>
                <c:pt idx="3503">
                  <c:v>43986</c:v>
                </c:pt>
                <c:pt idx="3504">
                  <c:v>43987</c:v>
                </c:pt>
                <c:pt idx="3505">
                  <c:v>43990</c:v>
                </c:pt>
                <c:pt idx="3506">
                  <c:v>43991</c:v>
                </c:pt>
                <c:pt idx="3507">
                  <c:v>43992</c:v>
                </c:pt>
                <c:pt idx="3508">
                  <c:v>43993</c:v>
                </c:pt>
                <c:pt idx="3509">
                  <c:v>43994</c:v>
                </c:pt>
                <c:pt idx="3510">
                  <c:v>43997</c:v>
                </c:pt>
                <c:pt idx="3511">
                  <c:v>43998</c:v>
                </c:pt>
                <c:pt idx="3512">
                  <c:v>43999</c:v>
                </c:pt>
                <c:pt idx="3513">
                  <c:v>44000</c:v>
                </c:pt>
                <c:pt idx="3514">
                  <c:v>44001</c:v>
                </c:pt>
                <c:pt idx="3515">
                  <c:v>44004</c:v>
                </c:pt>
                <c:pt idx="3516">
                  <c:v>44005</c:v>
                </c:pt>
                <c:pt idx="3517">
                  <c:v>44006</c:v>
                </c:pt>
                <c:pt idx="3518">
                  <c:v>44007</c:v>
                </c:pt>
                <c:pt idx="3519">
                  <c:v>44008</c:v>
                </c:pt>
                <c:pt idx="3520">
                  <c:v>44011</c:v>
                </c:pt>
                <c:pt idx="3521">
                  <c:v>44012</c:v>
                </c:pt>
                <c:pt idx="3522">
                  <c:v>44013</c:v>
                </c:pt>
                <c:pt idx="3523">
                  <c:v>44014</c:v>
                </c:pt>
                <c:pt idx="3524">
                  <c:v>44015</c:v>
                </c:pt>
                <c:pt idx="3525">
                  <c:v>44018</c:v>
                </c:pt>
                <c:pt idx="3526">
                  <c:v>44019</c:v>
                </c:pt>
                <c:pt idx="3527">
                  <c:v>44020</c:v>
                </c:pt>
                <c:pt idx="3528">
                  <c:v>44021</c:v>
                </c:pt>
                <c:pt idx="3529">
                  <c:v>44022</c:v>
                </c:pt>
                <c:pt idx="3530">
                  <c:v>44025</c:v>
                </c:pt>
                <c:pt idx="3531">
                  <c:v>44026</c:v>
                </c:pt>
                <c:pt idx="3532">
                  <c:v>44027</c:v>
                </c:pt>
                <c:pt idx="3533">
                  <c:v>44028</c:v>
                </c:pt>
                <c:pt idx="3534">
                  <c:v>44029</c:v>
                </c:pt>
                <c:pt idx="3535">
                  <c:v>44032</c:v>
                </c:pt>
                <c:pt idx="3536">
                  <c:v>44033</c:v>
                </c:pt>
                <c:pt idx="3537">
                  <c:v>44034</c:v>
                </c:pt>
                <c:pt idx="3538">
                  <c:v>44035</c:v>
                </c:pt>
                <c:pt idx="3539">
                  <c:v>44036</c:v>
                </c:pt>
                <c:pt idx="3540">
                  <c:v>44039</c:v>
                </c:pt>
                <c:pt idx="3541">
                  <c:v>44040</c:v>
                </c:pt>
                <c:pt idx="3542">
                  <c:v>44041</c:v>
                </c:pt>
                <c:pt idx="3543">
                  <c:v>44042</c:v>
                </c:pt>
                <c:pt idx="3544">
                  <c:v>44043</c:v>
                </c:pt>
                <c:pt idx="3545">
                  <c:v>44046</c:v>
                </c:pt>
                <c:pt idx="3546">
                  <c:v>44047</c:v>
                </c:pt>
                <c:pt idx="3547">
                  <c:v>44048</c:v>
                </c:pt>
                <c:pt idx="3548">
                  <c:v>44049</c:v>
                </c:pt>
                <c:pt idx="3549">
                  <c:v>44050</c:v>
                </c:pt>
                <c:pt idx="3550">
                  <c:v>44053</c:v>
                </c:pt>
                <c:pt idx="3551">
                  <c:v>44054</c:v>
                </c:pt>
                <c:pt idx="3552">
                  <c:v>44055</c:v>
                </c:pt>
                <c:pt idx="3553">
                  <c:v>44056</c:v>
                </c:pt>
                <c:pt idx="3554">
                  <c:v>44057</c:v>
                </c:pt>
                <c:pt idx="3555">
                  <c:v>44060</c:v>
                </c:pt>
                <c:pt idx="3556">
                  <c:v>44061</c:v>
                </c:pt>
                <c:pt idx="3557">
                  <c:v>44062</c:v>
                </c:pt>
                <c:pt idx="3558">
                  <c:v>44063</c:v>
                </c:pt>
                <c:pt idx="3559">
                  <c:v>44064</c:v>
                </c:pt>
                <c:pt idx="3560">
                  <c:v>44067</c:v>
                </c:pt>
                <c:pt idx="3561">
                  <c:v>44068</c:v>
                </c:pt>
                <c:pt idx="3562">
                  <c:v>44069</c:v>
                </c:pt>
                <c:pt idx="3563">
                  <c:v>44070</c:v>
                </c:pt>
                <c:pt idx="3564">
                  <c:v>44071</c:v>
                </c:pt>
                <c:pt idx="3565">
                  <c:v>44074</c:v>
                </c:pt>
                <c:pt idx="3566">
                  <c:v>44075</c:v>
                </c:pt>
                <c:pt idx="3567">
                  <c:v>44076</c:v>
                </c:pt>
                <c:pt idx="3568">
                  <c:v>44077</c:v>
                </c:pt>
                <c:pt idx="3569">
                  <c:v>44078</c:v>
                </c:pt>
                <c:pt idx="3570">
                  <c:v>44081</c:v>
                </c:pt>
                <c:pt idx="3571">
                  <c:v>44082</c:v>
                </c:pt>
                <c:pt idx="3572">
                  <c:v>44083</c:v>
                </c:pt>
                <c:pt idx="3573">
                  <c:v>44084</c:v>
                </c:pt>
                <c:pt idx="3574">
                  <c:v>44085</c:v>
                </c:pt>
                <c:pt idx="3575">
                  <c:v>44088</c:v>
                </c:pt>
                <c:pt idx="3576">
                  <c:v>44089</c:v>
                </c:pt>
                <c:pt idx="3577">
                  <c:v>44090</c:v>
                </c:pt>
                <c:pt idx="3578">
                  <c:v>44091</c:v>
                </c:pt>
                <c:pt idx="3579">
                  <c:v>44092</c:v>
                </c:pt>
                <c:pt idx="3580">
                  <c:v>44095</c:v>
                </c:pt>
                <c:pt idx="3581">
                  <c:v>44096</c:v>
                </c:pt>
                <c:pt idx="3582">
                  <c:v>44097</c:v>
                </c:pt>
                <c:pt idx="3583">
                  <c:v>44098</c:v>
                </c:pt>
                <c:pt idx="3584">
                  <c:v>44099</c:v>
                </c:pt>
                <c:pt idx="3585">
                  <c:v>44102</c:v>
                </c:pt>
                <c:pt idx="3586">
                  <c:v>44103</c:v>
                </c:pt>
                <c:pt idx="3587">
                  <c:v>44104</c:v>
                </c:pt>
                <c:pt idx="3588">
                  <c:v>44105</c:v>
                </c:pt>
                <c:pt idx="3589">
                  <c:v>44106</c:v>
                </c:pt>
                <c:pt idx="3590">
                  <c:v>44109</c:v>
                </c:pt>
                <c:pt idx="3591">
                  <c:v>44110</c:v>
                </c:pt>
                <c:pt idx="3592">
                  <c:v>44111</c:v>
                </c:pt>
                <c:pt idx="3593">
                  <c:v>44112</c:v>
                </c:pt>
                <c:pt idx="3594">
                  <c:v>44113</c:v>
                </c:pt>
                <c:pt idx="3595">
                  <c:v>44116</c:v>
                </c:pt>
                <c:pt idx="3596">
                  <c:v>44117</c:v>
                </c:pt>
                <c:pt idx="3597">
                  <c:v>44118</c:v>
                </c:pt>
                <c:pt idx="3598">
                  <c:v>44119</c:v>
                </c:pt>
                <c:pt idx="3599">
                  <c:v>44120</c:v>
                </c:pt>
                <c:pt idx="3600">
                  <c:v>44123</c:v>
                </c:pt>
                <c:pt idx="3601">
                  <c:v>44124</c:v>
                </c:pt>
                <c:pt idx="3602">
                  <c:v>44125</c:v>
                </c:pt>
                <c:pt idx="3603">
                  <c:v>44126</c:v>
                </c:pt>
                <c:pt idx="3604">
                  <c:v>44127</c:v>
                </c:pt>
                <c:pt idx="3605">
                  <c:v>44130</c:v>
                </c:pt>
                <c:pt idx="3606">
                  <c:v>44131</c:v>
                </c:pt>
                <c:pt idx="3607">
                  <c:v>44132</c:v>
                </c:pt>
                <c:pt idx="3608">
                  <c:v>44133</c:v>
                </c:pt>
                <c:pt idx="3609">
                  <c:v>44134</c:v>
                </c:pt>
                <c:pt idx="3610">
                  <c:v>44137</c:v>
                </c:pt>
                <c:pt idx="3611">
                  <c:v>44138</c:v>
                </c:pt>
                <c:pt idx="3612">
                  <c:v>44139</c:v>
                </c:pt>
                <c:pt idx="3613">
                  <c:v>44140</c:v>
                </c:pt>
                <c:pt idx="3614">
                  <c:v>44141</c:v>
                </c:pt>
                <c:pt idx="3615">
                  <c:v>44144</c:v>
                </c:pt>
                <c:pt idx="3616">
                  <c:v>44145</c:v>
                </c:pt>
                <c:pt idx="3617">
                  <c:v>44146</c:v>
                </c:pt>
                <c:pt idx="3618">
                  <c:v>44147</c:v>
                </c:pt>
                <c:pt idx="3619">
                  <c:v>44148</c:v>
                </c:pt>
                <c:pt idx="3620">
                  <c:v>44151</c:v>
                </c:pt>
                <c:pt idx="3621">
                  <c:v>44152</c:v>
                </c:pt>
                <c:pt idx="3622">
                  <c:v>44153</c:v>
                </c:pt>
                <c:pt idx="3623">
                  <c:v>44154</c:v>
                </c:pt>
                <c:pt idx="3624">
                  <c:v>44155</c:v>
                </c:pt>
                <c:pt idx="3625">
                  <c:v>44158</c:v>
                </c:pt>
                <c:pt idx="3626">
                  <c:v>44159</c:v>
                </c:pt>
                <c:pt idx="3627">
                  <c:v>44160</c:v>
                </c:pt>
                <c:pt idx="3628">
                  <c:v>44161</c:v>
                </c:pt>
                <c:pt idx="3629">
                  <c:v>44162</c:v>
                </c:pt>
                <c:pt idx="3630">
                  <c:v>44165</c:v>
                </c:pt>
                <c:pt idx="3631">
                  <c:v>44166</c:v>
                </c:pt>
                <c:pt idx="3632">
                  <c:v>44167</c:v>
                </c:pt>
                <c:pt idx="3633">
                  <c:v>44168</c:v>
                </c:pt>
                <c:pt idx="3634">
                  <c:v>44169</c:v>
                </c:pt>
                <c:pt idx="3635">
                  <c:v>44172</c:v>
                </c:pt>
                <c:pt idx="3636">
                  <c:v>44173</c:v>
                </c:pt>
                <c:pt idx="3637">
                  <c:v>44174</c:v>
                </c:pt>
                <c:pt idx="3638">
                  <c:v>44175</c:v>
                </c:pt>
                <c:pt idx="3639">
                  <c:v>44176</c:v>
                </c:pt>
                <c:pt idx="3640">
                  <c:v>44179</c:v>
                </c:pt>
                <c:pt idx="3641">
                  <c:v>44180</c:v>
                </c:pt>
                <c:pt idx="3642">
                  <c:v>44181</c:v>
                </c:pt>
                <c:pt idx="3643">
                  <c:v>44182</c:v>
                </c:pt>
                <c:pt idx="3644">
                  <c:v>44183</c:v>
                </c:pt>
                <c:pt idx="3645">
                  <c:v>44186</c:v>
                </c:pt>
                <c:pt idx="3646">
                  <c:v>44187</c:v>
                </c:pt>
                <c:pt idx="3647">
                  <c:v>44188</c:v>
                </c:pt>
                <c:pt idx="3648">
                  <c:v>44189</c:v>
                </c:pt>
                <c:pt idx="3649">
                  <c:v>44190</c:v>
                </c:pt>
                <c:pt idx="3650">
                  <c:v>44193</c:v>
                </c:pt>
                <c:pt idx="3651">
                  <c:v>44194</c:v>
                </c:pt>
                <c:pt idx="3652">
                  <c:v>44195</c:v>
                </c:pt>
                <c:pt idx="3653">
                  <c:v>44196</c:v>
                </c:pt>
                <c:pt idx="3654">
                  <c:v>44197</c:v>
                </c:pt>
                <c:pt idx="3655">
                  <c:v>44200</c:v>
                </c:pt>
                <c:pt idx="3656">
                  <c:v>44201</c:v>
                </c:pt>
                <c:pt idx="3657">
                  <c:v>44202</c:v>
                </c:pt>
                <c:pt idx="3658">
                  <c:v>44203</c:v>
                </c:pt>
                <c:pt idx="3659">
                  <c:v>44204</c:v>
                </c:pt>
                <c:pt idx="3660">
                  <c:v>44207</c:v>
                </c:pt>
                <c:pt idx="3661">
                  <c:v>44208</c:v>
                </c:pt>
                <c:pt idx="3662">
                  <c:v>44209</c:v>
                </c:pt>
                <c:pt idx="3663">
                  <c:v>44210</c:v>
                </c:pt>
                <c:pt idx="3664">
                  <c:v>44211</c:v>
                </c:pt>
                <c:pt idx="3665">
                  <c:v>44214</c:v>
                </c:pt>
                <c:pt idx="3666">
                  <c:v>44215</c:v>
                </c:pt>
                <c:pt idx="3667">
                  <c:v>44216</c:v>
                </c:pt>
                <c:pt idx="3668">
                  <c:v>44217</c:v>
                </c:pt>
                <c:pt idx="3669">
                  <c:v>44218</c:v>
                </c:pt>
                <c:pt idx="3670">
                  <c:v>44221</c:v>
                </c:pt>
                <c:pt idx="3671">
                  <c:v>44222</c:v>
                </c:pt>
                <c:pt idx="3672">
                  <c:v>44223</c:v>
                </c:pt>
                <c:pt idx="3673">
                  <c:v>44224</c:v>
                </c:pt>
                <c:pt idx="3674">
                  <c:v>44225</c:v>
                </c:pt>
                <c:pt idx="3675">
                  <c:v>44228</c:v>
                </c:pt>
                <c:pt idx="3676">
                  <c:v>44229</c:v>
                </c:pt>
                <c:pt idx="3677">
                  <c:v>44230</c:v>
                </c:pt>
                <c:pt idx="3678">
                  <c:v>44231</c:v>
                </c:pt>
                <c:pt idx="3679">
                  <c:v>44232</c:v>
                </c:pt>
                <c:pt idx="3680">
                  <c:v>44235</c:v>
                </c:pt>
                <c:pt idx="3681">
                  <c:v>44236</c:v>
                </c:pt>
                <c:pt idx="3682">
                  <c:v>44237</c:v>
                </c:pt>
                <c:pt idx="3683">
                  <c:v>44238</c:v>
                </c:pt>
                <c:pt idx="3684">
                  <c:v>44239</c:v>
                </c:pt>
                <c:pt idx="3685">
                  <c:v>44242</c:v>
                </c:pt>
                <c:pt idx="3686">
                  <c:v>44243</c:v>
                </c:pt>
                <c:pt idx="3687">
                  <c:v>44244</c:v>
                </c:pt>
                <c:pt idx="3688">
                  <c:v>44245</c:v>
                </c:pt>
                <c:pt idx="3689">
                  <c:v>44246</c:v>
                </c:pt>
                <c:pt idx="3690">
                  <c:v>44249</c:v>
                </c:pt>
                <c:pt idx="3691">
                  <c:v>44250</c:v>
                </c:pt>
                <c:pt idx="3692">
                  <c:v>44251</c:v>
                </c:pt>
                <c:pt idx="3693">
                  <c:v>44252</c:v>
                </c:pt>
                <c:pt idx="3694">
                  <c:v>44253</c:v>
                </c:pt>
                <c:pt idx="3695">
                  <c:v>44256</c:v>
                </c:pt>
                <c:pt idx="3696">
                  <c:v>44257</c:v>
                </c:pt>
                <c:pt idx="3697">
                  <c:v>44258</c:v>
                </c:pt>
                <c:pt idx="3698">
                  <c:v>44259</c:v>
                </c:pt>
                <c:pt idx="3699">
                  <c:v>44260</c:v>
                </c:pt>
                <c:pt idx="3700">
                  <c:v>44263</c:v>
                </c:pt>
                <c:pt idx="3701">
                  <c:v>44264</c:v>
                </c:pt>
                <c:pt idx="3702">
                  <c:v>44265</c:v>
                </c:pt>
                <c:pt idx="3703">
                  <c:v>44266</c:v>
                </c:pt>
                <c:pt idx="3704">
                  <c:v>44267</c:v>
                </c:pt>
                <c:pt idx="3705">
                  <c:v>44270</c:v>
                </c:pt>
                <c:pt idx="3706">
                  <c:v>44271</c:v>
                </c:pt>
                <c:pt idx="3707">
                  <c:v>44272</c:v>
                </c:pt>
                <c:pt idx="3708">
                  <c:v>44273</c:v>
                </c:pt>
                <c:pt idx="3709">
                  <c:v>44274</c:v>
                </c:pt>
                <c:pt idx="3710">
                  <c:v>44277</c:v>
                </c:pt>
                <c:pt idx="3711">
                  <c:v>44278</c:v>
                </c:pt>
                <c:pt idx="3712">
                  <c:v>44279</c:v>
                </c:pt>
                <c:pt idx="3713">
                  <c:v>44280</c:v>
                </c:pt>
                <c:pt idx="3714">
                  <c:v>44281</c:v>
                </c:pt>
                <c:pt idx="3715">
                  <c:v>44284</c:v>
                </c:pt>
                <c:pt idx="3716">
                  <c:v>44285</c:v>
                </c:pt>
                <c:pt idx="3717">
                  <c:v>44286</c:v>
                </c:pt>
                <c:pt idx="3718">
                  <c:v>44287</c:v>
                </c:pt>
                <c:pt idx="3719">
                  <c:v>44288</c:v>
                </c:pt>
                <c:pt idx="3720">
                  <c:v>44291</c:v>
                </c:pt>
                <c:pt idx="3721">
                  <c:v>44292</c:v>
                </c:pt>
                <c:pt idx="3722">
                  <c:v>44293</c:v>
                </c:pt>
                <c:pt idx="3723">
                  <c:v>44294</c:v>
                </c:pt>
                <c:pt idx="3724">
                  <c:v>44295</c:v>
                </c:pt>
                <c:pt idx="3725">
                  <c:v>44298</c:v>
                </c:pt>
                <c:pt idx="3726">
                  <c:v>44299</c:v>
                </c:pt>
                <c:pt idx="3727">
                  <c:v>44300</c:v>
                </c:pt>
                <c:pt idx="3728">
                  <c:v>44301</c:v>
                </c:pt>
                <c:pt idx="3729">
                  <c:v>44302</c:v>
                </c:pt>
                <c:pt idx="3730">
                  <c:v>44305</c:v>
                </c:pt>
                <c:pt idx="3731">
                  <c:v>44306</c:v>
                </c:pt>
                <c:pt idx="3732">
                  <c:v>44307</c:v>
                </c:pt>
                <c:pt idx="3733">
                  <c:v>44308</c:v>
                </c:pt>
                <c:pt idx="3734">
                  <c:v>44309</c:v>
                </c:pt>
                <c:pt idx="3735">
                  <c:v>44312</c:v>
                </c:pt>
                <c:pt idx="3736">
                  <c:v>44313</c:v>
                </c:pt>
                <c:pt idx="3737">
                  <c:v>44314</c:v>
                </c:pt>
                <c:pt idx="3738">
                  <c:v>44315</c:v>
                </c:pt>
                <c:pt idx="3739">
                  <c:v>44316</c:v>
                </c:pt>
                <c:pt idx="3740">
                  <c:v>44319</c:v>
                </c:pt>
                <c:pt idx="3741">
                  <c:v>44320</c:v>
                </c:pt>
                <c:pt idx="3742">
                  <c:v>44321</c:v>
                </c:pt>
                <c:pt idx="3743">
                  <c:v>44322</c:v>
                </c:pt>
                <c:pt idx="3744">
                  <c:v>44323</c:v>
                </c:pt>
                <c:pt idx="3745">
                  <c:v>44326</c:v>
                </c:pt>
                <c:pt idx="3746">
                  <c:v>44327</c:v>
                </c:pt>
                <c:pt idx="3747">
                  <c:v>44328</c:v>
                </c:pt>
                <c:pt idx="3748">
                  <c:v>44329</c:v>
                </c:pt>
                <c:pt idx="3749">
                  <c:v>44330</c:v>
                </c:pt>
                <c:pt idx="3750">
                  <c:v>44333</c:v>
                </c:pt>
                <c:pt idx="3751">
                  <c:v>44334</c:v>
                </c:pt>
                <c:pt idx="3752">
                  <c:v>44335</c:v>
                </c:pt>
                <c:pt idx="3753">
                  <c:v>44336</c:v>
                </c:pt>
                <c:pt idx="3754">
                  <c:v>44337</c:v>
                </c:pt>
                <c:pt idx="3755">
                  <c:v>44340</c:v>
                </c:pt>
                <c:pt idx="3756">
                  <c:v>44341</c:v>
                </c:pt>
                <c:pt idx="3757">
                  <c:v>44342</c:v>
                </c:pt>
                <c:pt idx="3758">
                  <c:v>44343</c:v>
                </c:pt>
                <c:pt idx="3759">
                  <c:v>44344</c:v>
                </c:pt>
                <c:pt idx="3760">
                  <c:v>44347</c:v>
                </c:pt>
                <c:pt idx="3761">
                  <c:v>44348</c:v>
                </c:pt>
                <c:pt idx="3762">
                  <c:v>44349</c:v>
                </c:pt>
                <c:pt idx="3763">
                  <c:v>44350</c:v>
                </c:pt>
                <c:pt idx="3764">
                  <c:v>44351</c:v>
                </c:pt>
                <c:pt idx="3765">
                  <c:v>44354</c:v>
                </c:pt>
                <c:pt idx="3766">
                  <c:v>44355</c:v>
                </c:pt>
                <c:pt idx="3767">
                  <c:v>44356</c:v>
                </c:pt>
                <c:pt idx="3768">
                  <c:v>44357</c:v>
                </c:pt>
                <c:pt idx="3769">
                  <c:v>44358</c:v>
                </c:pt>
                <c:pt idx="3770">
                  <c:v>44361</c:v>
                </c:pt>
                <c:pt idx="3771">
                  <c:v>44362</c:v>
                </c:pt>
                <c:pt idx="3772">
                  <c:v>44363</c:v>
                </c:pt>
                <c:pt idx="3773">
                  <c:v>44364</c:v>
                </c:pt>
                <c:pt idx="3774">
                  <c:v>44365</c:v>
                </c:pt>
                <c:pt idx="3775">
                  <c:v>44368</c:v>
                </c:pt>
                <c:pt idx="3776">
                  <c:v>44369</c:v>
                </c:pt>
                <c:pt idx="3777">
                  <c:v>44370</c:v>
                </c:pt>
                <c:pt idx="3778">
                  <c:v>44371</c:v>
                </c:pt>
                <c:pt idx="3779">
                  <c:v>44372</c:v>
                </c:pt>
                <c:pt idx="3780">
                  <c:v>44375</c:v>
                </c:pt>
                <c:pt idx="3781">
                  <c:v>44376</c:v>
                </c:pt>
                <c:pt idx="3782">
                  <c:v>44377</c:v>
                </c:pt>
                <c:pt idx="3783">
                  <c:v>44378</c:v>
                </c:pt>
                <c:pt idx="3784">
                  <c:v>44379</c:v>
                </c:pt>
                <c:pt idx="3785">
                  <c:v>44382</c:v>
                </c:pt>
                <c:pt idx="3786">
                  <c:v>44383</c:v>
                </c:pt>
                <c:pt idx="3787">
                  <c:v>44384</c:v>
                </c:pt>
                <c:pt idx="3788">
                  <c:v>44385</c:v>
                </c:pt>
                <c:pt idx="3789">
                  <c:v>44386</c:v>
                </c:pt>
                <c:pt idx="3790">
                  <c:v>44389</c:v>
                </c:pt>
                <c:pt idx="3791">
                  <c:v>44390</c:v>
                </c:pt>
                <c:pt idx="3792">
                  <c:v>44391</c:v>
                </c:pt>
                <c:pt idx="3793">
                  <c:v>44392</c:v>
                </c:pt>
                <c:pt idx="3794">
                  <c:v>44393</c:v>
                </c:pt>
                <c:pt idx="3795">
                  <c:v>44396</c:v>
                </c:pt>
                <c:pt idx="3796">
                  <c:v>44397</c:v>
                </c:pt>
                <c:pt idx="3797">
                  <c:v>44398</c:v>
                </c:pt>
                <c:pt idx="3798">
                  <c:v>44399</c:v>
                </c:pt>
                <c:pt idx="3799">
                  <c:v>44400</c:v>
                </c:pt>
                <c:pt idx="3800">
                  <c:v>44403</c:v>
                </c:pt>
                <c:pt idx="3801">
                  <c:v>44404</c:v>
                </c:pt>
                <c:pt idx="3802">
                  <c:v>44405</c:v>
                </c:pt>
                <c:pt idx="3803">
                  <c:v>44406</c:v>
                </c:pt>
                <c:pt idx="3804">
                  <c:v>44407</c:v>
                </c:pt>
                <c:pt idx="3805">
                  <c:v>44410</c:v>
                </c:pt>
                <c:pt idx="3806">
                  <c:v>44411</c:v>
                </c:pt>
                <c:pt idx="3807">
                  <c:v>44412</c:v>
                </c:pt>
                <c:pt idx="3808">
                  <c:v>44413</c:v>
                </c:pt>
                <c:pt idx="3809">
                  <c:v>44414</c:v>
                </c:pt>
                <c:pt idx="3810">
                  <c:v>44417</c:v>
                </c:pt>
                <c:pt idx="3811">
                  <c:v>44418</c:v>
                </c:pt>
                <c:pt idx="3812">
                  <c:v>44419</c:v>
                </c:pt>
                <c:pt idx="3813">
                  <c:v>44420</c:v>
                </c:pt>
                <c:pt idx="3814">
                  <c:v>44421</c:v>
                </c:pt>
                <c:pt idx="3815">
                  <c:v>44424</c:v>
                </c:pt>
                <c:pt idx="3816">
                  <c:v>44425</c:v>
                </c:pt>
                <c:pt idx="3817">
                  <c:v>44426</c:v>
                </c:pt>
                <c:pt idx="3818">
                  <c:v>44427</c:v>
                </c:pt>
                <c:pt idx="3819">
                  <c:v>44428</c:v>
                </c:pt>
                <c:pt idx="3820">
                  <c:v>44431</c:v>
                </c:pt>
                <c:pt idx="3821">
                  <c:v>44432</c:v>
                </c:pt>
                <c:pt idx="3822">
                  <c:v>44433</c:v>
                </c:pt>
                <c:pt idx="3823">
                  <c:v>44434</c:v>
                </c:pt>
                <c:pt idx="3824">
                  <c:v>44435</c:v>
                </c:pt>
                <c:pt idx="3825">
                  <c:v>44438</c:v>
                </c:pt>
                <c:pt idx="3826">
                  <c:v>44439</c:v>
                </c:pt>
                <c:pt idx="3827">
                  <c:v>44440</c:v>
                </c:pt>
                <c:pt idx="3828">
                  <c:v>44441</c:v>
                </c:pt>
                <c:pt idx="3829">
                  <c:v>44442</c:v>
                </c:pt>
                <c:pt idx="3830">
                  <c:v>44445</c:v>
                </c:pt>
                <c:pt idx="3831">
                  <c:v>44446</c:v>
                </c:pt>
                <c:pt idx="3832">
                  <c:v>44447</c:v>
                </c:pt>
                <c:pt idx="3833">
                  <c:v>44448</c:v>
                </c:pt>
                <c:pt idx="3834">
                  <c:v>44449</c:v>
                </c:pt>
                <c:pt idx="3835">
                  <c:v>44452</c:v>
                </c:pt>
                <c:pt idx="3836">
                  <c:v>44453</c:v>
                </c:pt>
                <c:pt idx="3837">
                  <c:v>44454</c:v>
                </c:pt>
                <c:pt idx="3838">
                  <c:v>44455</c:v>
                </c:pt>
                <c:pt idx="3839">
                  <c:v>44456</c:v>
                </c:pt>
                <c:pt idx="3840">
                  <c:v>44459</c:v>
                </c:pt>
                <c:pt idx="3841">
                  <c:v>44460</c:v>
                </c:pt>
                <c:pt idx="3842">
                  <c:v>44461</c:v>
                </c:pt>
                <c:pt idx="3843">
                  <c:v>44462</c:v>
                </c:pt>
                <c:pt idx="3844">
                  <c:v>44463</c:v>
                </c:pt>
                <c:pt idx="3845">
                  <c:v>44466</c:v>
                </c:pt>
                <c:pt idx="3846">
                  <c:v>44467</c:v>
                </c:pt>
                <c:pt idx="3847">
                  <c:v>44468</c:v>
                </c:pt>
                <c:pt idx="3848">
                  <c:v>44469</c:v>
                </c:pt>
                <c:pt idx="3849">
                  <c:v>44470</c:v>
                </c:pt>
                <c:pt idx="3850">
                  <c:v>44473</c:v>
                </c:pt>
                <c:pt idx="3851">
                  <c:v>44474</c:v>
                </c:pt>
                <c:pt idx="3852">
                  <c:v>44475</c:v>
                </c:pt>
                <c:pt idx="3853">
                  <c:v>44476</c:v>
                </c:pt>
                <c:pt idx="3854">
                  <c:v>44477</c:v>
                </c:pt>
                <c:pt idx="3855">
                  <c:v>44480</c:v>
                </c:pt>
                <c:pt idx="3856">
                  <c:v>44481</c:v>
                </c:pt>
                <c:pt idx="3857">
                  <c:v>44482</c:v>
                </c:pt>
                <c:pt idx="3858">
                  <c:v>44483</c:v>
                </c:pt>
                <c:pt idx="3859">
                  <c:v>44484</c:v>
                </c:pt>
                <c:pt idx="3860">
                  <c:v>44487</c:v>
                </c:pt>
                <c:pt idx="3861">
                  <c:v>44488</c:v>
                </c:pt>
                <c:pt idx="3862">
                  <c:v>44489</c:v>
                </c:pt>
                <c:pt idx="3863">
                  <c:v>44490</c:v>
                </c:pt>
                <c:pt idx="3864">
                  <c:v>44491</c:v>
                </c:pt>
                <c:pt idx="3865">
                  <c:v>44494</c:v>
                </c:pt>
                <c:pt idx="3866">
                  <c:v>44495</c:v>
                </c:pt>
                <c:pt idx="3867">
                  <c:v>44496</c:v>
                </c:pt>
                <c:pt idx="3868">
                  <c:v>44497</c:v>
                </c:pt>
                <c:pt idx="3869">
                  <c:v>44498</c:v>
                </c:pt>
                <c:pt idx="3870">
                  <c:v>44501</c:v>
                </c:pt>
                <c:pt idx="3871">
                  <c:v>44502</c:v>
                </c:pt>
                <c:pt idx="3872">
                  <c:v>44503</c:v>
                </c:pt>
                <c:pt idx="3873">
                  <c:v>44504</c:v>
                </c:pt>
                <c:pt idx="3874">
                  <c:v>44505</c:v>
                </c:pt>
                <c:pt idx="3875">
                  <c:v>44508</c:v>
                </c:pt>
                <c:pt idx="3876">
                  <c:v>44509</c:v>
                </c:pt>
                <c:pt idx="3877">
                  <c:v>44510</c:v>
                </c:pt>
                <c:pt idx="3878">
                  <c:v>44511</c:v>
                </c:pt>
                <c:pt idx="3879">
                  <c:v>44512</c:v>
                </c:pt>
                <c:pt idx="3880">
                  <c:v>44515</c:v>
                </c:pt>
                <c:pt idx="3881">
                  <c:v>44516</c:v>
                </c:pt>
                <c:pt idx="3882">
                  <c:v>44517</c:v>
                </c:pt>
                <c:pt idx="3883">
                  <c:v>44518</c:v>
                </c:pt>
                <c:pt idx="3884">
                  <c:v>44519</c:v>
                </c:pt>
                <c:pt idx="3885">
                  <c:v>44522</c:v>
                </c:pt>
                <c:pt idx="3886">
                  <c:v>44523</c:v>
                </c:pt>
                <c:pt idx="3887">
                  <c:v>44524</c:v>
                </c:pt>
                <c:pt idx="3888">
                  <c:v>44525</c:v>
                </c:pt>
                <c:pt idx="3889">
                  <c:v>44526</c:v>
                </c:pt>
                <c:pt idx="3890">
                  <c:v>44529</c:v>
                </c:pt>
                <c:pt idx="3891">
                  <c:v>44530</c:v>
                </c:pt>
                <c:pt idx="3892">
                  <c:v>44531</c:v>
                </c:pt>
                <c:pt idx="3893">
                  <c:v>44532</c:v>
                </c:pt>
                <c:pt idx="3894">
                  <c:v>44533</c:v>
                </c:pt>
                <c:pt idx="3895">
                  <c:v>44536</c:v>
                </c:pt>
                <c:pt idx="3896">
                  <c:v>44537</c:v>
                </c:pt>
                <c:pt idx="3897">
                  <c:v>44538</c:v>
                </c:pt>
                <c:pt idx="3898">
                  <c:v>44539</c:v>
                </c:pt>
                <c:pt idx="3899">
                  <c:v>44540</c:v>
                </c:pt>
                <c:pt idx="3900">
                  <c:v>44543</c:v>
                </c:pt>
                <c:pt idx="3901">
                  <c:v>44544</c:v>
                </c:pt>
                <c:pt idx="3902">
                  <c:v>44545</c:v>
                </c:pt>
                <c:pt idx="3903">
                  <c:v>44546</c:v>
                </c:pt>
                <c:pt idx="3904">
                  <c:v>44547</c:v>
                </c:pt>
                <c:pt idx="3905">
                  <c:v>44550</c:v>
                </c:pt>
                <c:pt idx="3906">
                  <c:v>44551</c:v>
                </c:pt>
                <c:pt idx="3907">
                  <c:v>44552</c:v>
                </c:pt>
                <c:pt idx="3908">
                  <c:v>44553</c:v>
                </c:pt>
                <c:pt idx="3909">
                  <c:v>44554</c:v>
                </c:pt>
                <c:pt idx="3910">
                  <c:v>44557</c:v>
                </c:pt>
                <c:pt idx="3911">
                  <c:v>44558</c:v>
                </c:pt>
                <c:pt idx="3912">
                  <c:v>44559</c:v>
                </c:pt>
                <c:pt idx="3913">
                  <c:v>44560</c:v>
                </c:pt>
                <c:pt idx="3914">
                  <c:v>44561</c:v>
                </c:pt>
                <c:pt idx="3915">
                  <c:v>44564</c:v>
                </c:pt>
                <c:pt idx="3916">
                  <c:v>44565</c:v>
                </c:pt>
                <c:pt idx="3917">
                  <c:v>44566</c:v>
                </c:pt>
                <c:pt idx="3918">
                  <c:v>44567</c:v>
                </c:pt>
                <c:pt idx="3919">
                  <c:v>44568</c:v>
                </c:pt>
                <c:pt idx="3920">
                  <c:v>44571</c:v>
                </c:pt>
                <c:pt idx="3921">
                  <c:v>44572</c:v>
                </c:pt>
                <c:pt idx="3922">
                  <c:v>44573</c:v>
                </c:pt>
                <c:pt idx="3923">
                  <c:v>44574</c:v>
                </c:pt>
                <c:pt idx="3924">
                  <c:v>44575</c:v>
                </c:pt>
                <c:pt idx="3925">
                  <c:v>44578</c:v>
                </c:pt>
                <c:pt idx="3926">
                  <c:v>44579</c:v>
                </c:pt>
                <c:pt idx="3927">
                  <c:v>44580</c:v>
                </c:pt>
                <c:pt idx="3928">
                  <c:v>44581</c:v>
                </c:pt>
                <c:pt idx="3929">
                  <c:v>44582</c:v>
                </c:pt>
                <c:pt idx="3930">
                  <c:v>44585</c:v>
                </c:pt>
                <c:pt idx="3931">
                  <c:v>44586</c:v>
                </c:pt>
                <c:pt idx="3932">
                  <c:v>44587</c:v>
                </c:pt>
                <c:pt idx="3933">
                  <c:v>44588</c:v>
                </c:pt>
                <c:pt idx="3934">
                  <c:v>44589</c:v>
                </c:pt>
                <c:pt idx="3935">
                  <c:v>44592</c:v>
                </c:pt>
                <c:pt idx="3936">
                  <c:v>44593</c:v>
                </c:pt>
                <c:pt idx="3937">
                  <c:v>44594</c:v>
                </c:pt>
                <c:pt idx="3938">
                  <c:v>44595</c:v>
                </c:pt>
                <c:pt idx="3939">
                  <c:v>44596</c:v>
                </c:pt>
                <c:pt idx="3940">
                  <c:v>44599</c:v>
                </c:pt>
                <c:pt idx="3941">
                  <c:v>44600</c:v>
                </c:pt>
                <c:pt idx="3942">
                  <c:v>44601</c:v>
                </c:pt>
                <c:pt idx="3943">
                  <c:v>44602</c:v>
                </c:pt>
                <c:pt idx="3944">
                  <c:v>44603</c:v>
                </c:pt>
                <c:pt idx="3945">
                  <c:v>44606</c:v>
                </c:pt>
                <c:pt idx="3946">
                  <c:v>44607</c:v>
                </c:pt>
                <c:pt idx="3947">
                  <c:v>44608</c:v>
                </c:pt>
                <c:pt idx="3948">
                  <c:v>44609</c:v>
                </c:pt>
                <c:pt idx="3949">
                  <c:v>44610</c:v>
                </c:pt>
                <c:pt idx="3950">
                  <c:v>44613</c:v>
                </c:pt>
                <c:pt idx="3951">
                  <c:v>44614</c:v>
                </c:pt>
                <c:pt idx="3952">
                  <c:v>44615</c:v>
                </c:pt>
                <c:pt idx="3953">
                  <c:v>44616</c:v>
                </c:pt>
                <c:pt idx="3954">
                  <c:v>44617</c:v>
                </c:pt>
                <c:pt idx="3955">
                  <c:v>44620</c:v>
                </c:pt>
                <c:pt idx="3956">
                  <c:v>44621</c:v>
                </c:pt>
                <c:pt idx="3957">
                  <c:v>44622</c:v>
                </c:pt>
                <c:pt idx="3958">
                  <c:v>44623</c:v>
                </c:pt>
                <c:pt idx="3959">
                  <c:v>44624</c:v>
                </c:pt>
                <c:pt idx="3960">
                  <c:v>44627</c:v>
                </c:pt>
                <c:pt idx="3961">
                  <c:v>44628</c:v>
                </c:pt>
                <c:pt idx="3962">
                  <c:v>44629</c:v>
                </c:pt>
                <c:pt idx="3963">
                  <c:v>44630</c:v>
                </c:pt>
                <c:pt idx="3964">
                  <c:v>44631</c:v>
                </c:pt>
                <c:pt idx="3965">
                  <c:v>44634</c:v>
                </c:pt>
                <c:pt idx="3966">
                  <c:v>44635</c:v>
                </c:pt>
                <c:pt idx="3967">
                  <c:v>44636</c:v>
                </c:pt>
                <c:pt idx="3968">
                  <c:v>44637</c:v>
                </c:pt>
                <c:pt idx="3969">
                  <c:v>44638</c:v>
                </c:pt>
                <c:pt idx="3970">
                  <c:v>44641</c:v>
                </c:pt>
                <c:pt idx="3971">
                  <c:v>44642</c:v>
                </c:pt>
                <c:pt idx="3972">
                  <c:v>44643</c:v>
                </c:pt>
                <c:pt idx="3973">
                  <c:v>44644</c:v>
                </c:pt>
                <c:pt idx="3974">
                  <c:v>44645</c:v>
                </c:pt>
                <c:pt idx="3975">
                  <c:v>44648</c:v>
                </c:pt>
                <c:pt idx="3976">
                  <c:v>44649</c:v>
                </c:pt>
                <c:pt idx="3977">
                  <c:v>44650</c:v>
                </c:pt>
                <c:pt idx="3978">
                  <c:v>44651</c:v>
                </c:pt>
                <c:pt idx="3979">
                  <c:v>44652</c:v>
                </c:pt>
                <c:pt idx="3980">
                  <c:v>44655</c:v>
                </c:pt>
                <c:pt idx="3981">
                  <c:v>44656</c:v>
                </c:pt>
                <c:pt idx="3982">
                  <c:v>44657</c:v>
                </c:pt>
                <c:pt idx="3983">
                  <c:v>44658</c:v>
                </c:pt>
                <c:pt idx="3984">
                  <c:v>44659</c:v>
                </c:pt>
                <c:pt idx="3985">
                  <c:v>44662</c:v>
                </c:pt>
                <c:pt idx="3986">
                  <c:v>44663</c:v>
                </c:pt>
                <c:pt idx="3987">
                  <c:v>44664</c:v>
                </c:pt>
                <c:pt idx="3988">
                  <c:v>44665</c:v>
                </c:pt>
                <c:pt idx="3989">
                  <c:v>44666</c:v>
                </c:pt>
                <c:pt idx="3990">
                  <c:v>44669</c:v>
                </c:pt>
                <c:pt idx="3991">
                  <c:v>44670</c:v>
                </c:pt>
                <c:pt idx="3992">
                  <c:v>44671</c:v>
                </c:pt>
                <c:pt idx="3993">
                  <c:v>44672</c:v>
                </c:pt>
                <c:pt idx="3994">
                  <c:v>44673</c:v>
                </c:pt>
                <c:pt idx="3995">
                  <c:v>44676</c:v>
                </c:pt>
                <c:pt idx="3996">
                  <c:v>44677</c:v>
                </c:pt>
                <c:pt idx="3997">
                  <c:v>44678</c:v>
                </c:pt>
                <c:pt idx="3998">
                  <c:v>44679</c:v>
                </c:pt>
                <c:pt idx="3999">
                  <c:v>44680</c:v>
                </c:pt>
                <c:pt idx="4000">
                  <c:v>44683</c:v>
                </c:pt>
                <c:pt idx="4001">
                  <c:v>44684</c:v>
                </c:pt>
                <c:pt idx="4002">
                  <c:v>44685</c:v>
                </c:pt>
                <c:pt idx="4003">
                  <c:v>44686</c:v>
                </c:pt>
                <c:pt idx="4004">
                  <c:v>44687</c:v>
                </c:pt>
                <c:pt idx="4005">
                  <c:v>44690</c:v>
                </c:pt>
                <c:pt idx="4006">
                  <c:v>44691</c:v>
                </c:pt>
                <c:pt idx="4007">
                  <c:v>44692</c:v>
                </c:pt>
                <c:pt idx="4008">
                  <c:v>44693</c:v>
                </c:pt>
                <c:pt idx="4009">
                  <c:v>44694</c:v>
                </c:pt>
                <c:pt idx="4010">
                  <c:v>44697</c:v>
                </c:pt>
                <c:pt idx="4011">
                  <c:v>44698</c:v>
                </c:pt>
                <c:pt idx="4012">
                  <c:v>44699</c:v>
                </c:pt>
                <c:pt idx="4013">
                  <c:v>44700</c:v>
                </c:pt>
                <c:pt idx="4014">
                  <c:v>44701</c:v>
                </c:pt>
                <c:pt idx="4015">
                  <c:v>44704</c:v>
                </c:pt>
                <c:pt idx="4016">
                  <c:v>44705</c:v>
                </c:pt>
                <c:pt idx="4017">
                  <c:v>44706</c:v>
                </c:pt>
                <c:pt idx="4018">
                  <c:v>44707</c:v>
                </c:pt>
                <c:pt idx="4019">
                  <c:v>44708</c:v>
                </c:pt>
                <c:pt idx="4020">
                  <c:v>44711</c:v>
                </c:pt>
                <c:pt idx="4021">
                  <c:v>44712</c:v>
                </c:pt>
                <c:pt idx="4022">
                  <c:v>44713</c:v>
                </c:pt>
                <c:pt idx="4023">
                  <c:v>44714</c:v>
                </c:pt>
                <c:pt idx="4024">
                  <c:v>44715</c:v>
                </c:pt>
                <c:pt idx="4025">
                  <c:v>44718</c:v>
                </c:pt>
                <c:pt idx="4026">
                  <c:v>44719</c:v>
                </c:pt>
                <c:pt idx="4027">
                  <c:v>44720</c:v>
                </c:pt>
                <c:pt idx="4028">
                  <c:v>44721</c:v>
                </c:pt>
                <c:pt idx="4029">
                  <c:v>44722</c:v>
                </c:pt>
                <c:pt idx="4030">
                  <c:v>44725</c:v>
                </c:pt>
                <c:pt idx="4031">
                  <c:v>44726</c:v>
                </c:pt>
                <c:pt idx="4032">
                  <c:v>44727</c:v>
                </c:pt>
                <c:pt idx="4033">
                  <c:v>44728</c:v>
                </c:pt>
                <c:pt idx="4034">
                  <c:v>44729</c:v>
                </c:pt>
                <c:pt idx="4035">
                  <c:v>44732</c:v>
                </c:pt>
                <c:pt idx="4036">
                  <c:v>44733</c:v>
                </c:pt>
                <c:pt idx="4037">
                  <c:v>44734</c:v>
                </c:pt>
                <c:pt idx="4038">
                  <c:v>44735</c:v>
                </c:pt>
                <c:pt idx="4039">
                  <c:v>44736</c:v>
                </c:pt>
                <c:pt idx="4040">
                  <c:v>44739</c:v>
                </c:pt>
                <c:pt idx="4041">
                  <c:v>44740</c:v>
                </c:pt>
                <c:pt idx="4042">
                  <c:v>44741</c:v>
                </c:pt>
                <c:pt idx="4043">
                  <c:v>44742</c:v>
                </c:pt>
                <c:pt idx="4044">
                  <c:v>44743</c:v>
                </c:pt>
                <c:pt idx="4045">
                  <c:v>44746</c:v>
                </c:pt>
                <c:pt idx="4046">
                  <c:v>44747</c:v>
                </c:pt>
                <c:pt idx="4047">
                  <c:v>44748</c:v>
                </c:pt>
                <c:pt idx="4048">
                  <c:v>44749</c:v>
                </c:pt>
                <c:pt idx="4049">
                  <c:v>44750</c:v>
                </c:pt>
                <c:pt idx="4050">
                  <c:v>44753</c:v>
                </c:pt>
                <c:pt idx="4051">
                  <c:v>44754</c:v>
                </c:pt>
                <c:pt idx="4052">
                  <c:v>44755</c:v>
                </c:pt>
                <c:pt idx="4053">
                  <c:v>44756</c:v>
                </c:pt>
                <c:pt idx="4054">
                  <c:v>44757</c:v>
                </c:pt>
                <c:pt idx="4055">
                  <c:v>44760</c:v>
                </c:pt>
                <c:pt idx="4056">
                  <c:v>44761</c:v>
                </c:pt>
                <c:pt idx="4057">
                  <c:v>44762</c:v>
                </c:pt>
                <c:pt idx="4058">
                  <c:v>44763</c:v>
                </c:pt>
                <c:pt idx="4059">
                  <c:v>44764</c:v>
                </c:pt>
                <c:pt idx="4060">
                  <c:v>44767</c:v>
                </c:pt>
                <c:pt idx="4061">
                  <c:v>44768</c:v>
                </c:pt>
                <c:pt idx="4062">
                  <c:v>44769</c:v>
                </c:pt>
                <c:pt idx="4063">
                  <c:v>44770</c:v>
                </c:pt>
                <c:pt idx="4064">
                  <c:v>44771</c:v>
                </c:pt>
                <c:pt idx="4065">
                  <c:v>44774</c:v>
                </c:pt>
                <c:pt idx="4066">
                  <c:v>44775</c:v>
                </c:pt>
                <c:pt idx="4067">
                  <c:v>44776</c:v>
                </c:pt>
                <c:pt idx="4068">
                  <c:v>44777</c:v>
                </c:pt>
                <c:pt idx="4069">
                  <c:v>44778</c:v>
                </c:pt>
                <c:pt idx="4070">
                  <c:v>44781</c:v>
                </c:pt>
                <c:pt idx="4071">
                  <c:v>44782</c:v>
                </c:pt>
                <c:pt idx="4072">
                  <c:v>44783</c:v>
                </c:pt>
                <c:pt idx="4073">
                  <c:v>44784</c:v>
                </c:pt>
                <c:pt idx="4074">
                  <c:v>44785</c:v>
                </c:pt>
                <c:pt idx="4075">
                  <c:v>44788</c:v>
                </c:pt>
                <c:pt idx="4076">
                  <c:v>44789</c:v>
                </c:pt>
                <c:pt idx="4077">
                  <c:v>44790</c:v>
                </c:pt>
                <c:pt idx="4078">
                  <c:v>44791</c:v>
                </c:pt>
                <c:pt idx="4079">
                  <c:v>44792</c:v>
                </c:pt>
                <c:pt idx="4080">
                  <c:v>44795</c:v>
                </c:pt>
                <c:pt idx="4081">
                  <c:v>44796</c:v>
                </c:pt>
                <c:pt idx="4082">
                  <c:v>44797</c:v>
                </c:pt>
                <c:pt idx="4083">
                  <c:v>44798</c:v>
                </c:pt>
                <c:pt idx="4084">
                  <c:v>44799</c:v>
                </c:pt>
                <c:pt idx="4085">
                  <c:v>44802</c:v>
                </c:pt>
                <c:pt idx="4086">
                  <c:v>44803</c:v>
                </c:pt>
                <c:pt idx="4087">
                  <c:v>44804</c:v>
                </c:pt>
                <c:pt idx="4088">
                  <c:v>44805</c:v>
                </c:pt>
                <c:pt idx="4089">
                  <c:v>44806</c:v>
                </c:pt>
                <c:pt idx="4090">
                  <c:v>44809</c:v>
                </c:pt>
                <c:pt idx="4091">
                  <c:v>44810</c:v>
                </c:pt>
                <c:pt idx="4092">
                  <c:v>44811</c:v>
                </c:pt>
                <c:pt idx="4093">
                  <c:v>44812</c:v>
                </c:pt>
                <c:pt idx="4094">
                  <c:v>44813</c:v>
                </c:pt>
                <c:pt idx="4095">
                  <c:v>44816</c:v>
                </c:pt>
                <c:pt idx="4096">
                  <c:v>44817</c:v>
                </c:pt>
                <c:pt idx="4097">
                  <c:v>44818</c:v>
                </c:pt>
                <c:pt idx="4098">
                  <c:v>44819</c:v>
                </c:pt>
                <c:pt idx="4099">
                  <c:v>44820</c:v>
                </c:pt>
                <c:pt idx="4100">
                  <c:v>44823</c:v>
                </c:pt>
                <c:pt idx="4101">
                  <c:v>44824</c:v>
                </c:pt>
                <c:pt idx="4102">
                  <c:v>44825</c:v>
                </c:pt>
                <c:pt idx="4103">
                  <c:v>44826</c:v>
                </c:pt>
                <c:pt idx="4104">
                  <c:v>44827</c:v>
                </c:pt>
                <c:pt idx="4105">
                  <c:v>44830</c:v>
                </c:pt>
                <c:pt idx="4106">
                  <c:v>44831</c:v>
                </c:pt>
                <c:pt idx="4107">
                  <c:v>44832</c:v>
                </c:pt>
                <c:pt idx="4108">
                  <c:v>44833</c:v>
                </c:pt>
                <c:pt idx="4109">
                  <c:v>44834</c:v>
                </c:pt>
                <c:pt idx="4110">
                  <c:v>44837</c:v>
                </c:pt>
                <c:pt idx="4111">
                  <c:v>44838</c:v>
                </c:pt>
                <c:pt idx="4112">
                  <c:v>44839</c:v>
                </c:pt>
                <c:pt idx="4113">
                  <c:v>44840</c:v>
                </c:pt>
                <c:pt idx="4114">
                  <c:v>44841</c:v>
                </c:pt>
                <c:pt idx="4115">
                  <c:v>44844</c:v>
                </c:pt>
                <c:pt idx="4116">
                  <c:v>44845</c:v>
                </c:pt>
                <c:pt idx="4117">
                  <c:v>44846</c:v>
                </c:pt>
                <c:pt idx="4118">
                  <c:v>44847</c:v>
                </c:pt>
                <c:pt idx="4119">
                  <c:v>44848</c:v>
                </c:pt>
                <c:pt idx="4120">
                  <c:v>44851</c:v>
                </c:pt>
                <c:pt idx="4121">
                  <c:v>44852</c:v>
                </c:pt>
                <c:pt idx="4122">
                  <c:v>44853</c:v>
                </c:pt>
                <c:pt idx="4123">
                  <c:v>44854</c:v>
                </c:pt>
                <c:pt idx="4124">
                  <c:v>44855</c:v>
                </c:pt>
                <c:pt idx="4125">
                  <c:v>44858</c:v>
                </c:pt>
                <c:pt idx="4126">
                  <c:v>44859</c:v>
                </c:pt>
                <c:pt idx="4127">
                  <c:v>44860</c:v>
                </c:pt>
                <c:pt idx="4128">
                  <c:v>44861</c:v>
                </c:pt>
                <c:pt idx="4129">
                  <c:v>44862</c:v>
                </c:pt>
                <c:pt idx="4130">
                  <c:v>44865</c:v>
                </c:pt>
                <c:pt idx="4131">
                  <c:v>44866</c:v>
                </c:pt>
                <c:pt idx="4132">
                  <c:v>44867</c:v>
                </c:pt>
                <c:pt idx="4133">
                  <c:v>44868</c:v>
                </c:pt>
                <c:pt idx="4134">
                  <c:v>44869</c:v>
                </c:pt>
                <c:pt idx="4135">
                  <c:v>44872</c:v>
                </c:pt>
                <c:pt idx="4136">
                  <c:v>44873</c:v>
                </c:pt>
                <c:pt idx="4137">
                  <c:v>44874</c:v>
                </c:pt>
                <c:pt idx="4138">
                  <c:v>44875</c:v>
                </c:pt>
                <c:pt idx="4139">
                  <c:v>44876</c:v>
                </c:pt>
                <c:pt idx="4140">
                  <c:v>44879</c:v>
                </c:pt>
                <c:pt idx="4141">
                  <c:v>44880</c:v>
                </c:pt>
                <c:pt idx="4142">
                  <c:v>44881</c:v>
                </c:pt>
                <c:pt idx="4143">
                  <c:v>44882</c:v>
                </c:pt>
                <c:pt idx="4144">
                  <c:v>44883</c:v>
                </c:pt>
                <c:pt idx="4145">
                  <c:v>44886</c:v>
                </c:pt>
                <c:pt idx="4146">
                  <c:v>44887</c:v>
                </c:pt>
                <c:pt idx="4147">
                  <c:v>44888</c:v>
                </c:pt>
                <c:pt idx="4148">
                  <c:v>44889</c:v>
                </c:pt>
                <c:pt idx="4149">
                  <c:v>44890</c:v>
                </c:pt>
                <c:pt idx="4150">
                  <c:v>44893</c:v>
                </c:pt>
                <c:pt idx="4151">
                  <c:v>44894</c:v>
                </c:pt>
                <c:pt idx="4152">
                  <c:v>44895</c:v>
                </c:pt>
                <c:pt idx="4153">
                  <c:v>44896</c:v>
                </c:pt>
                <c:pt idx="4154">
                  <c:v>44897</c:v>
                </c:pt>
                <c:pt idx="4155">
                  <c:v>44900</c:v>
                </c:pt>
                <c:pt idx="4156">
                  <c:v>44901</c:v>
                </c:pt>
                <c:pt idx="4157">
                  <c:v>44902</c:v>
                </c:pt>
                <c:pt idx="4158">
                  <c:v>44903</c:v>
                </c:pt>
                <c:pt idx="4159">
                  <c:v>44904</c:v>
                </c:pt>
                <c:pt idx="4160">
                  <c:v>44907</c:v>
                </c:pt>
                <c:pt idx="4161">
                  <c:v>44908</c:v>
                </c:pt>
                <c:pt idx="4162">
                  <c:v>44909</c:v>
                </c:pt>
                <c:pt idx="4163">
                  <c:v>44910</c:v>
                </c:pt>
                <c:pt idx="4164">
                  <c:v>44911</c:v>
                </c:pt>
                <c:pt idx="4165">
                  <c:v>44914</c:v>
                </c:pt>
                <c:pt idx="4166">
                  <c:v>44915</c:v>
                </c:pt>
                <c:pt idx="4167">
                  <c:v>44916</c:v>
                </c:pt>
                <c:pt idx="4168">
                  <c:v>44917</c:v>
                </c:pt>
                <c:pt idx="4169">
                  <c:v>44918</c:v>
                </c:pt>
                <c:pt idx="4170">
                  <c:v>44921</c:v>
                </c:pt>
                <c:pt idx="4171">
                  <c:v>44922</c:v>
                </c:pt>
                <c:pt idx="4172">
                  <c:v>44923</c:v>
                </c:pt>
                <c:pt idx="4173">
                  <c:v>44924</c:v>
                </c:pt>
                <c:pt idx="4174">
                  <c:v>44925</c:v>
                </c:pt>
                <c:pt idx="4175">
                  <c:v>44928</c:v>
                </c:pt>
                <c:pt idx="4176">
                  <c:v>44929</c:v>
                </c:pt>
                <c:pt idx="4177">
                  <c:v>44930</c:v>
                </c:pt>
                <c:pt idx="4178">
                  <c:v>44931</c:v>
                </c:pt>
                <c:pt idx="4179">
                  <c:v>44932</c:v>
                </c:pt>
                <c:pt idx="4180">
                  <c:v>44935</c:v>
                </c:pt>
                <c:pt idx="4181">
                  <c:v>44936</c:v>
                </c:pt>
                <c:pt idx="4182">
                  <c:v>44937</c:v>
                </c:pt>
                <c:pt idx="4183">
                  <c:v>44938</c:v>
                </c:pt>
                <c:pt idx="4184">
                  <c:v>44939</c:v>
                </c:pt>
                <c:pt idx="4185">
                  <c:v>44942</c:v>
                </c:pt>
                <c:pt idx="4186">
                  <c:v>44943</c:v>
                </c:pt>
                <c:pt idx="4187">
                  <c:v>44944</c:v>
                </c:pt>
                <c:pt idx="4188">
                  <c:v>44945</c:v>
                </c:pt>
                <c:pt idx="4189">
                  <c:v>44946</c:v>
                </c:pt>
                <c:pt idx="4190">
                  <c:v>44949</c:v>
                </c:pt>
                <c:pt idx="4191">
                  <c:v>44950</c:v>
                </c:pt>
                <c:pt idx="4192">
                  <c:v>44951</c:v>
                </c:pt>
                <c:pt idx="4193">
                  <c:v>44952</c:v>
                </c:pt>
                <c:pt idx="4194">
                  <c:v>44953</c:v>
                </c:pt>
                <c:pt idx="4195">
                  <c:v>44956</c:v>
                </c:pt>
                <c:pt idx="4196">
                  <c:v>44957</c:v>
                </c:pt>
                <c:pt idx="4197">
                  <c:v>44958</c:v>
                </c:pt>
                <c:pt idx="4198">
                  <c:v>44959</c:v>
                </c:pt>
                <c:pt idx="4199">
                  <c:v>44960</c:v>
                </c:pt>
                <c:pt idx="4200">
                  <c:v>44963</c:v>
                </c:pt>
                <c:pt idx="4201">
                  <c:v>44964</c:v>
                </c:pt>
                <c:pt idx="4202">
                  <c:v>44965</c:v>
                </c:pt>
                <c:pt idx="4203">
                  <c:v>44966</c:v>
                </c:pt>
                <c:pt idx="4204">
                  <c:v>44967</c:v>
                </c:pt>
                <c:pt idx="4205">
                  <c:v>44970</c:v>
                </c:pt>
                <c:pt idx="4206">
                  <c:v>44971</c:v>
                </c:pt>
                <c:pt idx="4207">
                  <c:v>44972</c:v>
                </c:pt>
                <c:pt idx="4208">
                  <c:v>44973</c:v>
                </c:pt>
                <c:pt idx="4209">
                  <c:v>44974</c:v>
                </c:pt>
                <c:pt idx="4210">
                  <c:v>44977</c:v>
                </c:pt>
                <c:pt idx="4211">
                  <c:v>44978</c:v>
                </c:pt>
                <c:pt idx="4212">
                  <c:v>44979</c:v>
                </c:pt>
                <c:pt idx="4213">
                  <c:v>44980</c:v>
                </c:pt>
                <c:pt idx="4214">
                  <c:v>44981</c:v>
                </c:pt>
                <c:pt idx="4215">
                  <c:v>44984</c:v>
                </c:pt>
                <c:pt idx="4216">
                  <c:v>44985</c:v>
                </c:pt>
                <c:pt idx="4217">
                  <c:v>44986</c:v>
                </c:pt>
                <c:pt idx="4218">
                  <c:v>44987</c:v>
                </c:pt>
                <c:pt idx="4219">
                  <c:v>44988</c:v>
                </c:pt>
                <c:pt idx="4220">
                  <c:v>44991</c:v>
                </c:pt>
                <c:pt idx="4221">
                  <c:v>44992</c:v>
                </c:pt>
                <c:pt idx="4222">
                  <c:v>44993</c:v>
                </c:pt>
                <c:pt idx="4223">
                  <c:v>44994</c:v>
                </c:pt>
                <c:pt idx="4224">
                  <c:v>44995</c:v>
                </c:pt>
                <c:pt idx="4225">
                  <c:v>44998</c:v>
                </c:pt>
                <c:pt idx="4226">
                  <c:v>44999</c:v>
                </c:pt>
                <c:pt idx="4227">
                  <c:v>45000</c:v>
                </c:pt>
                <c:pt idx="4228">
                  <c:v>45001</c:v>
                </c:pt>
                <c:pt idx="4229">
                  <c:v>45002</c:v>
                </c:pt>
                <c:pt idx="4230">
                  <c:v>45005</c:v>
                </c:pt>
                <c:pt idx="4231">
                  <c:v>45006</c:v>
                </c:pt>
                <c:pt idx="4232">
                  <c:v>45007</c:v>
                </c:pt>
                <c:pt idx="4233">
                  <c:v>45008</c:v>
                </c:pt>
                <c:pt idx="4234">
                  <c:v>45009</c:v>
                </c:pt>
                <c:pt idx="4235">
                  <c:v>45012</c:v>
                </c:pt>
                <c:pt idx="4236">
                  <c:v>45013</c:v>
                </c:pt>
                <c:pt idx="4237">
                  <c:v>45014</c:v>
                </c:pt>
                <c:pt idx="4238">
                  <c:v>45015</c:v>
                </c:pt>
                <c:pt idx="4239">
                  <c:v>45016</c:v>
                </c:pt>
                <c:pt idx="4240">
                  <c:v>45019</c:v>
                </c:pt>
                <c:pt idx="4241">
                  <c:v>45020</c:v>
                </c:pt>
                <c:pt idx="4242">
                  <c:v>45021</c:v>
                </c:pt>
                <c:pt idx="4243">
                  <c:v>45022</c:v>
                </c:pt>
                <c:pt idx="4244">
                  <c:v>45023</c:v>
                </c:pt>
                <c:pt idx="4245">
                  <c:v>45026</c:v>
                </c:pt>
                <c:pt idx="4246">
                  <c:v>45027</c:v>
                </c:pt>
                <c:pt idx="4247">
                  <c:v>45028</c:v>
                </c:pt>
                <c:pt idx="4248">
                  <c:v>45029</c:v>
                </c:pt>
                <c:pt idx="4249">
                  <c:v>45030</c:v>
                </c:pt>
                <c:pt idx="4250">
                  <c:v>45033</c:v>
                </c:pt>
                <c:pt idx="4251">
                  <c:v>45034</c:v>
                </c:pt>
                <c:pt idx="4252">
                  <c:v>45035</c:v>
                </c:pt>
                <c:pt idx="4253">
                  <c:v>45036</c:v>
                </c:pt>
                <c:pt idx="4254">
                  <c:v>45037</c:v>
                </c:pt>
                <c:pt idx="4255">
                  <c:v>45040</c:v>
                </c:pt>
                <c:pt idx="4256">
                  <c:v>45041</c:v>
                </c:pt>
                <c:pt idx="4257">
                  <c:v>45042</c:v>
                </c:pt>
                <c:pt idx="4258">
                  <c:v>45043</c:v>
                </c:pt>
                <c:pt idx="4259">
                  <c:v>45044</c:v>
                </c:pt>
                <c:pt idx="4260">
                  <c:v>45047</c:v>
                </c:pt>
                <c:pt idx="4261">
                  <c:v>45048</c:v>
                </c:pt>
                <c:pt idx="4262">
                  <c:v>45049</c:v>
                </c:pt>
                <c:pt idx="4263">
                  <c:v>45050</c:v>
                </c:pt>
                <c:pt idx="4264">
                  <c:v>45051</c:v>
                </c:pt>
                <c:pt idx="4265">
                  <c:v>45054</c:v>
                </c:pt>
                <c:pt idx="4266">
                  <c:v>45055</c:v>
                </c:pt>
                <c:pt idx="4267">
                  <c:v>45056</c:v>
                </c:pt>
                <c:pt idx="4268">
                  <c:v>45057</c:v>
                </c:pt>
                <c:pt idx="4269">
                  <c:v>45058</c:v>
                </c:pt>
                <c:pt idx="4270">
                  <c:v>45061</c:v>
                </c:pt>
                <c:pt idx="4271">
                  <c:v>45062</c:v>
                </c:pt>
                <c:pt idx="4272">
                  <c:v>45063</c:v>
                </c:pt>
                <c:pt idx="4273">
                  <c:v>45064</c:v>
                </c:pt>
                <c:pt idx="4274">
                  <c:v>45065</c:v>
                </c:pt>
                <c:pt idx="4275">
                  <c:v>45068</c:v>
                </c:pt>
                <c:pt idx="4276">
                  <c:v>45069</c:v>
                </c:pt>
                <c:pt idx="4277">
                  <c:v>45070</c:v>
                </c:pt>
                <c:pt idx="4278">
                  <c:v>45071</c:v>
                </c:pt>
                <c:pt idx="4279">
                  <c:v>45072</c:v>
                </c:pt>
                <c:pt idx="4280">
                  <c:v>45075</c:v>
                </c:pt>
                <c:pt idx="4281">
                  <c:v>45076</c:v>
                </c:pt>
                <c:pt idx="4282">
                  <c:v>45077</c:v>
                </c:pt>
                <c:pt idx="4283">
                  <c:v>45078</c:v>
                </c:pt>
                <c:pt idx="4284">
                  <c:v>45079</c:v>
                </c:pt>
                <c:pt idx="4285">
                  <c:v>45082</c:v>
                </c:pt>
                <c:pt idx="4286">
                  <c:v>45083</c:v>
                </c:pt>
                <c:pt idx="4287">
                  <c:v>45084</c:v>
                </c:pt>
                <c:pt idx="4288">
                  <c:v>45085</c:v>
                </c:pt>
                <c:pt idx="4289">
                  <c:v>45086</c:v>
                </c:pt>
                <c:pt idx="4290">
                  <c:v>45089</c:v>
                </c:pt>
                <c:pt idx="4291">
                  <c:v>45090</c:v>
                </c:pt>
                <c:pt idx="4292">
                  <c:v>45091</c:v>
                </c:pt>
                <c:pt idx="4293">
                  <c:v>45092</c:v>
                </c:pt>
                <c:pt idx="4294">
                  <c:v>45093</c:v>
                </c:pt>
                <c:pt idx="4295">
                  <c:v>45096</c:v>
                </c:pt>
                <c:pt idx="4296">
                  <c:v>45097</c:v>
                </c:pt>
                <c:pt idx="4297">
                  <c:v>45098</c:v>
                </c:pt>
                <c:pt idx="4298">
                  <c:v>45099</c:v>
                </c:pt>
                <c:pt idx="4299">
                  <c:v>45100</c:v>
                </c:pt>
                <c:pt idx="4300">
                  <c:v>45103</c:v>
                </c:pt>
                <c:pt idx="4301">
                  <c:v>45104</c:v>
                </c:pt>
                <c:pt idx="4302">
                  <c:v>45105</c:v>
                </c:pt>
                <c:pt idx="4303">
                  <c:v>45106</c:v>
                </c:pt>
                <c:pt idx="4304">
                  <c:v>45107</c:v>
                </c:pt>
                <c:pt idx="4305">
                  <c:v>45110</c:v>
                </c:pt>
                <c:pt idx="4306">
                  <c:v>45111</c:v>
                </c:pt>
                <c:pt idx="4307">
                  <c:v>45112</c:v>
                </c:pt>
                <c:pt idx="4308">
                  <c:v>45113</c:v>
                </c:pt>
                <c:pt idx="4309">
                  <c:v>45114</c:v>
                </c:pt>
                <c:pt idx="4310">
                  <c:v>45117</c:v>
                </c:pt>
                <c:pt idx="4311">
                  <c:v>45118</c:v>
                </c:pt>
                <c:pt idx="4312">
                  <c:v>45119</c:v>
                </c:pt>
                <c:pt idx="4313">
                  <c:v>45120</c:v>
                </c:pt>
                <c:pt idx="4314">
                  <c:v>45121</c:v>
                </c:pt>
                <c:pt idx="4315">
                  <c:v>45124</c:v>
                </c:pt>
                <c:pt idx="4316">
                  <c:v>45125</c:v>
                </c:pt>
                <c:pt idx="4317">
                  <c:v>45126</c:v>
                </c:pt>
                <c:pt idx="4318">
                  <c:v>45127</c:v>
                </c:pt>
                <c:pt idx="4319">
                  <c:v>45128</c:v>
                </c:pt>
                <c:pt idx="4320">
                  <c:v>45131</c:v>
                </c:pt>
                <c:pt idx="4321">
                  <c:v>45132</c:v>
                </c:pt>
                <c:pt idx="4322">
                  <c:v>45133</c:v>
                </c:pt>
                <c:pt idx="4323">
                  <c:v>45134</c:v>
                </c:pt>
                <c:pt idx="4324">
                  <c:v>45135</c:v>
                </c:pt>
                <c:pt idx="4325">
                  <c:v>45138</c:v>
                </c:pt>
                <c:pt idx="4326">
                  <c:v>45139</c:v>
                </c:pt>
                <c:pt idx="4327">
                  <c:v>45140</c:v>
                </c:pt>
                <c:pt idx="4328">
                  <c:v>45141</c:v>
                </c:pt>
                <c:pt idx="4329">
                  <c:v>45142</c:v>
                </c:pt>
                <c:pt idx="4330">
                  <c:v>45145</c:v>
                </c:pt>
                <c:pt idx="4331">
                  <c:v>45146</c:v>
                </c:pt>
                <c:pt idx="4332">
                  <c:v>45147</c:v>
                </c:pt>
                <c:pt idx="4333">
                  <c:v>45148</c:v>
                </c:pt>
                <c:pt idx="4334">
                  <c:v>45149</c:v>
                </c:pt>
                <c:pt idx="4335">
                  <c:v>45152</c:v>
                </c:pt>
                <c:pt idx="4336">
                  <c:v>45153</c:v>
                </c:pt>
                <c:pt idx="4337">
                  <c:v>45154</c:v>
                </c:pt>
                <c:pt idx="4338">
                  <c:v>45155</c:v>
                </c:pt>
                <c:pt idx="4339">
                  <c:v>45156</c:v>
                </c:pt>
                <c:pt idx="4340">
                  <c:v>45159</c:v>
                </c:pt>
                <c:pt idx="4341">
                  <c:v>45160</c:v>
                </c:pt>
                <c:pt idx="4342">
                  <c:v>45161</c:v>
                </c:pt>
                <c:pt idx="4343">
                  <c:v>45162</c:v>
                </c:pt>
                <c:pt idx="4344">
                  <c:v>45163</c:v>
                </c:pt>
                <c:pt idx="4345">
                  <c:v>45166</c:v>
                </c:pt>
                <c:pt idx="4346">
                  <c:v>45167</c:v>
                </c:pt>
                <c:pt idx="4347">
                  <c:v>45168</c:v>
                </c:pt>
                <c:pt idx="4348">
                  <c:v>45169</c:v>
                </c:pt>
                <c:pt idx="4349">
                  <c:v>45170</c:v>
                </c:pt>
                <c:pt idx="4350">
                  <c:v>45173</c:v>
                </c:pt>
                <c:pt idx="4351">
                  <c:v>45174</c:v>
                </c:pt>
                <c:pt idx="4352">
                  <c:v>45175</c:v>
                </c:pt>
                <c:pt idx="4353">
                  <c:v>45176</c:v>
                </c:pt>
                <c:pt idx="4354">
                  <c:v>45177</c:v>
                </c:pt>
                <c:pt idx="4355">
                  <c:v>45180</c:v>
                </c:pt>
                <c:pt idx="4356">
                  <c:v>45181</c:v>
                </c:pt>
                <c:pt idx="4357">
                  <c:v>45182</c:v>
                </c:pt>
                <c:pt idx="4358">
                  <c:v>45183</c:v>
                </c:pt>
                <c:pt idx="4359">
                  <c:v>45184</c:v>
                </c:pt>
                <c:pt idx="4360">
                  <c:v>45187</c:v>
                </c:pt>
                <c:pt idx="4361">
                  <c:v>45188</c:v>
                </c:pt>
                <c:pt idx="4362">
                  <c:v>45189</c:v>
                </c:pt>
                <c:pt idx="4363">
                  <c:v>45190</c:v>
                </c:pt>
                <c:pt idx="4364">
                  <c:v>45191</c:v>
                </c:pt>
                <c:pt idx="4365">
                  <c:v>45194</c:v>
                </c:pt>
                <c:pt idx="4366">
                  <c:v>45195</c:v>
                </c:pt>
                <c:pt idx="4367">
                  <c:v>45196</c:v>
                </c:pt>
                <c:pt idx="4368">
                  <c:v>45197</c:v>
                </c:pt>
                <c:pt idx="4369">
                  <c:v>45198</c:v>
                </c:pt>
                <c:pt idx="4370">
                  <c:v>45201</c:v>
                </c:pt>
                <c:pt idx="4371">
                  <c:v>45202</c:v>
                </c:pt>
                <c:pt idx="4372">
                  <c:v>45203</c:v>
                </c:pt>
                <c:pt idx="4373">
                  <c:v>45204</c:v>
                </c:pt>
                <c:pt idx="4374">
                  <c:v>45205</c:v>
                </c:pt>
                <c:pt idx="4375">
                  <c:v>45208</c:v>
                </c:pt>
                <c:pt idx="4376">
                  <c:v>45209</c:v>
                </c:pt>
                <c:pt idx="4377">
                  <c:v>45210</c:v>
                </c:pt>
                <c:pt idx="4378">
                  <c:v>45211</c:v>
                </c:pt>
                <c:pt idx="4379">
                  <c:v>45212</c:v>
                </c:pt>
                <c:pt idx="4380">
                  <c:v>45215</c:v>
                </c:pt>
                <c:pt idx="4381">
                  <c:v>45216</c:v>
                </c:pt>
                <c:pt idx="4382">
                  <c:v>45217</c:v>
                </c:pt>
                <c:pt idx="4383">
                  <c:v>45218</c:v>
                </c:pt>
                <c:pt idx="4384">
                  <c:v>45219</c:v>
                </c:pt>
                <c:pt idx="4385">
                  <c:v>45222</c:v>
                </c:pt>
                <c:pt idx="4386">
                  <c:v>45223</c:v>
                </c:pt>
                <c:pt idx="4387">
                  <c:v>45224</c:v>
                </c:pt>
                <c:pt idx="4388">
                  <c:v>45225</c:v>
                </c:pt>
                <c:pt idx="4389">
                  <c:v>45226</c:v>
                </c:pt>
                <c:pt idx="4390">
                  <c:v>45229</c:v>
                </c:pt>
                <c:pt idx="4391">
                  <c:v>45230</c:v>
                </c:pt>
                <c:pt idx="4392">
                  <c:v>45231</c:v>
                </c:pt>
                <c:pt idx="4393">
                  <c:v>45232</c:v>
                </c:pt>
                <c:pt idx="4394">
                  <c:v>45233</c:v>
                </c:pt>
                <c:pt idx="4395">
                  <c:v>45236</c:v>
                </c:pt>
                <c:pt idx="4396">
                  <c:v>45237</c:v>
                </c:pt>
                <c:pt idx="4397">
                  <c:v>45238</c:v>
                </c:pt>
                <c:pt idx="4398">
                  <c:v>45239</c:v>
                </c:pt>
                <c:pt idx="4399">
                  <c:v>45240</c:v>
                </c:pt>
                <c:pt idx="4400">
                  <c:v>45243</c:v>
                </c:pt>
                <c:pt idx="4401">
                  <c:v>45244</c:v>
                </c:pt>
                <c:pt idx="4402">
                  <c:v>45245</c:v>
                </c:pt>
                <c:pt idx="4403">
                  <c:v>45246</c:v>
                </c:pt>
                <c:pt idx="4404">
                  <c:v>45247</c:v>
                </c:pt>
                <c:pt idx="4405">
                  <c:v>45250</c:v>
                </c:pt>
                <c:pt idx="4406">
                  <c:v>45251</c:v>
                </c:pt>
                <c:pt idx="4407">
                  <c:v>45252</c:v>
                </c:pt>
                <c:pt idx="4408">
                  <c:v>45253</c:v>
                </c:pt>
                <c:pt idx="4409">
                  <c:v>45254</c:v>
                </c:pt>
                <c:pt idx="4410">
                  <c:v>45257</c:v>
                </c:pt>
                <c:pt idx="4411">
                  <c:v>45258</c:v>
                </c:pt>
                <c:pt idx="4412">
                  <c:v>45259</c:v>
                </c:pt>
                <c:pt idx="4413">
                  <c:v>45260</c:v>
                </c:pt>
                <c:pt idx="4414">
                  <c:v>45261</c:v>
                </c:pt>
                <c:pt idx="4415">
                  <c:v>45264</c:v>
                </c:pt>
                <c:pt idx="4416">
                  <c:v>45265</c:v>
                </c:pt>
                <c:pt idx="4417">
                  <c:v>45266</c:v>
                </c:pt>
                <c:pt idx="4418">
                  <c:v>45267</c:v>
                </c:pt>
                <c:pt idx="4419">
                  <c:v>45268</c:v>
                </c:pt>
                <c:pt idx="4420">
                  <c:v>45271</c:v>
                </c:pt>
                <c:pt idx="4421">
                  <c:v>45272</c:v>
                </c:pt>
                <c:pt idx="4422">
                  <c:v>45273</c:v>
                </c:pt>
                <c:pt idx="4423">
                  <c:v>45274</c:v>
                </c:pt>
                <c:pt idx="4424">
                  <c:v>45275</c:v>
                </c:pt>
                <c:pt idx="4425">
                  <c:v>45278</c:v>
                </c:pt>
                <c:pt idx="4426">
                  <c:v>45279</c:v>
                </c:pt>
                <c:pt idx="4427">
                  <c:v>45280</c:v>
                </c:pt>
                <c:pt idx="4428">
                  <c:v>45281</c:v>
                </c:pt>
                <c:pt idx="4429">
                  <c:v>45282</c:v>
                </c:pt>
                <c:pt idx="4430">
                  <c:v>45285</c:v>
                </c:pt>
                <c:pt idx="4431">
                  <c:v>45286</c:v>
                </c:pt>
                <c:pt idx="4432">
                  <c:v>45287</c:v>
                </c:pt>
                <c:pt idx="4433">
                  <c:v>45288</c:v>
                </c:pt>
                <c:pt idx="4434">
                  <c:v>45289</c:v>
                </c:pt>
                <c:pt idx="4435">
                  <c:v>45292</c:v>
                </c:pt>
                <c:pt idx="4436">
                  <c:v>45293</c:v>
                </c:pt>
                <c:pt idx="4437">
                  <c:v>45294</c:v>
                </c:pt>
                <c:pt idx="4438">
                  <c:v>45295</c:v>
                </c:pt>
                <c:pt idx="4439">
                  <c:v>45296</c:v>
                </c:pt>
                <c:pt idx="4440">
                  <c:v>45299</c:v>
                </c:pt>
                <c:pt idx="4441">
                  <c:v>45300</c:v>
                </c:pt>
                <c:pt idx="4442">
                  <c:v>45301</c:v>
                </c:pt>
                <c:pt idx="4443">
                  <c:v>45302</c:v>
                </c:pt>
                <c:pt idx="4444">
                  <c:v>45303</c:v>
                </c:pt>
                <c:pt idx="4445">
                  <c:v>45306</c:v>
                </c:pt>
                <c:pt idx="4446">
                  <c:v>45307</c:v>
                </c:pt>
                <c:pt idx="4447">
                  <c:v>45308</c:v>
                </c:pt>
                <c:pt idx="4448">
                  <c:v>45309</c:v>
                </c:pt>
                <c:pt idx="4449">
                  <c:v>45310</c:v>
                </c:pt>
                <c:pt idx="4450">
                  <c:v>45313</c:v>
                </c:pt>
                <c:pt idx="4451">
                  <c:v>45314</c:v>
                </c:pt>
                <c:pt idx="4452">
                  <c:v>45315</c:v>
                </c:pt>
                <c:pt idx="4453">
                  <c:v>45316</c:v>
                </c:pt>
                <c:pt idx="4454">
                  <c:v>45317</c:v>
                </c:pt>
                <c:pt idx="4455">
                  <c:v>45320</c:v>
                </c:pt>
                <c:pt idx="4456">
                  <c:v>45321</c:v>
                </c:pt>
                <c:pt idx="4457">
                  <c:v>45322</c:v>
                </c:pt>
                <c:pt idx="4458">
                  <c:v>45323</c:v>
                </c:pt>
                <c:pt idx="4459">
                  <c:v>45324</c:v>
                </c:pt>
                <c:pt idx="4460">
                  <c:v>45327</c:v>
                </c:pt>
                <c:pt idx="4461">
                  <c:v>45328</c:v>
                </c:pt>
                <c:pt idx="4462">
                  <c:v>45329</c:v>
                </c:pt>
                <c:pt idx="4463">
                  <c:v>45330</c:v>
                </c:pt>
                <c:pt idx="4464">
                  <c:v>45331</c:v>
                </c:pt>
                <c:pt idx="4465">
                  <c:v>45334</c:v>
                </c:pt>
                <c:pt idx="4466">
                  <c:v>45335</c:v>
                </c:pt>
                <c:pt idx="4467">
                  <c:v>45336</c:v>
                </c:pt>
                <c:pt idx="4468">
                  <c:v>45337</c:v>
                </c:pt>
                <c:pt idx="4469">
                  <c:v>45338</c:v>
                </c:pt>
                <c:pt idx="4470">
                  <c:v>45341</c:v>
                </c:pt>
                <c:pt idx="4471">
                  <c:v>45342</c:v>
                </c:pt>
                <c:pt idx="4472">
                  <c:v>45343</c:v>
                </c:pt>
                <c:pt idx="4473">
                  <c:v>45344</c:v>
                </c:pt>
                <c:pt idx="4474">
                  <c:v>45345</c:v>
                </c:pt>
                <c:pt idx="4475">
                  <c:v>45348</c:v>
                </c:pt>
                <c:pt idx="4476">
                  <c:v>45349</c:v>
                </c:pt>
                <c:pt idx="4477">
                  <c:v>45350</c:v>
                </c:pt>
                <c:pt idx="4478">
                  <c:v>45351</c:v>
                </c:pt>
                <c:pt idx="4479">
                  <c:v>45352</c:v>
                </c:pt>
                <c:pt idx="4480">
                  <c:v>45355</c:v>
                </c:pt>
                <c:pt idx="4481">
                  <c:v>45356</c:v>
                </c:pt>
                <c:pt idx="4482">
                  <c:v>45357</c:v>
                </c:pt>
                <c:pt idx="4483">
                  <c:v>45358</c:v>
                </c:pt>
                <c:pt idx="4484">
                  <c:v>45359</c:v>
                </c:pt>
                <c:pt idx="4485">
                  <c:v>45362</c:v>
                </c:pt>
                <c:pt idx="4486">
                  <c:v>45363</c:v>
                </c:pt>
                <c:pt idx="4487">
                  <c:v>45364</c:v>
                </c:pt>
                <c:pt idx="4488">
                  <c:v>45365</c:v>
                </c:pt>
                <c:pt idx="4489">
                  <c:v>45366</c:v>
                </c:pt>
                <c:pt idx="4490">
                  <c:v>45369</c:v>
                </c:pt>
                <c:pt idx="4491">
                  <c:v>45370</c:v>
                </c:pt>
                <c:pt idx="4492">
                  <c:v>45371</c:v>
                </c:pt>
                <c:pt idx="4493">
                  <c:v>45372</c:v>
                </c:pt>
                <c:pt idx="4494">
                  <c:v>45373</c:v>
                </c:pt>
                <c:pt idx="4495">
                  <c:v>45376</c:v>
                </c:pt>
                <c:pt idx="4496">
                  <c:v>45377</c:v>
                </c:pt>
                <c:pt idx="4497">
                  <c:v>45378</c:v>
                </c:pt>
                <c:pt idx="4498">
                  <c:v>45379</c:v>
                </c:pt>
                <c:pt idx="4499">
                  <c:v>45380</c:v>
                </c:pt>
                <c:pt idx="4500">
                  <c:v>45383</c:v>
                </c:pt>
                <c:pt idx="4501">
                  <c:v>45384</c:v>
                </c:pt>
                <c:pt idx="4502">
                  <c:v>45385</c:v>
                </c:pt>
                <c:pt idx="4503">
                  <c:v>45386</c:v>
                </c:pt>
                <c:pt idx="4504">
                  <c:v>45387</c:v>
                </c:pt>
                <c:pt idx="4505">
                  <c:v>45390</c:v>
                </c:pt>
                <c:pt idx="4506">
                  <c:v>45391</c:v>
                </c:pt>
                <c:pt idx="4507">
                  <c:v>45392</c:v>
                </c:pt>
                <c:pt idx="4508">
                  <c:v>45393</c:v>
                </c:pt>
                <c:pt idx="4509">
                  <c:v>45394</c:v>
                </c:pt>
                <c:pt idx="4510">
                  <c:v>45397</c:v>
                </c:pt>
                <c:pt idx="4511">
                  <c:v>45398</c:v>
                </c:pt>
                <c:pt idx="4512">
                  <c:v>45399</c:v>
                </c:pt>
                <c:pt idx="4513">
                  <c:v>45400</c:v>
                </c:pt>
                <c:pt idx="4514">
                  <c:v>45401</c:v>
                </c:pt>
                <c:pt idx="4515">
                  <c:v>45404</c:v>
                </c:pt>
                <c:pt idx="4516">
                  <c:v>45405</c:v>
                </c:pt>
                <c:pt idx="4517">
                  <c:v>45406</c:v>
                </c:pt>
                <c:pt idx="4518">
                  <c:v>45407</c:v>
                </c:pt>
                <c:pt idx="4519">
                  <c:v>45408</c:v>
                </c:pt>
                <c:pt idx="4520">
                  <c:v>45411</c:v>
                </c:pt>
                <c:pt idx="4521">
                  <c:v>45412</c:v>
                </c:pt>
                <c:pt idx="4522">
                  <c:v>45413</c:v>
                </c:pt>
                <c:pt idx="4523">
                  <c:v>45414</c:v>
                </c:pt>
                <c:pt idx="4524">
                  <c:v>45415</c:v>
                </c:pt>
                <c:pt idx="4525">
                  <c:v>45418</c:v>
                </c:pt>
                <c:pt idx="4526">
                  <c:v>45419</c:v>
                </c:pt>
                <c:pt idx="4527">
                  <c:v>45420</c:v>
                </c:pt>
                <c:pt idx="4528">
                  <c:v>45421</c:v>
                </c:pt>
                <c:pt idx="4529">
                  <c:v>45422</c:v>
                </c:pt>
                <c:pt idx="4530">
                  <c:v>45425</c:v>
                </c:pt>
                <c:pt idx="4531">
                  <c:v>45426</c:v>
                </c:pt>
                <c:pt idx="4532">
                  <c:v>45427</c:v>
                </c:pt>
                <c:pt idx="4533">
                  <c:v>45428</c:v>
                </c:pt>
                <c:pt idx="4534">
                  <c:v>45429</c:v>
                </c:pt>
                <c:pt idx="4535">
                  <c:v>45432</c:v>
                </c:pt>
                <c:pt idx="4536">
                  <c:v>45433</c:v>
                </c:pt>
                <c:pt idx="4537">
                  <c:v>45434</c:v>
                </c:pt>
                <c:pt idx="4538">
                  <c:v>45435</c:v>
                </c:pt>
                <c:pt idx="4539">
                  <c:v>45436</c:v>
                </c:pt>
                <c:pt idx="4540">
                  <c:v>45439</c:v>
                </c:pt>
                <c:pt idx="4541">
                  <c:v>45440</c:v>
                </c:pt>
                <c:pt idx="4542">
                  <c:v>45441</c:v>
                </c:pt>
                <c:pt idx="4543">
                  <c:v>45442</c:v>
                </c:pt>
                <c:pt idx="4544">
                  <c:v>45443</c:v>
                </c:pt>
                <c:pt idx="4545">
                  <c:v>45446</c:v>
                </c:pt>
                <c:pt idx="4546">
                  <c:v>45447</c:v>
                </c:pt>
                <c:pt idx="4547">
                  <c:v>45448</c:v>
                </c:pt>
                <c:pt idx="4548">
                  <c:v>45449</c:v>
                </c:pt>
                <c:pt idx="4549">
                  <c:v>45450</c:v>
                </c:pt>
                <c:pt idx="4550">
                  <c:v>45453</c:v>
                </c:pt>
                <c:pt idx="4551">
                  <c:v>45454</c:v>
                </c:pt>
                <c:pt idx="4552">
                  <c:v>45455</c:v>
                </c:pt>
                <c:pt idx="4553">
                  <c:v>45456</c:v>
                </c:pt>
                <c:pt idx="4554">
                  <c:v>45457</c:v>
                </c:pt>
                <c:pt idx="4555">
                  <c:v>45460</c:v>
                </c:pt>
                <c:pt idx="4556">
                  <c:v>45461</c:v>
                </c:pt>
                <c:pt idx="4557">
                  <c:v>45462</c:v>
                </c:pt>
                <c:pt idx="4558">
                  <c:v>45463</c:v>
                </c:pt>
                <c:pt idx="4559">
                  <c:v>45464</c:v>
                </c:pt>
                <c:pt idx="4560">
                  <c:v>45467</c:v>
                </c:pt>
                <c:pt idx="4561">
                  <c:v>45468</c:v>
                </c:pt>
                <c:pt idx="4562">
                  <c:v>45469</c:v>
                </c:pt>
                <c:pt idx="4563">
                  <c:v>45470</c:v>
                </c:pt>
                <c:pt idx="4564">
                  <c:v>45471</c:v>
                </c:pt>
                <c:pt idx="4565">
                  <c:v>45474</c:v>
                </c:pt>
                <c:pt idx="4566">
                  <c:v>45475</c:v>
                </c:pt>
                <c:pt idx="4567">
                  <c:v>45476</c:v>
                </c:pt>
                <c:pt idx="4568">
                  <c:v>45477</c:v>
                </c:pt>
                <c:pt idx="4569">
                  <c:v>45478</c:v>
                </c:pt>
                <c:pt idx="4570">
                  <c:v>45481</c:v>
                </c:pt>
                <c:pt idx="4571">
                  <c:v>45482</c:v>
                </c:pt>
                <c:pt idx="4572">
                  <c:v>45483</c:v>
                </c:pt>
                <c:pt idx="4573">
                  <c:v>45484</c:v>
                </c:pt>
                <c:pt idx="4574">
                  <c:v>45485</c:v>
                </c:pt>
                <c:pt idx="4575">
                  <c:v>45488</c:v>
                </c:pt>
                <c:pt idx="4576">
                  <c:v>45489</c:v>
                </c:pt>
                <c:pt idx="4577">
                  <c:v>45490</c:v>
                </c:pt>
                <c:pt idx="4578">
                  <c:v>45491</c:v>
                </c:pt>
                <c:pt idx="4579">
                  <c:v>45492</c:v>
                </c:pt>
                <c:pt idx="4580">
                  <c:v>45495</c:v>
                </c:pt>
                <c:pt idx="4581">
                  <c:v>45496</c:v>
                </c:pt>
                <c:pt idx="4582">
                  <c:v>45497</c:v>
                </c:pt>
                <c:pt idx="4583">
                  <c:v>45498</c:v>
                </c:pt>
                <c:pt idx="4584">
                  <c:v>45499</c:v>
                </c:pt>
                <c:pt idx="4585">
                  <c:v>45502</c:v>
                </c:pt>
                <c:pt idx="4586">
                  <c:v>45503</c:v>
                </c:pt>
                <c:pt idx="4587">
                  <c:v>45504</c:v>
                </c:pt>
              </c:numCache>
            </c:numRef>
          </c:cat>
          <c:val>
            <c:numRef>
              <c:f>Worksheet!$E$8:$E$6089</c:f>
              <c:numCache>
                <c:formatCode>General</c:formatCode>
                <c:ptCount val="6082"/>
                <c:pt idx="0">
                  <c:v>17.375025959023489</c:v>
                </c:pt>
                <c:pt idx="1">
                  <c:v>17.375025959023489</c:v>
                </c:pt>
                <c:pt idx="2">
                  <c:v>17.375025959023489</c:v>
                </c:pt>
                <c:pt idx="3">
                  <c:v>17.375025959023489</c:v>
                </c:pt>
                <c:pt idx="4">
                  <c:v>17.375025959023489</c:v>
                </c:pt>
                <c:pt idx="5">
                  <c:v>17.375025959023489</c:v>
                </c:pt>
                <c:pt idx="6">
                  <c:v>17.375025959023489</c:v>
                </c:pt>
                <c:pt idx="7">
                  <c:v>17.375025959023489</c:v>
                </c:pt>
                <c:pt idx="8">
                  <c:v>17.375025959023489</c:v>
                </c:pt>
                <c:pt idx="9">
                  <c:v>17.375025959023489</c:v>
                </c:pt>
                <c:pt idx="10">
                  <c:v>17.375025959023489</c:v>
                </c:pt>
                <c:pt idx="11">
                  <c:v>17.375025959023489</c:v>
                </c:pt>
                <c:pt idx="12">
                  <c:v>17.375025959023489</c:v>
                </c:pt>
                <c:pt idx="13">
                  <c:v>17.375025959023489</c:v>
                </c:pt>
                <c:pt idx="14">
                  <c:v>17.375025959023489</c:v>
                </c:pt>
                <c:pt idx="15">
                  <c:v>17.375025959023489</c:v>
                </c:pt>
                <c:pt idx="16">
                  <c:v>17.375025959023489</c:v>
                </c:pt>
                <c:pt idx="17">
                  <c:v>17.375025959023489</c:v>
                </c:pt>
                <c:pt idx="18">
                  <c:v>17.375025959023489</c:v>
                </c:pt>
                <c:pt idx="19">
                  <c:v>17.375025959023489</c:v>
                </c:pt>
                <c:pt idx="20">
                  <c:v>17.375025959023489</c:v>
                </c:pt>
                <c:pt idx="21">
                  <c:v>17.375025959023489</c:v>
                </c:pt>
                <c:pt idx="22">
                  <c:v>17.375025959023489</c:v>
                </c:pt>
                <c:pt idx="23">
                  <c:v>17.375025959023489</c:v>
                </c:pt>
                <c:pt idx="24">
                  <c:v>17.375025959023489</c:v>
                </c:pt>
                <c:pt idx="25">
                  <c:v>17.375025959023489</c:v>
                </c:pt>
                <c:pt idx="26">
                  <c:v>17.375025959023489</c:v>
                </c:pt>
                <c:pt idx="27">
                  <c:v>17.375025959023489</c:v>
                </c:pt>
                <c:pt idx="28">
                  <c:v>17.375025959023489</c:v>
                </c:pt>
                <c:pt idx="29">
                  <c:v>17.375025959023489</c:v>
                </c:pt>
                <c:pt idx="30">
                  <c:v>17.375025959023489</c:v>
                </c:pt>
                <c:pt idx="31">
                  <c:v>17.375025959023489</c:v>
                </c:pt>
                <c:pt idx="32">
                  <c:v>17.375025959023489</c:v>
                </c:pt>
                <c:pt idx="33">
                  <c:v>17.375025959023489</c:v>
                </c:pt>
                <c:pt idx="34">
                  <c:v>17.375025959023489</c:v>
                </c:pt>
                <c:pt idx="35">
                  <c:v>17.375025959023489</c:v>
                </c:pt>
                <c:pt idx="36">
                  <c:v>17.375025959023489</c:v>
                </c:pt>
                <c:pt idx="37">
                  <c:v>17.375025959023489</c:v>
                </c:pt>
                <c:pt idx="38">
                  <c:v>17.375025959023489</c:v>
                </c:pt>
                <c:pt idx="39">
                  <c:v>17.375025959023489</c:v>
                </c:pt>
                <c:pt idx="40">
                  <c:v>17.375025959023489</c:v>
                </c:pt>
                <c:pt idx="41">
                  <c:v>17.375025959023489</c:v>
                </c:pt>
                <c:pt idx="42">
                  <c:v>17.375025959023489</c:v>
                </c:pt>
                <c:pt idx="43">
                  <c:v>17.375025959023489</c:v>
                </c:pt>
                <c:pt idx="44">
                  <c:v>17.375025959023489</c:v>
                </c:pt>
                <c:pt idx="45">
                  <c:v>17.375025959023489</c:v>
                </c:pt>
                <c:pt idx="46">
                  <c:v>17.375025959023489</c:v>
                </c:pt>
                <c:pt idx="47">
                  <c:v>17.375025959023489</c:v>
                </c:pt>
                <c:pt idx="48">
                  <c:v>17.375025959023489</c:v>
                </c:pt>
                <c:pt idx="49">
                  <c:v>17.375025959023489</c:v>
                </c:pt>
                <c:pt idx="50">
                  <c:v>17.375025959023489</c:v>
                </c:pt>
                <c:pt idx="51">
                  <c:v>17.375025959023489</c:v>
                </c:pt>
                <c:pt idx="52">
                  <c:v>17.375025959023489</c:v>
                </c:pt>
                <c:pt idx="53">
                  <c:v>17.375025959023489</c:v>
                </c:pt>
                <c:pt idx="54">
                  <c:v>17.375025959023489</c:v>
                </c:pt>
                <c:pt idx="55">
                  <c:v>17.375025959023489</c:v>
                </c:pt>
                <c:pt idx="56">
                  <c:v>17.375025959023489</c:v>
                </c:pt>
                <c:pt idx="57">
                  <c:v>17.375025959023489</c:v>
                </c:pt>
                <c:pt idx="58">
                  <c:v>17.375025959023489</c:v>
                </c:pt>
                <c:pt idx="59">
                  <c:v>17.375025959023489</c:v>
                </c:pt>
                <c:pt idx="60">
                  <c:v>17.375025959023489</c:v>
                </c:pt>
                <c:pt idx="61">
                  <c:v>17.375025959023489</c:v>
                </c:pt>
                <c:pt idx="62">
                  <c:v>17.375025959023489</c:v>
                </c:pt>
                <c:pt idx="63">
                  <c:v>17.375025959023489</c:v>
                </c:pt>
                <c:pt idx="64">
                  <c:v>17.375025959023489</c:v>
                </c:pt>
                <c:pt idx="65">
                  <c:v>17.375025959023489</c:v>
                </c:pt>
                <c:pt idx="66">
                  <c:v>17.375025959023489</c:v>
                </c:pt>
                <c:pt idx="67">
                  <c:v>17.375025959023489</c:v>
                </c:pt>
                <c:pt idx="68">
                  <c:v>17.375025959023489</c:v>
                </c:pt>
                <c:pt idx="69">
                  <c:v>17.375025959023489</c:v>
                </c:pt>
                <c:pt idx="70">
                  <c:v>17.375025959023489</c:v>
                </c:pt>
                <c:pt idx="71">
                  <c:v>17.375025959023489</c:v>
                </c:pt>
                <c:pt idx="72">
                  <c:v>17.375025959023489</c:v>
                </c:pt>
                <c:pt idx="73">
                  <c:v>17.375025959023489</c:v>
                </c:pt>
                <c:pt idx="74">
                  <c:v>17.375025959023489</c:v>
                </c:pt>
                <c:pt idx="75">
                  <c:v>17.375025959023489</c:v>
                </c:pt>
                <c:pt idx="76">
                  <c:v>17.375025959023489</c:v>
                </c:pt>
                <c:pt idx="77">
                  <c:v>17.375025959023489</c:v>
                </c:pt>
                <c:pt idx="78">
                  <c:v>17.375025959023489</c:v>
                </c:pt>
                <c:pt idx="79">
                  <c:v>17.375025959023489</c:v>
                </c:pt>
                <c:pt idx="80">
                  <c:v>17.375025959023489</c:v>
                </c:pt>
                <c:pt idx="81">
                  <c:v>17.375025959023489</c:v>
                </c:pt>
                <c:pt idx="82">
                  <c:v>17.375025959023489</c:v>
                </c:pt>
                <c:pt idx="83">
                  <c:v>17.375025959023489</c:v>
                </c:pt>
                <c:pt idx="84">
                  <c:v>17.375025959023489</c:v>
                </c:pt>
                <c:pt idx="85">
                  <c:v>17.375025959023489</c:v>
                </c:pt>
                <c:pt idx="86">
                  <c:v>17.375025959023489</c:v>
                </c:pt>
                <c:pt idx="87">
                  <c:v>17.375025959023489</c:v>
                </c:pt>
                <c:pt idx="88">
                  <c:v>17.375025959023489</c:v>
                </c:pt>
                <c:pt idx="89">
                  <c:v>17.375025959023489</c:v>
                </c:pt>
                <c:pt idx="90">
                  <c:v>17.375025959023489</c:v>
                </c:pt>
                <c:pt idx="91">
                  <c:v>17.375025959023489</c:v>
                </c:pt>
                <c:pt idx="92">
                  <c:v>17.375025959023489</c:v>
                </c:pt>
                <c:pt idx="93">
                  <c:v>17.375025959023489</c:v>
                </c:pt>
                <c:pt idx="94">
                  <c:v>17.375025959023489</c:v>
                </c:pt>
                <c:pt idx="95">
                  <c:v>17.375025959023489</c:v>
                </c:pt>
                <c:pt idx="96">
                  <c:v>17.375025959023489</c:v>
                </c:pt>
                <c:pt idx="97">
                  <c:v>17.375025959023489</c:v>
                </c:pt>
                <c:pt idx="98">
                  <c:v>17.375025959023489</c:v>
                </c:pt>
                <c:pt idx="99">
                  <c:v>17.375025959023489</c:v>
                </c:pt>
                <c:pt idx="100">
                  <c:v>17.375025959023489</c:v>
                </c:pt>
                <c:pt idx="101">
                  <c:v>17.375025959023489</c:v>
                </c:pt>
                <c:pt idx="102">
                  <c:v>17.375025959023489</c:v>
                </c:pt>
                <c:pt idx="103">
                  <c:v>17.375025959023489</c:v>
                </c:pt>
                <c:pt idx="104">
                  <c:v>17.375025959023489</c:v>
                </c:pt>
                <c:pt idx="105">
                  <c:v>17.375025959023489</c:v>
                </c:pt>
                <c:pt idx="106">
                  <c:v>17.375025959023489</c:v>
                </c:pt>
                <c:pt idx="107">
                  <c:v>17.375025959023489</c:v>
                </c:pt>
                <c:pt idx="108">
                  <c:v>17.375025959023489</c:v>
                </c:pt>
                <c:pt idx="109">
                  <c:v>17.375025959023489</c:v>
                </c:pt>
                <c:pt idx="110">
                  <c:v>17.375025959023489</c:v>
                </c:pt>
                <c:pt idx="111">
                  <c:v>17.375025959023489</c:v>
                </c:pt>
                <c:pt idx="112">
                  <c:v>17.375025959023489</c:v>
                </c:pt>
                <c:pt idx="113">
                  <c:v>17.375025959023489</c:v>
                </c:pt>
                <c:pt idx="114">
                  <c:v>17.375025959023489</c:v>
                </c:pt>
                <c:pt idx="115">
                  <c:v>17.375025959023489</c:v>
                </c:pt>
                <c:pt idx="116">
                  <c:v>17.375025959023489</c:v>
                </c:pt>
                <c:pt idx="117">
                  <c:v>17.375025959023489</c:v>
                </c:pt>
                <c:pt idx="118">
                  <c:v>17.375025959023489</c:v>
                </c:pt>
                <c:pt idx="119">
                  <c:v>17.375025959023489</c:v>
                </c:pt>
                <c:pt idx="120">
                  <c:v>17.375025959023489</c:v>
                </c:pt>
                <c:pt idx="121">
                  <c:v>17.375025959023489</c:v>
                </c:pt>
                <c:pt idx="122">
                  <c:v>17.375025959023489</c:v>
                </c:pt>
                <c:pt idx="123">
                  <c:v>17.375025959023489</c:v>
                </c:pt>
                <c:pt idx="124">
                  <c:v>17.375025959023489</c:v>
                </c:pt>
                <c:pt idx="125">
                  <c:v>17.375025959023489</c:v>
                </c:pt>
                <c:pt idx="126">
                  <c:v>17.375025959023489</c:v>
                </c:pt>
                <c:pt idx="127">
                  <c:v>17.375025959023489</c:v>
                </c:pt>
                <c:pt idx="128">
                  <c:v>17.375025959023489</c:v>
                </c:pt>
                <c:pt idx="129">
                  <c:v>17.375025959023489</c:v>
                </c:pt>
                <c:pt idx="130">
                  <c:v>17.375025959023489</c:v>
                </c:pt>
                <c:pt idx="131">
                  <c:v>17.375025959023489</c:v>
                </c:pt>
                <c:pt idx="132">
                  <c:v>17.375025959023489</c:v>
                </c:pt>
                <c:pt idx="133">
                  <c:v>17.375025959023489</c:v>
                </c:pt>
                <c:pt idx="134">
                  <c:v>17.375025959023489</c:v>
                </c:pt>
                <c:pt idx="135">
                  <c:v>17.375025959023489</c:v>
                </c:pt>
                <c:pt idx="136">
                  <c:v>17.375025959023489</c:v>
                </c:pt>
                <c:pt idx="137">
                  <c:v>17.375025959023489</c:v>
                </c:pt>
                <c:pt idx="138">
                  <c:v>17.375025959023489</c:v>
                </c:pt>
                <c:pt idx="139">
                  <c:v>17.375025959023489</c:v>
                </c:pt>
                <c:pt idx="140">
                  <c:v>17.375025959023489</c:v>
                </c:pt>
                <c:pt idx="141">
                  <c:v>17.375025959023489</c:v>
                </c:pt>
                <c:pt idx="142">
                  <c:v>17.375025959023489</c:v>
                </c:pt>
                <c:pt idx="143">
                  <c:v>17.375025959023489</c:v>
                </c:pt>
                <c:pt idx="144">
                  <c:v>17.375025959023489</c:v>
                </c:pt>
                <c:pt idx="145">
                  <c:v>17.375025959023489</c:v>
                </c:pt>
                <c:pt idx="146">
                  <c:v>17.375025959023489</c:v>
                </c:pt>
                <c:pt idx="147">
                  <c:v>17.375025959023489</c:v>
                </c:pt>
                <c:pt idx="148">
                  <c:v>17.375025959023489</c:v>
                </c:pt>
                <c:pt idx="149">
                  <c:v>17.375025959023489</c:v>
                </c:pt>
                <c:pt idx="150">
                  <c:v>17.375025959023489</c:v>
                </c:pt>
                <c:pt idx="151">
                  <c:v>17.375025959023489</c:v>
                </c:pt>
                <c:pt idx="152">
                  <c:v>17.375025959023489</c:v>
                </c:pt>
                <c:pt idx="153">
                  <c:v>17.375025959023489</c:v>
                </c:pt>
                <c:pt idx="154">
                  <c:v>17.375025959023489</c:v>
                </c:pt>
                <c:pt idx="155">
                  <c:v>17.375025959023489</c:v>
                </c:pt>
                <c:pt idx="156">
                  <c:v>17.375025959023489</c:v>
                </c:pt>
                <c:pt idx="157">
                  <c:v>17.375025959023489</c:v>
                </c:pt>
                <c:pt idx="158">
                  <c:v>17.375025959023489</c:v>
                </c:pt>
                <c:pt idx="159">
                  <c:v>17.375025959023489</c:v>
                </c:pt>
                <c:pt idx="160">
                  <c:v>17.375025959023489</c:v>
                </c:pt>
                <c:pt idx="161">
                  <c:v>17.375025959023489</c:v>
                </c:pt>
                <c:pt idx="162">
                  <c:v>17.375025959023489</c:v>
                </c:pt>
                <c:pt idx="163">
                  <c:v>17.375025959023489</c:v>
                </c:pt>
                <c:pt idx="164">
                  <c:v>17.375025959023489</c:v>
                </c:pt>
                <c:pt idx="165">
                  <c:v>17.375025959023489</c:v>
                </c:pt>
                <c:pt idx="166">
                  <c:v>17.375025959023489</c:v>
                </c:pt>
                <c:pt idx="167">
                  <c:v>17.375025959023489</c:v>
                </c:pt>
                <c:pt idx="168">
                  <c:v>17.375025959023489</c:v>
                </c:pt>
                <c:pt idx="169">
                  <c:v>17.375025959023489</c:v>
                </c:pt>
                <c:pt idx="170">
                  <c:v>17.375025959023489</c:v>
                </c:pt>
                <c:pt idx="171">
                  <c:v>17.375025959023489</c:v>
                </c:pt>
                <c:pt idx="172">
                  <c:v>17.375025959023489</c:v>
                </c:pt>
                <c:pt idx="173">
                  <c:v>17.375025959023489</c:v>
                </c:pt>
                <c:pt idx="174">
                  <c:v>17.375025959023489</c:v>
                </c:pt>
                <c:pt idx="175">
                  <c:v>17.375025959023489</c:v>
                </c:pt>
                <c:pt idx="176">
                  <c:v>17.375025959023489</c:v>
                </c:pt>
                <c:pt idx="177">
                  <c:v>17.375025959023489</c:v>
                </c:pt>
                <c:pt idx="178">
                  <c:v>17.375025959023489</c:v>
                </c:pt>
                <c:pt idx="179">
                  <c:v>17.375025959023489</c:v>
                </c:pt>
                <c:pt idx="180">
                  <c:v>17.375025959023489</c:v>
                </c:pt>
                <c:pt idx="181">
                  <c:v>17.375025959023489</c:v>
                </c:pt>
                <c:pt idx="182">
                  <c:v>17.375025959023489</c:v>
                </c:pt>
                <c:pt idx="183">
                  <c:v>17.375025959023489</c:v>
                </c:pt>
                <c:pt idx="184">
                  <c:v>17.375025959023489</c:v>
                </c:pt>
                <c:pt idx="185">
                  <c:v>17.375025959023489</c:v>
                </c:pt>
                <c:pt idx="186">
                  <c:v>17.375025959023489</c:v>
                </c:pt>
                <c:pt idx="187">
                  <c:v>17.375025959023489</c:v>
                </c:pt>
                <c:pt idx="188">
                  <c:v>17.375025959023489</c:v>
                </c:pt>
                <c:pt idx="189">
                  <c:v>17.375025959023489</c:v>
                </c:pt>
                <c:pt idx="190">
                  <c:v>17.375025959023489</c:v>
                </c:pt>
                <c:pt idx="191">
                  <c:v>17.375025959023489</c:v>
                </c:pt>
                <c:pt idx="192">
                  <c:v>17.375025959023489</c:v>
                </c:pt>
                <c:pt idx="193">
                  <c:v>17.375025959023489</c:v>
                </c:pt>
                <c:pt idx="194">
                  <c:v>17.375025959023489</c:v>
                </c:pt>
                <c:pt idx="195">
                  <c:v>17.375025959023489</c:v>
                </c:pt>
                <c:pt idx="196">
                  <c:v>17.375025959023489</c:v>
                </c:pt>
                <c:pt idx="197">
                  <c:v>17.375025959023489</c:v>
                </c:pt>
                <c:pt idx="198">
                  <c:v>17.375025959023489</c:v>
                </c:pt>
                <c:pt idx="199">
                  <c:v>17.375025959023489</c:v>
                </c:pt>
                <c:pt idx="200">
                  <c:v>17.375025959023489</c:v>
                </c:pt>
                <c:pt idx="201">
                  <c:v>17.375025959023489</c:v>
                </c:pt>
                <c:pt idx="202">
                  <c:v>17.375025959023489</c:v>
                </c:pt>
                <c:pt idx="203">
                  <c:v>17.375025959023489</c:v>
                </c:pt>
                <c:pt idx="204">
                  <c:v>17.375025959023489</c:v>
                </c:pt>
                <c:pt idx="205">
                  <c:v>17.375025959023489</c:v>
                </c:pt>
                <c:pt idx="206">
                  <c:v>17.375025959023489</c:v>
                </c:pt>
                <c:pt idx="207">
                  <c:v>17.375025959023489</c:v>
                </c:pt>
                <c:pt idx="208">
                  <c:v>17.375025959023489</c:v>
                </c:pt>
                <c:pt idx="209">
                  <c:v>17.375025959023489</c:v>
                </c:pt>
                <c:pt idx="210">
                  <c:v>17.375025959023489</c:v>
                </c:pt>
                <c:pt idx="211">
                  <c:v>17.375025959023489</c:v>
                </c:pt>
                <c:pt idx="212">
                  <c:v>17.375025959023489</c:v>
                </c:pt>
                <c:pt idx="213">
                  <c:v>17.375025959023489</c:v>
                </c:pt>
                <c:pt idx="214">
                  <c:v>17.375025959023489</c:v>
                </c:pt>
                <c:pt idx="215">
                  <c:v>17.375025959023489</c:v>
                </c:pt>
                <c:pt idx="216">
                  <c:v>17.375025959023489</c:v>
                </c:pt>
                <c:pt idx="217">
                  <c:v>17.375025959023489</c:v>
                </c:pt>
                <c:pt idx="218">
                  <c:v>17.375025959023489</c:v>
                </c:pt>
                <c:pt idx="219">
                  <c:v>17.375025959023489</c:v>
                </c:pt>
                <c:pt idx="220">
                  <c:v>17.375025959023489</c:v>
                </c:pt>
                <c:pt idx="221">
                  <c:v>17.375025959023489</c:v>
                </c:pt>
                <c:pt idx="222">
                  <c:v>17.375025959023489</c:v>
                </c:pt>
                <c:pt idx="223">
                  <c:v>17.375025959023489</c:v>
                </c:pt>
                <c:pt idx="224">
                  <c:v>17.375025959023489</c:v>
                </c:pt>
                <c:pt idx="225">
                  <c:v>17.375025959023489</c:v>
                </c:pt>
                <c:pt idx="226">
                  <c:v>17.375025959023489</c:v>
                </c:pt>
                <c:pt idx="227">
                  <c:v>17.375025959023489</c:v>
                </c:pt>
                <c:pt idx="228">
                  <c:v>17.375025959023489</c:v>
                </c:pt>
                <c:pt idx="229">
                  <c:v>17.375025959023489</c:v>
                </c:pt>
                <c:pt idx="230">
                  <c:v>17.375025959023489</c:v>
                </c:pt>
                <c:pt idx="231">
                  <c:v>17.375025959023489</c:v>
                </c:pt>
                <c:pt idx="232">
                  <c:v>17.375025959023489</c:v>
                </c:pt>
                <c:pt idx="233">
                  <c:v>17.375025959023489</c:v>
                </c:pt>
                <c:pt idx="234">
                  <c:v>17.375025959023489</c:v>
                </c:pt>
                <c:pt idx="235">
                  <c:v>17.375025959023489</c:v>
                </c:pt>
                <c:pt idx="236">
                  <c:v>17.375025959023489</c:v>
                </c:pt>
                <c:pt idx="237">
                  <c:v>17.375025959023489</c:v>
                </c:pt>
                <c:pt idx="238">
                  <c:v>17.375025959023489</c:v>
                </c:pt>
                <c:pt idx="239">
                  <c:v>17.375025959023489</c:v>
                </c:pt>
                <c:pt idx="240">
                  <c:v>17.375025959023489</c:v>
                </c:pt>
                <c:pt idx="241">
                  <c:v>17.375025959023489</c:v>
                </c:pt>
                <c:pt idx="242">
                  <c:v>17.375025959023489</c:v>
                </c:pt>
                <c:pt idx="243">
                  <c:v>17.375025959023489</c:v>
                </c:pt>
                <c:pt idx="244">
                  <c:v>17.375025959023489</c:v>
                </c:pt>
                <c:pt idx="245">
                  <c:v>17.375025959023489</c:v>
                </c:pt>
                <c:pt idx="246">
                  <c:v>17.375025959023489</c:v>
                </c:pt>
                <c:pt idx="247">
                  <c:v>17.375025959023489</c:v>
                </c:pt>
                <c:pt idx="248">
                  <c:v>17.375025959023489</c:v>
                </c:pt>
                <c:pt idx="249">
                  <c:v>17.375025959023489</c:v>
                </c:pt>
                <c:pt idx="250">
                  <c:v>17.375025959023489</c:v>
                </c:pt>
                <c:pt idx="251">
                  <c:v>17.375025959023489</c:v>
                </c:pt>
                <c:pt idx="252">
                  <c:v>17.375025959023489</c:v>
                </c:pt>
                <c:pt idx="253">
                  <c:v>17.375025959023489</c:v>
                </c:pt>
                <c:pt idx="254">
                  <c:v>17.375025959023489</c:v>
                </c:pt>
                <c:pt idx="255">
                  <c:v>17.375025959023489</c:v>
                </c:pt>
                <c:pt idx="256">
                  <c:v>17.375025959023489</c:v>
                </c:pt>
                <c:pt idx="257">
                  <c:v>17.375025959023489</c:v>
                </c:pt>
                <c:pt idx="258">
                  <c:v>17.375025959023489</c:v>
                </c:pt>
                <c:pt idx="259">
                  <c:v>17.375025959023489</c:v>
                </c:pt>
                <c:pt idx="260">
                  <c:v>17.375025959023489</c:v>
                </c:pt>
                <c:pt idx="261">
                  <c:v>17.375025959023489</c:v>
                </c:pt>
                <c:pt idx="262">
                  <c:v>17.375025959023489</c:v>
                </c:pt>
                <c:pt idx="263">
                  <c:v>17.375025959023489</c:v>
                </c:pt>
                <c:pt idx="264">
                  <c:v>17.375025959023489</c:v>
                </c:pt>
                <c:pt idx="265">
                  <c:v>17.375025959023489</c:v>
                </c:pt>
                <c:pt idx="266">
                  <c:v>17.375025959023489</c:v>
                </c:pt>
                <c:pt idx="267">
                  <c:v>17.375025959023489</c:v>
                </c:pt>
                <c:pt idx="268">
                  <c:v>17.375025959023489</c:v>
                </c:pt>
                <c:pt idx="269">
                  <c:v>17.375025959023489</c:v>
                </c:pt>
                <c:pt idx="270">
                  <c:v>17.375025959023489</c:v>
                </c:pt>
                <c:pt idx="271">
                  <c:v>17.375025959023489</c:v>
                </c:pt>
                <c:pt idx="272">
                  <c:v>17.375025959023489</c:v>
                </c:pt>
                <c:pt idx="273">
                  <c:v>17.375025959023489</c:v>
                </c:pt>
                <c:pt idx="274">
                  <c:v>17.375025959023489</c:v>
                </c:pt>
                <c:pt idx="275">
                  <c:v>17.375025959023489</c:v>
                </c:pt>
                <c:pt idx="276">
                  <c:v>17.375025959023489</c:v>
                </c:pt>
                <c:pt idx="277">
                  <c:v>17.375025959023489</c:v>
                </c:pt>
                <c:pt idx="278">
                  <c:v>17.375025959023489</c:v>
                </c:pt>
                <c:pt idx="279">
                  <c:v>17.375025959023489</c:v>
                </c:pt>
                <c:pt idx="280">
                  <c:v>17.375025959023489</c:v>
                </c:pt>
                <c:pt idx="281">
                  <c:v>17.375025959023489</c:v>
                </c:pt>
                <c:pt idx="282">
                  <c:v>17.375025959023489</c:v>
                </c:pt>
                <c:pt idx="283">
                  <c:v>17.375025959023489</c:v>
                </c:pt>
                <c:pt idx="284">
                  <c:v>17.375025959023489</c:v>
                </c:pt>
                <c:pt idx="285">
                  <c:v>17.375025959023489</c:v>
                </c:pt>
                <c:pt idx="286">
                  <c:v>17.375025959023489</c:v>
                </c:pt>
                <c:pt idx="287">
                  <c:v>17.375025959023489</c:v>
                </c:pt>
                <c:pt idx="288">
                  <c:v>17.375025959023489</c:v>
                </c:pt>
                <c:pt idx="289">
                  <c:v>17.375025959023489</c:v>
                </c:pt>
                <c:pt idx="290">
                  <c:v>17.375025959023489</c:v>
                </c:pt>
                <c:pt idx="291">
                  <c:v>17.375025959023489</c:v>
                </c:pt>
                <c:pt idx="292">
                  <c:v>17.375025959023489</c:v>
                </c:pt>
                <c:pt idx="293">
                  <c:v>17.375025959023489</c:v>
                </c:pt>
                <c:pt idx="294">
                  <c:v>17.375025959023489</c:v>
                </c:pt>
                <c:pt idx="295">
                  <c:v>17.375025959023489</c:v>
                </c:pt>
                <c:pt idx="296">
                  <c:v>17.375025959023489</c:v>
                </c:pt>
                <c:pt idx="297">
                  <c:v>17.375025959023489</c:v>
                </c:pt>
                <c:pt idx="298">
                  <c:v>17.375025959023489</c:v>
                </c:pt>
                <c:pt idx="299">
                  <c:v>17.375025959023489</c:v>
                </c:pt>
                <c:pt idx="300">
                  <c:v>17.375025959023489</c:v>
                </c:pt>
                <c:pt idx="301">
                  <c:v>17.375025959023489</c:v>
                </c:pt>
                <c:pt idx="302">
                  <c:v>17.375025959023489</c:v>
                </c:pt>
                <c:pt idx="303">
                  <c:v>17.375025959023489</c:v>
                </c:pt>
                <c:pt idx="304">
                  <c:v>17.375025959023489</c:v>
                </c:pt>
                <c:pt idx="305">
                  <c:v>17.375025959023489</c:v>
                </c:pt>
                <c:pt idx="306">
                  <c:v>17.375025959023489</c:v>
                </c:pt>
                <c:pt idx="307">
                  <c:v>17.375025959023489</c:v>
                </c:pt>
                <c:pt idx="308">
                  <c:v>17.375025959023489</c:v>
                </c:pt>
                <c:pt idx="309">
                  <c:v>17.375025959023489</c:v>
                </c:pt>
                <c:pt idx="310">
                  <c:v>17.375025959023489</c:v>
                </c:pt>
                <c:pt idx="311">
                  <c:v>17.375025959023489</c:v>
                </c:pt>
                <c:pt idx="312">
                  <c:v>17.375025959023489</c:v>
                </c:pt>
                <c:pt idx="313">
                  <c:v>17.375025959023489</c:v>
                </c:pt>
                <c:pt idx="314">
                  <c:v>17.375025959023489</c:v>
                </c:pt>
                <c:pt idx="315">
                  <c:v>17.375025959023489</c:v>
                </c:pt>
                <c:pt idx="316">
                  <c:v>17.375025959023489</c:v>
                </c:pt>
                <c:pt idx="317">
                  <c:v>17.375025959023489</c:v>
                </c:pt>
                <c:pt idx="318">
                  <c:v>17.375025959023489</c:v>
                </c:pt>
                <c:pt idx="319">
                  <c:v>17.375025959023489</c:v>
                </c:pt>
                <c:pt idx="320">
                  <c:v>17.375025959023489</c:v>
                </c:pt>
                <c:pt idx="321">
                  <c:v>17.375025959023489</c:v>
                </c:pt>
                <c:pt idx="322">
                  <c:v>17.375025959023489</c:v>
                </c:pt>
                <c:pt idx="323">
                  <c:v>17.375025959023489</c:v>
                </c:pt>
                <c:pt idx="324">
                  <c:v>17.375025959023489</c:v>
                </c:pt>
                <c:pt idx="325">
                  <c:v>17.375025959023489</c:v>
                </c:pt>
                <c:pt idx="326">
                  <c:v>17.375025959023489</c:v>
                </c:pt>
                <c:pt idx="327">
                  <c:v>17.375025959023489</c:v>
                </c:pt>
                <c:pt idx="328">
                  <c:v>17.375025959023489</c:v>
                </c:pt>
                <c:pt idx="329">
                  <c:v>17.375025959023489</c:v>
                </c:pt>
                <c:pt idx="330">
                  <c:v>17.375025959023489</c:v>
                </c:pt>
                <c:pt idx="331">
                  <c:v>17.375025959023489</c:v>
                </c:pt>
                <c:pt idx="332">
                  <c:v>17.375025959023489</c:v>
                </c:pt>
                <c:pt idx="333">
                  <c:v>17.375025959023489</c:v>
                </c:pt>
                <c:pt idx="334">
                  <c:v>17.375025959023489</c:v>
                </c:pt>
                <c:pt idx="335">
                  <c:v>17.375025959023489</c:v>
                </c:pt>
                <c:pt idx="336">
                  <c:v>17.375025959023489</c:v>
                </c:pt>
                <c:pt idx="337">
                  <c:v>17.375025959023489</c:v>
                </c:pt>
                <c:pt idx="338">
                  <c:v>17.375025959023489</c:v>
                </c:pt>
                <c:pt idx="339">
                  <c:v>17.375025959023489</c:v>
                </c:pt>
                <c:pt idx="340">
                  <c:v>17.375025959023489</c:v>
                </c:pt>
                <c:pt idx="341">
                  <c:v>17.375025959023489</c:v>
                </c:pt>
                <c:pt idx="342">
                  <c:v>17.375025959023489</c:v>
                </c:pt>
                <c:pt idx="343">
                  <c:v>17.375025959023489</c:v>
                </c:pt>
                <c:pt idx="344">
                  <c:v>17.375025959023489</c:v>
                </c:pt>
                <c:pt idx="345">
                  <c:v>17.375025959023489</c:v>
                </c:pt>
                <c:pt idx="346">
                  <c:v>17.375025959023489</c:v>
                </c:pt>
                <c:pt idx="347">
                  <c:v>17.375025959023489</c:v>
                </c:pt>
                <c:pt idx="348">
                  <c:v>17.375025959023489</c:v>
                </c:pt>
                <c:pt idx="349">
                  <c:v>17.375025959023489</c:v>
                </c:pt>
                <c:pt idx="350">
                  <c:v>17.375025959023489</c:v>
                </c:pt>
                <c:pt idx="351">
                  <c:v>17.375025959023489</c:v>
                </c:pt>
                <c:pt idx="352">
                  <c:v>17.375025959023489</c:v>
                </c:pt>
                <c:pt idx="353">
                  <c:v>17.375025959023489</c:v>
                </c:pt>
                <c:pt idx="354">
                  <c:v>17.375025959023489</c:v>
                </c:pt>
                <c:pt idx="355">
                  <c:v>17.375025959023489</c:v>
                </c:pt>
                <c:pt idx="356">
                  <c:v>17.375025959023489</c:v>
                </c:pt>
                <c:pt idx="357">
                  <c:v>17.375025959023489</c:v>
                </c:pt>
                <c:pt idx="358">
                  <c:v>17.375025959023489</c:v>
                </c:pt>
                <c:pt idx="359">
                  <c:v>17.375025959023489</c:v>
                </c:pt>
                <c:pt idx="360">
                  <c:v>17.375025959023489</c:v>
                </c:pt>
                <c:pt idx="361">
                  <c:v>17.375025959023489</c:v>
                </c:pt>
                <c:pt idx="362">
                  <c:v>17.375025959023489</c:v>
                </c:pt>
                <c:pt idx="363">
                  <c:v>17.375025959023489</c:v>
                </c:pt>
                <c:pt idx="364">
                  <c:v>17.375025959023489</c:v>
                </c:pt>
                <c:pt idx="365">
                  <c:v>17.375025959023489</c:v>
                </c:pt>
                <c:pt idx="366">
                  <c:v>17.375025959023489</c:v>
                </c:pt>
                <c:pt idx="367">
                  <c:v>17.375025959023489</c:v>
                </c:pt>
                <c:pt idx="368">
                  <c:v>17.375025959023489</c:v>
                </c:pt>
                <c:pt idx="369">
                  <c:v>17.375025959023489</c:v>
                </c:pt>
                <c:pt idx="370">
                  <c:v>17.375025959023489</c:v>
                </c:pt>
                <c:pt idx="371">
                  <c:v>17.375025959023489</c:v>
                </c:pt>
                <c:pt idx="372">
                  <c:v>17.375025959023489</c:v>
                </c:pt>
                <c:pt idx="373">
                  <c:v>17.375025959023489</c:v>
                </c:pt>
                <c:pt idx="374">
                  <c:v>17.375025959023489</c:v>
                </c:pt>
                <c:pt idx="375">
                  <c:v>17.375025959023489</c:v>
                </c:pt>
                <c:pt idx="376">
                  <c:v>17.375025959023489</c:v>
                </c:pt>
                <c:pt idx="377">
                  <c:v>17.375025959023489</c:v>
                </c:pt>
                <c:pt idx="378">
                  <c:v>17.375025959023489</c:v>
                </c:pt>
                <c:pt idx="379">
                  <c:v>17.375025959023489</c:v>
                </c:pt>
                <c:pt idx="380">
                  <c:v>17.375025959023489</c:v>
                </c:pt>
                <c:pt idx="381">
                  <c:v>17.375025959023489</c:v>
                </c:pt>
                <c:pt idx="382">
                  <c:v>17.375025959023489</c:v>
                </c:pt>
                <c:pt idx="383">
                  <c:v>17.375025959023489</c:v>
                </c:pt>
                <c:pt idx="384">
                  <c:v>17.375025959023489</c:v>
                </c:pt>
                <c:pt idx="385">
                  <c:v>17.375025959023489</c:v>
                </c:pt>
                <c:pt idx="386">
                  <c:v>17.375025959023489</c:v>
                </c:pt>
                <c:pt idx="387">
                  <c:v>17.375025959023489</c:v>
                </c:pt>
                <c:pt idx="388">
                  <c:v>17.375025959023489</c:v>
                </c:pt>
                <c:pt idx="389">
                  <c:v>17.375025959023489</c:v>
                </c:pt>
                <c:pt idx="390">
                  <c:v>17.375025959023489</c:v>
                </c:pt>
                <c:pt idx="391">
                  <c:v>17.375025959023489</c:v>
                </c:pt>
                <c:pt idx="392">
                  <c:v>17.375025959023489</c:v>
                </c:pt>
                <c:pt idx="393">
                  <c:v>17.375025959023489</c:v>
                </c:pt>
                <c:pt idx="394">
                  <c:v>17.375025959023489</c:v>
                </c:pt>
                <c:pt idx="395">
                  <c:v>17.375025959023489</c:v>
                </c:pt>
                <c:pt idx="396">
                  <c:v>17.375025959023489</c:v>
                </c:pt>
                <c:pt idx="397">
                  <c:v>17.375025959023489</c:v>
                </c:pt>
                <c:pt idx="398">
                  <c:v>17.375025959023489</c:v>
                </c:pt>
                <c:pt idx="399">
                  <c:v>17.375025959023489</c:v>
                </c:pt>
                <c:pt idx="400">
                  <c:v>17.375025959023489</c:v>
                </c:pt>
                <c:pt idx="401">
                  <c:v>17.375025959023489</c:v>
                </c:pt>
                <c:pt idx="402">
                  <c:v>17.375025959023489</c:v>
                </c:pt>
                <c:pt idx="403">
                  <c:v>17.375025959023489</c:v>
                </c:pt>
                <c:pt idx="404">
                  <c:v>17.375025959023489</c:v>
                </c:pt>
                <c:pt idx="405">
                  <c:v>17.375025959023489</c:v>
                </c:pt>
                <c:pt idx="406">
                  <c:v>17.375025959023489</c:v>
                </c:pt>
                <c:pt idx="407">
                  <c:v>17.375025959023489</c:v>
                </c:pt>
                <c:pt idx="408">
                  <c:v>17.375025959023489</c:v>
                </c:pt>
                <c:pt idx="409">
                  <c:v>17.375025959023489</c:v>
                </c:pt>
                <c:pt idx="410">
                  <c:v>17.375025959023489</c:v>
                </c:pt>
                <c:pt idx="411">
                  <c:v>17.375025959023489</c:v>
                </c:pt>
                <c:pt idx="412">
                  <c:v>17.375025959023489</c:v>
                </c:pt>
                <c:pt idx="413">
                  <c:v>17.375025959023489</c:v>
                </c:pt>
                <c:pt idx="414">
                  <c:v>17.375025959023489</c:v>
                </c:pt>
                <c:pt idx="415">
                  <c:v>17.375025959023489</c:v>
                </c:pt>
                <c:pt idx="416">
                  <c:v>17.375025959023489</c:v>
                </c:pt>
                <c:pt idx="417">
                  <c:v>17.375025959023489</c:v>
                </c:pt>
                <c:pt idx="418">
                  <c:v>17.375025959023489</c:v>
                </c:pt>
                <c:pt idx="419">
                  <c:v>17.375025959023489</c:v>
                </c:pt>
                <c:pt idx="420">
                  <c:v>17.375025959023489</c:v>
                </c:pt>
                <c:pt idx="421">
                  <c:v>17.375025959023489</c:v>
                </c:pt>
                <c:pt idx="422">
                  <c:v>17.375025959023489</c:v>
                </c:pt>
                <c:pt idx="423">
                  <c:v>17.375025959023489</c:v>
                </c:pt>
                <c:pt idx="424">
                  <c:v>17.375025959023489</c:v>
                </c:pt>
                <c:pt idx="425">
                  <c:v>17.375025959023489</c:v>
                </c:pt>
                <c:pt idx="426">
                  <c:v>17.375025959023489</c:v>
                </c:pt>
                <c:pt idx="427">
                  <c:v>17.375025959023489</c:v>
                </c:pt>
                <c:pt idx="428">
                  <c:v>17.375025959023489</c:v>
                </c:pt>
                <c:pt idx="429">
                  <c:v>17.375025959023489</c:v>
                </c:pt>
                <c:pt idx="430">
                  <c:v>17.375025959023489</c:v>
                </c:pt>
                <c:pt idx="431">
                  <c:v>17.375025959023489</c:v>
                </c:pt>
                <c:pt idx="432">
                  <c:v>17.375025959023489</c:v>
                </c:pt>
                <c:pt idx="433">
                  <c:v>17.375025959023489</c:v>
                </c:pt>
                <c:pt idx="434">
                  <c:v>17.375025959023489</c:v>
                </c:pt>
                <c:pt idx="435">
                  <c:v>17.375025959023489</c:v>
                </c:pt>
                <c:pt idx="436">
                  <c:v>17.375025959023489</c:v>
                </c:pt>
                <c:pt idx="437">
                  <c:v>17.375025959023489</c:v>
                </c:pt>
                <c:pt idx="438">
                  <c:v>17.375025959023489</c:v>
                </c:pt>
                <c:pt idx="439">
                  <c:v>17.375025959023489</c:v>
                </c:pt>
                <c:pt idx="440">
                  <c:v>17.375025959023489</c:v>
                </c:pt>
                <c:pt idx="441">
                  <c:v>17.375025959023489</c:v>
                </c:pt>
                <c:pt idx="442">
                  <c:v>17.375025959023489</c:v>
                </c:pt>
                <c:pt idx="443">
                  <c:v>17.375025959023489</c:v>
                </c:pt>
                <c:pt idx="444">
                  <c:v>17.375025959023489</c:v>
                </c:pt>
                <c:pt idx="445">
                  <c:v>17.375025959023489</c:v>
                </c:pt>
                <c:pt idx="446">
                  <c:v>17.375025959023489</c:v>
                </c:pt>
                <c:pt idx="447">
                  <c:v>17.375025959023489</c:v>
                </c:pt>
                <c:pt idx="448">
                  <c:v>17.375025959023489</c:v>
                </c:pt>
                <c:pt idx="449">
                  <c:v>17.375025959023489</c:v>
                </c:pt>
                <c:pt idx="450">
                  <c:v>17.375025959023489</c:v>
                </c:pt>
                <c:pt idx="451">
                  <c:v>17.375025959023489</c:v>
                </c:pt>
                <c:pt idx="452">
                  <c:v>17.375025959023489</c:v>
                </c:pt>
                <c:pt idx="453">
                  <c:v>17.375025959023489</c:v>
                </c:pt>
                <c:pt idx="454">
                  <c:v>17.375025959023489</c:v>
                </c:pt>
                <c:pt idx="455">
                  <c:v>17.375025959023489</c:v>
                </c:pt>
                <c:pt idx="456">
                  <c:v>17.375025959023489</c:v>
                </c:pt>
                <c:pt idx="457">
                  <c:v>17.375025959023489</c:v>
                </c:pt>
                <c:pt idx="458">
                  <c:v>17.375025959023489</c:v>
                </c:pt>
                <c:pt idx="459">
                  <c:v>17.375025959023489</c:v>
                </c:pt>
                <c:pt idx="460">
                  <c:v>17.375025959023489</c:v>
                </c:pt>
                <c:pt idx="461">
                  <c:v>17.375025959023489</c:v>
                </c:pt>
                <c:pt idx="462">
                  <c:v>17.375025959023489</c:v>
                </c:pt>
                <c:pt idx="463">
                  <c:v>17.375025959023489</c:v>
                </c:pt>
                <c:pt idx="464">
                  <c:v>17.375025959023489</c:v>
                </c:pt>
                <c:pt idx="465">
                  <c:v>17.375025959023489</c:v>
                </c:pt>
                <c:pt idx="466">
                  <c:v>17.375025959023489</c:v>
                </c:pt>
                <c:pt idx="467">
                  <c:v>17.375025959023489</c:v>
                </c:pt>
                <c:pt idx="468">
                  <c:v>17.375025959023489</c:v>
                </c:pt>
                <c:pt idx="469">
                  <c:v>17.375025959023489</c:v>
                </c:pt>
                <c:pt idx="470">
                  <c:v>17.375025959023489</c:v>
                </c:pt>
                <c:pt idx="471">
                  <c:v>17.375025959023489</c:v>
                </c:pt>
                <c:pt idx="472">
                  <c:v>17.375025959023489</c:v>
                </c:pt>
                <c:pt idx="473">
                  <c:v>17.375025959023489</c:v>
                </c:pt>
                <c:pt idx="474">
                  <c:v>17.375025959023489</c:v>
                </c:pt>
                <c:pt idx="475">
                  <c:v>17.375025959023489</c:v>
                </c:pt>
                <c:pt idx="476">
                  <c:v>17.375025959023489</c:v>
                </c:pt>
                <c:pt idx="477">
                  <c:v>17.375025959023489</c:v>
                </c:pt>
                <c:pt idx="478">
                  <c:v>17.375025959023489</c:v>
                </c:pt>
                <c:pt idx="479">
                  <c:v>17.375025959023489</c:v>
                </c:pt>
                <c:pt idx="480">
                  <c:v>17.375025959023489</c:v>
                </c:pt>
                <c:pt idx="481">
                  <c:v>17.375025959023489</c:v>
                </c:pt>
                <c:pt idx="482">
                  <c:v>17.375025959023489</c:v>
                </c:pt>
                <c:pt idx="483">
                  <c:v>17.375025959023489</c:v>
                </c:pt>
                <c:pt idx="484">
                  <c:v>17.375025959023489</c:v>
                </c:pt>
                <c:pt idx="485">
                  <c:v>17.375025959023489</c:v>
                </c:pt>
                <c:pt idx="486">
                  <c:v>17.375025959023489</c:v>
                </c:pt>
                <c:pt idx="487">
                  <c:v>17.375025959023489</c:v>
                </c:pt>
                <c:pt idx="488">
                  <c:v>17.375025959023489</c:v>
                </c:pt>
                <c:pt idx="489">
                  <c:v>17.375025959023489</c:v>
                </c:pt>
                <c:pt idx="490">
                  <c:v>17.375025959023489</c:v>
                </c:pt>
                <c:pt idx="491">
                  <c:v>17.375025959023489</c:v>
                </c:pt>
                <c:pt idx="492">
                  <c:v>17.375025959023489</c:v>
                </c:pt>
                <c:pt idx="493">
                  <c:v>17.375025959023489</c:v>
                </c:pt>
                <c:pt idx="494">
                  <c:v>17.375025959023489</c:v>
                </c:pt>
                <c:pt idx="495">
                  <c:v>17.375025959023489</c:v>
                </c:pt>
                <c:pt idx="496">
                  <c:v>17.375025959023489</c:v>
                </c:pt>
                <c:pt idx="497">
                  <c:v>17.375025959023489</c:v>
                </c:pt>
                <c:pt idx="498">
                  <c:v>17.375025959023489</c:v>
                </c:pt>
                <c:pt idx="499">
                  <c:v>17.375025959023489</c:v>
                </c:pt>
                <c:pt idx="500">
                  <c:v>17.375025959023489</c:v>
                </c:pt>
                <c:pt idx="501">
                  <c:v>17.375025959023489</c:v>
                </c:pt>
                <c:pt idx="502">
                  <c:v>17.375025959023489</c:v>
                </c:pt>
                <c:pt idx="503">
                  <c:v>17.375025959023489</c:v>
                </c:pt>
                <c:pt idx="504">
                  <c:v>17.375025959023489</c:v>
                </c:pt>
                <c:pt idx="505">
                  <c:v>17.375025959023489</c:v>
                </c:pt>
                <c:pt idx="506">
                  <c:v>17.375025959023489</c:v>
                </c:pt>
                <c:pt idx="507">
                  <c:v>17.375025959023489</c:v>
                </c:pt>
                <c:pt idx="508">
                  <c:v>17.375025959023489</c:v>
                </c:pt>
                <c:pt idx="509">
                  <c:v>17.375025959023489</c:v>
                </c:pt>
                <c:pt idx="510">
                  <c:v>17.375025959023489</c:v>
                </c:pt>
                <c:pt idx="511">
                  <c:v>17.375025959023489</c:v>
                </c:pt>
                <c:pt idx="512">
                  <c:v>17.375025959023489</c:v>
                </c:pt>
                <c:pt idx="513">
                  <c:v>17.375025959023489</c:v>
                </c:pt>
                <c:pt idx="514">
                  <c:v>17.375025959023489</c:v>
                </c:pt>
                <c:pt idx="515">
                  <c:v>17.375025959023489</c:v>
                </c:pt>
                <c:pt idx="516">
                  <c:v>17.375025959023489</c:v>
                </c:pt>
                <c:pt idx="517">
                  <c:v>17.375025959023489</c:v>
                </c:pt>
                <c:pt idx="518">
                  <c:v>17.375025959023489</c:v>
                </c:pt>
                <c:pt idx="519">
                  <c:v>17.375025959023489</c:v>
                </c:pt>
                <c:pt idx="520">
                  <c:v>17.375025959023489</c:v>
                </c:pt>
                <c:pt idx="521">
                  <c:v>17.375025959023489</c:v>
                </c:pt>
                <c:pt idx="522">
                  <c:v>17.375025959023489</c:v>
                </c:pt>
                <c:pt idx="523">
                  <c:v>17.375025959023489</c:v>
                </c:pt>
                <c:pt idx="524">
                  <c:v>17.375025959023489</c:v>
                </c:pt>
                <c:pt idx="525">
                  <c:v>17.375025959023489</c:v>
                </c:pt>
                <c:pt idx="526">
                  <c:v>17.375025959023489</c:v>
                </c:pt>
                <c:pt idx="527">
                  <c:v>17.375025959023489</c:v>
                </c:pt>
                <c:pt idx="528">
                  <c:v>17.375025959023489</c:v>
                </c:pt>
                <c:pt idx="529">
                  <c:v>17.375025959023489</c:v>
                </c:pt>
                <c:pt idx="530">
                  <c:v>17.375025959023489</c:v>
                </c:pt>
                <c:pt idx="531">
                  <c:v>17.375025959023489</c:v>
                </c:pt>
                <c:pt idx="532">
                  <c:v>17.375025959023489</c:v>
                </c:pt>
                <c:pt idx="533">
                  <c:v>17.375025959023489</c:v>
                </c:pt>
                <c:pt idx="534">
                  <c:v>17.375025959023489</c:v>
                </c:pt>
                <c:pt idx="535">
                  <c:v>17.375025959023489</c:v>
                </c:pt>
                <c:pt idx="536">
                  <c:v>17.375025959023489</c:v>
                </c:pt>
                <c:pt idx="537">
                  <c:v>17.375025959023489</c:v>
                </c:pt>
                <c:pt idx="538">
                  <c:v>17.375025959023489</c:v>
                </c:pt>
                <c:pt idx="539">
                  <c:v>17.375025959023489</c:v>
                </c:pt>
                <c:pt idx="540">
                  <c:v>17.375025959023489</c:v>
                </c:pt>
                <c:pt idx="541">
                  <c:v>17.375025959023489</c:v>
                </c:pt>
                <c:pt idx="542">
                  <c:v>17.375025959023489</c:v>
                </c:pt>
                <c:pt idx="543">
                  <c:v>17.375025959023489</c:v>
                </c:pt>
                <c:pt idx="544">
                  <c:v>17.375025959023489</c:v>
                </c:pt>
                <c:pt idx="545">
                  <c:v>17.375025959023489</c:v>
                </c:pt>
                <c:pt idx="546">
                  <c:v>17.375025959023489</c:v>
                </c:pt>
                <c:pt idx="547">
                  <c:v>17.375025959023489</c:v>
                </c:pt>
                <c:pt idx="548">
                  <c:v>17.375025959023489</c:v>
                </c:pt>
                <c:pt idx="549">
                  <c:v>17.375025959023489</c:v>
                </c:pt>
                <c:pt idx="550">
                  <c:v>17.375025959023489</c:v>
                </c:pt>
                <c:pt idx="551">
                  <c:v>17.375025959023489</c:v>
                </c:pt>
                <c:pt idx="552">
                  <c:v>17.375025959023489</c:v>
                </c:pt>
                <c:pt idx="553">
                  <c:v>17.375025959023489</c:v>
                </c:pt>
                <c:pt idx="554">
                  <c:v>17.375025959023489</c:v>
                </c:pt>
                <c:pt idx="555">
                  <c:v>17.375025959023489</c:v>
                </c:pt>
                <c:pt idx="556">
                  <c:v>17.375025959023489</c:v>
                </c:pt>
                <c:pt idx="557">
                  <c:v>17.375025959023489</c:v>
                </c:pt>
                <c:pt idx="558">
                  <c:v>17.375025959023489</c:v>
                </c:pt>
                <c:pt idx="559">
                  <c:v>17.375025959023489</c:v>
                </c:pt>
                <c:pt idx="560">
                  <c:v>17.375025959023489</c:v>
                </c:pt>
                <c:pt idx="561">
                  <c:v>17.375025959023489</c:v>
                </c:pt>
                <c:pt idx="562">
                  <c:v>17.375025959023489</c:v>
                </c:pt>
                <c:pt idx="563">
                  <c:v>17.375025959023489</c:v>
                </c:pt>
                <c:pt idx="564">
                  <c:v>17.375025959023489</c:v>
                </c:pt>
                <c:pt idx="565">
                  <c:v>17.375025959023489</c:v>
                </c:pt>
                <c:pt idx="566">
                  <c:v>17.375025959023489</c:v>
                </c:pt>
                <c:pt idx="567">
                  <c:v>17.375025959023489</c:v>
                </c:pt>
                <c:pt idx="568">
                  <c:v>17.375025959023489</c:v>
                </c:pt>
                <c:pt idx="569">
                  <c:v>17.375025959023489</c:v>
                </c:pt>
                <c:pt idx="570">
                  <c:v>17.375025959023489</c:v>
                </c:pt>
                <c:pt idx="571">
                  <c:v>17.375025959023489</c:v>
                </c:pt>
                <c:pt idx="572">
                  <c:v>17.375025959023489</c:v>
                </c:pt>
                <c:pt idx="573">
                  <c:v>17.375025959023489</c:v>
                </c:pt>
                <c:pt idx="574">
                  <c:v>17.375025959023489</c:v>
                </c:pt>
                <c:pt idx="575">
                  <c:v>17.375025959023489</c:v>
                </c:pt>
                <c:pt idx="576">
                  <c:v>17.375025959023489</c:v>
                </c:pt>
                <c:pt idx="577">
                  <c:v>17.375025959023489</c:v>
                </c:pt>
                <c:pt idx="578">
                  <c:v>17.375025959023489</c:v>
                </c:pt>
                <c:pt idx="579">
                  <c:v>17.375025959023489</c:v>
                </c:pt>
                <c:pt idx="580">
                  <c:v>17.375025959023489</c:v>
                </c:pt>
                <c:pt idx="581">
                  <c:v>17.375025959023489</c:v>
                </c:pt>
                <c:pt idx="582">
                  <c:v>17.375025959023489</c:v>
                </c:pt>
                <c:pt idx="583">
                  <c:v>17.375025959023489</c:v>
                </c:pt>
                <c:pt idx="584">
                  <c:v>17.375025959023489</c:v>
                </c:pt>
                <c:pt idx="585">
                  <c:v>17.375025959023489</c:v>
                </c:pt>
                <c:pt idx="586">
                  <c:v>17.375025959023489</c:v>
                </c:pt>
                <c:pt idx="587">
                  <c:v>17.375025959023489</c:v>
                </c:pt>
                <c:pt idx="588">
                  <c:v>17.375025959023489</c:v>
                </c:pt>
                <c:pt idx="589">
                  <c:v>17.375025959023489</c:v>
                </c:pt>
                <c:pt idx="590">
                  <c:v>17.375025959023489</c:v>
                </c:pt>
                <c:pt idx="591">
                  <c:v>17.375025959023489</c:v>
                </c:pt>
                <c:pt idx="592">
                  <c:v>17.375025959023489</c:v>
                </c:pt>
                <c:pt idx="593">
                  <c:v>17.375025959023489</c:v>
                </c:pt>
                <c:pt idx="594">
                  <c:v>17.375025959023489</c:v>
                </c:pt>
                <c:pt idx="595">
                  <c:v>17.375025959023489</c:v>
                </c:pt>
                <c:pt idx="596">
                  <c:v>17.375025959023489</c:v>
                </c:pt>
                <c:pt idx="597">
                  <c:v>17.375025959023489</c:v>
                </c:pt>
                <c:pt idx="598">
                  <c:v>17.375025959023489</c:v>
                </c:pt>
                <c:pt idx="599">
                  <c:v>17.375025959023489</c:v>
                </c:pt>
                <c:pt idx="600">
                  <c:v>17.375025959023489</c:v>
                </c:pt>
                <c:pt idx="601">
                  <c:v>17.375025959023489</c:v>
                </c:pt>
                <c:pt idx="602">
                  <c:v>17.375025959023489</c:v>
                </c:pt>
                <c:pt idx="603">
                  <c:v>17.375025959023489</c:v>
                </c:pt>
                <c:pt idx="604">
                  <c:v>17.375025959023489</c:v>
                </c:pt>
                <c:pt idx="605">
                  <c:v>17.375025959023489</c:v>
                </c:pt>
                <c:pt idx="606">
                  <c:v>17.375025959023489</c:v>
                </c:pt>
                <c:pt idx="607">
                  <c:v>17.375025959023489</c:v>
                </c:pt>
                <c:pt idx="608">
                  <c:v>17.375025959023489</c:v>
                </c:pt>
                <c:pt idx="609">
                  <c:v>17.375025959023489</c:v>
                </c:pt>
                <c:pt idx="610">
                  <c:v>17.375025959023489</c:v>
                </c:pt>
                <c:pt idx="611">
                  <c:v>17.375025959023489</c:v>
                </c:pt>
                <c:pt idx="612">
                  <c:v>17.375025959023489</c:v>
                </c:pt>
                <c:pt idx="613">
                  <c:v>17.375025959023489</c:v>
                </c:pt>
                <c:pt idx="614">
                  <c:v>17.375025959023489</c:v>
                </c:pt>
                <c:pt idx="615">
                  <c:v>17.375025959023489</c:v>
                </c:pt>
                <c:pt idx="616">
                  <c:v>17.375025959023489</c:v>
                </c:pt>
                <c:pt idx="617">
                  <c:v>17.375025959023489</c:v>
                </c:pt>
                <c:pt idx="618">
                  <c:v>17.375025959023489</c:v>
                </c:pt>
                <c:pt idx="619">
                  <c:v>17.375025959023489</c:v>
                </c:pt>
                <c:pt idx="620">
                  <c:v>17.375025959023489</c:v>
                </c:pt>
                <c:pt idx="621">
                  <c:v>17.375025959023489</c:v>
                </c:pt>
                <c:pt idx="622">
                  <c:v>17.375025959023489</c:v>
                </c:pt>
                <c:pt idx="623">
                  <c:v>17.375025959023489</c:v>
                </c:pt>
                <c:pt idx="624">
                  <c:v>17.375025959023489</c:v>
                </c:pt>
                <c:pt idx="625">
                  <c:v>17.375025959023489</c:v>
                </c:pt>
                <c:pt idx="626">
                  <c:v>17.375025959023489</c:v>
                </c:pt>
                <c:pt idx="627">
                  <c:v>17.375025959023489</c:v>
                </c:pt>
                <c:pt idx="628">
                  <c:v>17.375025959023489</c:v>
                </c:pt>
                <c:pt idx="629">
                  <c:v>17.375025959023489</c:v>
                </c:pt>
                <c:pt idx="630">
                  <c:v>17.375025959023489</c:v>
                </c:pt>
                <c:pt idx="631">
                  <c:v>17.375025959023489</c:v>
                </c:pt>
                <c:pt idx="632">
                  <c:v>17.375025959023489</c:v>
                </c:pt>
                <c:pt idx="633">
                  <c:v>17.375025959023489</c:v>
                </c:pt>
                <c:pt idx="634">
                  <c:v>17.375025959023489</c:v>
                </c:pt>
                <c:pt idx="635">
                  <c:v>17.375025959023489</c:v>
                </c:pt>
                <c:pt idx="636">
                  <c:v>17.375025959023489</c:v>
                </c:pt>
                <c:pt idx="637">
                  <c:v>17.375025959023489</c:v>
                </c:pt>
                <c:pt idx="638">
                  <c:v>17.375025959023489</c:v>
                </c:pt>
                <c:pt idx="639">
                  <c:v>17.375025959023489</c:v>
                </c:pt>
                <c:pt idx="640">
                  <c:v>17.375025959023489</c:v>
                </c:pt>
                <c:pt idx="641">
                  <c:v>17.375025959023489</c:v>
                </c:pt>
                <c:pt idx="642">
                  <c:v>17.375025959023489</c:v>
                </c:pt>
                <c:pt idx="643">
                  <c:v>17.375025959023489</c:v>
                </c:pt>
                <c:pt idx="644">
                  <c:v>17.375025959023489</c:v>
                </c:pt>
                <c:pt idx="645">
                  <c:v>17.375025959023489</c:v>
                </c:pt>
                <c:pt idx="646">
                  <c:v>17.375025959023489</c:v>
                </c:pt>
                <c:pt idx="647">
                  <c:v>17.375025959023489</c:v>
                </c:pt>
                <c:pt idx="648">
                  <c:v>17.375025959023489</c:v>
                </c:pt>
                <c:pt idx="649">
                  <c:v>17.375025959023489</c:v>
                </c:pt>
                <c:pt idx="650">
                  <c:v>17.375025959023489</c:v>
                </c:pt>
                <c:pt idx="651">
                  <c:v>17.375025959023489</c:v>
                </c:pt>
                <c:pt idx="652">
                  <c:v>17.375025959023489</c:v>
                </c:pt>
                <c:pt idx="653">
                  <c:v>17.375025959023489</c:v>
                </c:pt>
                <c:pt idx="654">
                  <c:v>17.375025959023489</c:v>
                </c:pt>
                <c:pt idx="655">
                  <c:v>17.375025959023489</c:v>
                </c:pt>
                <c:pt idx="656">
                  <c:v>17.375025959023489</c:v>
                </c:pt>
                <c:pt idx="657">
                  <c:v>17.375025959023489</c:v>
                </c:pt>
                <c:pt idx="658">
                  <c:v>17.375025959023489</c:v>
                </c:pt>
                <c:pt idx="659">
                  <c:v>17.375025959023489</c:v>
                </c:pt>
                <c:pt idx="660">
                  <c:v>17.375025959023489</c:v>
                </c:pt>
                <c:pt idx="661">
                  <c:v>17.375025959023489</c:v>
                </c:pt>
                <c:pt idx="662">
                  <c:v>17.375025959023489</c:v>
                </c:pt>
                <c:pt idx="663">
                  <c:v>17.375025959023489</c:v>
                </c:pt>
                <c:pt idx="664">
                  <c:v>17.375025959023489</c:v>
                </c:pt>
                <c:pt idx="665">
                  <c:v>17.375025959023489</c:v>
                </c:pt>
                <c:pt idx="666">
                  <c:v>17.375025959023489</c:v>
                </c:pt>
                <c:pt idx="667">
                  <c:v>17.375025959023489</c:v>
                </c:pt>
                <c:pt idx="668">
                  <c:v>17.375025959023489</c:v>
                </c:pt>
                <c:pt idx="669">
                  <c:v>17.375025959023489</c:v>
                </c:pt>
                <c:pt idx="670">
                  <c:v>17.375025959023489</c:v>
                </c:pt>
                <c:pt idx="671">
                  <c:v>17.375025959023489</c:v>
                </c:pt>
                <c:pt idx="672">
                  <c:v>17.375025959023489</c:v>
                </c:pt>
                <c:pt idx="673">
                  <c:v>17.375025959023489</c:v>
                </c:pt>
                <c:pt idx="674">
                  <c:v>17.375025959023489</c:v>
                </c:pt>
                <c:pt idx="675">
                  <c:v>17.375025959023489</c:v>
                </c:pt>
                <c:pt idx="676">
                  <c:v>17.375025959023489</c:v>
                </c:pt>
                <c:pt idx="677">
                  <c:v>17.375025959023489</c:v>
                </c:pt>
                <c:pt idx="678">
                  <c:v>17.375025959023489</c:v>
                </c:pt>
                <c:pt idx="679">
                  <c:v>17.375025959023489</c:v>
                </c:pt>
                <c:pt idx="680">
                  <c:v>17.375025959023489</c:v>
                </c:pt>
                <c:pt idx="681">
                  <c:v>17.375025959023489</c:v>
                </c:pt>
                <c:pt idx="682">
                  <c:v>17.375025959023489</c:v>
                </c:pt>
                <c:pt idx="683">
                  <c:v>17.375025959023489</c:v>
                </c:pt>
                <c:pt idx="684">
                  <c:v>17.375025959023489</c:v>
                </c:pt>
                <c:pt idx="685">
                  <c:v>17.375025959023489</c:v>
                </c:pt>
                <c:pt idx="686">
                  <c:v>17.375025959023489</c:v>
                </c:pt>
                <c:pt idx="687">
                  <c:v>17.375025959023489</c:v>
                </c:pt>
                <c:pt idx="688">
                  <c:v>17.375025959023489</c:v>
                </c:pt>
                <c:pt idx="689">
                  <c:v>17.375025959023489</c:v>
                </c:pt>
                <c:pt idx="690">
                  <c:v>17.375025959023489</c:v>
                </c:pt>
                <c:pt idx="691">
                  <c:v>17.375025959023489</c:v>
                </c:pt>
                <c:pt idx="692">
                  <c:v>17.375025959023489</c:v>
                </c:pt>
                <c:pt idx="693">
                  <c:v>17.375025959023489</c:v>
                </c:pt>
                <c:pt idx="694">
                  <c:v>17.375025959023489</c:v>
                </c:pt>
                <c:pt idx="695">
                  <c:v>17.375025959023489</c:v>
                </c:pt>
                <c:pt idx="696">
                  <c:v>17.375025959023489</c:v>
                </c:pt>
                <c:pt idx="697">
                  <c:v>17.375025959023489</c:v>
                </c:pt>
                <c:pt idx="698">
                  <c:v>17.375025959023489</c:v>
                </c:pt>
                <c:pt idx="699">
                  <c:v>17.375025959023489</c:v>
                </c:pt>
                <c:pt idx="700">
                  <c:v>17.375025959023489</c:v>
                </c:pt>
                <c:pt idx="701">
                  <c:v>17.375025959023489</c:v>
                </c:pt>
                <c:pt idx="702">
                  <c:v>17.375025959023489</c:v>
                </c:pt>
                <c:pt idx="703">
                  <c:v>17.375025959023489</c:v>
                </c:pt>
                <c:pt idx="704">
                  <c:v>17.375025959023489</c:v>
                </c:pt>
                <c:pt idx="705">
                  <c:v>17.375025959023489</c:v>
                </c:pt>
                <c:pt idx="706">
                  <c:v>17.375025959023489</c:v>
                </c:pt>
                <c:pt idx="707">
                  <c:v>17.375025959023489</c:v>
                </c:pt>
                <c:pt idx="708">
                  <c:v>17.375025959023489</c:v>
                </c:pt>
                <c:pt idx="709">
                  <c:v>17.375025959023489</c:v>
                </c:pt>
                <c:pt idx="710">
                  <c:v>17.375025959023489</c:v>
                </c:pt>
                <c:pt idx="711">
                  <c:v>17.375025959023489</c:v>
                </c:pt>
                <c:pt idx="712">
                  <c:v>17.375025959023489</c:v>
                </c:pt>
                <c:pt idx="713">
                  <c:v>17.375025959023489</c:v>
                </c:pt>
                <c:pt idx="714">
                  <c:v>17.375025959023489</c:v>
                </c:pt>
                <c:pt idx="715">
                  <c:v>17.375025959023489</c:v>
                </c:pt>
                <c:pt idx="716">
                  <c:v>17.375025959023489</c:v>
                </c:pt>
                <c:pt idx="717">
                  <c:v>17.375025959023489</c:v>
                </c:pt>
                <c:pt idx="718">
                  <c:v>17.375025959023489</c:v>
                </c:pt>
                <c:pt idx="719">
                  <c:v>17.375025959023489</c:v>
                </c:pt>
                <c:pt idx="720">
                  <c:v>17.375025959023489</c:v>
                </c:pt>
                <c:pt idx="721">
                  <c:v>17.375025959023489</c:v>
                </c:pt>
                <c:pt idx="722">
                  <c:v>17.375025959023489</c:v>
                </c:pt>
                <c:pt idx="723">
                  <c:v>17.375025959023489</c:v>
                </c:pt>
                <c:pt idx="724">
                  <c:v>17.375025959023489</c:v>
                </c:pt>
                <c:pt idx="725">
                  <c:v>17.375025959023489</c:v>
                </c:pt>
                <c:pt idx="726">
                  <c:v>17.375025959023489</c:v>
                </c:pt>
                <c:pt idx="727">
                  <c:v>17.375025959023489</c:v>
                </c:pt>
                <c:pt idx="728">
                  <c:v>17.375025959023489</c:v>
                </c:pt>
                <c:pt idx="729">
                  <c:v>17.375025959023489</c:v>
                </c:pt>
                <c:pt idx="730">
                  <c:v>17.375025959023489</c:v>
                </c:pt>
                <c:pt idx="731">
                  <c:v>17.375025959023489</c:v>
                </c:pt>
                <c:pt idx="732">
                  <c:v>17.375025959023489</c:v>
                </c:pt>
                <c:pt idx="733">
                  <c:v>17.375025959023489</c:v>
                </c:pt>
                <c:pt idx="734">
                  <c:v>17.375025959023489</c:v>
                </c:pt>
                <c:pt idx="735">
                  <c:v>17.375025959023489</c:v>
                </c:pt>
                <c:pt idx="736">
                  <c:v>17.375025959023489</c:v>
                </c:pt>
                <c:pt idx="737">
                  <c:v>17.375025959023489</c:v>
                </c:pt>
                <c:pt idx="738">
                  <c:v>17.375025959023489</c:v>
                </c:pt>
                <c:pt idx="739">
                  <c:v>17.375025959023489</c:v>
                </c:pt>
                <c:pt idx="740">
                  <c:v>17.375025959023489</c:v>
                </c:pt>
                <c:pt idx="741">
                  <c:v>17.375025959023489</c:v>
                </c:pt>
                <c:pt idx="742">
                  <c:v>17.375025959023489</c:v>
                </c:pt>
                <c:pt idx="743">
                  <c:v>17.375025959023489</c:v>
                </c:pt>
                <c:pt idx="744">
                  <c:v>17.375025959023489</c:v>
                </c:pt>
                <c:pt idx="745">
                  <c:v>17.375025959023489</c:v>
                </c:pt>
                <c:pt idx="746">
                  <c:v>17.375025959023489</c:v>
                </c:pt>
                <c:pt idx="747">
                  <c:v>17.375025959023489</c:v>
                </c:pt>
                <c:pt idx="748">
                  <c:v>17.375025959023489</c:v>
                </c:pt>
                <c:pt idx="749">
                  <c:v>17.375025959023489</c:v>
                </c:pt>
                <c:pt idx="750">
                  <c:v>17.375025959023489</c:v>
                </c:pt>
                <c:pt idx="751">
                  <c:v>17.375025959023489</c:v>
                </c:pt>
                <c:pt idx="752">
                  <c:v>17.375025959023489</c:v>
                </c:pt>
                <c:pt idx="753">
                  <c:v>17.375025959023489</c:v>
                </c:pt>
                <c:pt idx="754">
                  <c:v>17.375025959023489</c:v>
                </c:pt>
                <c:pt idx="755">
                  <c:v>17.375025959023489</c:v>
                </c:pt>
                <c:pt idx="756">
                  <c:v>17.375025959023489</c:v>
                </c:pt>
                <c:pt idx="757">
                  <c:v>17.375025959023489</c:v>
                </c:pt>
                <c:pt idx="758">
                  <c:v>17.375025959023489</c:v>
                </c:pt>
                <c:pt idx="759">
                  <c:v>17.375025959023489</c:v>
                </c:pt>
                <c:pt idx="760">
                  <c:v>17.375025959023489</c:v>
                </c:pt>
                <c:pt idx="761">
                  <c:v>17.375025959023489</c:v>
                </c:pt>
                <c:pt idx="762">
                  <c:v>17.375025959023489</c:v>
                </c:pt>
                <c:pt idx="763">
                  <c:v>17.375025959023489</c:v>
                </c:pt>
                <c:pt idx="764">
                  <c:v>17.375025959023489</c:v>
                </c:pt>
                <c:pt idx="765">
                  <c:v>17.375025959023489</c:v>
                </c:pt>
                <c:pt idx="766">
                  <c:v>17.375025959023489</c:v>
                </c:pt>
                <c:pt idx="767">
                  <c:v>17.375025959023489</c:v>
                </c:pt>
                <c:pt idx="768">
                  <c:v>17.375025959023489</c:v>
                </c:pt>
                <c:pt idx="769">
                  <c:v>17.375025959023489</c:v>
                </c:pt>
                <c:pt idx="770">
                  <c:v>17.375025959023489</c:v>
                </c:pt>
                <c:pt idx="771">
                  <c:v>17.375025959023489</c:v>
                </c:pt>
                <c:pt idx="772">
                  <c:v>17.375025959023489</c:v>
                </c:pt>
                <c:pt idx="773">
                  <c:v>17.375025959023489</c:v>
                </c:pt>
                <c:pt idx="774">
                  <c:v>17.375025959023489</c:v>
                </c:pt>
                <c:pt idx="775">
                  <c:v>17.375025959023489</c:v>
                </c:pt>
                <c:pt idx="776">
                  <c:v>17.375025959023489</c:v>
                </c:pt>
                <c:pt idx="777">
                  <c:v>17.375025959023489</c:v>
                </c:pt>
                <c:pt idx="778">
                  <c:v>17.375025959023489</c:v>
                </c:pt>
                <c:pt idx="779">
                  <c:v>17.375025959023489</c:v>
                </c:pt>
                <c:pt idx="780">
                  <c:v>17.375025959023489</c:v>
                </c:pt>
                <c:pt idx="781">
                  <c:v>17.375025959023489</c:v>
                </c:pt>
                <c:pt idx="782">
                  <c:v>17.375025959023489</c:v>
                </c:pt>
                <c:pt idx="783">
                  <c:v>17.375025959023489</c:v>
                </c:pt>
                <c:pt idx="784">
                  <c:v>17.375025959023489</c:v>
                </c:pt>
                <c:pt idx="785">
                  <c:v>17.375025959023489</c:v>
                </c:pt>
                <c:pt idx="786">
                  <c:v>17.375025959023489</c:v>
                </c:pt>
                <c:pt idx="787">
                  <c:v>17.375025959023489</c:v>
                </c:pt>
                <c:pt idx="788">
                  <c:v>17.375025959023489</c:v>
                </c:pt>
                <c:pt idx="789">
                  <c:v>17.375025959023489</c:v>
                </c:pt>
                <c:pt idx="790">
                  <c:v>17.375025959023489</c:v>
                </c:pt>
                <c:pt idx="791">
                  <c:v>17.375025959023489</c:v>
                </c:pt>
                <c:pt idx="792">
                  <c:v>17.375025959023489</c:v>
                </c:pt>
                <c:pt idx="793">
                  <c:v>17.375025959023489</c:v>
                </c:pt>
                <c:pt idx="794">
                  <c:v>17.375025959023489</c:v>
                </c:pt>
                <c:pt idx="795">
                  <c:v>17.375025959023489</c:v>
                </c:pt>
                <c:pt idx="796">
                  <c:v>17.375025959023489</c:v>
                </c:pt>
                <c:pt idx="797">
                  <c:v>17.375025959023489</c:v>
                </c:pt>
                <c:pt idx="798">
                  <c:v>17.375025959023489</c:v>
                </c:pt>
                <c:pt idx="799">
                  <c:v>17.375025959023489</c:v>
                </c:pt>
                <c:pt idx="800">
                  <c:v>17.375025959023489</c:v>
                </c:pt>
                <c:pt idx="801">
                  <c:v>17.375025959023489</c:v>
                </c:pt>
                <c:pt idx="802">
                  <c:v>17.375025959023489</c:v>
                </c:pt>
                <c:pt idx="803">
                  <c:v>17.375025959023489</c:v>
                </c:pt>
                <c:pt idx="804">
                  <c:v>17.375025959023489</c:v>
                </c:pt>
                <c:pt idx="805">
                  <c:v>17.375025959023489</c:v>
                </c:pt>
                <c:pt idx="806">
                  <c:v>17.375025959023489</c:v>
                </c:pt>
                <c:pt idx="807">
                  <c:v>17.375025959023489</c:v>
                </c:pt>
                <c:pt idx="808">
                  <c:v>17.375025959023489</c:v>
                </c:pt>
                <c:pt idx="809">
                  <c:v>17.375025959023489</c:v>
                </c:pt>
                <c:pt idx="810">
                  <c:v>17.375025959023489</c:v>
                </c:pt>
                <c:pt idx="811">
                  <c:v>17.375025959023489</c:v>
                </c:pt>
                <c:pt idx="812">
                  <c:v>17.375025959023489</c:v>
                </c:pt>
                <c:pt idx="813">
                  <c:v>17.375025959023489</c:v>
                </c:pt>
                <c:pt idx="814">
                  <c:v>17.375025959023489</c:v>
                </c:pt>
                <c:pt idx="815">
                  <c:v>17.375025959023489</c:v>
                </c:pt>
                <c:pt idx="816">
                  <c:v>17.375025959023489</c:v>
                </c:pt>
                <c:pt idx="817">
                  <c:v>17.375025959023489</c:v>
                </c:pt>
                <c:pt idx="818">
                  <c:v>17.375025959023489</c:v>
                </c:pt>
                <c:pt idx="819">
                  <c:v>17.375025959023489</c:v>
                </c:pt>
                <c:pt idx="820">
                  <c:v>17.375025959023489</c:v>
                </c:pt>
                <c:pt idx="821">
                  <c:v>17.375025959023489</c:v>
                </c:pt>
                <c:pt idx="822">
                  <c:v>17.375025959023489</c:v>
                </c:pt>
                <c:pt idx="823">
                  <c:v>17.375025959023489</c:v>
                </c:pt>
                <c:pt idx="824">
                  <c:v>17.375025959023489</c:v>
                </c:pt>
                <c:pt idx="825">
                  <c:v>17.375025959023489</c:v>
                </c:pt>
                <c:pt idx="826">
                  <c:v>17.375025959023489</c:v>
                </c:pt>
                <c:pt idx="827">
                  <c:v>17.375025959023489</c:v>
                </c:pt>
                <c:pt idx="828">
                  <c:v>17.375025959023489</c:v>
                </c:pt>
                <c:pt idx="829">
                  <c:v>17.375025959023489</c:v>
                </c:pt>
                <c:pt idx="830">
                  <c:v>17.375025959023489</c:v>
                </c:pt>
                <c:pt idx="831">
                  <c:v>17.375025959023489</c:v>
                </c:pt>
                <c:pt idx="832">
                  <c:v>17.375025959023489</c:v>
                </c:pt>
                <c:pt idx="833">
                  <c:v>17.375025959023489</c:v>
                </c:pt>
                <c:pt idx="834">
                  <c:v>17.375025959023489</c:v>
                </c:pt>
                <c:pt idx="835">
                  <c:v>17.375025959023489</c:v>
                </c:pt>
                <c:pt idx="836">
                  <c:v>17.375025959023489</c:v>
                </c:pt>
                <c:pt idx="837">
                  <c:v>17.375025959023489</c:v>
                </c:pt>
                <c:pt idx="838">
                  <c:v>17.375025959023489</c:v>
                </c:pt>
                <c:pt idx="839">
                  <c:v>17.375025959023489</c:v>
                </c:pt>
                <c:pt idx="840">
                  <c:v>17.375025959023489</c:v>
                </c:pt>
                <c:pt idx="841">
                  <c:v>17.375025959023489</c:v>
                </c:pt>
                <c:pt idx="842">
                  <c:v>17.375025959023489</c:v>
                </c:pt>
                <c:pt idx="843">
                  <c:v>17.375025959023489</c:v>
                </c:pt>
                <c:pt idx="844">
                  <c:v>17.375025959023489</c:v>
                </c:pt>
                <c:pt idx="845">
                  <c:v>17.375025959023489</c:v>
                </c:pt>
                <c:pt idx="846">
                  <c:v>17.375025959023489</c:v>
                </c:pt>
                <c:pt idx="847">
                  <c:v>17.375025959023489</c:v>
                </c:pt>
                <c:pt idx="848">
                  <c:v>17.375025959023489</c:v>
                </c:pt>
                <c:pt idx="849">
                  <c:v>17.375025959023489</c:v>
                </c:pt>
                <c:pt idx="850">
                  <c:v>17.375025959023489</c:v>
                </c:pt>
                <c:pt idx="851">
                  <c:v>17.375025959023489</c:v>
                </c:pt>
                <c:pt idx="852">
                  <c:v>17.375025959023489</c:v>
                </c:pt>
                <c:pt idx="853">
                  <c:v>17.375025959023489</c:v>
                </c:pt>
                <c:pt idx="854">
                  <c:v>17.375025959023489</c:v>
                </c:pt>
                <c:pt idx="855">
                  <c:v>17.375025959023489</c:v>
                </c:pt>
                <c:pt idx="856">
                  <c:v>17.375025959023489</c:v>
                </c:pt>
                <c:pt idx="857">
                  <c:v>17.375025959023489</c:v>
                </c:pt>
                <c:pt idx="858">
                  <c:v>17.375025959023489</c:v>
                </c:pt>
                <c:pt idx="859">
                  <c:v>17.375025959023489</c:v>
                </c:pt>
                <c:pt idx="860">
                  <c:v>17.375025959023489</c:v>
                </c:pt>
                <c:pt idx="861">
                  <c:v>17.375025959023489</c:v>
                </c:pt>
                <c:pt idx="862">
                  <c:v>17.375025959023489</c:v>
                </c:pt>
                <c:pt idx="863">
                  <c:v>17.375025959023489</c:v>
                </c:pt>
                <c:pt idx="864">
                  <c:v>17.375025959023489</c:v>
                </c:pt>
                <c:pt idx="865">
                  <c:v>17.375025959023489</c:v>
                </c:pt>
                <c:pt idx="866">
                  <c:v>17.375025959023489</c:v>
                </c:pt>
                <c:pt idx="867">
                  <c:v>17.375025959023489</c:v>
                </c:pt>
                <c:pt idx="868">
                  <c:v>17.375025959023489</c:v>
                </c:pt>
                <c:pt idx="869">
                  <c:v>17.375025959023489</c:v>
                </c:pt>
                <c:pt idx="870">
                  <c:v>17.375025959023489</c:v>
                </c:pt>
                <c:pt idx="871">
                  <c:v>17.375025959023489</c:v>
                </c:pt>
                <c:pt idx="872">
                  <c:v>17.375025959023489</c:v>
                </c:pt>
                <c:pt idx="873">
                  <c:v>17.375025959023489</c:v>
                </c:pt>
                <c:pt idx="874">
                  <c:v>17.375025959023489</c:v>
                </c:pt>
                <c:pt idx="875">
                  <c:v>17.375025959023489</c:v>
                </c:pt>
                <c:pt idx="876">
                  <c:v>17.375025959023489</c:v>
                </c:pt>
                <c:pt idx="877">
                  <c:v>17.375025959023489</c:v>
                </c:pt>
                <c:pt idx="878">
                  <c:v>17.375025959023489</c:v>
                </c:pt>
                <c:pt idx="879">
                  <c:v>17.375025959023489</c:v>
                </c:pt>
                <c:pt idx="880">
                  <c:v>17.375025959023489</c:v>
                </c:pt>
                <c:pt idx="881">
                  <c:v>17.375025959023489</c:v>
                </c:pt>
                <c:pt idx="882">
                  <c:v>17.375025959023489</c:v>
                </c:pt>
                <c:pt idx="883">
                  <c:v>17.375025959023489</c:v>
                </c:pt>
                <c:pt idx="884">
                  <c:v>17.375025959023489</c:v>
                </c:pt>
                <c:pt idx="885">
                  <c:v>17.375025959023489</c:v>
                </c:pt>
                <c:pt idx="886">
                  <c:v>17.375025959023489</c:v>
                </c:pt>
                <c:pt idx="887">
                  <c:v>17.375025959023489</c:v>
                </c:pt>
                <c:pt idx="888">
                  <c:v>17.375025959023489</c:v>
                </c:pt>
                <c:pt idx="889">
                  <c:v>17.375025959023489</c:v>
                </c:pt>
                <c:pt idx="890">
                  <c:v>17.375025959023489</c:v>
                </c:pt>
                <c:pt idx="891">
                  <c:v>17.375025959023489</c:v>
                </c:pt>
                <c:pt idx="892">
                  <c:v>17.375025959023489</c:v>
                </c:pt>
                <c:pt idx="893">
                  <c:v>17.375025959023489</c:v>
                </c:pt>
                <c:pt idx="894">
                  <c:v>17.375025959023489</c:v>
                </c:pt>
                <c:pt idx="895">
                  <c:v>17.375025959023489</c:v>
                </c:pt>
                <c:pt idx="896">
                  <c:v>17.375025959023489</c:v>
                </c:pt>
                <c:pt idx="897">
                  <c:v>17.375025959023489</c:v>
                </c:pt>
                <c:pt idx="898">
                  <c:v>17.375025959023489</c:v>
                </c:pt>
                <c:pt idx="899">
                  <c:v>17.375025959023489</c:v>
                </c:pt>
                <c:pt idx="900">
                  <c:v>17.375025959023489</c:v>
                </c:pt>
                <c:pt idx="901">
                  <c:v>17.375025959023489</c:v>
                </c:pt>
                <c:pt idx="902">
                  <c:v>17.375025959023489</c:v>
                </c:pt>
                <c:pt idx="903">
                  <c:v>17.375025959023489</c:v>
                </c:pt>
                <c:pt idx="904">
                  <c:v>17.375025959023489</c:v>
                </c:pt>
                <c:pt idx="905">
                  <c:v>17.375025959023489</c:v>
                </c:pt>
                <c:pt idx="906">
                  <c:v>17.375025959023489</c:v>
                </c:pt>
                <c:pt idx="907">
                  <c:v>17.375025959023489</c:v>
                </c:pt>
                <c:pt idx="908">
                  <c:v>17.375025959023489</c:v>
                </c:pt>
                <c:pt idx="909">
                  <c:v>17.375025959023489</c:v>
                </c:pt>
                <c:pt idx="910">
                  <c:v>17.375025959023489</c:v>
                </c:pt>
                <c:pt idx="911">
                  <c:v>17.375025959023489</c:v>
                </c:pt>
                <c:pt idx="912">
                  <c:v>17.375025959023489</c:v>
                </c:pt>
                <c:pt idx="913">
                  <c:v>17.375025959023489</c:v>
                </c:pt>
                <c:pt idx="914">
                  <c:v>17.375025959023489</c:v>
                </c:pt>
                <c:pt idx="915">
                  <c:v>17.375025959023489</c:v>
                </c:pt>
                <c:pt idx="916">
                  <c:v>17.375025959023489</c:v>
                </c:pt>
                <c:pt idx="917">
                  <c:v>17.375025959023489</c:v>
                </c:pt>
                <c:pt idx="918">
                  <c:v>17.375025959023489</c:v>
                </c:pt>
                <c:pt idx="919">
                  <c:v>17.375025959023489</c:v>
                </c:pt>
                <c:pt idx="920">
                  <c:v>17.375025959023489</c:v>
                </c:pt>
                <c:pt idx="921">
                  <c:v>17.375025959023489</c:v>
                </c:pt>
                <c:pt idx="922">
                  <c:v>17.375025959023489</c:v>
                </c:pt>
                <c:pt idx="923">
                  <c:v>17.375025959023489</c:v>
                </c:pt>
                <c:pt idx="924">
                  <c:v>17.375025959023489</c:v>
                </c:pt>
                <c:pt idx="925">
                  <c:v>17.375025959023489</c:v>
                </c:pt>
                <c:pt idx="926">
                  <c:v>17.375025959023489</c:v>
                </c:pt>
                <c:pt idx="927">
                  <c:v>17.375025959023489</c:v>
                </c:pt>
                <c:pt idx="928">
                  <c:v>17.375025959023489</c:v>
                </c:pt>
                <c:pt idx="929">
                  <c:v>17.375025959023489</c:v>
                </c:pt>
                <c:pt idx="930">
                  <c:v>17.375025959023489</c:v>
                </c:pt>
                <c:pt idx="931">
                  <c:v>17.375025959023489</c:v>
                </c:pt>
                <c:pt idx="932">
                  <c:v>17.375025959023489</c:v>
                </c:pt>
                <c:pt idx="933">
                  <c:v>17.375025959023489</c:v>
                </c:pt>
                <c:pt idx="934">
                  <c:v>17.375025959023489</c:v>
                </c:pt>
                <c:pt idx="935">
                  <c:v>17.375025959023489</c:v>
                </c:pt>
                <c:pt idx="936">
                  <c:v>17.375025959023489</c:v>
                </c:pt>
                <c:pt idx="937">
                  <c:v>17.375025959023489</c:v>
                </c:pt>
                <c:pt idx="938">
                  <c:v>17.375025959023489</c:v>
                </c:pt>
                <c:pt idx="939">
                  <c:v>17.375025959023489</c:v>
                </c:pt>
                <c:pt idx="940">
                  <c:v>17.375025959023489</c:v>
                </c:pt>
                <c:pt idx="941">
                  <c:v>17.375025959023489</c:v>
                </c:pt>
                <c:pt idx="942">
                  <c:v>17.375025959023489</c:v>
                </c:pt>
                <c:pt idx="943">
                  <c:v>17.375025959023489</c:v>
                </c:pt>
                <c:pt idx="944">
                  <c:v>17.375025959023489</c:v>
                </c:pt>
                <c:pt idx="945">
                  <c:v>17.375025959023489</c:v>
                </c:pt>
                <c:pt idx="946">
                  <c:v>17.375025959023489</c:v>
                </c:pt>
                <c:pt idx="947">
                  <c:v>17.375025959023489</c:v>
                </c:pt>
                <c:pt idx="948">
                  <c:v>17.375025959023489</c:v>
                </c:pt>
                <c:pt idx="949">
                  <c:v>17.375025959023489</c:v>
                </c:pt>
                <c:pt idx="950">
                  <c:v>17.375025959023489</c:v>
                </c:pt>
                <c:pt idx="951">
                  <c:v>17.375025959023489</c:v>
                </c:pt>
                <c:pt idx="952">
                  <c:v>17.375025959023489</c:v>
                </c:pt>
                <c:pt idx="953">
                  <c:v>17.375025959023489</c:v>
                </c:pt>
                <c:pt idx="954">
                  <c:v>17.375025959023489</c:v>
                </c:pt>
                <c:pt idx="955">
                  <c:v>17.375025959023489</c:v>
                </c:pt>
                <c:pt idx="956">
                  <c:v>17.375025959023489</c:v>
                </c:pt>
                <c:pt idx="957">
                  <c:v>17.375025959023489</c:v>
                </c:pt>
                <c:pt idx="958">
                  <c:v>17.375025959023489</c:v>
                </c:pt>
                <c:pt idx="959">
                  <c:v>17.375025959023489</c:v>
                </c:pt>
                <c:pt idx="960">
                  <c:v>17.375025959023489</c:v>
                </c:pt>
                <c:pt idx="961">
                  <c:v>17.375025959023489</c:v>
                </c:pt>
                <c:pt idx="962">
                  <c:v>17.375025959023489</c:v>
                </c:pt>
                <c:pt idx="963">
                  <c:v>17.375025959023489</c:v>
                </c:pt>
                <c:pt idx="964">
                  <c:v>17.375025959023489</c:v>
                </c:pt>
                <c:pt idx="965">
                  <c:v>17.375025959023489</c:v>
                </c:pt>
                <c:pt idx="966">
                  <c:v>17.375025959023489</c:v>
                </c:pt>
                <c:pt idx="967">
                  <c:v>17.375025959023489</c:v>
                </c:pt>
                <c:pt idx="968">
                  <c:v>17.375025959023489</c:v>
                </c:pt>
                <c:pt idx="969">
                  <c:v>17.375025959023489</c:v>
                </c:pt>
                <c:pt idx="970">
                  <c:v>17.375025959023489</c:v>
                </c:pt>
                <c:pt idx="971">
                  <c:v>17.375025959023489</c:v>
                </c:pt>
                <c:pt idx="972">
                  <c:v>17.375025959023489</c:v>
                </c:pt>
                <c:pt idx="973">
                  <c:v>17.375025959023489</c:v>
                </c:pt>
                <c:pt idx="974">
                  <c:v>17.375025959023489</c:v>
                </c:pt>
                <c:pt idx="975">
                  <c:v>17.375025959023489</c:v>
                </c:pt>
                <c:pt idx="976">
                  <c:v>17.375025959023489</c:v>
                </c:pt>
                <c:pt idx="977">
                  <c:v>17.375025959023489</c:v>
                </c:pt>
                <c:pt idx="978">
                  <c:v>17.375025959023489</c:v>
                </c:pt>
                <c:pt idx="979">
                  <c:v>17.375025959023489</c:v>
                </c:pt>
                <c:pt idx="980">
                  <c:v>17.375025959023489</c:v>
                </c:pt>
                <c:pt idx="981">
                  <c:v>17.375025959023489</c:v>
                </c:pt>
                <c:pt idx="982">
                  <c:v>17.375025959023489</c:v>
                </c:pt>
                <c:pt idx="983">
                  <c:v>17.375025959023489</c:v>
                </c:pt>
                <c:pt idx="984">
                  <c:v>17.375025959023489</c:v>
                </c:pt>
                <c:pt idx="985">
                  <c:v>17.375025959023489</c:v>
                </c:pt>
                <c:pt idx="986">
                  <c:v>17.375025959023489</c:v>
                </c:pt>
                <c:pt idx="987">
                  <c:v>17.375025959023489</c:v>
                </c:pt>
                <c:pt idx="988">
                  <c:v>17.375025959023489</c:v>
                </c:pt>
                <c:pt idx="989">
                  <c:v>17.375025959023489</c:v>
                </c:pt>
                <c:pt idx="990">
                  <c:v>17.375025959023489</c:v>
                </c:pt>
                <c:pt idx="991">
                  <c:v>17.375025959023489</c:v>
                </c:pt>
                <c:pt idx="992">
                  <c:v>17.375025959023489</c:v>
                </c:pt>
                <c:pt idx="993">
                  <c:v>17.375025959023489</c:v>
                </c:pt>
                <c:pt idx="994">
                  <c:v>17.375025959023489</c:v>
                </c:pt>
                <c:pt idx="995">
                  <c:v>17.375025959023489</c:v>
                </c:pt>
                <c:pt idx="996">
                  <c:v>17.375025959023489</c:v>
                </c:pt>
                <c:pt idx="997">
                  <c:v>17.375025959023489</c:v>
                </c:pt>
                <c:pt idx="998">
                  <c:v>17.375025959023489</c:v>
                </c:pt>
                <c:pt idx="999">
                  <c:v>17.375025959023489</c:v>
                </c:pt>
                <c:pt idx="1000">
                  <c:v>17.375025959023489</c:v>
                </c:pt>
                <c:pt idx="1001">
                  <c:v>17.375025959023489</c:v>
                </c:pt>
                <c:pt idx="1002">
                  <c:v>17.375025959023489</c:v>
                </c:pt>
                <c:pt idx="1003">
                  <c:v>17.375025959023489</c:v>
                </c:pt>
                <c:pt idx="1004">
                  <c:v>17.375025959023489</c:v>
                </c:pt>
                <c:pt idx="1005">
                  <c:v>17.375025959023489</c:v>
                </c:pt>
                <c:pt idx="1006">
                  <c:v>17.375025959023489</c:v>
                </c:pt>
                <c:pt idx="1007">
                  <c:v>17.375025959023489</c:v>
                </c:pt>
                <c:pt idx="1008">
                  <c:v>17.375025959023489</c:v>
                </c:pt>
                <c:pt idx="1009">
                  <c:v>17.375025959023489</c:v>
                </c:pt>
                <c:pt idx="1010">
                  <c:v>17.375025959023489</c:v>
                </c:pt>
                <c:pt idx="1011">
                  <c:v>17.375025959023489</c:v>
                </c:pt>
                <c:pt idx="1012">
                  <c:v>17.375025959023489</c:v>
                </c:pt>
                <c:pt idx="1013">
                  <c:v>17.375025959023489</c:v>
                </c:pt>
                <c:pt idx="1014">
                  <c:v>17.375025959023489</c:v>
                </c:pt>
                <c:pt idx="1015">
                  <c:v>17.375025959023489</c:v>
                </c:pt>
                <c:pt idx="1016">
                  <c:v>17.375025959023489</c:v>
                </c:pt>
                <c:pt idx="1017">
                  <c:v>17.375025959023489</c:v>
                </c:pt>
                <c:pt idx="1018">
                  <c:v>17.375025959023489</c:v>
                </c:pt>
                <c:pt idx="1019">
                  <c:v>17.375025959023489</c:v>
                </c:pt>
                <c:pt idx="1020">
                  <c:v>17.375025959023489</c:v>
                </c:pt>
                <c:pt idx="1021">
                  <c:v>17.375025959023489</c:v>
                </c:pt>
                <c:pt idx="1022">
                  <c:v>17.375025959023489</c:v>
                </c:pt>
                <c:pt idx="1023">
                  <c:v>17.375025959023489</c:v>
                </c:pt>
                <c:pt idx="1024">
                  <c:v>17.375025959023489</c:v>
                </c:pt>
                <c:pt idx="1025">
                  <c:v>17.375025959023489</c:v>
                </c:pt>
                <c:pt idx="1026">
                  <c:v>17.375025959023489</c:v>
                </c:pt>
                <c:pt idx="1027">
                  <c:v>17.375025959023489</c:v>
                </c:pt>
                <c:pt idx="1028">
                  <c:v>17.375025959023489</c:v>
                </c:pt>
                <c:pt idx="1029">
                  <c:v>17.375025959023489</c:v>
                </c:pt>
                <c:pt idx="1030">
                  <c:v>17.375025959023489</c:v>
                </c:pt>
                <c:pt idx="1031">
                  <c:v>17.375025959023489</c:v>
                </c:pt>
                <c:pt idx="1032">
                  <c:v>17.375025959023489</c:v>
                </c:pt>
                <c:pt idx="1033">
                  <c:v>17.375025959023489</c:v>
                </c:pt>
                <c:pt idx="1034">
                  <c:v>17.375025959023489</c:v>
                </c:pt>
                <c:pt idx="1035">
                  <c:v>17.375025959023489</c:v>
                </c:pt>
                <c:pt idx="1036">
                  <c:v>17.375025959023489</c:v>
                </c:pt>
                <c:pt idx="1037">
                  <c:v>17.375025959023489</c:v>
                </c:pt>
                <c:pt idx="1038">
                  <c:v>17.375025959023489</c:v>
                </c:pt>
                <c:pt idx="1039">
                  <c:v>17.375025959023489</c:v>
                </c:pt>
                <c:pt idx="1040">
                  <c:v>17.375025959023489</c:v>
                </c:pt>
                <c:pt idx="1041">
                  <c:v>17.375025959023489</c:v>
                </c:pt>
                <c:pt idx="1042">
                  <c:v>17.375025959023489</c:v>
                </c:pt>
                <c:pt idx="1043">
                  <c:v>17.375025959023489</c:v>
                </c:pt>
                <c:pt idx="1044">
                  <c:v>17.375025959023489</c:v>
                </c:pt>
                <c:pt idx="1045">
                  <c:v>17.375025959023489</c:v>
                </c:pt>
                <c:pt idx="1046">
                  <c:v>17.375025959023489</c:v>
                </c:pt>
                <c:pt idx="1047">
                  <c:v>17.375025959023489</c:v>
                </c:pt>
                <c:pt idx="1048">
                  <c:v>17.375025959023489</c:v>
                </c:pt>
                <c:pt idx="1049">
                  <c:v>17.375025959023489</c:v>
                </c:pt>
                <c:pt idx="1050">
                  <c:v>17.375025959023489</c:v>
                </c:pt>
                <c:pt idx="1051">
                  <c:v>17.375025959023489</c:v>
                </c:pt>
                <c:pt idx="1052">
                  <c:v>17.375025959023489</c:v>
                </c:pt>
                <c:pt idx="1053">
                  <c:v>17.375025959023489</c:v>
                </c:pt>
                <c:pt idx="1054">
                  <c:v>17.375025959023489</c:v>
                </c:pt>
                <c:pt idx="1055">
                  <c:v>17.375025959023489</c:v>
                </c:pt>
                <c:pt idx="1056">
                  <c:v>17.375025959023489</c:v>
                </c:pt>
                <c:pt idx="1057">
                  <c:v>17.375025959023489</c:v>
                </c:pt>
                <c:pt idx="1058">
                  <c:v>17.375025959023489</c:v>
                </c:pt>
                <c:pt idx="1059">
                  <c:v>17.375025959023489</c:v>
                </c:pt>
                <c:pt idx="1060">
                  <c:v>17.375025959023489</c:v>
                </c:pt>
                <c:pt idx="1061">
                  <c:v>17.375025959023489</c:v>
                </c:pt>
                <c:pt idx="1062">
                  <c:v>17.375025959023489</c:v>
                </c:pt>
                <c:pt idx="1063">
                  <c:v>17.375025959023489</c:v>
                </c:pt>
                <c:pt idx="1064">
                  <c:v>17.375025959023489</c:v>
                </c:pt>
                <c:pt idx="1065">
                  <c:v>17.375025959023489</c:v>
                </c:pt>
                <c:pt idx="1066">
                  <c:v>17.375025959023489</c:v>
                </c:pt>
                <c:pt idx="1067">
                  <c:v>17.375025959023489</c:v>
                </c:pt>
                <c:pt idx="1068">
                  <c:v>17.375025959023489</c:v>
                </c:pt>
                <c:pt idx="1069">
                  <c:v>17.375025959023489</c:v>
                </c:pt>
                <c:pt idx="1070">
                  <c:v>17.375025959023489</c:v>
                </c:pt>
                <c:pt idx="1071">
                  <c:v>17.375025959023489</c:v>
                </c:pt>
                <c:pt idx="1072">
                  <c:v>17.375025959023489</c:v>
                </c:pt>
                <c:pt idx="1073">
                  <c:v>17.375025959023489</c:v>
                </c:pt>
                <c:pt idx="1074">
                  <c:v>17.375025959023489</c:v>
                </c:pt>
                <c:pt idx="1075">
                  <c:v>17.375025959023489</c:v>
                </c:pt>
                <c:pt idx="1076">
                  <c:v>17.375025959023489</c:v>
                </c:pt>
                <c:pt idx="1077">
                  <c:v>17.375025959023489</c:v>
                </c:pt>
                <c:pt idx="1078">
                  <c:v>17.375025959023489</c:v>
                </c:pt>
                <c:pt idx="1079">
                  <c:v>17.375025959023489</c:v>
                </c:pt>
                <c:pt idx="1080">
                  <c:v>17.375025959023489</c:v>
                </c:pt>
                <c:pt idx="1081">
                  <c:v>17.375025959023489</c:v>
                </c:pt>
                <c:pt idx="1082">
                  <c:v>17.375025959023489</c:v>
                </c:pt>
                <c:pt idx="1083">
                  <c:v>17.375025959023489</c:v>
                </c:pt>
                <c:pt idx="1084">
                  <c:v>17.375025959023489</c:v>
                </c:pt>
                <c:pt idx="1085">
                  <c:v>17.375025959023489</c:v>
                </c:pt>
                <c:pt idx="1086">
                  <c:v>17.375025959023489</c:v>
                </c:pt>
                <c:pt idx="1087">
                  <c:v>17.375025959023489</c:v>
                </c:pt>
                <c:pt idx="1088">
                  <c:v>17.375025959023489</c:v>
                </c:pt>
                <c:pt idx="1089">
                  <c:v>17.375025959023489</c:v>
                </c:pt>
                <c:pt idx="1090">
                  <c:v>17.375025959023489</c:v>
                </c:pt>
                <c:pt idx="1091">
                  <c:v>17.375025959023489</c:v>
                </c:pt>
                <c:pt idx="1092">
                  <c:v>17.375025959023489</c:v>
                </c:pt>
                <c:pt idx="1093">
                  <c:v>17.375025959023489</c:v>
                </c:pt>
                <c:pt idx="1094">
                  <c:v>17.375025959023489</c:v>
                </c:pt>
                <c:pt idx="1095">
                  <c:v>17.375025959023489</c:v>
                </c:pt>
                <c:pt idx="1096">
                  <c:v>17.375025959023489</c:v>
                </c:pt>
                <c:pt idx="1097">
                  <c:v>17.375025959023489</c:v>
                </c:pt>
                <c:pt idx="1098">
                  <c:v>17.375025959023489</c:v>
                </c:pt>
                <c:pt idx="1099">
                  <c:v>17.375025959023489</c:v>
                </c:pt>
                <c:pt idx="1100">
                  <c:v>17.375025959023489</c:v>
                </c:pt>
                <c:pt idx="1101">
                  <c:v>17.375025959023489</c:v>
                </c:pt>
                <c:pt idx="1102">
                  <c:v>17.375025959023489</c:v>
                </c:pt>
                <c:pt idx="1103">
                  <c:v>17.375025959023489</c:v>
                </c:pt>
                <c:pt idx="1104">
                  <c:v>17.375025959023489</c:v>
                </c:pt>
                <c:pt idx="1105">
                  <c:v>17.375025959023489</c:v>
                </c:pt>
                <c:pt idx="1106">
                  <c:v>17.375025959023489</c:v>
                </c:pt>
                <c:pt idx="1107">
                  <c:v>17.375025959023489</c:v>
                </c:pt>
                <c:pt idx="1108">
                  <c:v>17.375025959023489</c:v>
                </c:pt>
                <c:pt idx="1109">
                  <c:v>17.375025959023489</c:v>
                </c:pt>
                <c:pt idx="1110">
                  <c:v>17.375025959023489</c:v>
                </c:pt>
                <c:pt idx="1111">
                  <c:v>17.375025959023489</c:v>
                </c:pt>
                <c:pt idx="1112">
                  <c:v>17.375025959023489</c:v>
                </c:pt>
                <c:pt idx="1113">
                  <c:v>17.375025959023489</c:v>
                </c:pt>
                <c:pt idx="1114">
                  <c:v>17.375025959023489</c:v>
                </c:pt>
                <c:pt idx="1115">
                  <c:v>17.375025959023489</c:v>
                </c:pt>
                <c:pt idx="1116">
                  <c:v>17.375025959023489</c:v>
                </c:pt>
                <c:pt idx="1117">
                  <c:v>17.375025959023489</c:v>
                </c:pt>
                <c:pt idx="1118">
                  <c:v>17.375025959023489</c:v>
                </c:pt>
                <c:pt idx="1119">
                  <c:v>17.375025959023489</c:v>
                </c:pt>
                <c:pt idx="1120">
                  <c:v>17.375025959023489</c:v>
                </c:pt>
                <c:pt idx="1121">
                  <c:v>17.375025959023489</c:v>
                </c:pt>
                <c:pt idx="1122">
                  <c:v>17.375025959023489</c:v>
                </c:pt>
                <c:pt idx="1123">
                  <c:v>17.375025959023489</c:v>
                </c:pt>
                <c:pt idx="1124">
                  <c:v>17.375025959023489</c:v>
                </c:pt>
                <c:pt idx="1125">
                  <c:v>17.375025959023489</c:v>
                </c:pt>
                <c:pt idx="1126">
                  <c:v>17.375025959023489</c:v>
                </c:pt>
                <c:pt idx="1127">
                  <c:v>17.375025959023489</c:v>
                </c:pt>
                <c:pt idx="1128">
                  <c:v>17.375025959023489</c:v>
                </c:pt>
                <c:pt idx="1129">
                  <c:v>17.375025959023489</c:v>
                </c:pt>
                <c:pt idx="1130">
                  <c:v>17.375025959023489</c:v>
                </c:pt>
                <c:pt idx="1131">
                  <c:v>17.375025959023489</c:v>
                </c:pt>
                <c:pt idx="1132">
                  <c:v>17.375025959023489</c:v>
                </c:pt>
                <c:pt idx="1133">
                  <c:v>17.375025959023489</c:v>
                </c:pt>
                <c:pt idx="1134">
                  <c:v>17.375025959023489</c:v>
                </c:pt>
                <c:pt idx="1135">
                  <c:v>17.375025959023489</c:v>
                </c:pt>
                <c:pt idx="1136">
                  <c:v>17.375025959023489</c:v>
                </c:pt>
                <c:pt idx="1137">
                  <c:v>17.375025959023489</c:v>
                </c:pt>
                <c:pt idx="1138">
                  <c:v>17.375025959023489</c:v>
                </c:pt>
                <c:pt idx="1139">
                  <c:v>17.375025959023489</c:v>
                </c:pt>
                <c:pt idx="1140">
                  <c:v>17.375025959023489</c:v>
                </c:pt>
                <c:pt idx="1141">
                  <c:v>17.375025959023489</c:v>
                </c:pt>
                <c:pt idx="1142">
                  <c:v>17.375025959023489</c:v>
                </c:pt>
                <c:pt idx="1143">
                  <c:v>17.375025959023489</c:v>
                </c:pt>
                <c:pt idx="1144">
                  <c:v>17.375025959023489</c:v>
                </c:pt>
                <c:pt idx="1145">
                  <c:v>17.375025959023489</c:v>
                </c:pt>
                <c:pt idx="1146">
                  <c:v>17.375025959023489</c:v>
                </c:pt>
                <c:pt idx="1147">
                  <c:v>17.375025959023489</c:v>
                </c:pt>
                <c:pt idx="1148">
                  <c:v>17.375025959023489</c:v>
                </c:pt>
                <c:pt idx="1149">
                  <c:v>17.375025959023489</c:v>
                </c:pt>
                <c:pt idx="1150">
                  <c:v>17.375025959023489</c:v>
                </c:pt>
                <c:pt idx="1151">
                  <c:v>17.375025959023489</c:v>
                </c:pt>
                <c:pt idx="1152">
                  <c:v>17.375025959023489</c:v>
                </c:pt>
                <c:pt idx="1153">
                  <c:v>17.375025959023489</c:v>
                </c:pt>
                <c:pt idx="1154">
                  <c:v>17.375025959023489</c:v>
                </c:pt>
                <c:pt idx="1155">
                  <c:v>17.375025959023489</c:v>
                </c:pt>
                <c:pt idx="1156">
                  <c:v>17.375025959023489</c:v>
                </c:pt>
                <c:pt idx="1157">
                  <c:v>17.375025959023489</c:v>
                </c:pt>
                <c:pt idx="1158">
                  <c:v>17.375025959023489</c:v>
                </c:pt>
                <c:pt idx="1159">
                  <c:v>17.375025959023489</c:v>
                </c:pt>
                <c:pt idx="1160">
                  <c:v>17.375025959023489</c:v>
                </c:pt>
                <c:pt idx="1161">
                  <c:v>17.375025959023489</c:v>
                </c:pt>
                <c:pt idx="1162">
                  <c:v>17.375025959023489</c:v>
                </c:pt>
                <c:pt idx="1163">
                  <c:v>17.375025959023489</c:v>
                </c:pt>
                <c:pt idx="1164">
                  <c:v>17.375025959023489</c:v>
                </c:pt>
                <c:pt idx="1165">
                  <c:v>17.375025959023489</c:v>
                </c:pt>
                <c:pt idx="1166">
                  <c:v>17.375025959023489</c:v>
                </c:pt>
                <c:pt idx="1167">
                  <c:v>17.375025959023489</c:v>
                </c:pt>
                <c:pt idx="1168">
                  <c:v>17.375025959023489</c:v>
                </c:pt>
                <c:pt idx="1169">
                  <c:v>17.375025959023489</c:v>
                </c:pt>
                <c:pt idx="1170">
                  <c:v>17.375025959023489</c:v>
                </c:pt>
                <c:pt idx="1171">
                  <c:v>17.375025959023489</c:v>
                </c:pt>
                <c:pt idx="1172">
                  <c:v>17.375025959023489</c:v>
                </c:pt>
                <c:pt idx="1173">
                  <c:v>17.375025959023489</c:v>
                </c:pt>
                <c:pt idx="1174">
                  <c:v>17.375025959023489</c:v>
                </c:pt>
                <c:pt idx="1175">
                  <c:v>17.375025959023489</c:v>
                </c:pt>
                <c:pt idx="1176">
                  <c:v>17.375025959023489</c:v>
                </c:pt>
                <c:pt idx="1177">
                  <c:v>17.375025959023489</c:v>
                </c:pt>
                <c:pt idx="1178">
                  <c:v>17.375025959023489</c:v>
                </c:pt>
                <c:pt idx="1179">
                  <c:v>17.375025959023489</c:v>
                </c:pt>
                <c:pt idx="1180">
                  <c:v>17.375025959023489</c:v>
                </c:pt>
                <c:pt idx="1181">
                  <c:v>17.375025959023489</c:v>
                </c:pt>
                <c:pt idx="1182">
                  <c:v>17.375025959023489</c:v>
                </c:pt>
                <c:pt idx="1183">
                  <c:v>17.375025959023489</c:v>
                </c:pt>
                <c:pt idx="1184">
                  <c:v>17.375025959023489</c:v>
                </c:pt>
                <c:pt idx="1185">
                  <c:v>17.375025959023489</c:v>
                </c:pt>
                <c:pt idx="1186">
                  <c:v>17.375025959023489</c:v>
                </c:pt>
                <c:pt idx="1187">
                  <c:v>17.375025959023489</c:v>
                </c:pt>
                <c:pt idx="1188">
                  <c:v>17.375025959023489</c:v>
                </c:pt>
                <c:pt idx="1189">
                  <c:v>17.375025959023489</c:v>
                </c:pt>
                <c:pt idx="1190">
                  <c:v>17.375025959023489</c:v>
                </c:pt>
                <c:pt idx="1191">
                  <c:v>17.375025959023489</c:v>
                </c:pt>
                <c:pt idx="1192">
                  <c:v>17.375025959023489</c:v>
                </c:pt>
                <c:pt idx="1193">
                  <c:v>17.375025959023489</c:v>
                </c:pt>
                <c:pt idx="1194">
                  <c:v>17.375025959023489</c:v>
                </c:pt>
                <c:pt idx="1195">
                  <c:v>17.375025959023489</c:v>
                </c:pt>
                <c:pt idx="1196">
                  <c:v>17.375025959023489</c:v>
                </c:pt>
                <c:pt idx="1197">
                  <c:v>17.375025959023489</c:v>
                </c:pt>
                <c:pt idx="1198">
                  <c:v>17.375025959023489</c:v>
                </c:pt>
                <c:pt idx="1199">
                  <c:v>17.375025959023489</c:v>
                </c:pt>
                <c:pt idx="1200">
                  <c:v>17.375025959023489</c:v>
                </c:pt>
                <c:pt idx="1201">
                  <c:v>17.375025959023489</c:v>
                </c:pt>
                <c:pt idx="1202">
                  <c:v>17.375025959023489</c:v>
                </c:pt>
                <c:pt idx="1203">
                  <c:v>17.375025959023489</c:v>
                </c:pt>
                <c:pt idx="1204">
                  <c:v>17.375025959023489</c:v>
                </c:pt>
                <c:pt idx="1205">
                  <c:v>17.375025959023489</c:v>
                </c:pt>
                <c:pt idx="1206">
                  <c:v>17.375025959023489</c:v>
                </c:pt>
                <c:pt idx="1207">
                  <c:v>17.375025959023489</c:v>
                </c:pt>
                <c:pt idx="1208">
                  <c:v>17.375025959023489</c:v>
                </c:pt>
                <c:pt idx="1209">
                  <c:v>17.375025959023489</c:v>
                </c:pt>
                <c:pt idx="1210">
                  <c:v>17.375025959023489</c:v>
                </c:pt>
                <c:pt idx="1211">
                  <c:v>17.375025959023489</c:v>
                </c:pt>
                <c:pt idx="1212">
                  <c:v>17.375025959023489</c:v>
                </c:pt>
                <c:pt idx="1213">
                  <c:v>17.375025959023489</c:v>
                </c:pt>
                <c:pt idx="1214">
                  <c:v>17.375025959023489</c:v>
                </c:pt>
                <c:pt idx="1215">
                  <c:v>17.375025959023489</c:v>
                </c:pt>
                <c:pt idx="1216">
                  <c:v>17.375025959023489</c:v>
                </c:pt>
                <c:pt idx="1217">
                  <c:v>17.375025959023489</c:v>
                </c:pt>
                <c:pt idx="1218">
                  <c:v>17.375025959023489</c:v>
                </c:pt>
                <c:pt idx="1219">
                  <c:v>17.375025959023489</c:v>
                </c:pt>
                <c:pt idx="1220">
                  <c:v>17.375025959023489</c:v>
                </c:pt>
                <c:pt idx="1221">
                  <c:v>17.375025959023489</c:v>
                </c:pt>
                <c:pt idx="1222">
                  <c:v>17.375025959023489</c:v>
                </c:pt>
                <c:pt idx="1223">
                  <c:v>17.375025959023489</c:v>
                </c:pt>
                <c:pt idx="1224">
                  <c:v>17.375025959023489</c:v>
                </c:pt>
                <c:pt idx="1225">
                  <c:v>17.375025959023489</c:v>
                </c:pt>
                <c:pt idx="1226">
                  <c:v>17.375025959023489</c:v>
                </c:pt>
                <c:pt idx="1227">
                  <c:v>17.375025959023489</c:v>
                </c:pt>
                <c:pt idx="1228">
                  <c:v>17.375025959023489</c:v>
                </c:pt>
                <c:pt idx="1229">
                  <c:v>17.375025959023489</c:v>
                </c:pt>
                <c:pt idx="1230">
                  <c:v>17.375025959023489</c:v>
                </c:pt>
                <c:pt idx="1231">
                  <c:v>17.375025959023489</c:v>
                </c:pt>
                <c:pt idx="1232">
                  <c:v>17.375025959023489</c:v>
                </c:pt>
                <c:pt idx="1233">
                  <c:v>17.375025959023489</c:v>
                </c:pt>
                <c:pt idx="1234">
                  <c:v>17.375025959023489</c:v>
                </c:pt>
                <c:pt idx="1235">
                  <c:v>17.375025959023489</c:v>
                </c:pt>
                <c:pt idx="1236">
                  <c:v>17.375025959023489</c:v>
                </c:pt>
                <c:pt idx="1237">
                  <c:v>17.375025959023489</c:v>
                </c:pt>
                <c:pt idx="1238">
                  <c:v>17.375025959023489</c:v>
                </c:pt>
                <c:pt idx="1239">
                  <c:v>17.375025959023489</c:v>
                </c:pt>
                <c:pt idx="1240">
                  <c:v>17.375025959023489</c:v>
                </c:pt>
                <c:pt idx="1241">
                  <c:v>17.375025959023489</c:v>
                </c:pt>
                <c:pt idx="1242">
                  <c:v>17.375025959023489</c:v>
                </c:pt>
                <c:pt idx="1243">
                  <c:v>17.375025959023489</c:v>
                </c:pt>
                <c:pt idx="1244">
                  <c:v>17.375025959023489</c:v>
                </c:pt>
                <c:pt idx="1245">
                  <c:v>17.375025959023489</c:v>
                </c:pt>
                <c:pt idx="1246">
                  <c:v>17.375025959023489</c:v>
                </c:pt>
                <c:pt idx="1247">
                  <c:v>17.375025959023489</c:v>
                </c:pt>
                <c:pt idx="1248">
                  <c:v>17.375025959023489</c:v>
                </c:pt>
                <c:pt idx="1249">
                  <c:v>17.375025959023489</c:v>
                </c:pt>
                <c:pt idx="1250">
                  <c:v>17.375025959023489</c:v>
                </c:pt>
                <c:pt idx="1251">
                  <c:v>17.375025959023489</c:v>
                </c:pt>
                <c:pt idx="1252">
                  <c:v>17.375025959023489</c:v>
                </c:pt>
                <c:pt idx="1253">
                  <c:v>17.375025959023489</c:v>
                </c:pt>
                <c:pt idx="1254">
                  <c:v>17.375025959023489</c:v>
                </c:pt>
                <c:pt idx="1255">
                  <c:v>17.375025959023489</c:v>
                </c:pt>
                <c:pt idx="1256">
                  <c:v>17.375025959023489</c:v>
                </c:pt>
                <c:pt idx="1257">
                  <c:v>17.375025959023489</c:v>
                </c:pt>
                <c:pt idx="1258">
                  <c:v>17.375025959023489</c:v>
                </c:pt>
                <c:pt idx="1259">
                  <c:v>17.375025959023489</c:v>
                </c:pt>
                <c:pt idx="1260">
                  <c:v>17.375025959023489</c:v>
                </c:pt>
                <c:pt idx="1261">
                  <c:v>17.375025959023489</c:v>
                </c:pt>
                <c:pt idx="1262">
                  <c:v>17.375025959023489</c:v>
                </c:pt>
                <c:pt idx="1263">
                  <c:v>17.375025959023489</c:v>
                </c:pt>
                <c:pt idx="1264">
                  <c:v>17.375025959023489</c:v>
                </c:pt>
                <c:pt idx="1265">
                  <c:v>17.375025959023489</c:v>
                </c:pt>
                <c:pt idx="1266">
                  <c:v>17.375025959023489</c:v>
                </c:pt>
                <c:pt idx="1267">
                  <c:v>17.375025959023489</c:v>
                </c:pt>
                <c:pt idx="1268">
                  <c:v>17.375025959023489</c:v>
                </c:pt>
                <c:pt idx="1269">
                  <c:v>17.375025959023489</c:v>
                </c:pt>
                <c:pt idx="1270">
                  <c:v>17.375025959023489</c:v>
                </c:pt>
                <c:pt idx="1271">
                  <c:v>17.375025959023489</c:v>
                </c:pt>
                <c:pt idx="1272">
                  <c:v>17.375025959023489</c:v>
                </c:pt>
                <c:pt idx="1273">
                  <c:v>17.375025959023489</c:v>
                </c:pt>
                <c:pt idx="1274">
                  <c:v>17.375025959023489</c:v>
                </c:pt>
                <c:pt idx="1275">
                  <c:v>17.375025959023489</c:v>
                </c:pt>
                <c:pt idx="1276">
                  <c:v>17.375025959023489</c:v>
                </c:pt>
                <c:pt idx="1277">
                  <c:v>17.375025959023489</c:v>
                </c:pt>
                <c:pt idx="1278">
                  <c:v>17.375025959023489</c:v>
                </c:pt>
                <c:pt idx="1279">
                  <c:v>17.375025959023489</c:v>
                </c:pt>
                <c:pt idx="1280">
                  <c:v>17.375025959023489</c:v>
                </c:pt>
                <c:pt idx="1281">
                  <c:v>17.375025959023489</c:v>
                </c:pt>
                <c:pt idx="1282">
                  <c:v>17.375025959023489</c:v>
                </c:pt>
                <c:pt idx="1283">
                  <c:v>17.375025959023489</c:v>
                </c:pt>
                <c:pt idx="1284">
                  <c:v>17.375025959023489</c:v>
                </c:pt>
                <c:pt idx="1285">
                  <c:v>17.375025959023489</c:v>
                </c:pt>
                <c:pt idx="1286">
                  <c:v>17.375025959023489</c:v>
                </c:pt>
                <c:pt idx="1287">
                  <c:v>17.375025959023489</c:v>
                </c:pt>
                <c:pt idx="1288">
                  <c:v>17.375025959023489</c:v>
                </c:pt>
                <c:pt idx="1289">
                  <c:v>17.375025959023489</c:v>
                </c:pt>
                <c:pt idx="1290">
                  <c:v>17.375025959023489</c:v>
                </c:pt>
                <c:pt idx="1291">
                  <c:v>17.375025959023489</c:v>
                </c:pt>
                <c:pt idx="1292">
                  <c:v>17.375025959023489</c:v>
                </c:pt>
                <c:pt idx="1293">
                  <c:v>17.375025959023489</c:v>
                </c:pt>
                <c:pt idx="1294">
                  <c:v>17.375025959023489</c:v>
                </c:pt>
                <c:pt idx="1295">
                  <c:v>17.375025959023489</c:v>
                </c:pt>
                <c:pt idx="1296">
                  <c:v>17.375025959023489</c:v>
                </c:pt>
                <c:pt idx="1297">
                  <c:v>17.375025959023489</c:v>
                </c:pt>
                <c:pt idx="1298">
                  <c:v>17.375025959023489</c:v>
                </c:pt>
                <c:pt idx="1299">
                  <c:v>17.375025959023489</c:v>
                </c:pt>
                <c:pt idx="1300">
                  <c:v>17.375025959023489</c:v>
                </c:pt>
                <c:pt idx="1301">
                  <c:v>17.375025959023489</c:v>
                </c:pt>
                <c:pt idx="1302">
                  <c:v>17.375025959023489</c:v>
                </c:pt>
                <c:pt idx="1303">
                  <c:v>17.375025959023489</c:v>
                </c:pt>
                <c:pt idx="1304">
                  <c:v>17.375025959023489</c:v>
                </c:pt>
                <c:pt idx="1305">
                  <c:v>17.375025959023489</c:v>
                </c:pt>
                <c:pt idx="1306">
                  <c:v>17.375025959023489</c:v>
                </c:pt>
                <c:pt idx="1307">
                  <c:v>17.375025959023489</c:v>
                </c:pt>
                <c:pt idx="1308">
                  <c:v>17.375025959023489</c:v>
                </c:pt>
                <c:pt idx="1309">
                  <c:v>17.375025959023489</c:v>
                </c:pt>
                <c:pt idx="1310">
                  <c:v>17.375025959023489</c:v>
                </c:pt>
                <c:pt idx="1311">
                  <c:v>17.375025959023489</c:v>
                </c:pt>
                <c:pt idx="1312">
                  <c:v>17.375025959023489</c:v>
                </c:pt>
                <c:pt idx="1313">
                  <c:v>17.375025959023489</c:v>
                </c:pt>
                <c:pt idx="1314">
                  <c:v>17.375025959023489</c:v>
                </c:pt>
                <c:pt idx="1315">
                  <c:v>17.375025959023489</c:v>
                </c:pt>
                <c:pt idx="1316">
                  <c:v>17.375025959023489</c:v>
                </c:pt>
                <c:pt idx="1317">
                  <c:v>17.375025959023489</c:v>
                </c:pt>
                <c:pt idx="1318">
                  <c:v>17.375025959023489</c:v>
                </c:pt>
                <c:pt idx="1319">
                  <c:v>17.375025959023489</c:v>
                </c:pt>
                <c:pt idx="1320">
                  <c:v>17.375025959023489</c:v>
                </c:pt>
                <c:pt idx="1321">
                  <c:v>17.375025959023489</c:v>
                </c:pt>
                <c:pt idx="1322">
                  <c:v>17.375025959023489</c:v>
                </c:pt>
                <c:pt idx="1323">
                  <c:v>17.375025959023489</c:v>
                </c:pt>
                <c:pt idx="1324">
                  <c:v>17.375025959023489</c:v>
                </c:pt>
                <c:pt idx="1325">
                  <c:v>17.375025959023489</c:v>
                </c:pt>
                <c:pt idx="1326">
                  <c:v>17.375025959023489</c:v>
                </c:pt>
                <c:pt idx="1327">
                  <c:v>17.375025959023489</c:v>
                </c:pt>
                <c:pt idx="1328">
                  <c:v>17.375025959023489</c:v>
                </c:pt>
                <c:pt idx="1329">
                  <c:v>17.375025959023489</c:v>
                </c:pt>
                <c:pt idx="1330">
                  <c:v>17.375025959023489</c:v>
                </c:pt>
                <c:pt idx="1331">
                  <c:v>17.375025959023489</c:v>
                </c:pt>
                <c:pt idx="1332">
                  <c:v>17.375025959023489</c:v>
                </c:pt>
                <c:pt idx="1333">
                  <c:v>17.375025959023489</c:v>
                </c:pt>
                <c:pt idx="1334">
                  <c:v>17.375025959023489</c:v>
                </c:pt>
                <c:pt idx="1335">
                  <c:v>17.375025959023489</c:v>
                </c:pt>
                <c:pt idx="1336">
                  <c:v>17.375025959023489</c:v>
                </c:pt>
                <c:pt idx="1337">
                  <c:v>17.375025959023489</c:v>
                </c:pt>
                <c:pt idx="1338">
                  <c:v>17.375025959023489</c:v>
                </c:pt>
                <c:pt idx="1339">
                  <c:v>17.375025959023489</c:v>
                </c:pt>
                <c:pt idx="1340">
                  <c:v>17.375025959023489</c:v>
                </c:pt>
                <c:pt idx="1341">
                  <c:v>17.375025959023489</c:v>
                </c:pt>
                <c:pt idx="1342">
                  <c:v>17.375025959023489</c:v>
                </c:pt>
                <c:pt idx="1343">
                  <c:v>17.375025959023489</c:v>
                </c:pt>
                <c:pt idx="1344">
                  <c:v>17.375025959023489</c:v>
                </c:pt>
                <c:pt idx="1345">
                  <c:v>17.375025959023489</c:v>
                </c:pt>
                <c:pt idx="1346">
                  <c:v>17.375025959023489</c:v>
                </c:pt>
                <c:pt idx="1347">
                  <c:v>17.375025959023489</c:v>
                </c:pt>
                <c:pt idx="1348">
                  <c:v>17.375025959023489</c:v>
                </c:pt>
                <c:pt idx="1349">
                  <c:v>17.375025959023489</c:v>
                </c:pt>
                <c:pt idx="1350">
                  <c:v>17.375025959023489</c:v>
                </c:pt>
                <c:pt idx="1351">
                  <c:v>17.375025959023489</c:v>
                </c:pt>
                <c:pt idx="1352">
                  <c:v>17.375025959023489</c:v>
                </c:pt>
                <c:pt idx="1353">
                  <c:v>17.375025959023489</c:v>
                </c:pt>
                <c:pt idx="1354">
                  <c:v>17.375025959023489</c:v>
                </c:pt>
                <c:pt idx="1355">
                  <c:v>17.375025959023489</c:v>
                </c:pt>
                <c:pt idx="1356">
                  <c:v>17.375025959023489</c:v>
                </c:pt>
                <c:pt idx="1357">
                  <c:v>17.375025959023489</c:v>
                </c:pt>
                <c:pt idx="1358">
                  <c:v>17.375025959023489</c:v>
                </c:pt>
                <c:pt idx="1359">
                  <c:v>17.375025959023489</c:v>
                </c:pt>
                <c:pt idx="1360">
                  <c:v>17.375025959023489</c:v>
                </c:pt>
                <c:pt idx="1361">
                  <c:v>17.375025959023489</c:v>
                </c:pt>
                <c:pt idx="1362">
                  <c:v>17.375025959023489</c:v>
                </c:pt>
                <c:pt idx="1363">
                  <c:v>17.375025959023489</c:v>
                </c:pt>
                <c:pt idx="1364">
                  <c:v>17.375025959023489</c:v>
                </c:pt>
                <c:pt idx="1365">
                  <c:v>17.375025959023489</c:v>
                </c:pt>
                <c:pt idx="1366">
                  <c:v>17.375025959023489</c:v>
                </c:pt>
                <c:pt idx="1367">
                  <c:v>17.375025959023489</c:v>
                </c:pt>
                <c:pt idx="1368">
                  <c:v>17.375025959023489</c:v>
                </c:pt>
                <c:pt idx="1369">
                  <c:v>17.375025959023489</c:v>
                </c:pt>
                <c:pt idx="1370">
                  <c:v>17.375025959023489</c:v>
                </c:pt>
                <c:pt idx="1371">
                  <c:v>17.375025959023489</c:v>
                </c:pt>
                <c:pt idx="1372">
                  <c:v>17.375025959023489</c:v>
                </c:pt>
                <c:pt idx="1373">
                  <c:v>17.375025959023489</c:v>
                </c:pt>
                <c:pt idx="1374">
                  <c:v>17.375025959023489</c:v>
                </c:pt>
                <c:pt idx="1375">
                  <c:v>17.375025959023489</c:v>
                </c:pt>
                <c:pt idx="1376">
                  <c:v>17.375025959023489</c:v>
                </c:pt>
                <c:pt idx="1377">
                  <c:v>17.375025959023489</c:v>
                </c:pt>
                <c:pt idx="1378">
                  <c:v>17.375025959023489</c:v>
                </c:pt>
                <c:pt idx="1379">
                  <c:v>17.375025959023489</c:v>
                </c:pt>
                <c:pt idx="1380">
                  <c:v>17.375025959023489</c:v>
                </c:pt>
                <c:pt idx="1381">
                  <c:v>17.375025959023489</c:v>
                </c:pt>
                <c:pt idx="1382">
                  <c:v>17.375025959023489</c:v>
                </c:pt>
                <c:pt idx="1383">
                  <c:v>17.375025959023489</c:v>
                </c:pt>
                <c:pt idx="1384">
                  <c:v>17.375025959023489</c:v>
                </c:pt>
                <c:pt idx="1385">
                  <c:v>17.375025959023489</c:v>
                </c:pt>
                <c:pt idx="1386">
                  <c:v>17.375025959023489</c:v>
                </c:pt>
                <c:pt idx="1387">
                  <c:v>17.375025959023489</c:v>
                </c:pt>
                <c:pt idx="1388">
                  <c:v>17.375025959023489</c:v>
                </c:pt>
                <c:pt idx="1389">
                  <c:v>17.375025959023489</c:v>
                </c:pt>
                <c:pt idx="1390">
                  <c:v>17.375025959023489</c:v>
                </c:pt>
                <c:pt idx="1391">
                  <c:v>17.375025959023489</c:v>
                </c:pt>
                <c:pt idx="1392">
                  <c:v>17.375025959023489</c:v>
                </c:pt>
                <c:pt idx="1393">
                  <c:v>17.375025959023489</c:v>
                </c:pt>
                <c:pt idx="1394">
                  <c:v>17.375025959023489</c:v>
                </c:pt>
                <c:pt idx="1395">
                  <c:v>17.375025959023489</c:v>
                </c:pt>
                <c:pt idx="1396">
                  <c:v>17.375025959023489</c:v>
                </c:pt>
                <c:pt idx="1397">
                  <c:v>17.375025959023489</c:v>
                </c:pt>
                <c:pt idx="1398">
                  <c:v>17.375025959023489</c:v>
                </c:pt>
                <c:pt idx="1399">
                  <c:v>17.375025959023489</c:v>
                </c:pt>
                <c:pt idx="1400">
                  <c:v>17.375025959023489</c:v>
                </c:pt>
                <c:pt idx="1401">
                  <c:v>17.375025959023489</c:v>
                </c:pt>
                <c:pt idx="1402">
                  <c:v>17.375025959023489</c:v>
                </c:pt>
                <c:pt idx="1403">
                  <c:v>17.375025959023489</c:v>
                </c:pt>
                <c:pt idx="1404">
                  <c:v>17.375025959023489</c:v>
                </c:pt>
                <c:pt idx="1405">
                  <c:v>17.375025959023489</c:v>
                </c:pt>
                <c:pt idx="1406">
                  <c:v>17.375025959023489</c:v>
                </c:pt>
                <c:pt idx="1407">
                  <c:v>17.375025959023489</c:v>
                </c:pt>
                <c:pt idx="1408">
                  <c:v>17.375025959023489</c:v>
                </c:pt>
                <c:pt idx="1409">
                  <c:v>17.375025959023489</c:v>
                </c:pt>
                <c:pt idx="1410">
                  <c:v>17.375025959023489</c:v>
                </c:pt>
                <c:pt idx="1411">
                  <c:v>17.375025959023489</c:v>
                </c:pt>
                <c:pt idx="1412">
                  <c:v>17.375025959023489</c:v>
                </c:pt>
                <c:pt idx="1413">
                  <c:v>17.375025959023489</c:v>
                </c:pt>
                <c:pt idx="1414">
                  <c:v>17.375025959023489</c:v>
                </c:pt>
                <c:pt idx="1415">
                  <c:v>17.375025959023489</c:v>
                </c:pt>
                <c:pt idx="1416">
                  <c:v>17.375025959023489</c:v>
                </c:pt>
                <c:pt idx="1417">
                  <c:v>17.375025959023489</c:v>
                </c:pt>
                <c:pt idx="1418">
                  <c:v>17.375025959023489</c:v>
                </c:pt>
                <c:pt idx="1419">
                  <c:v>17.375025959023489</c:v>
                </c:pt>
                <c:pt idx="1420">
                  <c:v>17.375025959023489</c:v>
                </c:pt>
                <c:pt idx="1421">
                  <c:v>17.375025959023489</c:v>
                </c:pt>
                <c:pt idx="1422">
                  <c:v>17.375025959023489</c:v>
                </c:pt>
                <c:pt idx="1423">
                  <c:v>17.375025959023489</c:v>
                </c:pt>
                <c:pt idx="1424">
                  <c:v>17.375025959023489</c:v>
                </c:pt>
                <c:pt idx="1425">
                  <c:v>17.375025959023489</c:v>
                </c:pt>
                <c:pt idx="1426">
                  <c:v>17.375025959023489</c:v>
                </c:pt>
                <c:pt idx="1427">
                  <c:v>17.375025959023489</c:v>
                </c:pt>
                <c:pt idx="1428">
                  <c:v>17.375025959023489</c:v>
                </c:pt>
                <c:pt idx="1429">
                  <c:v>17.375025959023489</c:v>
                </c:pt>
                <c:pt idx="1430">
                  <c:v>17.375025959023489</c:v>
                </c:pt>
                <c:pt idx="1431">
                  <c:v>17.375025959023489</c:v>
                </c:pt>
                <c:pt idx="1432">
                  <c:v>17.375025959023489</c:v>
                </c:pt>
                <c:pt idx="1433">
                  <c:v>17.375025959023489</c:v>
                </c:pt>
                <c:pt idx="1434">
                  <c:v>17.375025959023489</c:v>
                </c:pt>
                <c:pt idx="1435">
                  <c:v>17.375025959023489</c:v>
                </c:pt>
                <c:pt idx="1436">
                  <c:v>17.375025959023489</c:v>
                </c:pt>
                <c:pt idx="1437">
                  <c:v>17.375025959023489</c:v>
                </c:pt>
                <c:pt idx="1438">
                  <c:v>17.375025959023489</c:v>
                </c:pt>
                <c:pt idx="1439">
                  <c:v>17.375025959023489</c:v>
                </c:pt>
                <c:pt idx="1440">
                  <c:v>17.375025959023489</c:v>
                </c:pt>
                <c:pt idx="1441">
                  <c:v>17.375025959023489</c:v>
                </c:pt>
                <c:pt idx="1442">
                  <c:v>17.375025959023489</c:v>
                </c:pt>
                <c:pt idx="1443">
                  <c:v>17.375025959023489</c:v>
                </c:pt>
                <c:pt idx="1444">
                  <c:v>17.375025959023489</c:v>
                </c:pt>
                <c:pt idx="1445">
                  <c:v>17.375025959023489</c:v>
                </c:pt>
                <c:pt idx="1446">
                  <c:v>17.375025959023489</c:v>
                </c:pt>
                <c:pt idx="1447">
                  <c:v>17.375025959023489</c:v>
                </c:pt>
                <c:pt idx="1448">
                  <c:v>17.375025959023489</c:v>
                </c:pt>
                <c:pt idx="1449">
                  <c:v>17.375025959023489</c:v>
                </c:pt>
                <c:pt idx="1450">
                  <c:v>17.375025959023489</c:v>
                </c:pt>
                <c:pt idx="1451">
                  <c:v>17.375025959023489</c:v>
                </c:pt>
                <c:pt idx="1452">
                  <c:v>17.375025959023489</c:v>
                </c:pt>
                <c:pt idx="1453">
                  <c:v>17.375025959023489</c:v>
                </c:pt>
                <c:pt idx="1454">
                  <c:v>17.375025959023489</c:v>
                </c:pt>
                <c:pt idx="1455">
                  <c:v>17.375025959023489</c:v>
                </c:pt>
                <c:pt idx="1456">
                  <c:v>17.375025959023489</c:v>
                </c:pt>
                <c:pt idx="1457">
                  <c:v>17.375025959023489</c:v>
                </c:pt>
                <c:pt idx="1458">
                  <c:v>17.375025959023489</c:v>
                </c:pt>
                <c:pt idx="1459">
                  <c:v>17.375025959023489</c:v>
                </c:pt>
                <c:pt idx="1460">
                  <c:v>17.375025959023489</c:v>
                </c:pt>
                <c:pt idx="1461">
                  <c:v>17.375025959023489</c:v>
                </c:pt>
                <c:pt idx="1462">
                  <c:v>17.375025959023489</c:v>
                </c:pt>
                <c:pt idx="1463">
                  <c:v>17.375025959023489</c:v>
                </c:pt>
                <c:pt idx="1464">
                  <c:v>17.375025959023489</c:v>
                </c:pt>
                <c:pt idx="1465">
                  <c:v>17.375025959023489</c:v>
                </c:pt>
                <c:pt idx="1466">
                  <c:v>17.375025959023489</c:v>
                </c:pt>
                <c:pt idx="1467">
                  <c:v>17.375025959023489</c:v>
                </c:pt>
                <c:pt idx="1468">
                  <c:v>17.375025959023489</c:v>
                </c:pt>
                <c:pt idx="1469">
                  <c:v>17.375025959023489</c:v>
                </c:pt>
                <c:pt idx="1470">
                  <c:v>17.375025959023489</c:v>
                </c:pt>
                <c:pt idx="1471">
                  <c:v>17.375025959023489</c:v>
                </c:pt>
                <c:pt idx="1472">
                  <c:v>17.375025959023489</c:v>
                </c:pt>
                <c:pt idx="1473">
                  <c:v>17.375025959023489</c:v>
                </c:pt>
                <c:pt idx="1474">
                  <c:v>17.375025959023489</c:v>
                </c:pt>
                <c:pt idx="1475">
                  <c:v>17.375025959023489</c:v>
                </c:pt>
                <c:pt idx="1476">
                  <c:v>17.375025959023489</c:v>
                </c:pt>
                <c:pt idx="1477">
                  <c:v>17.375025959023489</c:v>
                </c:pt>
                <c:pt idx="1478">
                  <c:v>17.375025959023489</c:v>
                </c:pt>
                <c:pt idx="1479">
                  <c:v>17.375025959023489</c:v>
                </c:pt>
                <c:pt idx="1480">
                  <c:v>17.375025959023489</c:v>
                </c:pt>
                <c:pt idx="1481">
                  <c:v>17.375025959023489</c:v>
                </c:pt>
                <c:pt idx="1482">
                  <c:v>17.375025959023489</c:v>
                </c:pt>
                <c:pt idx="1483">
                  <c:v>17.375025959023489</c:v>
                </c:pt>
                <c:pt idx="1484">
                  <c:v>17.375025959023489</c:v>
                </c:pt>
                <c:pt idx="1485">
                  <c:v>17.375025959023489</c:v>
                </c:pt>
                <c:pt idx="1486">
                  <c:v>17.375025959023489</c:v>
                </c:pt>
                <c:pt idx="1487">
                  <c:v>17.375025959023489</c:v>
                </c:pt>
                <c:pt idx="1488">
                  <c:v>17.375025959023489</c:v>
                </c:pt>
                <c:pt idx="1489">
                  <c:v>17.375025959023489</c:v>
                </c:pt>
                <c:pt idx="1490">
                  <c:v>17.375025959023489</c:v>
                </c:pt>
                <c:pt idx="1491">
                  <c:v>17.375025959023489</c:v>
                </c:pt>
                <c:pt idx="1492">
                  <c:v>17.375025959023489</c:v>
                </c:pt>
                <c:pt idx="1493">
                  <c:v>17.375025959023489</c:v>
                </c:pt>
                <c:pt idx="1494">
                  <c:v>17.375025959023489</c:v>
                </c:pt>
                <c:pt idx="1495">
                  <c:v>17.375025959023489</c:v>
                </c:pt>
                <c:pt idx="1496">
                  <c:v>17.375025959023489</c:v>
                </c:pt>
                <c:pt idx="1497">
                  <c:v>17.375025959023489</c:v>
                </c:pt>
                <c:pt idx="1498">
                  <c:v>17.375025959023489</c:v>
                </c:pt>
                <c:pt idx="1499">
                  <c:v>17.375025959023489</c:v>
                </c:pt>
                <c:pt idx="1500">
                  <c:v>17.375025959023489</c:v>
                </c:pt>
                <c:pt idx="1501">
                  <c:v>17.375025959023489</c:v>
                </c:pt>
                <c:pt idx="1502">
                  <c:v>17.375025959023489</c:v>
                </c:pt>
                <c:pt idx="1503">
                  <c:v>17.375025959023489</c:v>
                </c:pt>
                <c:pt idx="1504">
                  <c:v>17.375025959023489</c:v>
                </c:pt>
                <c:pt idx="1505">
                  <c:v>17.375025959023489</c:v>
                </c:pt>
                <c:pt idx="1506">
                  <c:v>17.375025959023489</c:v>
                </c:pt>
                <c:pt idx="1507">
                  <c:v>17.375025959023489</c:v>
                </c:pt>
                <c:pt idx="1508">
                  <c:v>17.375025959023489</c:v>
                </c:pt>
                <c:pt idx="1509">
                  <c:v>17.375025959023489</c:v>
                </c:pt>
                <c:pt idx="1510">
                  <c:v>17.375025959023489</c:v>
                </c:pt>
                <c:pt idx="1511">
                  <c:v>17.375025959023489</c:v>
                </c:pt>
                <c:pt idx="1512">
                  <c:v>17.375025959023489</c:v>
                </c:pt>
                <c:pt idx="1513">
                  <c:v>17.375025959023489</c:v>
                </c:pt>
                <c:pt idx="1514">
                  <c:v>17.375025959023489</c:v>
                </c:pt>
                <c:pt idx="1515">
                  <c:v>17.375025959023489</c:v>
                </c:pt>
                <c:pt idx="1516">
                  <c:v>17.375025959023489</c:v>
                </c:pt>
                <c:pt idx="1517">
                  <c:v>17.375025959023489</c:v>
                </c:pt>
                <c:pt idx="1518">
                  <c:v>17.375025959023489</c:v>
                </c:pt>
                <c:pt idx="1519">
                  <c:v>17.375025959023489</c:v>
                </c:pt>
                <c:pt idx="1520">
                  <c:v>17.375025959023489</c:v>
                </c:pt>
                <c:pt idx="1521">
                  <c:v>17.375025959023489</c:v>
                </c:pt>
                <c:pt idx="1522">
                  <c:v>17.375025959023489</c:v>
                </c:pt>
                <c:pt idx="1523">
                  <c:v>17.375025959023489</c:v>
                </c:pt>
                <c:pt idx="1524">
                  <c:v>17.375025959023489</c:v>
                </c:pt>
                <c:pt idx="1525">
                  <c:v>17.375025959023489</c:v>
                </c:pt>
                <c:pt idx="1526">
                  <c:v>17.375025959023489</c:v>
                </c:pt>
                <c:pt idx="1527">
                  <c:v>17.375025959023489</c:v>
                </c:pt>
                <c:pt idx="1528">
                  <c:v>17.375025959023489</c:v>
                </c:pt>
                <c:pt idx="1529">
                  <c:v>17.375025959023489</c:v>
                </c:pt>
                <c:pt idx="1530">
                  <c:v>17.375025959023489</c:v>
                </c:pt>
                <c:pt idx="1531">
                  <c:v>17.375025959023489</c:v>
                </c:pt>
                <c:pt idx="1532">
                  <c:v>17.375025959023489</c:v>
                </c:pt>
                <c:pt idx="1533">
                  <c:v>17.375025959023489</c:v>
                </c:pt>
                <c:pt idx="1534">
                  <c:v>17.375025959023489</c:v>
                </c:pt>
                <c:pt idx="1535">
                  <c:v>17.375025959023489</c:v>
                </c:pt>
                <c:pt idx="1536">
                  <c:v>17.375025959023489</c:v>
                </c:pt>
                <c:pt idx="1537">
                  <c:v>17.375025959023489</c:v>
                </c:pt>
                <c:pt idx="1538">
                  <c:v>17.375025959023489</c:v>
                </c:pt>
                <c:pt idx="1539">
                  <c:v>17.375025959023489</c:v>
                </c:pt>
                <c:pt idx="1540">
                  <c:v>17.375025959023489</c:v>
                </c:pt>
                <c:pt idx="1541">
                  <c:v>17.375025959023489</c:v>
                </c:pt>
                <c:pt idx="1542">
                  <c:v>17.375025959023489</c:v>
                </c:pt>
                <c:pt idx="1543">
                  <c:v>17.375025959023489</c:v>
                </c:pt>
                <c:pt idx="1544">
                  <c:v>17.375025959023489</c:v>
                </c:pt>
                <c:pt idx="1545">
                  <c:v>17.375025959023489</c:v>
                </c:pt>
                <c:pt idx="1546">
                  <c:v>17.375025959023489</c:v>
                </c:pt>
                <c:pt idx="1547">
                  <c:v>17.375025959023489</c:v>
                </c:pt>
                <c:pt idx="1548">
                  <c:v>17.375025959023489</c:v>
                </c:pt>
                <c:pt idx="1549">
                  <c:v>17.375025959023489</c:v>
                </c:pt>
                <c:pt idx="1550">
                  <c:v>17.375025959023489</c:v>
                </c:pt>
                <c:pt idx="1551">
                  <c:v>17.375025959023489</c:v>
                </c:pt>
                <c:pt idx="1552">
                  <c:v>17.375025959023489</c:v>
                </c:pt>
                <c:pt idx="1553">
                  <c:v>17.375025959023489</c:v>
                </c:pt>
                <c:pt idx="1554">
                  <c:v>17.375025959023489</c:v>
                </c:pt>
                <c:pt idx="1555">
                  <c:v>17.375025959023489</c:v>
                </c:pt>
                <c:pt idx="1556">
                  <c:v>17.375025959023489</c:v>
                </c:pt>
                <c:pt idx="1557">
                  <c:v>17.375025959023489</c:v>
                </c:pt>
                <c:pt idx="1558">
                  <c:v>17.375025959023489</c:v>
                </c:pt>
                <c:pt idx="1559">
                  <c:v>17.375025959023489</c:v>
                </c:pt>
                <c:pt idx="1560">
                  <c:v>17.375025959023489</c:v>
                </c:pt>
                <c:pt idx="1561">
                  <c:v>17.375025959023489</c:v>
                </c:pt>
                <c:pt idx="1562">
                  <c:v>17.375025959023489</c:v>
                </c:pt>
                <c:pt idx="1563">
                  <c:v>17.375025959023489</c:v>
                </c:pt>
                <c:pt idx="1564">
                  <c:v>17.375025959023489</c:v>
                </c:pt>
                <c:pt idx="1565">
                  <c:v>17.375025959023489</c:v>
                </c:pt>
                <c:pt idx="1566">
                  <c:v>17.375025959023489</c:v>
                </c:pt>
                <c:pt idx="1567">
                  <c:v>17.375025959023489</c:v>
                </c:pt>
                <c:pt idx="1568">
                  <c:v>17.375025959023489</c:v>
                </c:pt>
                <c:pt idx="1569">
                  <c:v>17.375025959023489</c:v>
                </c:pt>
                <c:pt idx="1570">
                  <c:v>17.375025959023489</c:v>
                </c:pt>
                <c:pt idx="1571">
                  <c:v>17.375025959023489</c:v>
                </c:pt>
                <c:pt idx="1572">
                  <c:v>17.375025959023489</c:v>
                </c:pt>
                <c:pt idx="1573">
                  <c:v>17.375025959023489</c:v>
                </c:pt>
                <c:pt idx="1574">
                  <c:v>17.375025959023489</c:v>
                </c:pt>
                <c:pt idx="1575">
                  <c:v>17.375025959023489</c:v>
                </c:pt>
                <c:pt idx="1576">
                  <c:v>17.375025959023489</c:v>
                </c:pt>
                <c:pt idx="1577">
                  <c:v>17.375025959023489</c:v>
                </c:pt>
                <c:pt idx="1578">
                  <c:v>17.375025959023489</c:v>
                </c:pt>
                <c:pt idx="1579">
                  <c:v>17.375025959023489</c:v>
                </c:pt>
                <c:pt idx="1580">
                  <c:v>17.375025959023489</c:v>
                </c:pt>
                <c:pt idx="1581">
                  <c:v>17.375025959023489</c:v>
                </c:pt>
                <c:pt idx="1582">
                  <c:v>17.375025959023489</c:v>
                </c:pt>
                <c:pt idx="1583">
                  <c:v>17.375025959023489</c:v>
                </c:pt>
                <c:pt idx="1584">
                  <c:v>17.375025959023489</c:v>
                </c:pt>
                <c:pt idx="1585">
                  <c:v>17.375025959023489</c:v>
                </c:pt>
                <c:pt idx="1586">
                  <c:v>17.375025959023489</c:v>
                </c:pt>
                <c:pt idx="1587">
                  <c:v>17.375025959023489</c:v>
                </c:pt>
                <c:pt idx="1588">
                  <c:v>17.375025959023489</c:v>
                </c:pt>
                <c:pt idx="1589">
                  <c:v>17.375025959023489</c:v>
                </c:pt>
                <c:pt idx="1590">
                  <c:v>17.375025959023489</c:v>
                </c:pt>
                <c:pt idx="1591">
                  <c:v>17.375025959023489</c:v>
                </c:pt>
                <c:pt idx="1592">
                  <c:v>17.375025959023489</c:v>
                </c:pt>
                <c:pt idx="1593">
                  <c:v>17.375025959023489</c:v>
                </c:pt>
                <c:pt idx="1594">
                  <c:v>17.375025959023489</c:v>
                </c:pt>
                <c:pt idx="1595">
                  <c:v>17.375025959023489</c:v>
                </c:pt>
                <c:pt idx="1596">
                  <c:v>17.375025959023489</c:v>
                </c:pt>
                <c:pt idx="1597">
                  <c:v>17.375025959023489</c:v>
                </c:pt>
                <c:pt idx="1598">
                  <c:v>17.375025959023489</c:v>
                </c:pt>
                <c:pt idx="1599">
                  <c:v>17.375025959023489</c:v>
                </c:pt>
                <c:pt idx="1600">
                  <c:v>17.375025959023489</c:v>
                </c:pt>
                <c:pt idx="1601">
                  <c:v>17.375025959023489</c:v>
                </c:pt>
                <c:pt idx="1602">
                  <c:v>17.375025959023489</c:v>
                </c:pt>
                <c:pt idx="1603">
                  <c:v>17.375025959023489</c:v>
                </c:pt>
                <c:pt idx="1604">
                  <c:v>17.375025959023489</c:v>
                </c:pt>
                <c:pt idx="1605">
                  <c:v>17.375025959023489</c:v>
                </c:pt>
                <c:pt idx="1606">
                  <c:v>17.375025959023489</c:v>
                </c:pt>
                <c:pt idx="1607">
                  <c:v>17.375025959023489</c:v>
                </c:pt>
                <c:pt idx="1608">
                  <c:v>17.375025959023489</c:v>
                </c:pt>
                <c:pt idx="1609">
                  <c:v>17.375025959023489</c:v>
                </c:pt>
                <c:pt idx="1610">
                  <c:v>17.375025959023489</c:v>
                </c:pt>
                <c:pt idx="1611">
                  <c:v>17.375025959023489</c:v>
                </c:pt>
                <c:pt idx="1612">
                  <c:v>17.375025959023489</c:v>
                </c:pt>
                <c:pt idx="1613">
                  <c:v>17.375025959023489</c:v>
                </c:pt>
                <c:pt idx="1614">
                  <c:v>17.375025959023489</c:v>
                </c:pt>
                <c:pt idx="1615">
                  <c:v>17.375025959023489</c:v>
                </c:pt>
                <c:pt idx="1616">
                  <c:v>17.375025959023489</c:v>
                </c:pt>
                <c:pt idx="1617">
                  <c:v>17.375025959023489</c:v>
                </c:pt>
                <c:pt idx="1618">
                  <c:v>17.375025959023489</c:v>
                </c:pt>
                <c:pt idx="1619">
                  <c:v>17.375025959023489</c:v>
                </c:pt>
                <c:pt idx="1620">
                  <c:v>17.375025959023489</c:v>
                </c:pt>
                <c:pt idx="1621">
                  <c:v>17.375025959023489</c:v>
                </c:pt>
                <c:pt idx="1622">
                  <c:v>17.375025959023489</c:v>
                </c:pt>
                <c:pt idx="1623">
                  <c:v>17.375025959023489</c:v>
                </c:pt>
                <c:pt idx="1624">
                  <c:v>17.375025959023489</c:v>
                </c:pt>
                <c:pt idx="1625">
                  <c:v>17.375025959023489</c:v>
                </c:pt>
                <c:pt idx="1626">
                  <c:v>17.375025959023489</c:v>
                </c:pt>
                <c:pt idx="1627">
                  <c:v>17.375025959023489</c:v>
                </c:pt>
                <c:pt idx="1628">
                  <c:v>17.375025959023489</c:v>
                </c:pt>
                <c:pt idx="1629">
                  <c:v>17.375025959023489</c:v>
                </c:pt>
                <c:pt idx="1630">
                  <c:v>17.375025959023489</c:v>
                </c:pt>
                <c:pt idx="1631">
                  <c:v>17.375025959023489</c:v>
                </c:pt>
                <c:pt idx="1632">
                  <c:v>17.375025959023489</c:v>
                </c:pt>
                <c:pt idx="1633">
                  <c:v>17.375025959023489</c:v>
                </c:pt>
                <c:pt idx="1634">
                  <c:v>17.375025959023489</c:v>
                </c:pt>
                <c:pt idx="1635">
                  <c:v>17.375025959023489</c:v>
                </c:pt>
                <c:pt idx="1636">
                  <c:v>17.375025959023489</c:v>
                </c:pt>
                <c:pt idx="1637">
                  <c:v>17.375025959023489</c:v>
                </c:pt>
                <c:pt idx="1638">
                  <c:v>17.375025959023489</c:v>
                </c:pt>
                <c:pt idx="1639">
                  <c:v>17.375025959023489</c:v>
                </c:pt>
                <c:pt idx="1640">
                  <c:v>17.375025959023489</c:v>
                </c:pt>
                <c:pt idx="1641">
                  <c:v>17.375025959023489</c:v>
                </c:pt>
                <c:pt idx="1642">
                  <c:v>17.375025959023489</c:v>
                </c:pt>
                <c:pt idx="1643">
                  <c:v>17.375025959023489</c:v>
                </c:pt>
                <c:pt idx="1644">
                  <c:v>17.375025959023489</c:v>
                </c:pt>
                <c:pt idx="1645">
                  <c:v>17.375025959023489</c:v>
                </c:pt>
                <c:pt idx="1646">
                  <c:v>17.375025959023489</c:v>
                </c:pt>
                <c:pt idx="1647">
                  <c:v>17.375025959023489</c:v>
                </c:pt>
                <c:pt idx="1648">
                  <c:v>17.375025959023489</c:v>
                </c:pt>
                <c:pt idx="1649">
                  <c:v>17.375025959023489</c:v>
                </c:pt>
                <c:pt idx="1650">
                  <c:v>17.375025959023489</c:v>
                </c:pt>
                <c:pt idx="1651">
                  <c:v>17.375025959023489</c:v>
                </c:pt>
                <c:pt idx="1652">
                  <c:v>17.375025959023489</c:v>
                </c:pt>
                <c:pt idx="1653">
                  <c:v>17.375025959023489</c:v>
                </c:pt>
                <c:pt idx="1654">
                  <c:v>17.375025959023489</c:v>
                </c:pt>
                <c:pt idx="1655">
                  <c:v>17.375025959023489</c:v>
                </c:pt>
                <c:pt idx="1656">
                  <c:v>17.375025959023489</c:v>
                </c:pt>
                <c:pt idx="1657">
                  <c:v>17.375025959023489</c:v>
                </c:pt>
                <c:pt idx="1658">
                  <c:v>17.375025959023489</c:v>
                </c:pt>
                <c:pt idx="1659">
                  <c:v>17.375025959023489</c:v>
                </c:pt>
                <c:pt idx="1660">
                  <c:v>17.375025959023489</c:v>
                </c:pt>
                <c:pt idx="1661">
                  <c:v>17.375025959023489</c:v>
                </c:pt>
                <c:pt idx="1662">
                  <c:v>17.375025959023489</c:v>
                </c:pt>
                <c:pt idx="1663">
                  <c:v>17.375025959023489</c:v>
                </c:pt>
                <c:pt idx="1664">
                  <c:v>17.375025959023489</c:v>
                </c:pt>
                <c:pt idx="1665">
                  <c:v>17.375025959023489</c:v>
                </c:pt>
                <c:pt idx="1666">
                  <c:v>17.375025959023489</c:v>
                </c:pt>
                <c:pt idx="1667">
                  <c:v>17.375025959023489</c:v>
                </c:pt>
                <c:pt idx="1668">
                  <c:v>17.375025959023489</c:v>
                </c:pt>
                <c:pt idx="1669">
                  <c:v>17.375025959023489</c:v>
                </c:pt>
                <c:pt idx="1670">
                  <c:v>17.375025959023489</c:v>
                </c:pt>
                <c:pt idx="1671">
                  <c:v>17.375025959023489</c:v>
                </c:pt>
                <c:pt idx="1672">
                  <c:v>17.375025959023489</c:v>
                </c:pt>
                <c:pt idx="1673">
                  <c:v>17.375025959023489</c:v>
                </c:pt>
                <c:pt idx="1674">
                  <c:v>17.375025959023489</c:v>
                </c:pt>
                <c:pt idx="1675">
                  <c:v>17.375025959023489</c:v>
                </c:pt>
                <c:pt idx="1676">
                  <c:v>17.375025959023489</c:v>
                </c:pt>
                <c:pt idx="1677">
                  <c:v>17.375025959023489</c:v>
                </c:pt>
                <c:pt idx="1678">
                  <c:v>17.375025959023489</c:v>
                </c:pt>
                <c:pt idx="1679">
                  <c:v>17.375025959023489</c:v>
                </c:pt>
                <c:pt idx="1680">
                  <c:v>17.375025959023489</c:v>
                </c:pt>
                <c:pt idx="1681">
                  <c:v>17.375025959023489</c:v>
                </c:pt>
                <c:pt idx="1682">
                  <c:v>17.375025959023489</c:v>
                </c:pt>
                <c:pt idx="1683">
                  <c:v>17.375025959023489</c:v>
                </c:pt>
                <c:pt idx="1684">
                  <c:v>17.375025959023489</c:v>
                </c:pt>
                <c:pt idx="1685">
                  <c:v>17.375025959023489</c:v>
                </c:pt>
                <c:pt idx="1686">
                  <c:v>17.375025959023489</c:v>
                </c:pt>
                <c:pt idx="1687">
                  <c:v>17.375025959023489</c:v>
                </c:pt>
                <c:pt idx="1688">
                  <c:v>17.375025959023489</c:v>
                </c:pt>
                <c:pt idx="1689">
                  <c:v>17.375025959023489</c:v>
                </c:pt>
                <c:pt idx="1690">
                  <c:v>17.375025959023489</c:v>
                </c:pt>
                <c:pt idx="1691">
                  <c:v>17.375025959023489</c:v>
                </c:pt>
                <c:pt idx="1692">
                  <c:v>17.375025959023489</c:v>
                </c:pt>
                <c:pt idx="1693">
                  <c:v>17.375025959023489</c:v>
                </c:pt>
                <c:pt idx="1694">
                  <c:v>17.375025959023489</c:v>
                </c:pt>
                <c:pt idx="1695">
                  <c:v>17.375025959023489</c:v>
                </c:pt>
                <c:pt idx="1696">
                  <c:v>17.375025959023489</c:v>
                </c:pt>
                <c:pt idx="1697">
                  <c:v>17.375025959023489</c:v>
                </c:pt>
                <c:pt idx="1698">
                  <c:v>17.375025959023489</c:v>
                </c:pt>
                <c:pt idx="1699">
                  <c:v>17.375025959023489</c:v>
                </c:pt>
                <c:pt idx="1700">
                  <c:v>17.375025959023489</c:v>
                </c:pt>
                <c:pt idx="1701">
                  <c:v>17.375025959023489</c:v>
                </c:pt>
                <c:pt idx="1702">
                  <c:v>17.375025959023489</c:v>
                </c:pt>
                <c:pt idx="1703">
                  <c:v>17.375025959023489</c:v>
                </c:pt>
                <c:pt idx="1704">
                  <c:v>17.375025959023489</c:v>
                </c:pt>
                <c:pt idx="1705">
                  <c:v>17.375025959023489</c:v>
                </c:pt>
                <c:pt idx="1706">
                  <c:v>17.375025959023489</c:v>
                </c:pt>
                <c:pt idx="1707">
                  <c:v>17.375025959023489</c:v>
                </c:pt>
                <c:pt idx="1708">
                  <c:v>17.375025959023489</c:v>
                </c:pt>
                <c:pt idx="1709">
                  <c:v>17.375025959023489</c:v>
                </c:pt>
                <c:pt idx="1710">
                  <c:v>17.375025959023489</c:v>
                </c:pt>
                <c:pt idx="1711">
                  <c:v>17.375025959023489</c:v>
                </c:pt>
                <c:pt idx="1712">
                  <c:v>17.375025959023489</c:v>
                </c:pt>
                <c:pt idx="1713">
                  <c:v>17.375025959023489</c:v>
                </c:pt>
                <c:pt idx="1714">
                  <c:v>17.375025959023489</c:v>
                </c:pt>
                <c:pt idx="1715">
                  <c:v>17.375025959023489</c:v>
                </c:pt>
                <c:pt idx="1716">
                  <c:v>17.375025959023489</c:v>
                </c:pt>
                <c:pt idx="1717">
                  <c:v>17.375025959023489</c:v>
                </c:pt>
                <c:pt idx="1718">
                  <c:v>17.375025959023489</c:v>
                </c:pt>
                <c:pt idx="1719">
                  <c:v>17.375025959023489</c:v>
                </c:pt>
                <c:pt idx="1720">
                  <c:v>17.375025959023489</c:v>
                </c:pt>
                <c:pt idx="1721">
                  <c:v>17.375025959023489</c:v>
                </c:pt>
                <c:pt idx="1722">
                  <c:v>17.375025959023489</c:v>
                </c:pt>
                <c:pt idx="1723">
                  <c:v>17.375025959023489</c:v>
                </c:pt>
                <c:pt idx="1724">
                  <c:v>17.375025959023489</c:v>
                </c:pt>
                <c:pt idx="1725">
                  <c:v>17.375025959023489</c:v>
                </c:pt>
                <c:pt idx="1726">
                  <c:v>17.375025959023489</c:v>
                </c:pt>
                <c:pt idx="1727">
                  <c:v>17.375025959023489</c:v>
                </c:pt>
                <c:pt idx="1728">
                  <c:v>17.375025959023489</c:v>
                </c:pt>
                <c:pt idx="1729">
                  <c:v>17.375025959023489</c:v>
                </c:pt>
                <c:pt idx="1730">
                  <c:v>17.375025959023489</c:v>
                </c:pt>
                <c:pt idx="1731">
                  <c:v>17.375025959023489</c:v>
                </c:pt>
                <c:pt idx="1732">
                  <c:v>17.375025959023489</c:v>
                </c:pt>
                <c:pt idx="1733">
                  <c:v>17.375025959023489</c:v>
                </c:pt>
                <c:pt idx="1734">
                  <c:v>17.375025959023489</c:v>
                </c:pt>
                <c:pt idx="1735">
                  <c:v>17.375025959023489</c:v>
                </c:pt>
                <c:pt idx="1736">
                  <c:v>17.375025959023489</c:v>
                </c:pt>
                <c:pt idx="1737">
                  <c:v>17.375025959023489</c:v>
                </c:pt>
                <c:pt idx="1738">
                  <c:v>17.375025959023489</c:v>
                </c:pt>
                <c:pt idx="1739">
                  <c:v>17.375025959023489</c:v>
                </c:pt>
                <c:pt idx="1740">
                  <c:v>17.375025959023489</c:v>
                </c:pt>
                <c:pt idx="1741">
                  <c:v>17.375025959023489</c:v>
                </c:pt>
                <c:pt idx="1742">
                  <c:v>17.375025959023489</c:v>
                </c:pt>
                <c:pt idx="1743">
                  <c:v>17.375025959023489</c:v>
                </c:pt>
                <c:pt idx="1744">
                  <c:v>17.375025959023489</c:v>
                </c:pt>
                <c:pt idx="1745">
                  <c:v>17.375025959023489</c:v>
                </c:pt>
                <c:pt idx="1746">
                  <c:v>17.375025959023489</c:v>
                </c:pt>
                <c:pt idx="1747">
                  <c:v>17.375025959023489</c:v>
                </c:pt>
                <c:pt idx="1748">
                  <c:v>17.375025959023489</c:v>
                </c:pt>
                <c:pt idx="1749">
                  <c:v>17.375025959023489</c:v>
                </c:pt>
                <c:pt idx="1750">
                  <c:v>17.375025959023489</c:v>
                </c:pt>
                <c:pt idx="1751">
                  <c:v>17.375025959023489</c:v>
                </c:pt>
                <c:pt idx="1752">
                  <c:v>17.375025959023489</c:v>
                </c:pt>
                <c:pt idx="1753">
                  <c:v>17.375025959023489</c:v>
                </c:pt>
                <c:pt idx="1754">
                  <c:v>17.375025959023489</c:v>
                </c:pt>
                <c:pt idx="1755">
                  <c:v>17.375025959023489</c:v>
                </c:pt>
                <c:pt idx="1756">
                  <c:v>17.375025959023489</c:v>
                </c:pt>
                <c:pt idx="1757">
                  <c:v>17.375025959023489</c:v>
                </c:pt>
                <c:pt idx="1758">
                  <c:v>17.375025959023489</c:v>
                </c:pt>
                <c:pt idx="1759">
                  <c:v>17.375025959023489</c:v>
                </c:pt>
                <c:pt idx="1760">
                  <c:v>17.375025959023489</c:v>
                </c:pt>
                <c:pt idx="1761">
                  <c:v>17.375025959023489</c:v>
                </c:pt>
                <c:pt idx="1762">
                  <c:v>17.375025959023489</c:v>
                </c:pt>
                <c:pt idx="1763">
                  <c:v>17.375025959023489</c:v>
                </c:pt>
                <c:pt idx="1764">
                  <c:v>17.375025959023489</c:v>
                </c:pt>
                <c:pt idx="1765">
                  <c:v>17.375025959023489</c:v>
                </c:pt>
                <c:pt idx="1766">
                  <c:v>17.375025959023489</c:v>
                </c:pt>
                <c:pt idx="1767">
                  <c:v>17.375025959023489</c:v>
                </c:pt>
                <c:pt idx="1768">
                  <c:v>17.375025959023489</c:v>
                </c:pt>
                <c:pt idx="1769">
                  <c:v>17.375025959023489</c:v>
                </c:pt>
                <c:pt idx="1770">
                  <c:v>17.375025959023489</c:v>
                </c:pt>
                <c:pt idx="1771">
                  <c:v>17.375025959023489</c:v>
                </c:pt>
                <c:pt idx="1772">
                  <c:v>17.375025959023489</c:v>
                </c:pt>
                <c:pt idx="1773">
                  <c:v>17.375025959023489</c:v>
                </c:pt>
                <c:pt idx="1774">
                  <c:v>17.375025959023489</c:v>
                </c:pt>
                <c:pt idx="1775">
                  <c:v>17.375025959023489</c:v>
                </c:pt>
                <c:pt idx="1776">
                  <c:v>17.375025959023489</c:v>
                </c:pt>
                <c:pt idx="1777">
                  <c:v>17.375025959023489</c:v>
                </c:pt>
                <c:pt idx="1778">
                  <c:v>17.375025959023489</c:v>
                </c:pt>
                <c:pt idx="1779">
                  <c:v>17.375025959023489</c:v>
                </c:pt>
                <c:pt idx="1780">
                  <c:v>17.375025959023489</c:v>
                </c:pt>
                <c:pt idx="1781">
                  <c:v>17.375025959023489</c:v>
                </c:pt>
                <c:pt idx="1782">
                  <c:v>17.375025959023489</c:v>
                </c:pt>
                <c:pt idx="1783">
                  <c:v>17.375025959023489</c:v>
                </c:pt>
                <c:pt idx="1784">
                  <c:v>17.375025959023489</c:v>
                </c:pt>
                <c:pt idx="1785">
                  <c:v>17.375025959023489</c:v>
                </c:pt>
                <c:pt idx="1786">
                  <c:v>17.375025959023489</c:v>
                </c:pt>
                <c:pt idx="1787">
                  <c:v>17.375025959023489</c:v>
                </c:pt>
                <c:pt idx="1788">
                  <c:v>17.375025959023489</c:v>
                </c:pt>
                <c:pt idx="1789">
                  <c:v>17.375025959023489</c:v>
                </c:pt>
                <c:pt idx="1790">
                  <c:v>17.375025959023489</c:v>
                </c:pt>
                <c:pt idx="1791">
                  <c:v>17.375025959023489</c:v>
                </c:pt>
                <c:pt idx="1792">
                  <c:v>17.375025959023489</c:v>
                </c:pt>
                <c:pt idx="1793">
                  <c:v>17.375025959023489</c:v>
                </c:pt>
                <c:pt idx="1794">
                  <c:v>17.375025959023489</c:v>
                </c:pt>
                <c:pt idx="1795">
                  <c:v>17.375025959023489</c:v>
                </c:pt>
                <c:pt idx="1796">
                  <c:v>17.375025959023489</c:v>
                </c:pt>
                <c:pt idx="1797">
                  <c:v>17.375025959023489</c:v>
                </c:pt>
                <c:pt idx="1798">
                  <c:v>17.375025959023489</c:v>
                </c:pt>
                <c:pt idx="1799">
                  <c:v>17.375025959023489</c:v>
                </c:pt>
                <c:pt idx="1800">
                  <c:v>17.375025959023489</c:v>
                </c:pt>
                <c:pt idx="1801">
                  <c:v>17.375025959023489</c:v>
                </c:pt>
                <c:pt idx="1802">
                  <c:v>17.375025959023489</c:v>
                </c:pt>
                <c:pt idx="1803">
                  <c:v>17.375025959023489</c:v>
                </c:pt>
                <c:pt idx="1804">
                  <c:v>17.375025959023489</c:v>
                </c:pt>
                <c:pt idx="1805">
                  <c:v>17.375025959023489</c:v>
                </c:pt>
                <c:pt idx="1806">
                  <c:v>17.375025959023489</c:v>
                </c:pt>
                <c:pt idx="1807">
                  <c:v>17.375025959023489</c:v>
                </c:pt>
                <c:pt idx="1808">
                  <c:v>17.375025959023489</c:v>
                </c:pt>
                <c:pt idx="1809">
                  <c:v>17.375025959023489</c:v>
                </c:pt>
                <c:pt idx="1810">
                  <c:v>17.375025959023489</c:v>
                </c:pt>
                <c:pt idx="1811">
                  <c:v>17.375025959023489</c:v>
                </c:pt>
                <c:pt idx="1812">
                  <c:v>17.375025959023489</c:v>
                </c:pt>
                <c:pt idx="1813">
                  <c:v>17.375025959023489</c:v>
                </c:pt>
                <c:pt idx="1814">
                  <c:v>17.375025959023489</c:v>
                </c:pt>
                <c:pt idx="1815">
                  <c:v>17.375025959023489</c:v>
                </c:pt>
                <c:pt idx="1816">
                  <c:v>17.375025959023489</c:v>
                </c:pt>
                <c:pt idx="1817">
                  <c:v>17.375025959023489</c:v>
                </c:pt>
                <c:pt idx="1818">
                  <c:v>17.375025959023489</c:v>
                </c:pt>
                <c:pt idx="1819">
                  <c:v>17.375025959023489</c:v>
                </c:pt>
                <c:pt idx="1820">
                  <c:v>17.375025959023489</c:v>
                </c:pt>
                <c:pt idx="1821">
                  <c:v>17.375025959023489</c:v>
                </c:pt>
                <c:pt idx="1822">
                  <c:v>17.375025959023489</c:v>
                </c:pt>
                <c:pt idx="1823">
                  <c:v>17.375025959023489</c:v>
                </c:pt>
                <c:pt idx="1824">
                  <c:v>17.375025959023489</c:v>
                </c:pt>
                <c:pt idx="1825">
                  <c:v>17.375025959023489</c:v>
                </c:pt>
                <c:pt idx="1826">
                  <c:v>17.375025959023489</c:v>
                </c:pt>
                <c:pt idx="1827">
                  <c:v>17.375025959023489</c:v>
                </c:pt>
                <c:pt idx="1828">
                  <c:v>17.375025959023489</c:v>
                </c:pt>
                <c:pt idx="1829">
                  <c:v>17.375025959023489</c:v>
                </c:pt>
                <c:pt idx="1830">
                  <c:v>17.375025959023489</c:v>
                </c:pt>
                <c:pt idx="1831">
                  <c:v>17.375025959023489</c:v>
                </c:pt>
                <c:pt idx="1832">
                  <c:v>17.375025959023489</c:v>
                </c:pt>
                <c:pt idx="1833">
                  <c:v>17.375025959023489</c:v>
                </c:pt>
                <c:pt idx="1834">
                  <c:v>17.375025959023489</c:v>
                </c:pt>
                <c:pt idx="1835">
                  <c:v>17.375025959023489</c:v>
                </c:pt>
                <c:pt idx="1836">
                  <c:v>17.375025959023489</c:v>
                </c:pt>
                <c:pt idx="1837">
                  <c:v>17.375025959023489</c:v>
                </c:pt>
                <c:pt idx="1838">
                  <c:v>17.375025959023489</c:v>
                </c:pt>
                <c:pt idx="1839">
                  <c:v>17.375025959023489</c:v>
                </c:pt>
                <c:pt idx="1840">
                  <c:v>17.375025959023489</c:v>
                </c:pt>
                <c:pt idx="1841">
                  <c:v>17.375025959023489</c:v>
                </c:pt>
                <c:pt idx="1842">
                  <c:v>17.375025959023489</c:v>
                </c:pt>
                <c:pt idx="1843">
                  <c:v>17.375025959023489</c:v>
                </c:pt>
                <c:pt idx="1844">
                  <c:v>17.375025959023489</c:v>
                </c:pt>
                <c:pt idx="1845">
                  <c:v>17.375025959023489</c:v>
                </c:pt>
                <c:pt idx="1846">
                  <c:v>17.375025959023489</c:v>
                </c:pt>
                <c:pt idx="1847">
                  <c:v>17.375025959023489</c:v>
                </c:pt>
                <c:pt idx="1848">
                  <c:v>17.375025959023489</c:v>
                </c:pt>
                <c:pt idx="1849">
                  <c:v>17.375025959023489</c:v>
                </c:pt>
                <c:pt idx="1850">
                  <c:v>17.375025959023489</c:v>
                </c:pt>
                <c:pt idx="1851">
                  <c:v>17.375025959023489</c:v>
                </c:pt>
                <c:pt idx="1852">
                  <c:v>17.375025959023489</c:v>
                </c:pt>
                <c:pt idx="1853">
                  <c:v>17.375025959023489</c:v>
                </c:pt>
                <c:pt idx="1854">
                  <c:v>17.375025959023489</c:v>
                </c:pt>
                <c:pt idx="1855">
                  <c:v>17.375025959023489</c:v>
                </c:pt>
                <c:pt idx="1856">
                  <c:v>17.375025959023489</c:v>
                </c:pt>
                <c:pt idx="1857">
                  <c:v>17.375025959023489</c:v>
                </c:pt>
                <c:pt idx="1858">
                  <c:v>17.375025959023489</c:v>
                </c:pt>
                <c:pt idx="1859">
                  <c:v>17.375025959023489</c:v>
                </c:pt>
                <c:pt idx="1860">
                  <c:v>17.375025959023489</c:v>
                </c:pt>
                <c:pt idx="1861">
                  <c:v>17.375025959023489</c:v>
                </c:pt>
                <c:pt idx="1862">
                  <c:v>17.375025959023489</c:v>
                </c:pt>
                <c:pt idx="1863">
                  <c:v>17.375025959023489</c:v>
                </c:pt>
                <c:pt idx="1864">
                  <c:v>17.375025959023489</c:v>
                </c:pt>
                <c:pt idx="1865">
                  <c:v>17.375025959023489</c:v>
                </c:pt>
                <c:pt idx="1866">
                  <c:v>17.375025959023489</c:v>
                </c:pt>
                <c:pt idx="1867">
                  <c:v>17.375025959023489</c:v>
                </c:pt>
                <c:pt idx="1868">
                  <c:v>17.375025959023489</c:v>
                </c:pt>
                <c:pt idx="1869">
                  <c:v>17.375025959023489</c:v>
                </c:pt>
                <c:pt idx="1870">
                  <c:v>17.375025959023489</c:v>
                </c:pt>
                <c:pt idx="1871">
                  <c:v>17.375025959023489</c:v>
                </c:pt>
                <c:pt idx="1872">
                  <c:v>17.375025959023489</c:v>
                </c:pt>
                <c:pt idx="1873">
                  <c:v>17.375025959023489</c:v>
                </c:pt>
                <c:pt idx="1874">
                  <c:v>17.375025959023489</c:v>
                </c:pt>
                <c:pt idx="1875">
                  <c:v>17.375025959023489</c:v>
                </c:pt>
                <c:pt idx="1876">
                  <c:v>17.375025959023489</c:v>
                </c:pt>
                <c:pt idx="1877">
                  <c:v>17.375025959023489</c:v>
                </c:pt>
                <c:pt idx="1878">
                  <c:v>17.375025959023489</c:v>
                </c:pt>
                <c:pt idx="1879">
                  <c:v>17.375025959023489</c:v>
                </c:pt>
                <c:pt idx="1880">
                  <c:v>17.375025959023489</c:v>
                </c:pt>
                <c:pt idx="1881">
                  <c:v>17.375025959023489</c:v>
                </c:pt>
                <c:pt idx="1882">
                  <c:v>17.375025959023489</c:v>
                </c:pt>
                <c:pt idx="1883">
                  <c:v>17.375025959023489</c:v>
                </c:pt>
                <c:pt idx="1884">
                  <c:v>17.375025959023489</c:v>
                </c:pt>
                <c:pt idx="1885">
                  <c:v>17.375025959023489</c:v>
                </c:pt>
                <c:pt idx="1886">
                  <c:v>17.375025959023489</c:v>
                </c:pt>
                <c:pt idx="1887">
                  <c:v>17.375025959023489</c:v>
                </c:pt>
                <c:pt idx="1888">
                  <c:v>17.375025959023489</c:v>
                </c:pt>
                <c:pt idx="1889">
                  <c:v>17.375025959023489</c:v>
                </c:pt>
                <c:pt idx="1890">
                  <c:v>17.375025959023489</c:v>
                </c:pt>
                <c:pt idx="1891">
                  <c:v>17.375025959023489</c:v>
                </c:pt>
                <c:pt idx="1892">
                  <c:v>17.375025959023489</c:v>
                </c:pt>
                <c:pt idx="1893">
                  <c:v>17.375025959023489</c:v>
                </c:pt>
                <c:pt idx="1894">
                  <c:v>17.375025959023489</c:v>
                </c:pt>
                <c:pt idx="1895">
                  <c:v>17.375025959023489</c:v>
                </c:pt>
                <c:pt idx="1896">
                  <c:v>17.375025959023489</c:v>
                </c:pt>
                <c:pt idx="1897">
                  <c:v>17.375025959023489</c:v>
                </c:pt>
                <c:pt idx="1898">
                  <c:v>17.375025959023489</c:v>
                </c:pt>
                <c:pt idx="1899">
                  <c:v>17.375025959023489</c:v>
                </c:pt>
                <c:pt idx="1900">
                  <c:v>17.375025959023489</c:v>
                </c:pt>
                <c:pt idx="1901">
                  <c:v>17.375025959023489</c:v>
                </c:pt>
                <c:pt idx="1902">
                  <c:v>17.375025959023489</c:v>
                </c:pt>
                <c:pt idx="1903">
                  <c:v>17.375025959023489</c:v>
                </c:pt>
                <c:pt idx="1904">
                  <c:v>17.375025959023489</c:v>
                </c:pt>
                <c:pt idx="1905">
                  <c:v>17.375025959023489</c:v>
                </c:pt>
                <c:pt idx="1906">
                  <c:v>17.375025959023489</c:v>
                </c:pt>
                <c:pt idx="1907">
                  <c:v>17.375025959023489</c:v>
                </c:pt>
                <c:pt idx="1908">
                  <c:v>17.375025959023489</c:v>
                </c:pt>
                <c:pt idx="1909">
                  <c:v>17.375025959023489</c:v>
                </c:pt>
                <c:pt idx="1910">
                  <c:v>17.375025959023489</c:v>
                </c:pt>
                <c:pt idx="1911">
                  <c:v>17.375025959023489</c:v>
                </c:pt>
                <c:pt idx="1912">
                  <c:v>17.375025959023489</c:v>
                </c:pt>
                <c:pt idx="1913">
                  <c:v>17.375025959023489</c:v>
                </c:pt>
                <c:pt idx="1914">
                  <c:v>17.375025959023489</c:v>
                </c:pt>
                <c:pt idx="1915">
                  <c:v>17.375025959023489</c:v>
                </c:pt>
                <c:pt idx="1916">
                  <c:v>17.375025959023489</c:v>
                </c:pt>
                <c:pt idx="1917">
                  <c:v>17.375025959023489</c:v>
                </c:pt>
                <c:pt idx="1918">
                  <c:v>17.375025959023489</c:v>
                </c:pt>
                <c:pt idx="1919">
                  <c:v>17.375025959023489</c:v>
                </c:pt>
                <c:pt idx="1920">
                  <c:v>17.375025959023489</c:v>
                </c:pt>
                <c:pt idx="1921">
                  <c:v>17.375025959023489</c:v>
                </c:pt>
                <c:pt idx="1922">
                  <c:v>17.375025959023489</c:v>
                </c:pt>
                <c:pt idx="1923">
                  <c:v>17.375025959023489</c:v>
                </c:pt>
                <c:pt idx="1924">
                  <c:v>17.375025959023489</c:v>
                </c:pt>
                <c:pt idx="1925">
                  <c:v>17.375025959023489</c:v>
                </c:pt>
                <c:pt idx="1926">
                  <c:v>17.375025959023489</c:v>
                </c:pt>
                <c:pt idx="1927">
                  <c:v>17.375025959023489</c:v>
                </c:pt>
                <c:pt idx="1928">
                  <c:v>17.375025959023489</c:v>
                </c:pt>
                <c:pt idx="1929">
                  <c:v>17.375025959023489</c:v>
                </c:pt>
                <c:pt idx="1930">
                  <c:v>17.375025959023489</c:v>
                </c:pt>
                <c:pt idx="1931">
                  <c:v>17.375025959023489</c:v>
                </c:pt>
                <c:pt idx="1932">
                  <c:v>17.375025959023489</c:v>
                </c:pt>
                <c:pt idx="1933">
                  <c:v>17.375025959023489</c:v>
                </c:pt>
                <c:pt idx="1934">
                  <c:v>17.375025959023489</c:v>
                </c:pt>
                <c:pt idx="1935">
                  <c:v>17.375025959023489</c:v>
                </c:pt>
                <c:pt idx="1936">
                  <c:v>17.375025959023489</c:v>
                </c:pt>
                <c:pt idx="1937">
                  <c:v>17.375025959023489</c:v>
                </c:pt>
                <c:pt idx="1938">
                  <c:v>17.375025959023489</c:v>
                </c:pt>
                <c:pt idx="1939">
                  <c:v>17.375025959023489</c:v>
                </c:pt>
                <c:pt idx="1940">
                  <c:v>17.375025959023489</c:v>
                </c:pt>
                <c:pt idx="1941">
                  <c:v>17.375025959023489</c:v>
                </c:pt>
                <c:pt idx="1942">
                  <c:v>17.375025959023489</c:v>
                </c:pt>
                <c:pt idx="1943">
                  <c:v>17.375025959023489</c:v>
                </c:pt>
                <c:pt idx="1944">
                  <c:v>17.375025959023489</c:v>
                </c:pt>
                <c:pt idx="1945">
                  <c:v>17.375025959023489</c:v>
                </c:pt>
                <c:pt idx="1946">
                  <c:v>17.375025959023489</c:v>
                </c:pt>
                <c:pt idx="1947">
                  <c:v>17.375025959023489</c:v>
                </c:pt>
                <c:pt idx="1948">
                  <c:v>17.375025959023489</c:v>
                </c:pt>
                <c:pt idx="1949">
                  <c:v>17.375025959023489</c:v>
                </c:pt>
                <c:pt idx="1950">
                  <c:v>17.375025959023489</c:v>
                </c:pt>
                <c:pt idx="1951">
                  <c:v>17.375025959023489</c:v>
                </c:pt>
                <c:pt idx="1952">
                  <c:v>17.375025959023489</c:v>
                </c:pt>
                <c:pt idx="1953">
                  <c:v>17.375025959023489</c:v>
                </c:pt>
                <c:pt idx="1954">
                  <c:v>17.375025959023489</c:v>
                </c:pt>
                <c:pt idx="1955">
                  <c:v>17.375025959023489</c:v>
                </c:pt>
                <c:pt idx="1956">
                  <c:v>17.375025959023489</c:v>
                </c:pt>
                <c:pt idx="1957">
                  <c:v>17.375025959023489</c:v>
                </c:pt>
                <c:pt idx="1958">
                  <c:v>17.375025959023489</c:v>
                </c:pt>
                <c:pt idx="1959">
                  <c:v>17.375025959023489</c:v>
                </c:pt>
                <c:pt idx="1960">
                  <c:v>17.375025959023489</c:v>
                </c:pt>
                <c:pt idx="1961">
                  <c:v>17.375025959023489</c:v>
                </c:pt>
                <c:pt idx="1962">
                  <c:v>17.375025959023489</c:v>
                </c:pt>
                <c:pt idx="1963">
                  <c:v>17.375025959023489</c:v>
                </c:pt>
                <c:pt idx="1964">
                  <c:v>17.375025959023489</c:v>
                </c:pt>
                <c:pt idx="1965">
                  <c:v>17.375025959023489</c:v>
                </c:pt>
                <c:pt idx="1966">
                  <c:v>17.375025959023489</c:v>
                </c:pt>
                <c:pt idx="1967">
                  <c:v>17.375025959023489</c:v>
                </c:pt>
                <c:pt idx="1968">
                  <c:v>17.375025959023489</c:v>
                </c:pt>
                <c:pt idx="1969">
                  <c:v>17.375025959023489</c:v>
                </c:pt>
                <c:pt idx="1970">
                  <c:v>17.375025959023489</c:v>
                </c:pt>
                <c:pt idx="1971">
                  <c:v>17.375025959023489</c:v>
                </c:pt>
                <c:pt idx="1972">
                  <c:v>17.375025959023489</c:v>
                </c:pt>
                <c:pt idx="1973">
                  <c:v>17.375025959023489</c:v>
                </c:pt>
                <c:pt idx="1974">
                  <c:v>17.375025959023489</c:v>
                </c:pt>
                <c:pt idx="1975">
                  <c:v>17.375025959023489</c:v>
                </c:pt>
                <c:pt idx="1976">
                  <c:v>17.375025959023489</c:v>
                </c:pt>
                <c:pt idx="1977">
                  <c:v>17.375025959023489</c:v>
                </c:pt>
                <c:pt idx="1978">
                  <c:v>17.375025959023489</c:v>
                </c:pt>
                <c:pt idx="1979">
                  <c:v>17.375025959023489</c:v>
                </c:pt>
                <c:pt idx="1980">
                  <c:v>17.375025959023489</c:v>
                </c:pt>
                <c:pt idx="1981">
                  <c:v>17.375025959023489</c:v>
                </c:pt>
                <c:pt idx="1982">
                  <c:v>17.375025959023489</c:v>
                </c:pt>
                <c:pt idx="1983">
                  <c:v>17.375025959023489</c:v>
                </c:pt>
                <c:pt idx="1984">
                  <c:v>17.375025959023489</c:v>
                </c:pt>
                <c:pt idx="1985">
                  <c:v>17.375025959023489</c:v>
                </c:pt>
                <c:pt idx="1986">
                  <c:v>17.375025959023489</c:v>
                </c:pt>
                <c:pt idx="1987">
                  <c:v>17.375025959023489</c:v>
                </c:pt>
                <c:pt idx="1988">
                  <c:v>17.375025959023489</c:v>
                </c:pt>
                <c:pt idx="1989">
                  <c:v>17.375025959023489</c:v>
                </c:pt>
                <c:pt idx="1990">
                  <c:v>17.375025959023489</c:v>
                </c:pt>
                <c:pt idx="1991">
                  <c:v>17.375025959023489</c:v>
                </c:pt>
                <c:pt idx="1992">
                  <c:v>17.375025959023489</c:v>
                </c:pt>
                <c:pt idx="1993">
                  <c:v>17.375025959023489</c:v>
                </c:pt>
                <c:pt idx="1994">
                  <c:v>17.375025959023489</c:v>
                </c:pt>
                <c:pt idx="1995">
                  <c:v>17.375025959023489</c:v>
                </c:pt>
                <c:pt idx="1996">
                  <c:v>17.375025959023489</c:v>
                </c:pt>
                <c:pt idx="1997">
                  <c:v>17.375025959023489</c:v>
                </c:pt>
                <c:pt idx="1998">
                  <c:v>17.375025959023489</c:v>
                </c:pt>
                <c:pt idx="1999">
                  <c:v>17.375025959023489</c:v>
                </c:pt>
                <c:pt idx="2000">
                  <c:v>17.375025959023489</c:v>
                </c:pt>
                <c:pt idx="2001">
                  <c:v>17.375025959023489</c:v>
                </c:pt>
                <c:pt idx="2002">
                  <c:v>17.375025959023489</c:v>
                </c:pt>
                <c:pt idx="2003">
                  <c:v>17.375025959023489</c:v>
                </c:pt>
                <c:pt idx="2004">
                  <c:v>17.375025959023489</c:v>
                </c:pt>
                <c:pt idx="2005">
                  <c:v>17.375025959023489</c:v>
                </c:pt>
                <c:pt idx="2006">
                  <c:v>17.375025959023489</c:v>
                </c:pt>
                <c:pt idx="2007">
                  <c:v>17.375025959023489</c:v>
                </c:pt>
                <c:pt idx="2008">
                  <c:v>17.375025959023489</c:v>
                </c:pt>
                <c:pt idx="2009">
                  <c:v>17.375025959023489</c:v>
                </c:pt>
                <c:pt idx="2010">
                  <c:v>17.375025959023489</c:v>
                </c:pt>
                <c:pt idx="2011">
                  <c:v>17.375025959023489</c:v>
                </c:pt>
                <c:pt idx="2012">
                  <c:v>17.375025959023489</c:v>
                </c:pt>
                <c:pt idx="2013">
                  <c:v>17.375025959023489</c:v>
                </c:pt>
                <c:pt idx="2014">
                  <c:v>17.375025959023489</c:v>
                </c:pt>
                <c:pt idx="2015">
                  <c:v>17.375025959023489</c:v>
                </c:pt>
                <c:pt idx="2016">
                  <c:v>17.375025959023489</c:v>
                </c:pt>
                <c:pt idx="2017">
                  <c:v>17.375025959023489</c:v>
                </c:pt>
                <c:pt idx="2018">
                  <c:v>17.375025959023489</c:v>
                </c:pt>
                <c:pt idx="2019">
                  <c:v>17.375025959023489</c:v>
                </c:pt>
                <c:pt idx="2020">
                  <c:v>17.375025959023489</c:v>
                </c:pt>
                <c:pt idx="2021">
                  <c:v>17.375025959023489</c:v>
                </c:pt>
                <c:pt idx="2022">
                  <c:v>17.375025959023489</c:v>
                </c:pt>
                <c:pt idx="2023">
                  <c:v>17.375025959023489</c:v>
                </c:pt>
                <c:pt idx="2024">
                  <c:v>17.375025959023489</c:v>
                </c:pt>
                <c:pt idx="2025">
                  <c:v>17.375025959023489</c:v>
                </c:pt>
                <c:pt idx="2026">
                  <c:v>17.375025959023489</c:v>
                </c:pt>
                <c:pt idx="2027">
                  <c:v>17.375025959023489</c:v>
                </c:pt>
                <c:pt idx="2028">
                  <c:v>17.375025959023489</c:v>
                </c:pt>
                <c:pt idx="2029">
                  <c:v>17.375025959023489</c:v>
                </c:pt>
                <c:pt idx="2030">
                  <c:v>17.375025959023489</c:v>
                </c:pt>
                <c:pt idx="2031">
                  <c:v>17.375025959023489</c:v>
                </c:pt>
                <c:pt idx="2032">
                  <c:v>17.375025959023489</c:v>
                </c:pt>
                <c:pt idx="2033">
                  <c:v>17.375025959023489</c:v>
                </c:pt>
                <c:pt idx="2034">
                  <c:v>17.375025959023489</c:v>
                </c:pt>
                <c:pt idx="2035">
                  <c:v>17.375025959023489</c:v>
                </c:pt>
                <c:pt idx="2036">
                  <c:v>17.375025959023489</c:v>
                </c:pt>
                <c:pt idx="2037">
                  <c:v>17.375025959023489</c:v>
                </c:pt>
                <c:pt idx="2038">
                  <c:v>17.375025959023489</c:v>
                </c:pt>
                <c:pt idx="2039">
                  <c:v>17.375025959023489</c:v>
                </c:pt>
                <c:pt idx="2040">
                  <c:v>17.375025959023489</c:v>
                </c:pt>
                <c:pt idx="2041">
                  <c:v>17.375025959023489</c:v>
                </c:pt>
                <c:pt idx="2042">
                  <c:v>17.375025959023489</c:v>
                </c:pt>
                <c:pt idx="2043">
                  <c:v>17.375025959023489</c:v>
                </c:pt>
                <c:pt idx="2044">
                  <c:v>17.375025959023489</c:v>
                </c:pt>
                <c:pt idx="2045">
                  <c:v>17.375025959023489</c:v>
                </c:pt>
                <c:pt idx="2046">
                  <c:v>17.375025959023489</c:v>
                </c:pt>
                <c:pt idx="2047">
                  <c:v>17.375025959023489</c:v>
                </c:pt>
                <c:pt idx="2048">
                  <c:v>17.375025959023489</c:v>
                </c:pt>
                <c:pt idx="2049">
                  <c:v>17.375025959023489</c:v>
                </c:pt>
                <c:pt idx="2050">
                  <c:v>17.375025959023489</c:v>
                </c:pt>
                <c:pt idx="2051">
                  <c:v>17.375025959023489</c:v>
                </c:pt>
                <c:pt idx="2052">
                  <c:v>17.375025959023489</c:v>
                </c:pt>
                <c:pt idx="2053">
                  <c:v>17.375025959023489</c:v>
                </c:pt>
                <c:pt idx="2054">
                  <c:v>17.375025959023489</c:v>
                </c:pt>
                <c:pt idx="2055">
                  <c:v>17.375025959023489</c:v>
                </c:pt>
                <c:pt idx="2056">
                  <c:v>17.375025959023489</c:v>
                </c:pt>
                <c:pt idx="2057">
                  <c:v>17.375025959023489</c:v>
                </c:pt>
                <c:pt idx="2058">
                  <c:v>17.375025959023489</c:v>
                </c:pt>
                <c:pt idx="2059">
                  <c:v>17.375025959023489</c:v>
                </c:pt>
                <c:pt idx="2060">
                  <c:v>17.375025959023489</c:v>
                </c:pt>
                <c:pt idx="2061">
                  <c:v>17.375025959023489</c:v>
                </c:pt>
                <c:pt idx="2062">
                  <c:v>17.375025959023489</c:v>
                </c:pt>
                <c:pt idx="2063">
                  <c:v>17.375025959023489</c:v>
                </c:pt>
                <c:pt idx="2064">
                  <c:v>17.375025959023489</c:v>
                </c:pt>
                <c:pt idx="2065">
                  <c:v>17.375025959023489</c:v>
                </c:pt>
                <c:pt idx="2066">
                  <c:v>17.375025959023489</c:v>
                </c:pt>
                <c:pt idx="2067">
                  <c:v>17.375025959023489</c:v>
                </c:pt>
                <c:pt idx="2068">
                  <c:v>17.375025959023489</c:v>
                </c:pt>
                <c:pt idx="2069">
                  <c:v>17.375025959023489</c:v>
                </c:pt>
                <c:pt idx="2070">
                  <c:v>17.375025959023489</c:v>
                </c:pt>
                <c:pt idx="2071">
                  <c:v>17.375025959023489</c:v>
                </c:pt>
                <c:pt idx="2072">
                  <c:v>17.375025959023489</c:v>
                </c:pt>
                <c:pt idx="2073">
                  <c:v>17.375025959023489</c:v>
                </c:pt>
                <c:pt idx="2074">
                  <c:v>17.375025959023489</c:v>
                </c:pt>
                <c:pt idx="2075">
                  <c:v>17.375025959023489</c:v>
                </c:pt>
                <c:pt idx="2076">
                  <c:v>17.375025959023489</c:v>
                </c:pt>
                <c:pt idx="2077">
                  <c:v>17.375025959023489</c:v>
                </c:pt>
                <c:pt idx="2078">
                  <c:v>17.375025959023489</c:v>
                </c:pt>
                <c:pt idx="2079">
                  <c:v>17.375025959023489</c:v>
                </c:pt>
                <c:pt idx="2080">
                  <c:v>17.375025959023489</c:v>
                </c:pt>
                <c:pt idx="2081">
                  <c:v>17.375025959023489</c:v>
                </c:pt>
                <c:pt idx="2082">
                  <c:v>17.375025959023489</c:v>
                </c:pt>
                <c:pt idx="2083">
                  <c:v>17.375025959023489</c:v>
                </c:pt>
                <c:pt idx="2084">
                  <c:v>17.375025959023489</c:v>
                </c:pt>
                <c:pt idx="2085">
                  <c:v>17.375025959023489</c:v>
                </c:pt>
                <c:pt idx="2086">
                  <c:v>17.375025959023489</c:v>
                </c:pt>
                <c:pt idx="2087">
                  <c:v>17.375025959023489</c:v>
                </c:pt>
                <c:pt idx="2088">
                  <c:v>17.375025959023489</c:v>
                </c:pt>
                <c:pt idx="2089">
                  <c:v>17.375025959023489</c:v>
                </c:pt>
                <c:pt idx="2090">
                  <c:v>17.375025959023489</c:v>
                </c:pt>
                <c:pt idx="2091">
                  <c:v>17.375025959023489</c:v>
                </c:pt>
                <c:pt idx="2092">
                  <c:v>17.375025959023489</c:v>
                </c:pt>
                <c:pt idx="2093">
                  <c:v>17.375025959023489</c:v>
                </c:pt>
                <c:pt idx="2094">
                  <c:v>17.375025959023489</c:v>
                </c:pt>
                <c:pt idx="2095">
                  <c:v>17.375025959023489</c:v>
                </c:pt>
                <c:pt idx="2096">
                  <c:v>17.375025959023489</c:v>
                </c:pt>
                <c:pt idx="2097">
                  <c:v>17.375025959023489</c:v>
                </c:pt>
                <c:pt idx="2098">
                  <c:v>17.375025959023489</c:v>
                </c:pt>
                <c:pt idx="2099">
                  <c:v>17.375025959023489</c:v>
                </c:pt>
                <c:pt idx="2100">
                  <c:v>17.375025959023489</c:v>
                </c:pt>
                <c:pt idx="2101">
                  <c:v>17.375025959023489</c:v>
                </c:pt>
                <c:pt idx="2102">
                  <c:v>17.375025959023489</c:v>
                </c:pt>
                <c:pt idx="2103">
                  <c:v>17.375025959023489</c:v>
                </c:pt>
                <c:pt idx="2104">
                  <c:v>17.375025959023489</c:v>
                </c:pt>
                <c:pt idx="2105">
                  <c:v>17.375025959023489</c:v>
                </c:pt>
                <c:pt idx="2106">
                  <c:v>17.375025959023489</c:v>
                </c:pt>
                <c:pt idx="2107">
                  <c:v>17.375025959023489</c:v>
                </c:pt>
                <c:pt idx="2108">
                  <c:v>17.375025959023489</c:v>
                </c:pt>
                <c:pt idx="2109">
                  <c:v>17.375025959023489</c:v>
                </c:pt>
                <c:pt idx="2110">
                  <c:v>17.375025959023489</c:v>
                </c:pt>
                <c:pt idx="2111">
                  <c:v>17.375025959023489</c:v>
                </c:pt>
                <c:pt idx="2112">
                  <c:v>17.375025959023489</c:v>
                </c:pt>
                <c:pt idx="2113">
                  <c:v>17.375025959023489</c:v>
                </c:pt>
                <c:pt idx="2114">
                  <c:v>17.375025959023489</c:v>
                </c:pt>
                <c:pt idx="2115">
                  <c:v>17.375025959023489</c:v>
                </c:pt>
                <c:pt idx="2116">
                  <c:v>17.375025959023489</c:v>
                </c:pt>
                <c:pt idx="2117">
                  <c:v>17.375025959023489</c:v>
                </c:pt>
                <c:pt idx="2118">
                  <c:v>17.375025959023489</c:v>
                </c:pt>
                <c:pt idx="2119">
                  <c:v>17.375025959023489</c:v>
                </c:pt>
                <c:pt idx="2120">
                  <c:v>17.375025959023489</c:v>
                </c:pt>
                <c:pt idx="2121">
                  <c:v>17.375025959023489</c:v>
                </c:pt>
                <c:pt idx="2122">
                  <c:v>17.375025959023489</c:v>
                </c:pt>
                <c:pt idx="2123">
                  <c:v>17.375025959023489</c:v>
                </c:pt>
                <c:pt idx="2124">
                  <c:v>17.375025959023489</c:v>
                </c:pt>
                <c:pt idx="2125">
                  <c:v>17.375025959023489</c:v>
                </c:pt>
                <c:pt idx="2126">
                  <c:v>17.375025959023489</c:v>
                </c:pt>
                <c:pt idx="2127">
                  <c:v>17.375025959023489</c:v>
                </c:pt>
                <c:pt idx="2128">
                  <c:v>17.375025959023489</c:v>
                </c:pt>
                <c:pt idx="2129">
                  <c:v>17.375025959023489</c:v>
                </c:pt>
                <c:pt idx="2130">
                  <c:v>17.375025959023489</c:v>
                </c:pt>
                <c:pt idx="2131">
                  <c:v>17.375025959023489</c:v>
                </c:pt>
                <c:pt idx="2132">
                  <c:v>17.375025959023489</c:v>
                </c:pt>
                <c:pt idx="2133">
                  <c:v>17.375025959023489</c:v>
                </c:pt>
                <c:pt idx="2134">
                  <c:v>17.375025959023489</c:v>
                </c:pt>
                <c:pt idx="2135">
                  <c:v>17.375025959023489</c:v>
                </c:pt>
                <c:pt idx="2136">
                  <c:v>17.375025959023489</c:v>
                </c:pt>
                <c:pt idx="2137">
                  <c:v>17.375025959023489</c:v>
                </c:pt>
                <c:pt idx="2138">
                  <c:v>17.375025959023489</c:v>
                </c:pt>
                <c:pt idx="2139">
                  <c:v>17.375025959023489</c:v>
                </c:pt>
                <c:pt idx="2140">
                  <c:v>17.375025959023489</c:v>
                </c:pt>
                <c:pt idx="2141">
                  <c:v>17.375025959023489</c:v>
                </c:pt>
                <c:pt idx="2142">
                  <c:v>17.375025959023489</c:v>
                </c:pt>
                <c:pt idx="2143">
                  <c:v>17.375025959023489</c:v>
                </c:pt>
                <c:pt idx="2144">
                  <c:v>17.375025959023489</c:v>
                </c:pt>
                <c:pt idx="2145">
                  <c:v>17.375025959023489</c:v>
                </c:pt>
                <c:pt idx="2146">
                  <c:v>17.375025959023489</c:v>
                </c:pt>
                <c:pt idx="2147">
                  <c:v>17.375025959023489</c:v>
                </c:pt>
                <c:pt idx="2148">
                  <c:v>17.375025959023489</c:v>
                </c:pt>
                <c:pt idx="2149">
                  <c:v>17.375025959023489</c:v>
                </c:pt>
                <c:pt idx="2150">
                  <c:v>17.375025959023489</c:v>
                </c:pt>
                <c:pt idx="2151">
                  <c:v>17.375025959023489</c:v>
                </c:pt>
                <c:pt idx="2152">
                  <c:v>17.375025959023489</c:v>
                </c:pt>
                <c:pt idx="2153">
                  <c:v>17.375025959023489</c:v>
                </c:pt>
                <c:pt idx="2154">
                  <c:v>17.375025959023489</c:v>
                </c:pt>
                <c:pt idx="2155">
                  <c:v>17.375025959023489</c:v>
                </c:pt>
                <c:pt idx="2156">
                  <c:v>17.375025959023489</c:v>
                </c:pt>
                <c:pt idx="2157">
                  <c:v>17.375025959023489</c:v>
                </c:pt>
                <c:pt idx="2158">
                  <c:v>17.375025959023489</c:v>
                </c:pt>
                <c:pt idx="2159">
                  <c:v>17.375025959023489</c:v>
                </c:pt>
                <c:pt idx="2160">
                  <c:v>17.375025959023489</c:v>
                </c:pt>
                <c:pt idx="2161">
                  <c:v>17.375025959023489</c:v>
                </c:pt>
                <c:pt idx="2162">
                  <c:v>17.375025959023489</c:v>
                </c:pt>
                <c:pt idx="2163">
                  <c:v>17.375025959023489</c:v>
                </c:pt>
                <c:pt idx="2164">
                  <c:v>17.375025959023489</c:v>
                </c:pt>
                <c:pt idx="2165">
                  <c:v>17.375025959023489</c:v>
                </c:pt>
                <c:pt idx="2166">
                  <c:v>17.375025959023489</c:v>
                </c:pt>
                <c:pt idx="2167">
                  <c:v>17.375025959023489</c:v>
                </c:pt>
                <c:pt idx="2168">
                  <c:v>17.375025959023489</c:v>
                </c:pt>
                <c:pt idx="2169">
                  <c:v>17.375025959023489</c:v>
                </c:pt>
                <c:pt idx="2170">
                  <c:v>17.375025959023489</c:v>
                </c:pt>
                <c:pt idx="2171">
                  <c:v>17.375025959023489</c:v>
                </c:pt>
                <c:pt idx="2172">
                  <c:v>17.375025959023489</c:v>
                </c:pt>
                <c:pt idx="2173">
                  <c:v>17.375025959023489</c:v>
                </c:pt>
                <c:pt idx="2174">
                  <c:v>17.375025959023489</c:v>
                </c:pt>
                <c:pt idx="2175">
                  <c:v>17.375025959023489</c:v>
                </c:pt>
                <c:pt idx="2176">
                  <c:v>17.375025959023489</c:v>
                </c:pt>
                <c:pt idx="2177">
                  <c:v>17.375025959023489</c:v>
                </c:pt>
                <c:pt idx="2178">
                  <c:v>17.375025959023489</c:v>
                </c:pt>
                <c:pt idx="2179">
                  <c:v>17.375025959023489</c:v>
                </c:pt>
                <c:pt idx="2180">
                  <c:v>17.375025959023489</c:v>
                </c:pt>
                <c:pt idx="2181">
                  <c:v>17.375025959023489</c:v>
                </c:pt>
                <c:pt idx="2182">
                  <c:v>17.375025959023489</c:v>
                </c:pt>
                <c:pt idx="2183">
                  <c:v>17.375025959023489</c:v>
                </c:pt>
                <c:pt idx="2184">
                  <c:v>17.375025959023489</c:v>
                </c:pt>
                <c:pt idx="2185">
                  <c:v>17.375025959023489</c:v>
                </c:pt>
                <c:pt idx="2186">
                  <c:v>17.375025959023489</c:v>
                </c:pt>
                <c:pt idx="2187">
                  <c:v>17.375025959023489</c:v>
                </c:pt>
                <c:pt idx="2188">
                  <c:v>17.375025959023489</c:v>
                </c:pt>
                <c:pt idx="2189">
                  <c:v>17.375025959023489</c:v>
                </c:pt>
                <c:pt idx="2190">
                  <c:v>17.375025959023489</c:v>
                </c:pt>
                <c:pt idx="2191">
                  <c:v>17.375025959023489</c:v>
                </c:pt>
                <c:pt idx="2192">
                  <c:v>17.375025959023489</c:v>
                </c:pt>
                <c:pt idx="2193">
                  <c:v>17.375025959023489</c:v>
                </c:pt>
                <c:pt idx="2194">
                  <c:v>17.375025959023489</c:v>
                </c:pt>
                <c:pt idx="2195">
                  <c:v>17.375025959023489</c:v>
                </c:pt>
                <c:pt idx="2196">
                  <c:v>17.375025959023489</c:v>
                </c:pt>
                <c:pt idx="2197">
                  <c:v>17.375025959023489</c:v>
                </c:pt>
                <c:pt idx="2198">
                  <c:v>17.375025959023489</c:v>
                </c:pt>
                <c:pt idx="2199">
                  <c:v>17.375025959023489</c:v>
                </c:pt>
                <c:pt idx="2200">
                  <c:v>17.375025959023489</c:v>
                </c:pt>
                <c:pt idx="2201">
                  <c:v>17.375025959023489</c:v>
                </c:pt>
                <c:pt idx="2202">
                  <c:v>17.375025959023489</c:v>
                </c:pt>
                <c:pt idx="2203">
                  <c:v>17.375025959023489</c:v>
                </c:pt>
                <c:pt idx="2204">
                  <c:v>17.375025959023489</c:v>
                </c:pt>
                <c:pt idx="2205">
                  <c:v>17.375025959023489</c:v>
                </c:pt>
                <c:pt idx="2206">
                  <c:v>17.375025959023489</c:v>
                </c:pt>
                <c:pt idx="2207">
                  <c:v>17.375025959023489</c:v>
                </c:pt>
                <c:pt idx="2208">
                  <c:v>17.375025959023489</c:v>
                </c:pt>
                <c:pt idx="2209">
                  <c:v>17.375025959023489</c:v>
                </c:pt>
                <c:pt idx="2210">
                  <c:v>17.375025959023489</c:v>
                </c:pt>
                <c:pt idx="2211">
                  <c:v>17.375025959023489</c:v>
                </c:pt>
                <c:pt idx="2212">
                  <c:v>17.375025959023489</c:v>
                </c:pt>
                <c:pt idx="2213">
                  <c:v>17.375025959023489</c:v>
                </c:pt>
                <c:pt idx="2214">
                  <c:v>17.375025959023489</c:v>
                </c:pt>
                <c:pt idx="2215">
                  <c:v>17.375025959023489</c:v>
                </c:pt>
                <c:pt idx="2216">
                  <c:v>17.375025959023489</c:v>
                </c:pt>
                <c:pt idx="2217">
                  <c:v>17.375025959023489</c:v>
                </c:pt>
                <c:pt idx="2218">
                  <c:v>17.375025959023489</c:v>
                </c:pt>
                <c:pt idx="2219">
                  <c:v>17.375025959023489</c:v>
                </c:pt>
                <c:pt idx="2220">
                  <c:v>17.375025959023489</c:v>
                </c:pt>
                <c:pt idx="2221">
                  <c:v>17.375025959023489</c:v>
                </c:pt>
                <c:pt idx="2222">
                  <c:v>17.375025959023489</c:v>
                </c:pt>
                <c:pt idx="2223">
                  <c:v>17.375025959023489</c:v>
                </c:pt>
                <c:pt idx="2224">
                  <c:v>17.375025959023489</c:v>
                </c:pt>
                <c:pt idx="2225">
                  <c:v>17.375025959023489</c:v>
                </c:pt>
                <c:pt idx="2226">
                  <c:v>17.375025959023489</c:v>
                </c:pt>
                <c:pt idx="2227">
                  <c:v>17.375025959023489</c:v>
                </c:pt>
                <c:pt idx="2228">
                  <c:v>17.375025959023489</c:v>
                </c:pt>
                <c:pt idx="2229">
                  <c:v>17.375025959023489</c:v>
                </c:pt>
                <c:pt idx="2230">
                  <c:v>17.375025959023489</c:v>
                </c:pt>
                <c:pt idx="2231">
                  <c:v>17.375025959023489</c:v>
                </c:pt>
                <c:pt idx="2232">
                  <c:v>17.375025959023489</c:v>
                </c:pt>
                <c:pt idx="2233">
                  <c:v>17.375025959023489</c:v>
                </c:pt>
                <c:pt idx="2234">
                  <c:v>17.375025959023489</c:v>
                </c:pt>
                <c:pt idx="2235">
                  <c:v>17.375025959023489</c:v>
                </c:pt>
                <c:pt idx="2236">
                  <c:v>17.375025959023489</c:v>
                </c:pt>
                <c:pt idx="2237">
                  <c:v>17.375025959023489</c:v>
                </c:pt>
                <c:pt idx="2238">
                  <c:v>17.375025959023489</c:v>
                </c:pt>
                <c:pt idx="2239">
                  <c:v>17.375025959023489</c:v>
                </c:pt>
                <c:pt idx="2240">
                  <c:v>17.375025959023489</c:v>
                </c:pt>
                <c:pt idx="2241">
                  <c:v>17.375025959023489</c:v>
                </c:pt>
                <c:pt idx="2242">
                  <c:v>17.375025959023489</c:v>
                </c:pt>
                <c:pt idx="2243">
                  <c:v>17.375025959023489</c:v>
                </c:pt>
                <c:pt idx="2244">
                  <c:v>17.375025959023489</c:v>
                </c:pt>
                <c:pt idx="2245">
                  <c:v>17.375025959023489</c:v>
                </c:pt>
                <c:pt idx="2246">
                  <c:v>17.375025959023489</c:v>
                </c:pt>
                <c:pt idx="2247">
                  <c:v>17.375025959023489</c:v>
                </c:pt>
                <c:pt idx="2248">
                  <c:v>17.375025959023489</c:v>
                </c:pt>
                <c:pt idx="2249">
                  <c:v>17.375025959023489</c:v>
                </c:pt>
                <c:pt idx="2250">
                  <c:v>17.375025959023489</c:v>
                </c:pt>
                <c:pt idx="2251">
                  <c:v>17.375025959023489</c:v>
                </c:pt>
                <c:pt idx="2252">
                  <c:v>17.375025959023489</c:v>
                </c:pt>
                <c:pt idx="2253">
                  <c:v>17.375025959023489</c:v>
                </c:pt>
                <c:pt idx="2254">
                  <c:v>17.375025959023489</c:v>
                </c:pt>
                <c:pt idx="2255">
                  <c:v>17.375025959023489</c:v>
                </c:pt>
                <c:pt idx="2256">
                  <c:v>17.375025959023489</c:v>
                </c:pt>
                <c:pt idx="2257">
                  <c:v>17.375025959023489</c:v>
                </c:pt>
                <c:pt idx="2258">
                  <c:v>17.375025959023489</c:v>
                </c:pt>
                <c:pt idx="2259">
                  <c:v>17.375025959023489</c:v>
                </c:pt>
                <c:pt idx="2260">
                  <c:v>17.375025959023489</c:v>
                </c:pt>
                <c:pt idx="2261">
                  <c:v>17.375025959023489</c:v>
                </c:pt>
                <c:pt idx="2262">
                  <c:v>17.375025959023489</c:v>
                </c:pt>
                <c:pt idx="2263">
                  <c:v>17.375025959023489</c:v>
                </c:pt>
                <c:pt idx="2264">
                  <c:v>17.375025959023489</c:v>
                </c:pt>
                <c:pt idx="2265">
                  <c:v>17.375025959023489</c:v>
                </c:pt>
                <c:pt idx="2266">
                  <c:v>17.375025959023489</c:v>
                </c:pt>
                <c:pt idx="2267">
                  <c:v>17.375025959023489</c:v>
                </c:pt>
                <c:pt idx="2268">
                  <c:v>17.375025959023489</c:v>
                </c:pt>
                <c:pt idx="2269">
                  <c:v>17.375025959023489</c:v>
                </c:pt>
                <c:pt idx="2270">
                  <c:v>17.375025959023489</c:v>
                </c:pt>
                <c:pt idx="2271">
                  <c:v>17.375025959023489</c:v>
                </c:pt>
                <c:pt idx="2272">
                  <c:v>17.375025959023489</c:v>
                </c:pt>
                <c:pt idx="2273">
                  <c:v>17.375025959023489</c:v>
                </c:pt>
                <c:pt idx="2274">
                  <c:v>17.375025959023489</c:v>
                </c:pt>
                <c:pt idx="2275">
                  <c:v>17.375025959023489</c:v>
                </c:pt>
                <c:pt idx="2276">
                  <c:v>17.375025959023489</c:v>
                </c:pt>
                <c:pt idx="2277">
                  <c:v>17.375025959023489</c:v>
                </c:pt>
                <c:pt idx="2278">
                  <c:v>17.375025959023489</c:v>
                </c:pt>
                <c:pt idx="2279">
                  <c:v>17.375025959023489</c:v>
                </c:pt>
                <c:pt idx="2280">
                  <c:v>17.375025959023489</c:v>
                </c:pt>
                <c:pt idx="2281">
                  <c:v>17.375025959023489</c:v>
                </c:pt>
                <c:pt idx="2282">
                  <c:v>17.375025959023489</c:v>
                </c:pt>
                <c:pt idx="2283">
                  <c:v>17.375025959023489</c:v>
                </c:pt>
                <c:pt idx="2284">
                  <c:v>17.375025959023489</c:v>
                </c:pt>
                <c:pt idx="2285">
                  <c:v>17.375025959023489</c:v>
                </c:pt>
                <c:pt idx="2286">
                  <c:v>17.375025959023489</c:v>
                </c:pt>
                <c:pt idx="2287">
                  <c:v>17.375025959023489</c:v>
                </c:pt>
                <c:pt idx="2288">
                  <c:v>17.375025959023489</c:v>
                </c:pt>
                <c:pt idx="2289">
                  <c:v>17.375025959023489</c:v>
                </c:pt>
                <c:pt idx="2290">
                  <c:v>17.375025959023489</c:v>
                </c:pt>
                <c:pt idx="2291">
                  <c:v>17.375025959023489</c:v>
                </c:pt>
                <c:pt idx="2292">
                  <c:v>17.375025959023489</c:v>
                </c:pt>
                <c:pt idx="2293">
                  <c:v>17.375025959023489</c:v>
                </c:pt>
                <c:pt idx="2294">
                  <c:v>17.375025959023489</c:v>
                </c:pt>
                <c:pt idx="2295">
                  <c:v>17.375025959023489</c:v>
                </c:pt>
                <c:pt idx="2296">
                  <c:v>17.375025959023489</c:v>
                </c:pt>
                <c:pt idx="2297">
                  <c:v>17.375025959023489</c:v>
                </c:pt>
                <c:pt idx="2298">
                  <c:v>17.375025959023489</c:v>
                </c:pt>
                <c:pt idx="2299">
                  <c:v>17.375025959023489</c:v>
                </c:pt>
                <c:pt idx="2300">
                  <c:v>17.375025959023489</c:v>
                </c:pt>
                <c:pt idx="2301">
                  <c:v>17.375025959023489</c:v>
                </c:pt>
                <c:pt idx="2302">
                  <c:v>17.375025959023489</c:v>
                </c:pt>
                <c:pt idx="2303">
                  <c:v>17.375025959023489</c:v>
                </c:pt>
                <c:pt idx="2304">
                  <c:v>17.375025959023489</c:v>
                </c:pt>
                <c:pt idx="2305">
                  <c:v>17.375025959023489</c:v>
                </c:pt>
                <c:pt idx="2306">
                  <c:v>17.375025959023489</c:v>
                </c:pt>
                <c:pt idx="2307">
                  <c:v>17.375025959023489</c:v>
                </c:pt>
                <c:pt idx="2308">
                  <c:v>17.375025959023489</c:v>
                </c:pt>
                <c:pt idx="2309">
                  <c:v>17.375025959023489</c:v>
                </c:pt>
                <c:pt idx="2310">
                  <c:v>17.375025959023489</c:v>
                </c:pt>
                <c:pt idx="2311">
                  <c:v>17.375025959023489</c:v>
                </c:pt>
                <c:pt idx="2312">
                  <c:v>17.375025959023489</c:v>
                </c:pt>
                <c:pt idx="2313">
                  <c:v>17.375025959023489</c:v>
                </c:pt>
                <c:pt idx="2314">
                  <c:v>17.375025959023489</c:v>
                </c:pt>
                <c:pt idx="2315">
                  <c:v>17.375025959023489</c:v>
                </c:pt>
                <c:pt idx="2316">
                  <c:v>17.375025959023489</c:v>
                </c:pt>
                <c:pt idx="2317">
                  <c:v>17.375025959023489</c:v>
                </c:pt>
                <c:pt idx="2318">
                  <c:v>17.375025959023489</c:v>
                </c:pt>
                <c:pt idx="2319">
                  <c:v>17.375025959023489</c:v>
                </c:pt>
                <c:pt idx="2320">
                  <c:v>17.375025959023489</c:v>
                </c:pt>
                <c:pt idx="2321">
                  <c:v>17.375025959023489</c:v>
                </c:pt>
                <c:pt idx="2322">
                  <c:v>17.375025959023489</c:v>
                </c:pt>
                <c:pt idx="2323">
                  <c:v>17.375025959023489</c:v>
                </c:pt>
                <c:pt idx="2324">
                  <c:v>17.375025959023489</c:v>
                </c:pt>
                <c:pt idx="2325">
                  <c:v>17.375025959023489</c:v>
                </c:pt>
                <c:pt idx="2326">
                  <c:v>17.375025959023489</c:v>
                </c:pt>
                <c:pt idx="2327">
                  <c:v>17.375025959023489</c:v>
                </c:pt>
                <c:pt idx="2328">
                  <c:v>17.375025959023489</c:v>
                </c:pt>
                <c:pt idx="2329">
                  <c:v>17.375025959023489</c:v>
                </c:pt>
                <c:pt idx="2330">
                  <c:v>17.375025959023489</c:v>
                </c:pt>
                <c:pt idx="2331">
                  <c:v>17.375025959023489</c:v>
                </c:pt>
                <c:pt idx="2332">
                  <c:v>17.375025959023489</c:v>
                </c:pt>
                <c:pt idx="2333">
                  <c:v>17.375025959023489</c:v>
                </c:pt>
                <c:pt idx="2334">
                  <c:v>17.375025959023489</c:v>
                </c:pt>
                <c:pt idx="2335">
                  <c:v>17.375025959023489</c:v>
                </c:pt>
                <c:pt idx="2336">
                  <c:v>17.375025959023489</c:v>
                </c:pt>
                <c:pt idx="2337">
                  <c:v>17.375025959023489</c:v>
                </c:pt>
                <c:pt idx="2338">
                  <c:v>17.375025959023489</c:v>
                </c:pt>
                <c:pt idx="2339">
                  <c:v>17.375025959023489</c:v>
                </c:pt>
                <c:pt idx="2340">
                  <c:v>17.375025959023489</c:v>
                </c:pt>
                <c:pt idx="2341">
                  <c:v>17.375025959023489</c:v>
                </c:pt>
                <c:pt idx="2342">
                  <c:v>17.375025959023489</c:v>
                </c:pt>
                <c:pt idx="2343">
                  <c:v>17.375025959023489</c:v>
                </c:pt>
                <c:pt idx="2344">
                  <c:v>17.375025959023489</c:v>
                </c:pt>
                <c:pt idx="2345">
                  <c:v>17.375025959023489</c:v>
                </c:pt>
                <c:pt idx="2346">
                  <c:v>17.375025959023489</c:v>
                </c:pt>
                <c:pt idx="2347">
                  <c:v>17.375025959023489</c:v>
                </c:pt>
                <c:pt idx="2348">
                  <c:v>17.375025959023489</c:v>
                </c:pt>
                <c:pt idx="2349">
                  <c:v>17.375025959023489</c:v>
                </c:pt>
                <c:pt idx="2350">
                  <c:v>17.375025959023489</c:v>
                </c:pt>
                <c:pt idx="2351">
                  <c:v>17.375025959023489</c:v>
                </c:pt>
                <c:pt idx="2352">
                  <c:v>17.375025959023489</c:v>
                </c:pt>
                <c:pt idx="2353">
                  <c:v>17.375025959023489</c:v>
                </c:pt>
                <c:pt idx="2354">
                  <c:v>17.375025959023489</c:v>
                </c:pt>
                <c:pt idx="2355">
                  <c:v>17.375025959023489</c:v>
                </c:pt>
                <c:pt idx="2356">
                  <c:v>17.375025959023489</c:v>
                </c:pt>
                <c:pt idx="2357">
                  <c:v>17.375025959023489</c:v>
                </c:pt>
                <c:pt idx="2358">
                  <c:v>17.375025959023489</c:v>
                </c:pt>
                <c:pt idx="2359">
                  <c:v>17.375025959023489</c:v>
                </c:pt>
                <c:pt idx="2360">
                  <c:v>17.375025959023489</c:v>
                </c:pt>
                <c:pt idx="2361">
                  <c:v>17.375025959023489</c:v>
                </c:pt>
                <c:pt idx="2362">
                  <c:v>17.375025959023489</c:v>
                </c:pt>
                <c:pt idx="2363">
                  <c:v>17.375025959023489</c:v>
                </c:pt>
                <c:pt idx="2364">
                  <c:v>17.375025959023489</c:v>
                </c:pt>
                <c:pt idx="2365">
                  <c:v>17.375025959023489</c:v>
                </c:pt>
                <c:pt idx="2366">
                  <c:v>17.375025959023489</c:v>
                </c:pt>
                <c:pt idx="2367">
                  <c:v>17.375025959023489</c:v>
                </c:pt>
                <c:pt idx="2368">
                  <c:v>17.375025959023489</c:v>
                </c:pt>
                <c:pt idx="2369">
                  <c:v>17.375025959023489</c:v>
                </c:pt>
                <c:pt idx="2370">
                  <c:v>17.375025959023489</c:v>
                </c:pt>
                <c:pt idx="2371">
                  <c:v>17.375025959023489</c:v>
                </c:pt>
                <c:pt idx="2372">
                  <c:v>17.375025959023489</c:v>
                </c:pt>
                <c:pt idx="2373">
                  <c:v>17.375025959023489</c:v>
                </c:pt>
                <c:pt idx="2374">
                  <c:v>17.375025959023489</c:v>
                </c:pt>
                <c:pt idx="2375">
                  <c:v>17.375025959023489</c:v>
                </c:pt>
                <c:pt idx="2376">
                  <c:v>17.375025959023489</c:v>
                </c:pt>
                <c:pt idx="2377">
                  <c:v>17.375025959023489</c:v>
                </c:pt>
                <c:pt idx="2378">
                  <c:v>17.375025959023489</c:v>
                </c:pt>
                <c:pt idx="2379">
                  <c:v>17.375025959023489</c:v>
                </c:pt>
                <c:pt idx="2380">
                  <c:v>17.375025959023489</c:v>
                </c:pt>
                <c:pt idx="2381">
                  <c:v>17.375025959023489</c:v>
                </c:pt>
                <c:pt idx="2382">
                  <c:v>17.375025959023489</c:v>
                </c:pt>
                <c:pt idx="2383">
                  <c:v>17.375025959023489</c:v>
                </c:pt>
                <c:pt idx="2384">
                  <c:v>17.375025959023489</c:v>
                </c:pt>
                <c:pt idx="2385">
                  <c:v>17.375025959023489</c:v>
                </c:pt>
                <c:pt idx="2386">
                  <c:v>17.375025959023489</c:v>
                </c:pt>
                <c:pt idx="2387">
                  <c:v>17.375025959023489</c:v>
                </c:pt>
                <c:pt idx="2388">
                  <c:v>17.375025959023489</c:v>
                </c:pt>
                <c:pt idx="2389">
                  <c:v>17.375025959023489</c:v>
                </c:pt>
                <c:pt idx="2390">
                  <c:v>17.375025959023489</c:v>
                </c:pt>
                <c:pt idx="2391">
                  <c:v>17.375025959023489</c:v>
                </c:pt>
                <c:pt idx="2392">
                  <c:v>17.375025959023489</c:v>
                </c:pt>
                <c:pt idx="2393">
                  <c:v>17.375025959023489</c:v>
                </c:pt>
                <c:pt idx="2394">
                  <c:v>17.375025959023489</c:v>
                </c:pt>
                <c:pt idx="2395">
                  <c:v>17.375025959023489</c:v>
                </c:pt>
                <c:pt idx="2396">
                  <c:v>17.375025959023489</c:v>
                </c:pt>
                <c:pt idx="2397">
                  <c:v>17.375025959023489</c:v>
                </c:pt>
                <c:pt idx="2398">
                  <c:v>17.375025959023489</c:v>
                </c:pt>
                <c:pt idx="2399">
                  <c:v>17.375025959023489</c:v>
                </c:pt>
                <c:pt idx="2400">
                  <c:v>17.375025959023489</c:v>
                </c:pt>
                <c:pt idx="2401">
                  <c:v>17.375025959023489</c:v>
                </c:pt>
                <c:pt idx="2402">
                  <c:v>17.375025959023489</c:v>
                </c:pt>
                <c:pt idx="2403">
                  <c:v>17.375025959023489</c:v>
                </c:pt>
                <c:pt idx="2404">
                  <c:v>17.375025959023489</c:v>
                </c:pt>
                <c:pt idx="2405">
                  <c:v>17.375025959023489</c:v>
                </c:pt>
                <c:pt idx="2406">
                  <c:v>17.375025959023489</c:v>
                </c:pt>
                <c:pt idx="2407">
                  <c:v>17.375025959023489</c:v>
                </c:pt>
                <c:pt idx="2408">
                  <c:v>17.375025959023489</c:v>
                </c:pt>
                <c:pt idx="2409">
                  <c:v>17.375025959023489</c:v>
                </c:pt>
                <c:pt idx="2410">
                  <c:v>17.375025959023489</c:v>
                </c:pt>
                <c:pt idx="2411">
                  <c:v>17.375025959023489</c:v>
                </c:pt>
                <c:pt idx="2412">
                  <c:v>17.375025959023489</c:v>
                </c:pt>
                <c:pt idx="2413">
                  <c:v>17.375025959023489</c:v>
                </c:pt>
                <c:pt idx="2414">
                  <c:v>17.375025959023489</c:v>
                </c:pt>
                <c:pt idx="2415">
                  <c:v>17.375025959023489</c:v>
                </c:pt>
                <c:pt idx="2416">
                  <c:v>17.375025959023489</c:v>
                </c:pt>
                <c:pt idx="2417">
                  <c:v>17.375025959023489</c:v>
                </c:pt>
                <c:pt idx="2418">
                  <c:v>17.375025959023489</c:v>
                </c:pt>
                <c:pt idx="2419">
                  <c:v>17.375025959023489</c:v>
                </c:pt>
                <c:pt idx="2420">
                  <c:v>17.375025959023489</c:v>
                </c:pt>
                <c:pt idx="2421">
                  <c:v>17.375025959023489</c:v>
                </c:pt>
                <c:pt idx="2422">
                  <c:v>17.375025959023489</c:v>
                </c:pt>
                <c:pt idx="2423">
                  <c:v>17.375025959023489</c:v>
                </c:pt>
                <c:pt idx="2424">
                  <c:v>17.375025959023489</c:v>
                </c:pt>
                <c:pt idx="2425">
                  <c:v>17.375025959023489</c:v>
                </c:pt>
                <c:pt idx="2426">
                  <c:v>17.375025959023489</c:v>
                </c:pt>
                <c:pt idx="2427">
                  <c:v>17.375025959023489</c:v>
                </c:pt>
                <c:pt idx="2428">
                  <c:v>17.375025959023489</c:v>
                </c:pt>
                <c:pt idx="2429">
                  <c:v>17.375025959023489</c:v>
                </c:pt>
                <c:pt idx="2430">
                  <c:v>17.375025959023489</c:v>
                </c:pt>
                <c:pt idx="2431">
                  <c:v>17.375025959023489</c:v>
                </c:pt>
                <c:pt idx="2432">
                  <c:v>17.375025959023489</c:v>
                </c:pt>
                <c:pt idx="2433">
                  <c:v>17.375025959023489</c:v>
                </c:pt>
                <c:pt idx="2434">
                  <c:v>17.375025959023489</c:v>
                </c:pt>
                <c:pt idx="2435">
                  <c:v>17.375025959023489</c:v>
                </c:pt>
                <c:pt idx="2436">
                  <c:v>17.375025959023489</c:v>
                </c:pt>
                <c:pt idx="2437">
                  <c:v>17.375025959023489</c:v>
                </c:pt>
                <c:pt idx="2438">
                  <c:v>17.375025959023489</c:v>
                </c:pt>
                <c:pt idx="2439">
                  <c:v>17.375025959023489</c:v>
                </c:pt>
                <c:pt idx="2440">
                  <c:v>17.375025959023489</c:v>
                </c:pt>
                <c:pt idx="2441">
                  <c:v>17.375025959023489</c:v>
                </c:pt>
                <c:pt idx="2442">
                  <c:v>17.375025959023489</c:v>
                </c:pt>
                <c:pt idx="2443">
                  <c:v>17.375025959023489</c:v>
                </c:pt>
                <c:pt idx="2444">
                  <c:v>17.375025959023489</c:v>
                </c:pt>
                <c:pt idx="2445">
                  <c:v>17.375025959023489</c:v>
                </c:pt>
                <c:pt idx="2446">
                  <c:v>17.375025959023489</c:v>
                </c:pt>
                <c:pt idx="2447">
                  <c:v>17.375025959023489</c:v>
                </c:pt>
                <c:pt idx="2448">
                  <c:v>17.375025959023489</c:v>
                </c:pt>
                <c:pt idx="2449">
                  <c:v>17.375025959023489</c:v>
                </c:pt>
                <c:pt idx="2450">
                  <c:v>17.375025959023489</c:v>
                </c:pt>
                <c:pt idx="2451">
                  <c:v>17.375025959023489</c:v>
                </c:pt>
                <c:pt idx="2452">
                  <c:v>17.375025959023489</c:v>
                </c:pt>
                <c:pt idx="2453">
                  <c:v>17.375025959023489</c:v>
                </c:pt>
                <c:pt idx="2454">
                  <c:v>17.375025959023489</c:v>
                </c:pt>
                <c:pt idx="2455">
                  <c:v>17.375025959023489</c:v>
                </c:pt>
                <c:pt idx="2456">
                  <c:v>17.375025959023489</c:v>
                </c:pt>
                <c:pt idx="2457">
                  <c:v>17.375025959023489</c:v>
                </c:pt>
                <c:pt idx="2458">
                  <c:v>17.375025959023489</c:v>
                </c:pt>
                <c:pt idx="2459">
                  <c:v>17.375025959023489</c:v>
                </c:pt>
                <c:pt idx="2460">
                  <c:v>17.375025959023489</c:v>
                </c:pt>
                <c:pt idx="2461">
                  <c:v>17.375025959023489</c:v>
                </c:pt>
                <c:pt idx="2462">
                  <c:v>17.375025959023489</c:v>
                </c:pt>
                <c:pt idx="2463">
                  <c:v>17.375025959023489</c:v>
                </c:pt>
                <c:pt idx="2464">
                  <c:v>17.375025959023489</c:v>
                </c:pt>
                <c:pt idx="2465">
                  <c:v>17.375025959023489</c:v>
                </c:pt>
                <c:pt idx="2466">
                  <c:v>17.375025959023489</c:v>
                </c:pt>
                <c:pt idx="2467">
                  <c:v>17.375025959023489</c:v>
                </c:pt>
                <c:pt idx="2468">
                  <c:v>17.375025959023489</c:v>
                </c:pt>
                <c:pt idx="2469">
                  <c:v>17.375025959023489</c:v>
                </c:pt>
                <c:pt idx="2470">
                  <c:v>17.375025959023489</c:v>
                </c:pt>
                <c:pt idx="2471">
                  <c:v>17.375025959023489</c:v>
                </c:pt>
                <c:pt idx="2472">
                  <c:v>17.375025959023489</c:v>
                </c:pt>
                <c:pt idx="2473">
                  <c:v>17.375025959023489</c:v>
                </c:pt>
                <c:pt idx="2474">
                  <c:v>17.375025959023489</c:v>
                </c:pt>
                <c:pt idx="2475">
                  <c:v>17.375025959023489</c:v>
                </c:pt>
                <c:pt idx="2476">
                  <c:v>17.375025959023489</c:v>
                </c:pt>
                <c:pt idx="2477">
                  <c:v>17.375025959023489</c:v>
                </c:pt>
                <c:pt idx="2478">
                  <c:v>17.375025959023489</c:v>
                </c:pt>
                <c:pt idx="2479">
                  <c:v>17.375025959023489</c:v>
                </c:pt>
                <c:pt idx="2480">
                  <c:v>17.375025959023489</c:v>
                </c:pt>
                <c:pt idx="2481">
                  <c:v>17.375025959023489</c:v>
                </c:pt>
                <c:pt idx="2482">
                  <c:v>17.375025959023489</c:v>
                </c:pt>
                <c:pt idx="2483">
                  <c:v>17.375025959023489</c:v>
                </c:pt>
                <c:pt idx="2484">
                  <c:v>17.375025959023489</c:v>
                </c:pt>
                <c:pt idx="2485">
                  <c:v>17.375025959023489</c:v>
                </c:pt>
                <c:pt idx="2486">
                  <c:v>17.375025959023489</c:v>
                </c:pt>
                <c:pt idx="2487">
                  <c:v>17.375025959023489</c:v>
                </c:pt>
                <c:pt idx="2488">
                  <c:v>17.375025959023489</c:v>
                </c:pt>
                <c:pt idx="2489">
                  <c:v>17.375025959023489</c:v>
                </c:pt>
                <c:pt idx="2490">
                  <c:v>17.375025959023489</c:v>
                </c:pt>
                <c:pt idx="2491">
                  <c:v>17.375025959023489</c:v>
                </c:pt>
                <c:pt idx="2492">
                  <c:v>17.375025959023489</c:v>
                </c:pt>
                <c:pt idx="2493">
                  <c:v>17.375025959023489</c:v>
                </c:pt>
                <c:pt idx="2494">
                  <c:v>17.375025959023489</c:v>
                </c:pt>
                <c:pt idx="2495">
                  <c:v>17.375025959023489</c:v>
                </c:pt>
                <c:pt idx="2496">
                  <c:v>17.375025959023489</c:v>
                </c:pt>
                <c:pt idx="2497">
                  <c:v>17.375025959023489</c:v>
                </c:pt>
                <c:pt idx="2498">
                  <c:v>17.375025959023489</c:v>
                </c:pt>
                <c:pt idx="2499">
                  <c:v>17.375025959023489</c:v>
                </c:pt>
                <c:pt idx="2500">
                  <c:v>17.375025959023489</c:v>
                </c:pt>
                <c:pt idx="2501">
                  <c:v>17.375025959023489</c:v>
                </c:pt>
                <c:pt idx="2502">
                  <c:v>17.375025959023489</c:v>
                </c:pt>
                <c:pt idx="2503">
                  <c:v>17.375025959023489</c:v>
                </c:pt>
                <c:pt idx="2504">
                  <c:v>17.375025959023489</c:v>
                </c:pt>
                <c:pt idx="2505">
                  <c:v>17.375025959023489</c:v>
                </c:pt>
                <c:pt idx="2506">
                  <c:v>17.375025959023489</c:v>
                </c:pt>
                <c:pt idx="2507">
                  <c:v>17.375025959023489</c:v>
                </c:pt>
                <c:pt idx="2508">
                  <c:v>17.375025959023489</c:v>
                </c:pt>
                <c:pt idx="2509">
                  <c:v>17.375025959023489</c:v>
                </c:pt>
                <c:pt idx="2510">
                  <c:v>17.375025959023489</c:v>
                </c:pt>
                <c:pt idx="2511">
                  <c:v>17.375025959023489</c:v>
                </c:pt>
                <c:pt idx="2512">
                  <c:v>17.375025959023489</c:v>
                </c:pt>
                <c:pt idx="2513">
                  <c:v>17.375025959023489</c:v>
                </c:pt>
                <c:pt idx="2514">
                  <c:v>17.375025959023489</c:v>
                </c:pt>
                <c:pt idx="2515">
                  <c:v>17.375025959023489</c:v>
                </c:pt>
                <c:pt idx="2516">
                  <c:v>17.375025959023489</c:v>
                </c:pt>
                <c:pt idx="2517">
                  <c:v>17.375025959023489</c:v>
                </c:pt>
                <c:pt idx="2518">
                  <c:v>17.375025959023489</c:v>
                </c:pt>
                <c:pt idx="2519">
                  <c:v>17.375025959023489</c:v>
                </c:pt>
                <c:pt idx="2520">
                  <c:v>17.375025959023489</c:v>
                </c:pt>
                <c:pt idx="2521">
                  <c:v>17.375025959023489</c:v>
                </c:pt>
                <c:pt idx="2522">
                  <c:v>17.375025959023489</c:v>
                </c:pt>
                <c:pt idx="2523">
                  <c:v>17.375025959023489</c:v>
                </c:pt>
                <c:pt idx="2524">
                  <c:v>17.375025959023489</c:v>
                </c:pt>
                <c:pt idx="2525">
                  <c:v>17.375025959023489</c:v>
                </c:pt>
                <c:pt idx="2526">
                  <c:v>17.375025959023489</c:v>
                </c:pt>
                <c:pt idx="2527">
                  <c:v>17.375025959023489</c:v>
                </c:pt>
                <c:pt idx="2528">
                  <c:v>17.375025959023489</c:v>
                </c:pt>
                <c:pt idx="2529">
                  <c:v>17.375025959023489</c:v>
                </c:pt>
                <c:pt idx="2530">
                  <c:v>17.375025959023489</c:v>
                </c:pt>
                <c:pt idx="2531">
                  <c:v>17.375025959023489</c:v>
                </c:pt>
                <c:pt idx="2532">
                  <c:v>17.375025959023489</c:v>
                </c:pt>
                <c:pt idx="2533">
                  <c:v>17.375025959023489</c:v>
                </c:pt>
                <c:pt idx="2534">
                  <c:v>17.375025959023489</c:v>
                </c:pt>
                <c:pt idx="2535">
                  <c:v>17.375025959023489</c:v>
                </c:pt>
                <c:pt idx="2536">
                  <c:v>17.375025959023489</c:v>
                </c:pt>
                <c:pt idx="2537">
                  <c:v>17.375025959023489</c:v>
                </c:pt>
                <c:pt idx="2538">
                  <c:v>17.375025959023489</c:v>
                </c:pt>
                <c:pt idx="2539">
                  <c:v>17.375025959023489</c:v>
                </c:pt>
                <c:pt idx="2540">
                  <c:v>17.375025959023489</c:v>
                </c:pt>
                <c:pt idx="2541">
                  <c:v>17.375025959023489</c:v>
                </c:pt>
                <c:pt idx="2542">
                  <c:v>17.375025959023489</c:v>
                </c:pt>
                <c:pt idx="2543">
                  <c:v>17.375025959023489</c:v>
                </c:pt>
                <c:pt idx="2544">
                  <c:v>17.375025959023489</c:v>
                </c:pt>
                <c:pt idx="2545">
                  <c:v>17.375025959023489</c:v>
                </c:pt>
                <c:pt idx="2546">
                  <c:v>17.375025959023489</c:v>
                </c:pt>
                <c:pt idx="2547">
                  <c:v>17.375025959023489</c:v>
                </c:pt>
                <c:pt idx="2548">
                  <c:v>17.375025959023489</c:v>
                </c:pt>
                <c:pt idx="2549">
                  <c:v>17.375025959023489</c:v>
                </c:pt>
                <c:pt idx="2550">
                  <c:v>17.375025959023489</c:v>
                </c:pt>
                <c:pt idx="2551">
                  <c:v>17.375025959023489</c:v>
                </c:pt>
                <c:pt idx="2552">
                  <c:v>17.375025959023489</c:v>
                </c:pt>
                <c:pt idx="2553">
                  <c:v>17.375025959023489</c:v>
                </c:pt>
                <c:pt idx="2554">
                  <c:v>17.375025959023489</c:v>
                </c:pt>
                <c:pt idx="2555">
                  <c:v>17.375025959023489</c:v>
                </c:pt>
                <c:pt idx="2556">
                  <c:v>17.375025959023489</c:v>
                </c:pt>
                <c:pt idx="2557">
                  <c:v>17.375025959023489</c:v>
                </c:pt>
                <c:pt idx="2558">
                  <c:v>17.375025959023489</c:v>
                </c:pt>
                <c:pt idx="2559">
                  <c:v>17.375025959023489</c:v>
                </c:pt>
                <c:pt idx="2560">
                  <c:v>17.375025959023489</c:v>
                </c:pt>
                <c:pt idx="2561">
                  <c:v>17.375025959023489</c:v>
                </c:pt>
                <c:pt idx="2562">
                  <c:v>17.375025959023489</c:v>
                </c:pt>
                <c:pt idx="2563">
                  <c:v>17.375025959023489</c:v>
                </c:pt>
                <c:pt idx="2564">
                  <c:v>17.375025959023489</c:v>
                </c:pt>
                <c:pt idx="2565">
                  <c:v>17.375025959023489</c:v>
                </c:pt>
                <c:pt idx="2566">
                  <c:v>17.375025959023489</c:v>
                </c:pt>
                <c:pt idx="2567">
                  <c:v>17.375025959023489</c:v>
                </c:pt>
                <c:pt idx="2568">
                  <c:v>17.375025959023489</c:v>
                </c:pt>
                <c:pt idx="2569">
                  <c:v>17.375025959023489</c:v>
                </c:pt>
                <c:pt idx="2570">
                  <c:v>17.375025959023489</c:v>
                </c:pt>
                <c:pt idx="2571">
                  <c:v>17.375025959023489</c:v>
                </c:pt>
                <c:pt idx="2572">
                  <c:v>17.375025959023489</c:v>
                </c:pt>
                <c:pt idx="2573">
                  <c:v>17.375025959023489</c:v>
                </c:pt>
                <c:pt idx="2574">
                  <c:v>17.375025959023489</c:v>
                </c:pt>
                <c:pt idx="2575">
                  <c:v>17.375025959023489</c:v>
                </c:pt>
                <c:pt idx="2576">
                  <c:v>17.375025959023489</c:v>
                </c:pt>
                <c:pt idx="2577">
                  <c:v>17.375025959023489</c:v>
                </c:pt>
                <c:pt idx="2578">
                  <c:v>17.375025959023489</c:v>
                </c:pt>
                <c:pt idx="2579">
                  <c:v>17.375025959023489</c:v>
                </c:pt>
                <c:pt idx="2580">
                  <c:v>17.375025959023489</c:v>
                </c:pt>
                <c:pt idx="2581">
                  <c:v>17.375025959023489</c:v>
                </c:pt>
                <c:pt idx="2582">
                  <c:v>17.375025959023489</c:v>
                </c:pt>
                <c:pt idx="2583">
                  <c:v>17.375025959023489</c:v>
                </c:pt>
                <c:pt idx="2584">
                  <c:v>17.375025959023489</c:v>
                </c:pt>
                <c:pt idx="2585">
                  <c:v>17.375025959023489</c:v>
                </c:pt>
                <c:pt idx="2586">
                  <c:v>17.375025959023489</c:v>
                </c:pt>
                <c:pt idx="2587">
                  <c:v>17.375025959023489</c:v>
                </c:pt>
                <c:pt idx="2588">
                  <c:v>17.375025959023489</c:v>
                </c:pt>
                <c:pt idx="2589">
                  <c:v>17.375025959023489</c:v>
                </c:pt>
                <c:pt idx="2590">
                  <c:v>17.375025959023489</c:v>
                </c:pt>
                <c:pt idx="2591">
                  <c:v>17.375025959023489</c:v>
                </c:pt>
                <c:pt idx="2592">
                  <c:v>17.375025959023489</c:v>
                </c:pt>
                <c:pt idx="2593">
                  <c:v>17.375025959023489</c:v>
                </c:pt>
                <c:pt idx="2594">
                  <c:v>17.375025959023489</c:v>
                </c:pt>
                <c:pt idx="2595">
                  <c:v>17.375025959023489</c:v>
                </c:pt>
                <c:pt idx="2596">
                  <c:v>17.375025959023489</c:v>
                </c:pt>
                <c:pt idx="2597">
                  <c:v>17.375025959023489</c:v>
                </c:pt>
                <c:pt idx="2598">
                  <c:v>17.375025959023489</c:v>
                </c:pt>
                <c:pt idx="2599">
                  <c:v>17.375025959023489</c:v>
                </c:pt>
                <c:pt idx="2600">
                  <c:v>17.375025959023489</c:v>
                </c:pt>
                <c:pt idx="2601">
                  <c:v>17.375025959023489</c:v>
                </c:pt>
                <c:pt idx="2602">
                  <c:v>17.375025959023489</c:v>
                </c:pt>
                <c:pt idx="2603">
                  <c:v>17.375025959023489</c:v>
                </c:pt>
                <c:pt idx="2604">
                  <c:v>17.375025959023489</c:v>
                </c:pt>
                <c:pt idx="2605">
                  <c:v>17.375025959023489</c:v>
                </c:pt>
                <c:pt idx="2606">
                  <c:v>17.375025959023489</c:v>
                </c:pt>
                <c:pt idx="2607">
                  <c:v>17.375025959023489</c:v>
                </c:pt>
                <c:pt idx="2608">
                  <c:v>17.375025959023489</c:v>
                </c:pt>
                <c:pt idx="2609">
                  <c:v>17.375025959023489</c:v>
                </c:pt>
                <c:pt idx="2610">
                  <c:v>17.375025959023489</c:v>
                </c:pt>
                <c:pt idx="2611">
                  <c:v>17.375025959023489</c:v>
                </c:pt>
                <c:pt idx="2612">
                  <c:v>17.375025959023489</c:v>
                </c:pt>
                <c:pt idx="2613">
                  <c:v>17.375025959023489</c:v>
                </c:pt>
                <c:pt idx="2614">
                  <c:v>17.375025959023489</c:v>
                </c:pt>
                <c:pt idx="2615">
                  <c:v>17.375025959023489</c:v>
                </c:pt>
                <c:pt idx="2616">
                  <c:v>17.375025959023489</c:v>
                </c:pt>
                <c:pt idx="2617">
                  <c:v>17.375025959023489</c:v>
                </c:pt>
                <c:pt idx="2618">
                  <c:v>17.375025959023489</c:v>
                </c:pt>
                <c:pt idx="2619">
                  <c:v>17.375025959023489</c:v>
                </c:pt>
                <c:pt idx="2620">
                  <c:v>17.375025959023489</c:v>
                </c:pt>
                <c:pt idx="2621">
                  <c:v>17.375025959023489</c:v>
                </c:pt>
                <c:pt idx="2622">
                  <c:v>17.375025959023489</c:v>
                </c:pt>
                <c:pt idx="2623">
                  <c:v>17.375025959023489</c:v>
                </c:pt>
                <c:pt idx="2624">
                  <c:v>17.375025959023489</c:v>
                </c:pt>
                <c:pt idx="2625">
                  <c:v>17.375025959023489</c:v>
                </c:pt>
                <c:pt idx="2626">
                  <c:v>17.375025959023489</c:v>
                </c:pt>
                <c:pt idx="2627">
                  <c:v>17.375025959023489</c:v>
                </c:pt>
                <c:pt idx="2628">
                  <c:v>17.375025959023489</c:v>
                </c:pt>
                <c:pt idx="2629">
                  <c:v>17.375025959023489</c:v>
                </c:pt>
                <c:pt idx="2630">
                  <c:v>17.375025959023489</c:v>
                </c:pt>
                <c:pt idx="2631">
                  <c:v>17.375025959023489</c:v>
                </c:pt>
                <c:pt idx="2632">
                  <c:v>17.375025959023489</c:v>
                </c:pt>
                <c:pt idx="2633">
                  <c:v>17.375025959023489</c:v>
                </c:pt>
                <c:pt idx="2634">
                  <c:v>17.375025959023489</c:v>
                </c:pt>
                <c:pt idx="2635">
                  <c:v>17.375025959023489</c:v>
                </c:pt>
                <c:pt idx="2636">
                  <c:v>17.375025959023489</c:v>
                </c:pt>
                <c:pt idx="2637">
                  <c:v>17.375025959023489</c:v>
                </c:pt>
                <c:pt idx="2638">
                  <c:v>17.375025959023489</c:v>
                </c:pt>
                <c:pt idx="2639">
                  <c:v>17.375025959023489</c:v>
                </c:pt>
                <c:pt idx="2640">
                  <c:v>17.375025959023489</c:v>
                </c:pt>
                <c:pt idx="2641">
                  <c:v>17.375025959023489</c:v>
                </c:pt>
                <c:pt idx="2642">
                  <c:v>17.375025959023489</c:v>
                </c:pt>
                <c:pt idx="2643">
                  <c:v>17.375025959023489</c:v>
                </c:pt>
                <c:pt idx="2644">
                  <c:v>17.375025959023489</c:v>
                </c:pt>
                <c:pt idx="2645">
                  <c:v>17.375025959023489</c:v>
                </c:pt>
                <c:pt idx="2646">
                  <c:v>17.375025959023489</c:v>
                </c:pt>
                <c:pt idx="2647">
                  <c:v>17.375025959023489</c:v>
                </c:pt>
                <c:pt idx="2648">
                  <c:v>17.375025959023489</c:v>
                </c:pt>
                <c:pt idx="2649">
                  <c:v>17.375025959023489</c:v>
                </c:pt>
                <c:pt idx="2650">
                  <c:v>17.375025959023489</c:v>
                </c:pt>
                <c:pt idx="2651">
                  <c:v>17.375025959023489</c:v>
                </c:pt>
                <c:pt idx="2652">
                  <c:v>17.375025959023489</c:v>
                </c:pt>
                <c:pt idx="2653">
                  <c:v>17.375025959023489</c:v>
                </c:pt>
                <c:pt idx="2654">
                  <c:v>17.375025959023489</c:v>
                </c:pt>
                <c:pt idx="2655">
                  <c:v>17.375025959023489</c:v>
                </c:pt>
                <c:pt idx="2656">
                  <c:v>17.375025959023489</c:v>
                </c:pt>
                <c:pt idx="2657">
                  <c:v>17.375025959023489</c:v>
                </c:pt>
                <c:pt idx="2658">
                  <c:v>17.375025959023489</c:v>
                </c:pt>
                <c:pt idx="2659">
                  <c:v>17.375025959023489</c:v>
                </c:pt>
                <c:pt idx="2660">
                  <c:v>17.375025959023489</c:v>
                </c:pt>
                <c:pt idx="2661">
                  <c:v>17.375025959023489</c:v>
                </c:pt>
                <c:pt idx="2662">
                  <c:v>17.375025959023489</c:v>
                </c:pt>
                <c:pt idx="2663">
                  <c:v>17.375025959023489</c:v>
                </c:pt>
                <c:pt idx="2664">
                  <c:v>17.375025959023489</c:v>
                </c:pt>
                <c:pt idx="2665">
                  <c:v>17.375025959023489</c:v>
                </c:pt>
                <c:pt idx="2666">
                  <c:v>17.375025959023489</c:v>
                </c:pt>
                <c:pt idx="2667">
                  <c:v>17.375025959023489</c:v>
                </c:pt>
                <c:pt idx="2668">
                  <c:v>17.375025959023489</c:v>
                </c:pt>
                <c:pt idx="2669">
                  <c:v>17.375025959023489</c:v>
                </c:pt>
                <c:pt idx="2670">
                  <c:v>17.375025959023489</c:v>
                </c:pt>
                <c:pt idx="2671">
                  <c:v>17.375025959023489</c:v>
                </c:pt>
                <c:pt idx="2672">
                  <c:v>17.375025959023489</c:v>
                </c:pt>
                <c:pt idx="2673">
                  <c:v>17.375025959023489</c:v>
                </c:pt>
                <c:pt idx="2674">
                  <c:v>17.375025959023489</c:v>
                </c:pt>
                <c:pt idx="2675">
                  <c:v>17.375025959023489</c:v>
                </c:pt>
                <c:pt idx="2676">
                  <c:v>17.375025959023489</c:v>
                </c:pt>
                <c:pt idx="2677">
                  <c:v>17.375025959023489</c:v>
                </c:pt>
                <c:pt idx="2678">
                  <c:v>17.375025959023489</c:v>
                </c:pt>
                <c:pt idx="2679">
                  <c:v>17.375025959023489</c:v>
                </c:pt>
                <c:pt idx="2680">
                  <c:v>17.375025959023489</c:v>
                </c:pt>
                <c:pt idx="2681">
                  <c:v>17.375025959023489</c:v>
                </c:pt>
                <c:pt idx="2682">
                  <c:v>17.375025959023489</c:v>
                </c:pt>
                <c:pt idx="2683">
                  <c:v>17.375025959023489</c:v>
                </c:pt>
                <c:pt idx="2684">
                  <c:v>17.375025959023489</c:v>
                </c:pt>
                <c:pt idx="2685">
                  <c:v>17.375025959023489</c:v>
                </c:pt>
                <c:pt idx="2686">
                  <c:v>17.375025959023489</c:v>
                </c:pt>
                <c:pt idx="2687">
                  <c:v>17.375025959023489</c:v>
                </c:pt>
                <c:pt idx="2688">
                  <c:v>17.375025959023489</c:v>
                </c:pt>
                <c:pt idx="2689">
                  <c:v>17.375025959023489</c:v>
                </c:pt>
                <c:pt idx="2690">
                  <c:v>17.375025959023489</c:v>
                </c:pt>
                <c:pt idx="2691">
                  <c:v>17.375025959023489</c:v>
                </c:pt>
                <c:pt idx="2692">
                  <c:v>17.375025959023489</c:v>
                </c:pt>
                <c:pt idx="2693">
                  <c:v>17.375025959023489</c:v>
                </c:pt>
                <c:pt idx="2694">
                  <c:v>17.375025959023489</c:v>
                </c:pt>
                <c:pt idx="2695">
                  <c:v>17.375025959023489</c:v>
                </c:pt>
                <c:pt idx="2696">
                  <c:v>17.375025959023489</c:v>
                </c:pt>
                <c:pt idx="2697">
                  <c:v>17.375025959023489</c:v>
                </c:pt>
                <c:pt idx="2698">
                  <c:v>17.375025959023489</c:v>
                </c:pt>
                <c:pt idx="2699">
                  <c:v>17.375025959023489</c:v>
                </c:pt>
                <c:pt idx="2700">
                  <c:v>17.375025959023489</c:v>
                </c:pt>
                <c:pt idx="2701">
                  <c:v>17.375025959023489</c:v>
                </c:pt>
                <c:pt idx="2702">
                  <c:v>17.375025959023489</c:v>
                </c:pt>
                <c:pt idx="2703">
                  <c:v>17.375025959023489</c:v>
                </c:pt>
                <c:pt idx="2704">
                  <c:v>17.375025959023489</c:v>
                </c:pt>
                <c:pt idx="2705">
                  <c:v>17.375025959023489</c:v>
                </c:pt>
                <c:pt idx="2706">
                  <c:v>17.375025959023489</c:v>
                </c:pt>
                <c:pt idx="2707">
                  <c:v>17.375025959023489</c:v>
                </c:pt>
                <c:pt idx="2708">
                  <c:v>17.375025959023489</c:v>
                </c:pt>
                <c:pt idx="2709">
                  <c:v>17.375025959023489</c:v>
                </c:pt>
                <c:pt idx="2710">
                  <c:v>17.375025959023489</c:v>
                </c:pt>
                <c:pt idx="2711">
                  <c:v>17.375025959023489</c:v>
                </c:pt>
                <c:pt idx="2712">
                  <c:v>17.375025959023489</c:v>
                </c:pt>
                <c:pt idx="2713">
                  <c:v>17.375025959023489</c:v>
                </c:pt>
                <c:pt idx="2714">
                  <c:v>17.375025959023489</c:v>
                </c:pt>
                <c:pt idx="2715">
                  <c:v>17.375025959023489</c:v>
                </c:pt>
                <c:pt idx="2716">
                  <c:v>17.375025959023489</c:v>
                </c:pt>
                <c:pt idx="2717">
                  <c:v>17.375025959023489</c:v>
                </c:pt>
                <c:pt idx="2718">
                  <c:v>17.375025959023489</c:v>
                </c:pt>
                <c:pt idx="2719">
                  <c:v>17.375025959023489</c:v>
                </c:pt>
                <c:pt idx="2720">
                  <c:v>17.375025959023489</c:v>
                </c:pt>
                <c:pt idx="2721">
                  <c:v>17.375025959023489</c:v>
                </c:pt>
                <c:pt idx="2722">
                  <c:v>17.375025959023489</c:v>
                </c:pt>
                <c:pt idx="2723">
                  <c:v>17.375025959023489</c:v>
                </c:pt>
                <c:pt idx="2724">
                  <c:v>17.375025959023489</c:v>
                </c:pt>
                <c:pt idx="2725">
                  <c:v>17.375025959023489</c:v>
                </c:pt>
                <c:pt idx="2726">
                  <c:v>17.375025959023489</c:v>
                </c:pt>
                <c:pt idx="2727">
                  <c:v>17.375025959023489</c:v>
                </c:pt>
                <c:pt idx="2728">
                  <c:v>17.375025959023489</c:v>
                </c:pt>
                <c:pt idx="2729">
                  <c:v>17.375025959023489</c:v>
                </c:pt>
                <c:pt idx="2730">
                  <c:v>17.375025959023489</c:v>
                </c:pt>
                <c:pt idx="2731">
                  <c:v>17.375025959023489</c:v>
                </c:pt>
                <c:pt idx="2732">
                  <c:v>17.375025959023489</c:v>
                </c:pt>
                <c:pt idx="2733">
                  <c:v>17.375025959023489</c:v>
                </c:pt>
                <c:pt idx="2734">
                  <c:v>17.375025959023489</c:v>
                </c:pt>
                <c:pt idx="2735">
                  <c:v>17.375025959023489</c:v>
                </c:pt>
                <c:pt idx="2736">
                  <c:v>17.375025959023489</c:v>
                </c:pt>
                <c:pt idx="2737">
                  <c:v>17.375025959023489</c:v>
                </c:pt>
                <c:pt idx="2738">
                  <c:v>17.375025959023489</c:v>
                </c:pt>
                <c:pt idx="2739">
                  <c:v>17.375025959023489</c:v>
                </c:pt>
                <c:pt idx="2740">
                  <c:v>17.375025959023489</c:v>
                </c:pt>
                <c:pt idx="2741">
                  <c:v>17.375025959023489</c:v>
                </c:pt>
                <c:pt idx="2742">
                  <c:v>17.375025959023489</c:v>
                </c:pt>
                <c:pt idx="2743">
                  <c:v>17.375025959023489</c:v>
                </c:pt>
                <c:pt idx="2744">
                  <c:v>17.375025959023489</c:v>
                </c:pt>
                <c:pt idx="2745">
                  <c:v>17.375025959023489</c:v>
                </c:pt>
                <c:pt idx="2746">
                  <c:v>17.375025959023489</c:v>
                </c:pt>
                <c:pt idx="2747">
                  <c:v>17.375025959023489</c:v>
                </c:pt>
                <c:pt idx="2748">
                  <c:v>17.375025959023489</c:v>
                </c:pt>
                <c:pt idx="2749">
                  <c:v>17.375025959023489</c:v>
                </c:pt>
                <c:pt idx="2750">
                  <c:v>17.375025959023489</c:v>
                </c:pt>
                <c:pt idx="2751">
                  <c:v>17.375025959023489</c:v>
                </c:pt>
                <c:pt idx="2752">
                  <c:v>17.375025959023489</c:v>
                </c:pt>
                <c:pt idx="2753">
                  <c:v>17.375025959023489</c:v>
                </c:pt>
                <c:pt idx="2754">
                  <c:v>17.375025959023489</c:v>
                </c:pt>
                <c:pt idx="2755">
                  <c:v>17.375025959023489</c:v>
                </c:pt>
                <c:pt idx="2756">
                  <c:v>17.375025959023489</c:v>
                </c:pt>
                <c:pt idx="2757">
                  <c:v>17.375025959023489</c:v>
                </c:pt>
                <c:pt idx="2758">
                  <c:v>17.375025959023489</c:v>
                </c:pt>
                <c:pt idx="2759">
                  <c:v>17.375025959023489</c:v>
                </c:pt>
                <c:pt idx="2760">
                  <c:v>17.375025959023489</c:v>
                </c:pt>
                <c:pt idx="2761">
                  <c:v>17.375025959023489</c:v>
                </c:pt>
                <c:pt idx="2762">
                  <c:v>17.375025959023489</c:v>
                </c:pt>
                <c:pt idx="2763">
                  <c:v>17.375025959023489</c:v>
                </c:pt>
                <c:pt idx="2764">
                  <c:v>17.375025959023489</c:v>
                </c:pt>
                <c:pt idx="2765">
                  <c:v>17.375025959023489</c:v>
                </c:pt>
                <c:pt idx="2766">
                  <c:v>17.375025959023489</c:v>
                </c:pt>
                <c:pt idx="2767">
                  <c:v>17.375025959023489</c:v>
                </c:pt>
                <c:pt idx="2768">
                  <c:v>17.375025959023489</c:v>
                </c:pt>
                <c:pt idx="2769">
                  <c:v>17.375025959023489</c:v>
                </c:pt>
                <c:pt idx="2770">
                  <c:v>17.375025959023489</c:v>
                </c:pt>
                <c:pt idx="2771">
                  <c:v>17.375025959023489</c:v>
                </c:pt>
                <c:pt idx="2772">
                  <c:v>17.375025959023489</c:v>
                </c:pt>
                <c:pt idx="2773">
                  <c:v>17.375025959023489</c:v>
                </c:pt>
                <c:pt idx="2774">
                  <c:v>17.375025959023489</c:v>
                </c:pt>
                <c:pt idx="2775">
                  <c:v>17.375025959023489</c:v>
                </c:pt>
                <c:pt idx="2776">
                  <c:v>17.375025959023489</c:v>
                </c:pt>
                <c:pt idx="2777">
                  <c:v>17.375025959023489</c:v>
                </c:pt>
                <c:pt idx="2778">
                  <c:v>17.375025959023489</c:v>
                </c:pt>
                <c:pt idx="2779">
                  <c:v>17.375025959023489</c:v>
                </c:pt>
                <c:pt idx="2780">
                  <c:v>17.375025959023489</c:v>
                </c:pt>
                <c:pt idx="2781">
                  <c:v>17.375025959023489</c:v>
                </c:pt>
                <c:pt idx="2782">
                  <c:v>17.375025959023489</c:v>
                </c:pt>
                <c:pt idx="2783">
                  <c:v>17.375025959023489</c:v>
                </c:pt>
                <c:pt idx="2784">
                  <c:v>17.375025959023489</c:v>
                </c:pt>
                <c:pt idx="2785">
                  <c:v>17.375025959023489</c:v>
                </c:pt>
                <c:pt idx="2786">
                  <c:v>17.375025959023489</c:v>
                </c:pt>
                <c:pt idx="2787">
                  <c:v>17.375025959023489</c:v>
                </c:pt>
                <c:pt idx="2788">
                  <c:v>17.375025959023489</c:v>
                </c:pt>
                <c:pt idx="2789">
                  <c:v>17.375025959023489</c:v>
                </c:pt>
                <c:pt idx="2790">
                  <c:v>17.375025959023489</c:v>
                </c:pt>
                <c:pt idx="2791">
                  <c:v>17.375025959023489</c:v>
                </c:pt>
                <c:pt idx="2792">
                  <c:v>17.375025959023489</c:v>
                </c:pt>
                <c:pt idx="2793">
                  <c:v>17.375025959023489</c:v>
                </c:pt>
                <c:pt idx="2794">
                  <c:v>17.375025959023489</c:v>
                </c:pt>
                <c:pt idx="2795">
                  <c:v>17.375025959023489</c:v>
                </c:pt>
                <c:pt idx="2796">
                  <c:v>17.375025959023489</c:v>
                </c:pt>
                <c:pt idx="2797">
                  <c:v>17.375025959023489</c:v>
                </c:pt>
                <c:pt idx="2798">
                  <c:v>17.375025959023489</c:v>
                </c:pt>
                <c:pt idx="2799">
                  <c:v>17.375025959023489</c:v>
                </c:pt>
                <c:pt idx="2800">
                  <c:v>17.375025959023489</c:v>
                </c:pt>
                <c:pt idx="2801">
                  <c:v>17.375025959023489</c:v>
                </c:pt>
                <c:pt idx="2802">
                  <c:v>17.375025959023489</c:v>
                </c:pt>
                <c:pt idx="2803">
                  <c:v>17.375025959023489</c:v>
                </c:pt>
                <c:pt idx="2804">
                  <c:v>17.375025959023489</c:v>
                </c:pt>
                <c:pt idx="2805">
                  <c:v>17.375025959023489</c:v>
                </c:pt>
                <c:pt idx="2806">
                  <c:v>17.375025959023489</c:v>
                </c:pt>
                <c:pt idx="2807">
                  <c:v>17.375025959023489</c:v>
                </c:pt>
                <c:pt idx="2808">
                  <c:v>17.375025959023489</c:v>
                </c:pt>
                <c:pt idx="2809">
                  <c:v>17.375025959023489</c:v>
                </c:pt>
                <c:pt idx="2810">
                  <c:v>17.375025959023489</c:v>
                </c:pt>
                <c:pt idx="2811">
                  <c:v>17.375025959023489</c:v>
                </c:pt>
                <c:pt idx="2812">
                  <c:v>17.375025959023489</c:v>
                </c:pt>
                <c:pt idx="2813">
                  <c:v>17.375025959023489</c:v>
                </c:pt>
                <c:pt idx="2814">
                  <c:v>17.375025959023489</c:v>
                </c:pt>
                <c:pt idx="2815">
                  <c:v>17.375025959023489</c:v>
                </c:pt>
                <c:pt idx="2816">
                  <c:v>17.375025959023489</c:v>
                </c:pt>
                <c:pt idx="2817">
                  <c:v>17.375025959023489</c:v>
                </c:pt>
                <c:pt idx="2818">
                  <c:v>17.375025959023489</c:v>
                </c:pt>
                <c:pt idx="2819">
                  <c:v>17.375025959023489</c:v>
                </c:pt>
                <c:pt idx="2820">
                  <c:v>17.375025959023489</c:v>
                </c:pt>
                <c:pt idx="2821">
                  <c:v>17.375025959023489</c:v>
                </c:pt>
                <c:pt idx="2822">
                  <c:v>17.375025959023489</c:v>
                </c:pt>
                <c:pt idx="2823">
                  <c:v>17.375025959023489</c:v>
                </c:pt>
                <c:pt idx="2824">
                  <c:v>17.375025959023489</c:v>
                </c:pt>
                <c:pt idx="2825">
                  <c:v>17.375025959023489</c:v>
                </c:pt>
                <c:pt idx="2826">
                  <c:v>17.375025959023489</c:v>
                </c:pt>
                <c:pt idx="2827">
                  <c:v>17.375025959023489</c:v>
                </c:pt>
                <c:pt idx="2828">
                  <c:v>17.375025959023489</c:v>
                </c:pt>
                <c:pt idx="2829">
                  <c:v>17.375025959023489</c:v>
                </c:pt>
                <c:pt idx="2830">
                  <c:v>17.375025959023489</c:v>
                </c:pt>
                <c:pt idx="2831">
                  <c:v>17.375025959023489</c:v>
                </c:pt>
                <c:pt idx="2832">
                  <c:v>17.375025959023489</c:v>
                </c:pt>
                <c:pt idx="2833">
                  <c:v>17.375025959023489</c:v>
                </c:pt>
                <c:pt idx="2834">
                  <c:v>17.375025959023489</c:v>
                </c:pt>
                <c:pt idx="2835">
                  <c:v>17.375025959023489</c:v>
                </c:pt>
                <c:pt idx="2836">
                  <c:v>17.375025959023489</c:v>
                </c:pt>
                <c:pt idx="2837">
                  <c:v>17.375025959023489</c:v>
                </c:pt>
                <c:pt idx="2838">
                  <c:v>17.375025959023489</c:v>
                </c:pt>
                <c:pt idx="2839">
                  <c:v>17.375025959023489</c:v>
                </c:pt>
                <c:pt idx="2840">
                  <c:v>17.375025959023489</c:v>
                </c:pt>
                <c:pt idx="2841">
                  <c:v>17.375025959023489</c:v>
                </c:pt>
                <c:pt idx="2842">
                  <c:v>17.375025959023489</c:v>
                </c:pt>
                <c:pt idx="2843">
                  <c:v>17.375025959023489</c:v>
                </c:pt>
                <c:pt idx="2844">
                  <c:v>17.375025959023489</c:v>
                </c:pt>
                <c:pt idx="2845">
                  <c:v>17.375025959023489</c:v>
                </c:pt>
                <c:pt idx="2846">
                  <c:v>17.375025959023489</c:v>
                </c:pt>
                <c:pt idx="2847">
                  <c:v>17.375025959023489</c:v>
                </c:pt>
                <c:pt idx="2848">
                  <c:v>17.375025959023489</c:v>
                </c:pt>
                <c:pt idx="2849">
                  <c:v>17.375025959023489</c:v>
                </c:pt>
                <c:pt idx="2850">
                  <c:v>17.375025959023489</c:v>
                </c:pt>
                <c:pt idx="2851">
                  <c:v>17.375025959023489</c:v>
                </c:pt>
                <c:pt idx="2852">
                  <c:v>17.375025959023489</c:v>
                </c:pt>
                <c:pt idx="2853">
                  <c:v>17.375025959023489</c:v>
                </c:pt>
                <c:pt idx="2854">
                  <c:v>17.375025959023489</c:v>
                </c:pt>
                <c:pt idx="2855">
                  <c:v>17.375025959023489</c:v>
                </c:pt>
                <c:pt idx="2856">
                  <c:v>17.375025959023489</c:v>
                </c:pt>
                <c:pt idx="2857">
                  <c:v>17.375025959023489</c:v>
                </c:pt>
                <c:pt idx="2858">
                  <c:v>17.375025959023489</c:v>
                </c:pt>
                <c:pt idx="2859">
                  <c:v>17.375025959023489</c:v>
                </c:pt>
                <c:pt idx="2860">
                  <c:v>17.375025959023489</c:v>
                </c:pt>
                <c:pt idx="2861">
                  <c:v>17.375025959023489</c:v>
                </c:pt>
                <c:pt idx="2862">
                  <c:v>17.375025959023489</c:v>
                </c:pt>
                <c:pt idx="2863">
                  <c:v>17.375025959023489</c:v>
                </c:pt>
                <c:pt idx="2864">
                  <c:v>17.375025959023489</c:v>
                </c:pt>
                <c:pt idx="2865">
                  <c:v>17.375025959023489</c:v>
                </c:pt>
                <c:pt idx="2866">
                  <c:v>17.375025959023489</c:v>
                </c:pt>
                <c:pt idx="2867">
                  <c:v>17.375025959023489</c:v>
                </c:pt>
                <c:pt idx="2868">
                  <c:v>17.375025959023489</c:v>
                </c:pt>
                <c:pt idx="2869">
                  <c:v>17.375025959023489</c:v>
                </c:pt>
                <c:pt idx="2870">
                  <c:v>17.375025959023489</c:v>
                </c:pt>
                <c:pt idx="2871">
                  <c:v>17.375025959023489</c:v>
                </c:pt>
                <c:pt idx="2872">
                  <c:v>17.375025959023489</c:v>
                </c:pt>
                <c:pt idx="2873">
                  <c:v>17.375025959023489</c:v>
                </c:pt>
                <c:pt idx="2874">
                  <c:v>17.375025959023489</c:v>
                </c:pt>
                <c:pt idx="2875">
                  <c:v>17.375025959023489</c:v>
                </c:pt>
                <c:pt idx="2876">
                  <c:v>17.375025959023489</c:v>
                </c:pt>
                <c:pt idx="2877">
                  <c:v>17.375025959023489</c:v>
                </c:pt>
                <c:pt idx="2878">
                  <c:v>17.375025959023489</c:v>
                </c:pt>
                <c:pt idx="2879">
                  <c:v>17.375025959023489</c:v>
                </c:pt>
                <c:pt idx="2880">
                  <c:v>17.375025959023489</c:v>
                </c:pt>
                <c:pt idx="2881">
                  <c:v>17.375025959023489</c:v>
                </c:pt>
                <c:pt idx="2882">
                  <c:v>17.375025959023489</c:v>
                </c:pt>
                <c:pt idx="2883">
                  <c:v>17.375025959023489</c:v>
                </c:pt>
                <c:pt idx="2884">
                  <c:v>17.375025959023489</c:v>
                </c:pt>
                <c:pt idx="2885">
                  <c:v>17.375025959023489</c:v>
                </c:pt>
                <c:pt idx="2886">
                  <c:v>17.375025959023489</c:v>
                </c:pt>
                <c:pt idx="2887">
                  <c:v>17.375025959023489</c:v>
                </c:pt>
                <c:pt idx="2888">
                  <c:v>17.375025959023489</c:v>
                </c:pt>
                <c:pt idx="2889">
                  <c:v>17.375025959023489</c:v>
                </c:pt>
                <c:pt idx="2890">
                  <c:v>17.375025959023489</c:v>
                </c:pt>
                <c:pt idx="2891">
                  <c:v>17.375025959023489</c:v>
                </c:pt>
                <c:pt idx="2892">
                  <c:v>17.375025959023489</c:v>
                </c:pt>
                <c:pt idx="2893">
                  <c:v>17.375025959023489</c:v>
                </c:pt>
                <c:pt idx="2894">
                  <c:v>17.375025959023489</c:v>
                </c:pt>
                <c:pt idx="2895">
                  <c:v>17.375025959023489</c:v>
                </c:pt>
                <c:pt idx="2896">
                  <c:v>17.375025959023489</c:v>
                </c:pt>
                <c:pt idx="2897">
                  <c:v>17.375025959023489</c:v>
                </c:pt>
                <c:pt idx="2898">
                  <c:v>17.375025959023489</c:v>
                </c:pt>
                <c:pt idx="2899">
                  <c:v>17.375025959023489</c:v>
                </c:pt>
                <c:pt idx="2900">
                  <c:v>17.375025959023489</c:v>
                </c:pt>
                <c:pt idx="2901">
                  <c:v>17.375025959023489</c:v>
                </c:pt>
                <c:pt idx="2902">
                  <c:v>17.375025959023489</c:v>
                </c:pt>
                <c:pt idx="2903">
                  <c:v>17.375025959023489</c:v>
                </c:pt>
                <c:pt idx="2904">
                  <c:v>17.375025959023489</c:v>
                </c:pt>
                <c:pt idx="2905">
                  <c:v>17.375025959023489</c:v>
                </c:pt>
                <c:pt idx="2906">
                  <c:v>17.375025959023489</c:v>
                </c:pt>
                <c:pt idx="2907">
                  <c:v>17.375025959023489</c:v>
                </c:pt>
                <c:pt idx="2908">
                  <c:v>17.375025959023489</c:v>
                </c:pt>
                <c:pt idx="2909">
                  <c:v>17.375025959023489</c:v>
                </c:pt>
                <c:pt idx="2910">
                  <c:v>17.375025959023489</c:v>
                </c:pt>
                <c:pt idx="2911">
                  <c:v>17.375025959023489</c:v>
                </c:pt>
                <c:pt idx="2912">
                  <c:v>17.375025959023489</c:v>
                </c:pt>
                <c:pt idx="2913">
                  <c:v>17.375025959023489</c:v>
                </c:pt>
                <c:pt idx="2914">
                  <c:v>17.375025959023489</c:v>
                </c:pt>
                <c:pt idx="2915">
                  <c:v>17.375025959023489</c:v>
                </c:pt>
                <c:pt idx="2916">
                  <c:v>17.375025959023489</c:v>
                </c:pt>
                <c:pt idx="2917">
                  <c:v>17.375025959023489</c:v>
                </c:pt>
                <c:pt idx="2918">
                  <c:v>17.375025959023489</c:v>
                </c:pt>
                <c:pt idx="2919">
                  <c:v>17.375025959023489</c:v>
                </c:pt>
                <c:pt idx="2920">
                  <c:v>17.375025959023489</c:v>
                </c:pt>
                <c:pt idx="2921">
                  <c:v>17.375025959023489</c:v>
                </c:pt>
                <c:pt idx="2922">
                  <c:v>17.375025959023489</c:v>
                </c:pt>
                <c:pt idx="2923">
                  <c:v>17.375025959023489</c:v>
                </c:pt>
                <c:pt idx="2924">
                  <c:v>17.375025959023489</c:v>
                </c:pt>
                <c:pt idx="2925">
                  <c:v>17.375025959023489</c:v>
                </c:pt>
                <c:pt idx="2926">
                  <c:v>17.375025959023489</c:v>
                </c:pt>
                <c:pt idx="2927">
                  <c:v>17.375025959023489</c:v>
                </c:pt>
                <c:pt idx="2928">
                  <c:v>17.375025959023489</c:v>
                </c:pt>
                <c:pt idx="2929">
                  <c:v>17.375025959023489</c:v>
                </c:pt>
                <c:pt idx="2930">
                  <c:v>17.375025959023489</c:v>
                </c:pt>
                <c:pt idx="2931">
                  <c:v>17.375025959023489</c:v>
                </c:pt>
                <c:pt idx="2932">
                  <c:v>17.375025959023489</c:v>
                </c:pt>
                <c:pt idx="2933">
                  <c:v>17.375025959023489</c:v>
                </c:pt>
                <c:pt idx="2934">
                  <c:v>17.375025959023489</c:v>
                </c:pt>
                <c:pt idx="2935">
                  <c:v>17.375025959023489</c:v>
                </c:pt>
                <c:pt idx="2936">
                  <c:v>17.375025959023489</c:v>
                </c:pt>
                <c:pt idx="2937">
                  <c:v>17.375025959023489</c:v>
                </c:pt>
                <c:pt idx="2938">
                  <c:v>17.375025959023489</c:v>
                </c:pt>
                <c:pt idx="2939">
                  <c:v>17.375025959023489</c:v>
                </c:pt>
                <c:pt idx="2940">
                  <c:v>17.375025959023489</c:v>
                </c:pt>
                <c:pt idx="2941">
                  <c:v>17.375025959023489</c:v>
                </c:pt>
                <c:pt idx="2942">
                  <c:v>17.375025959023489</c:v>
                </c:pt>
                <c:pt idx="2943">
                  <c:v>17.375025959023489</c:v>
                </c:pt>
                <c:pt idx="2944">
                  <c:v>17.375025959023489</c:v>
                </c:pt>
                <c:pt idx="2945">
                  <c:v>17.375025959023489</c:v>
                </c:pt>
                <c:pt idx="2946">
                  <c:v>17.375025959023489</c:v>
                </c:pt>
                <c:pt idx="2947">
                  <c:v>17.375025959023489</c:v>
                </c:pt>
                <c:pt idx="2948">
                  <c:v>17.375025959023489</c:v>
                </c:pt>
                <c:pt idx="2949">
                  <c:v>17.375025959023489</c:v>
                </c:pt>
                <c:pt idx="2950">
                  <c:v>17.375025959023489</c:v>
                </c:pt>
                <c:pt idx="2951">
                  <c:v>17.375025959023489</c:v>
                </c:pt>
                <c:pt idx="2952">
                  <c:v>17.375025959023489</c:v>
                </c:pt>
                <c:pt idx="2953">
                  <c:v>17.375025959023489</c:v>
                </c:pt>
                <c:pt idx="2954">
                  <c:v>17.375025959023489</c:v>
                </c:pt>
                <c:pt idx="2955">
                  <c:v>17.375025959023489</c:v>
                </c:pt>
                <c:pt idx="2956">
                  <c:v>17.375025959023489</c:v>
                </c:pt>
                <c:pt idx="2957">
                  <c:v>17.375025959023489</c:v>
                </c:pt>
                <c:pt idx="2958">
                  <c:v>17.375025959023489</c:v>
                </c:pt>
                <c:pt idx="2959">
                  <c:v>17.375025959023489</c:v>
                </c:pt>
                <c:pt idx="2960">
                  <c:v>17.375025959023489</c:v>
                </c:pt>
                <c:pt idx="2961">
                  <c:v>17.375025959023489</c:v>
                </c:pt>
                <c:pt idx="2962">
                  <c:v>17.375025959023489</c:v>
                </c:pt>
                <c:pt idx="2963">
                  <c:v>17.375025959023489</c:v>
                </c:pt>
                <c:pt idx="2964">
                  <c:v>17.375025959023489</c:v>
                </c:pt>
                <c:pt idx="2965">
                  <c:v>17.375025959023489</c:v>
                </c:pt>
                <c:pt idx="2966">
                  <c:v>17.375025959023489</c:v>
                </c:pt>
                <c:pt idx="2967">
                  <c:v>17.375025959023489</c:v>
                </c:pt>
                <c:pt idx="2968">
                  <c:v>17.375025959023489</c:v>
                </c:pt>
                <c:pt idx="2969">
                  <c:v>17.375025959023489</c:v>
                </c:pt>
                <c:pt idx="2970">
                  <c:v>17.375025959023489</c:v>
                </c:pt>
                <c:pt idx="2971">
                  <c:v>17.375025959023489</c:v>
                </c:pt>
                <c:pt idx="2972">
                  <c:v>17.375025959023489</c:v>
                </c:pt>
                <c:pt idx="2973">
                  <c:v>17.375025959023489</c:v>
                </c:pt>
                <c:pt idx="2974">
                  <c:v>17.375025959023489</c:v>
                </c:pt>
                <c:pt idx="2975">
                  <c:v>17.375025959023489</c:v>
                </c:pt>
                <c:pt idx="2976">
                  <c:v>17.375025959023489</c:v>
                </c:pt>
                <c:pt idx="2977">
                  <c:v>17.375025959023489</c:v>
                </c:pt>
                <c:pt idx="2978">
                  <c:v>17.375025959023489</c:v>
                </c:pt>
                <c:pt idx="2979">
                  <c:v>17.375025959023489</c:v>
                </c:pt>
                <c:pt idx="2980">
                  <c:v>17.375025959023489</c:v>
                </c:pt>
                <c:pt idx="2981">
                  <c:v>17.375025959023489</c:v>
                </c:pt>
                <c:pt idx="2982">
                  <c:v>17.375025959023489</c:v>
                </c:pt>
                <c:pt idx="2983">
                  <c:v>17.375025959023489</c:v>
                </c:pt>
                <c:pt idx="2984">
                  <c:v>17.375025959023489</c:v>
                </c:pt>
                <c:pt idx="2985">
                  <c:v>17.375025959023489</c:v>
                </c:pt>
                <c:pt idx="2986">
                  <c:v>17.375025959023489</c:v>
                </c:pt>
                <c:pt idx="2987">
                  <c:v>17.375025959023489</c:v>
                </c:pt>
                <c:pt idx="2988">
                  <c:v>17.375025959023489</c:v>
                </c:pt>
                <c:pt idx="2989">
                  <c:v>17.375025959023489</c:v>
                </c:pt>
                <c:pt idx="2990">
                  <c:v>17.375025959023489</c:v>
                </c:pt>
                <c:pt idx="2991">
                  <c:v>17.375025959023489</c:v>
                </c:pt>
                <c:pt idx="2992">
                  <c:v>17.375025959023489</c:v>
                </c:pt>
                <c:pt idx="2993">
                  <c:v>17.375025959023489</c:v>
                </c:pt>
                <c:pt idx="2994">
                  <c:v>17.375025959023489</c:v>
                </c:pt>
                <c:pt idx="2995">
                  <c:v>17.375025959023489</c:v>
                </c:pt>
                <c:pt idx="2996">
                  <c:v>17.375025959023489</c:v>
                </c:pt>
                <c:pt idx="2997">
                  <c:v>17.375025959023489</c:v>
                </c:pt>
                <c:pt idx="2998">
                  <c:v>17.375025959023489</c:v>
                </c:pt>
                <c:pt idx="2999">
                  <c:v>17.375025959023489</c:v>
                </c:pt>
                <c:pt idx="3000">
                  <c:v>17.375025959023489</c:v>
                </c:pt>
                <c:pt idx="3001">
                  <c:v>17.375025959023489</c:v>
                </c:pt>
                <c:pt idx="3002">
                  <c:v>17.375025959023489</c:v>
                </c:pt>
                <c:pt idx="3003">
                  <c:v>17.375025959023489</c:v>
                </c:pt>
                <c:pt idx="3004">
                  <c:v>17.375025959023489</c:v>
                </c:pt>
                <c:pt idx="3005">
                  <c:v>17.375025959023489</c:v>
                </c:pt>
                <c:pt idx="3006">
                  <c:v>17.375025959023489</c:v>
                </c:pt>
                <c:pt idx="3007">
                  <c:v>17.375025959023489</c:v>
                </c:pt>
                <c:pt idx="3008">
                  <c:v>17.375025959023489</c:v>
                </c:pt>
                <c:pt idx="3009">
                  <c:v>17.375025959023489</c:v>
                </c:pt>
                <c:pt idx="3010">
                  <c:v>17.375025959023489</c:v>
                </c:pt>
                <c:pt idx="3011">
                  <c:v>17.375025959023489</c:v>
                </c:pt>
                <c:pt idx="3012">
                  <c:v>17.375025959023489</c:v>
                </c:pt>
                <c:pt idx="3013">
                  <c:v>17.375025959023489</c:v>
                </c:pt>
                <c:pt idx="3014">
                  <c:v>17.375025959023489</c:v>
                </c:pt>
                <c:pt idx="3015">
                  <c:v>17.375025959023489</c:v>
                </c:pt>
                <c:pt idx="3016">
                  <c:v>17.375025959023489</c:v>
                </c:pt>
                <c:pt idx="3017">
                  <c:v>17.375025959023489</c:v>
                </c:pt>
                <c:pt idx="3018">
                  <c:v>17.375025959023489</c:v>
                </c:pt>
                <c:pt idx="3019">
                  <c:v>17.375025959023489</c:v>
                </c:pt>
                <c:pt idx="3020">
                  <c:v>17.375025959023489</c:v>
                </c:pt>
                <c:pt idx="3021">
                  <c:v>17.375025959023489</c:v>
                </c:pt>
                <c:pt idx="3022">
                  <c:v>17.375025959023489</c:v>
                </c:pt>
                <c:pt idx="3023">
                  <c:v>17.375025959023489</c:v>
                </c:pt>
                <c:pt idx="3024">
                  <c:v>17.375025959023489</c:v>
                </c:pt>
                <c:pt idx="3025">
                  <c:v>17.375025959023489</c:v>
                </c:pt>
                <c:pt idx="3026">
                  <c:v>17.375025959023489</c:v>
                </c:pt>
                <c:pt idx="3027">
                  <c:v>17.375025959023489</c:v>
                </c:pt>
                <c:pt idx="3028">
                  <c:v>17.375025959023489</c:v>
                </c:pt>
                <c:pt idx="3029">
                  <c:v>17.375025959023489</c:v>
                </c:pt>
                <c:pt idx="3030">
                  <c:v>17.375025959023489</c:v>
                </c:pt>
                <c:pt idx="3031">
                  <c:v>17.375025959023489</c:v>
                </c:pt>
                <c:pt idx="3032">
                  <c:v>17.375025959023489</c:v>
                </c:pt>
                <c:pt idx="3033">
                  <c:v>17.375025959023489</c:v>
                </c:pt>
                <c:pt idx="3034">
                  <c:v>17.375025959023489</c:v>
                </c:pt>
                <c:pt idx="3035">
                  <c:v>17.375025959023489</c:v>
                </c:pt>
                <c:pt idx="3036">
                  <c:v>17.375025959023489</c:v>
                </c:pt>
                <c:pt idx="3037">
                  <c:v>17.375025959023489</c:v>
                </c:pt>
                <c:pt idx="3038">
                  <c:v>17.375025959023489</c:v>
                </c:pt>
                <c:pt idx="3039">
                  <c:v>17.375025959023489</c:v>
                </c:pt>
                <c:pt idx="3040">
                  <c:v>17.375025959023489</c:v>
                </c:pt>
                <c:pt idx="3041">
                  <c:v>17.375025959023489</c:v>
                </c:pt>
                <c:pt idx="3042">
                  <c:v>17.375025959023489</c:v>
                </c:pt>
                <c:pt idx="3043">
                  <c:v>17.375025959023489</c:v>
                </c:pt>
                <c:pt idx="3044">
                  <c:v>17.375025959023489</c:v>
                </c:pt>
                <c:pt idx="3045">
                  <c:v>17.375025959023489</c:v>
                </c:pt>
                <c:pt idx="3046">
                  <c:v>17.375025959023489</c:v>
                </c:pt>
                <c:pt idx="3047">
                  <c:v>17.375025959023489</c:v>
                </c:pt>
                <c:pt idx="3048">
                  <c:v>17.375025959023489</c:v>
                </c:pt>
                <c:pt idx="3049">
                  <c:v>17.375025959023489</c:v>
                </c:pt>
                <c:pt idx="3050">
                  <c:v>17.375025959023489</c:v>
                </c:pt>
                <c:pt idx="3051">
                  <c:v>17.375025959023489</c:v>
                </c:pt>
                <c:pt idx="3052">
                  <c:v>17.375025959023489</c:v>
                </c:pt>
                <c:pt idx="3053">
                  <c:v>17.375025959023489</c:v>
                </c:pt>
                <c:pt idx="3054">
                  <c:v>17.375025959023489</c:v>
                </c:pt>
                <c:pt idx="3055">
                  <c:v>17.375025959023489</c:v>
                </c:pt>
                <c:pt idx="3056">
                  <c:v>17.375025959023489</c:v>
                </c:pt>
                <c:pt idx="3057">
                  <c:v>17.375025959023489</c:v>
                </c:pt>
                <c:pt idx="3058">
                  <c:v>17.375025959023489</c:v>
                </c:pt>
                <c:pt idx="3059">
                  <c:v>17.375025959023489</c:v>
                </c:pt>
                <c:pt idx="3060">
                  <c:v>17.375025959023489</c:v>
                </c:pt>
                <c:pt idx="3061">
                  <c:v>17.375025959023489</c:v>
                </c:pt>
                <c:pt idx="3062">
                  <c:v>17.375025959023489</c:v>
                </c:pt>
                <c:pt idx="3063">
                  <c:v>17.375025959023489</c:v>
                </c:pt>
                <c:pt idx="3064">
                  <c:v>17.375025959023489</c:v>
                </c:pt>
                <c:pt idx="3065">
                  <c:v>17.375025959023489</c:v>
                </c:pt>
                <c:pt idx="3066">
                  <c:v>17.375025959023489</c:v>
                </c:pt>
                <c:pt idx="3067">
                  <c:v>17.375025959023489</c:v>
                </c:pt>
                <c:pt idx="3068">
                  <c:v>17.375025959023489</c:v>
                </c:pt>
                <c:pt idx="3069">
                  <c:v>17.375025959023489</c:v>
                </c:pt>
                <c:pt idx="3070">
                  <c:v>17.375025959023489</c:v>
                </c:pt>
                <c:pt idx="3071">
                  <c:v>17.375025959023489</c:v>
                </c:pt>
                <c:pt idx="3072">
                  <c:v>17.375025959023489</c:v>
                </c:pt>
                <c:pt idx="3073">
                  <c:v>17.375025959023489</c:v>
                </c:pt>
                <c:pt idx="3074">
                  <c:v>17.375025959023489</c:v>
                </c:pt>
                <c:pt idx="3075">
                  <c:v>17.375025959023489</c:v>
                </c:pt>
                <c:pt idx="3076">
                  <c:v>17.375025959023489</c:v>
                </c:pt>
                <c:pt idx="3077">
                  <c:v>17.375025959023489</c:v>
                </c:pt>
                <c:pt idx="3078">
                  <c:v>17.375025959023489</c:v>
                </c:pt>
                <c:pt idx="3079">
                  <c:v>17.375025959023489</c:v>
                </c:pt>
                <c:pt idx="3080">
                  <c:v>17.375025959023489</c:v>
                </c:pt>
                <c:pt idx="3081">
                  <c:v>17.375025959023489</c:v>
                </c:pt>
                <c:pt idx="3082">
                  <c:v>17.375025959023489</c:v>
                </c:pt>
                <c:pt idx="3083">
                  <c:v>17.375025959023489</c:v>
                </c:pt>
                <c:pt idx="3084">
                  <c:v>17.375025959023489</c:v>
                </c:pt>
                <c:pt idx="3085">
                  <c:v>17.375025959023489</c:v>
                </c:pt>
                <c:pt idx="3086">
                  <c:v>17.375025959023489</c:v>
                </c:pt>
                <c:pt idx="3087">
                  <c:v>17.375025959023489</c:v>
                </c:pt>
                <c:pt idx="3088">
                  <c:v>17.375025959023489</c:v>
                </c:pt>
                <c:pt idx="3089">
                  <c:v>17.375025959023489</c:v>
                </c:pt>
                <c:pt idx="3090">
                  <c:v>17.375025959023489</c:v>
                </c:pt>
                <c:pt idx="3091">
                  <c:v>17.375025959023489</c:v>
                </c:pt>
                <c:pt idx="3092">
                  <c:v>17.375025959023489</c:v>
                </c:pt>
                <c:pt idx="3093">
                  <c:v>17.375025959023489</c:v>
                </c:pt>
                <c:pt idx="3094">
                  <c:v>17.375025959023489</c:v>
                </c:pt>
                <c:pt idx="3095">
                  <c:v>17.375025959023489</c:v>
                </c:pt>
                <c:pt idx="3096">
                  <c:v>17.375025959023489</c:v>
                </c:pt>
                <c:pt idx="3097">
                  <c:v>17.375025959023489</c:v>
                </c:pt>
                <c:pt idx="3098">
                  <c:v>17.375025959023489</c:v>
                </c:pt>
                <c:pt idx="3099">
                  <c:v>17.375025959023489</c:v>
                </c:pt>
                <c:pt idx="3100">
                  <c:v>17.375025959023489</c:v>
                </c:pt>
                <c:pt idx="3101">
                  <c:v>17.375025959023489</c:v>
                </c:pt>
                <c:pt idx="3102">
                  <c:v>17.375025959023489</c:v>
                </c:pt>
                <c:pt idx="3103">
                  <c:v>17.375025959023489</c:v>
                </c:pt>
                <c:pt idx="3104">
                  <c:v>17.375025959023489</c:v>
                </c:pt>
                <c:pt idx="3105">
                  <c:v>17.375025959023489</c:v>
                </c:pt>
                <c:pt idx="3106">
                  <c:v>17.375025959023489</c:v>
                </c:pt>
                <c:pt idx="3107">
                  <c:v>17.375025959023489</c:v>
                </c:pt>
                <c:pt idx="3108">
                  <c:v>17.375025959023489</c:v>
                </c:pt>
                <c:pt idx="3109">
                  <c:v>17.375025959023489</c:v>
                </c:pt>
                <c:pt idx="3110">
                  <c:v>17.375025959023489</c:v>
                </c:pt>
                <c:pt idx="3111">
                  <c:v>17.375025959023489</c:v>
                </c:pt>
                <c:pt idx="3112">
                  <c:v>17.375025959023489</c:v>
                </c:pt>
                <c:pt idx="3113">
                  <c:v>17.375025959023489</c:v>
                </c:pt>
                <c:pt idx="3114">
                  <c:v>17.375025959023489</c:v>
                </c:pt>
                <c:pt idx="3115">
                  <c:v>17.375025959023489</c:v>
                </c:pt>
                <c:pt idx="3116">
                  <c:v>17.375025959023489</c:v>
                </c:pt>
                <c:pt idx="3117">
                  <c:v>17.375025959023489</c:v>
                </c:pt>
                <c:pt idx="3118">
                  <c:v>17.375025959023489</c:v>
                </c:pt>
                <c:pt idx="3119">
                  <c:v>17.375025959023489</c:v>
                </c:pt>
                <c:pt idx="3120">
                  <c:v>17.375025959023489</c:v>
                </c:pt>
                <c:pt idx="3121">
                  <c:v>17.375025959023489</c:v>
                </c:pt>
                <c:pt idx="3122">
                  <c:v>17.375025959023489</c:v>
                </c:pt>
                <c:pt idx="3123">
                  <c:v>17.375025959023489</c:v>
                </c:pt>
                <c:pt idx="3124">
                  <c:v>17.375025959023489</c:v>
                </c:pt>
                <c:pt idx="3125">
                  <c:v>17.375025959023489</c:v>
                </c:pt>
                <c:pt idx="3126">
                  <c:v>17.375025959023489</c:v>
                </c:pt>
                <c:pt idx="3127">
                  <c:v>17.375025959023489</c:v>
                </c:pt>
                <c:pt idx="3128">
                  <c:v>17.375025959023489</c:v>
                </c:pt>
                <c:pt idx="3129">
                  <c:v>17.375025959023489</c:v>
                </c:pt>
                <c:pt idx="3130">
                  <c:v>17.375025959023489</c:v>
                </c:pt>
                <c:pt idx="3131">
                  <c:v>17.375025959023489</c:v>
                </c:pt>
                <c:pt idx="3132">
                  <c:v>17.375025959023489</c:v>
                </c:pt>
                <c:pt idx="3133">
                  <c:v>17.375025959023489</c:v>
                </c:pt>
                <c:pt idx="3134">
                  <c:v>17.375025959023489</c:v>
                </c:pt>
                <c:pt idx="3135">
                  <c:v>17.375025959023489</c:v>
                </c:pt>
                <c:pt idx="3136">
                  <c:v>17.375025959023489</c:v>
                </c:pt>
                <c:pt idx="3137">
                  <c:v>17.375025959023489</c:v>
                </c:pt>
                <c:pt idx="3138">
                  <c:v>17.375025959023489</c:v>
                </c:pt>
                <c:pt idx="3139">
                  <c:v>17.375025959023489</c:v>
                </c:pt>
                <c:pt idx="3140">
                  <c:v>17.375025959023489</c:v>
                </c:pt>
                <c:pt idx="3141">
                  <c:v>17.375025959023489</c:v>
                </c:pt>
                <c:pt idx="3142">
                  <c:v>17.375025959023489</c:v>
                </c:pt>
                <c:pt idx="3143">
                  <c:v>17.375025959023489</c:v>
                </c:pt>
                <c:pt idx="3144">
                  <c:v>17.375025959023489</c:v>
                </c:pt>
                <c:pt idx="3145">
                  <c:v>17.375025959023489</c:v>
                </c:pt>
                <c:pt idx="3146">
                  <c:v>17.375025959023489</c:v>
                </c:pt>
                <c:pt idx="3147">
                  <c:v>17.375025959023489</c:v>
                </c:pt>
                <c:pt idx="3148">
                  <c:v>17.375025959023489</c:v>
                </c:pt>
                <c:pt idx="3149">
                  <c:v>17.375025959023489</c:v>
                </c:pt>
                <c:pt idx="3150">
                  <c:v>17.375025959023489</c:v>
                </c:pt>
                <c:pt idx="3151">
                  <c:v>17.375025959023489</c:v>
                </c:pt>
                <c:pt idx="3152">
                  <c:v>17.375025959023489</c:v>
                </c:pt>
                <c:pt idx="3153">
                  <c:v>17.375025959023489</c:v>
                </c:pt>
                <c:pt idx="3154">
                  <c:v>17.375025959023489</c:v>
                </c:pt>
                <c:pt idx="3155">
                  <c:v>17.375025959023489</c:v>
                </c:pt>
                <c:pt idx="3156">
                  <c:v>17.375025959023489</c:v>
                </c:pt>
                <c:pt idx="3157">
                  <c:v>17.375025959023489</c:v>
                </c:pt>
                <c:pt idx="3158">
                  <c:v>17.375025959023489</c:v>
                </c:pt>
                <c:pt idx="3159">
                  <c:v>17.375025959023489</c:v>
                </c:pt>
                <c:pt idx="3160">
                  <c:v>17.375025959023489</c:v>
                </c:pt>
                <c:pt idx="3161">
                  <c:v>17.375025959023489</c:v>
                </c:pt>
                <c:pt idx="3162">
                  <c:v>17.375025959023489</c:v>
                </c:pt>
                <c:pt idx="3163">
                  <c:v>17.375025959023489</c:v>
                </c:pt>
                <c:pt idx="3164">
                  <c:v>17.375025959023489</c:v>
                </c:pt>
                <c:pt idx="3165">
                  <c:v>17.375025959023489</c:v>
                </c:pt>
                <c:pt idx="3166">
                  <c:v>17.375025959023489</c:v>
                </c:pt>
                <c:pt idx="3167">
                  <c:v>17.375025959023489</c:v>
                </c:pt>
                <c:pt idx="3168">
                  <c:v>17.375025959023489</c:v>
                </c:pt>
                <c:pt idx="3169">
                  <c:v>17.375025959023489</c:v>
                </c:pt>
                <c:pt idx="3170">
                  <c:v>17.375025959023489</c:v>
                </c:pt>
                <c:pt idx="3171">
                  <c:v>17.375025959023489</c:v>
                </c:pt>
                <c:pt idx="3172">
                  <c:v>17.375025959023489</c:v>
                </c:pt>
                <c:pt idx="3173">
                  <c:v>17.375025959023489</c:v>
                </c:pt>
                <c:pt idx="3174">
                  <c:v>17.375025959023489</c:v>
                </c:pt>
                <c:pt idx="3175">
                  <c:v>17.375025959023489</c:v>
                </c:pt>
                <c:pt idx="3176">
                  <c:v>17.375025959023489</c:v>
                </c:pt>
                <c:pt idx="3177">
                  <c:v>17.375025959023489</c:v>
                </c:pt>
                <c:pt idx="3178">
                  <c:v>17.375025959023489</c:v>
                </c:pt>
                <c:pt idx="3179">
                  <c:v>17.375025959023489</c:v>
                </c:pt>
                <c:pt idx="3180">
                  <c:v>17.375025959023489</c:v>
                </c:pt>
                <c:pt idx="3181">
                  <c:v>17.375025959023489</c:v>
                </c:pt>
                <c:pt idx="3182">
                  <c:v>17.375025959023489</c:v>
                </c:pt>
                <c:pt idx="3183">
                  <c:v>17.375025959023489</c:v>
                </c:pt>
                <c:pt idx="3184">
                  <c:v>17.375025959023489</c:v>
                </c:pt>
                <c:pt idx="3185">
                  <c:v>17.375025959023489</c:v>
                </c:pt>
                <c:pt idx="3186">
                  <c:v>17.375025959023489</c:v>
                </c:pt>
                <c:pt idx="3187">
                  <c:v>17.375025959023489</c:v>
                </c:pt>
                <c:pt idx="3188">
                  <c:v>17.375025959023489</c:v>
                </c:pt>
                <c:pt idx="3189">
                  <c:v>17.375025959023489</c:v>
                </c:pt>
                <c:pt idx="3190">
                  <c:v>17.375025959023489</c:v>
                </c:pt>
                <c:pt idx="3191">
                  <c:v>17.375025959023489</c:v>
                </c:pt>
                <c:pt idx="3192">
                  <c:v>17.375025959023489</c:v>
                </c:pt>
                <c:pt idx="3193">
                  <c:v>17.375025959023489</c:v>
                </c:pt>
                <c:pt idx="3194">
                  <c:v>17.375025959023489</c:v>
                </c:pt>
                <c:pt idx="3195">
                  <c:v>17.375025959023489</c:v>
                </c:pt>
                <c:pt idx="3196">
                  <c:v>17.375025959023489</c:v>
                </c:pt>
                <c:pt idx="3197">
                  <c:v>17.375025959023489</c:v>
                </c:pt>
                <c:pt idx="3198">
                  <c:v>17.375025959023489</c:v>
                </c:pt>
                <c:pt idx="3199">
                  <c:v>17.375025959023489</c:v>
                </c:pt>
                <c:pt idx="3200">
                  <c:v>17.375025959023489</c:v>
                </c:pt>
                <c:pt idx="3201">
                  <c:v>17.375025959023489</c:v>
                </c:pt>
                <c:pt idx="3202">
                  <c:v>17.375025959023489</c:v>
                </c:pt>
                <c:pt idx="3203">
                  <c:v>17.375025959023489</c:v>
                </c:pt>
                <c:pt idx="3204">
                  <c:v>17.375025959023489</c:v>
                </c:pt>
                <c:pt idx="3205">
                  <c:v>17.375025959023489</c:v>
                </c:pt>
                <c:pt idx="3206">
                  <c:v>17.375025959023489</c:v>
                </c:pt>
                <c:pt idx="3207">
                  <c:v>17.375025959023489</c:v>
                </c:pt>
                <c:pt idx="3208">
                  <c:v>17.375025959023489</c:v>
                </c:pt>
                <c:pt idx="3209">
                  <c:v>17.375025959023489</c:v>
                </c:pt>
                <c:pt idx="3210">
                  <c:v>17.375025959023489</c:v>
                </c:pt>
                <c:pt idx="3211">
                  <c:v>17.375025959023489</c:v>
                </c:pt>
                <c:pt idx="3212">
                  <c:v>17.375025959023489</c:v>
                </c:pt>
                <c:pt idx="3213">
                  <c:v>17.375025959023489</c:v>
                </c:pt>
                <c:pt idx="3214">
                  <c:v>17.375025959023489</c:v>
                </c:pt>
                <c:pt idx="3215">
                  <c:v>17.375025959023489</c:v>
                </c:pt>
                <c:pt idx="3216">
                  <c:v>17.375025959023489</c:v>
                </c:pt>
                <c:pt idx="3217">
                  <c:v>17.375025959023489</c:v>
                </c:pt>
                <c:pt idx="3218">
                  <c:v>17.375025959023489</c:v>
                </c:pt>
                <c:pt idx="3219">
                  <c:v>17.375025959023489</c:v>
                </c:pt>
                <c:pt idx="3220">
                  <c:v>17.375025959023489</c:v>
                </c:pt>
                <c:pt idx="3221">
                  <c:v>17.375025959023489</c:v>
                </c:pt>
                <c:pt idx="3222">
                  <c:v>17.375025959023489</c:v>
                </c:pt>
                <c:pt idx="3223">
                  <c:v>17.375025959023489</c:v>
                </c:pt>
                <c:pt idx="3224">
                  <c:v>17.375025959023489</c:v>
                </c:pt>
                <c:pt idx="3225">
                  <c:v>17.375025959023489</c:v>
                </c:pt>
                <c:pt idx="3226">
                  <c:v>17.375025959023489</c:v>
                </c:pt>
                <c:pt idx="3227">
                  <c:v>17.375025959023489</c:v>
                </c:pt>
                <c:pt idx="3228">
                  <c:v>17.375025959023489</c:v>
                </c:pt>
                <c:pt idx="3229">
                  <c:v>17.375025959023489</c:v>
                </c:pt>
                <c:pt idx="3230">
                  <c:v>17.375025959023489</c:v>
                </c:pt>
                <c:pt idx="3231">
                  <c:v>17.375025959023489</c:v>
                </c:pt>
                <c:pt idx="3232">
                  <c:v>17.375025959023489</c:v>
                </c:pt>
                <c:pt idx="3233">
                  <c:v>17.375025959023489</c:v>
                </c:pt>
                <c:pt idx="3234">
                  <c:v>17.375025959023489</c:v>
                </c:pt>
                <c:pt idx="3235">
                  <c:v>17.375025959023489</c:v>
                </c:pt>
                <c:pt idx="3236">
                  <c:v>17.375025959023489</c:v>
                </c:pt>
                <c:pt idx="3237">
                  <c:v>17.375025959023489</c:v>
                </c:pt>
                <c:pt idx="3238">
                  <c:v>17.375025959023489</c:v>
                </c:pt>
                <c:pt idx="3239">
                  <c:v>17.375025959023489</c:v>
                </c:pt>
                <c:pt idx="3240">
                  <c:v>17.375025959023489</c:v>
                </c:pt>
                <c:pt idx="3241">
                  <c:v>17.375025959023489</c:v>
                </c:pt>
                <c:pt idx="3242">
                  <c:v>17.375025959023489</c:v>
                </c:pt>
                <c:pt idx="3243">
                  <c:v>17.375025959023489</c:v>
                </c:pt>
                <c:pt idx="3244">
                  <c:v>17.375025959023489</c:v>
                </c:pt>
                <c:pt idx="3245">
                  <c:v>17.375025959023489</c:v>
                </c:pt>
                <c:pt idx="3246">
                  <c:v>17.375025959023489</c:v>
                </c:pt>
                <c:pt idx="3247">
                  <c:v>17.375025959023489</c:v>
                </c:pt>
                <c:pt idx="3248">
                  <c:v>17.375025959023489</c:v>
                </c:pt>
                <c:pt idx="3249">
                  <c:v>17.375025959023489</c:v>
                </c:pt>
                <c:pt idx="3250">
                  <c:v>17.375025959023489</c:v>
                </c:pt>
                <c:pt idx="3251">
                  <c:v>17.375025959023489</c:v>
                </c:pt>
                <c:pt idx="3252">
                  <c:v>17.375025959023489</c:v>
                </c:pt>
                <c:pt idx="3253">
                  <c:v>17.375025959023489</c:v>
                </c:pt>
                <c:pt idx="3254">
                  <c:v>17.375025959023489</c:v>
                </c:pt>
                <c:pt idx="3255">
                  <c:v>17.375025959023489</c:v>
                </c:pt>
                <c:pt idx="3256">
                  <c:v>17.375025959023489</c:v>
                </c:pt>
                <c:pt idx="3257">
                  <c:v>17.375025959023489</c:v>
                </c:pt>
                <c:pt idx="3258">
                  <c:v>17.375025959023489</c:v>
                </c:pt>
                <c:pt idx="3259">
                  <c:v>17.375025959023489</c:v>
                </c:pt>
                <c:pt idx="3260">
                  <c:v>17.375025959023489</c:v>
                </c:pt>
                <c:pt idx="3261">
                  <c:v>17.375025959023489</c:v>
                </c:pt>
                <c:pt idx="3262">
                  <c:v>17.375025959023489</c:v>
                </c:pt>
                <c:pt idx="3263">
                  <c:v>17.375025959023489</c:v>
                </c:pt>
                <c:pt idx="3264">
                  <c:v>17.375025959023489</c:v>
                </c:pt>
                <c:pt idx="3265">
                  <c:v>17.375025959023489</c:v>
                </c:pt>
                <c:pt idx="3266">
                  <c:v>17.375025959023489</c:v>
                </c:pt>
                <c:pt idx="3267">
                  <c:v>17.375025959023489</c:v>
                </c:pt>
                <c:pt idx="3268">
                  <c:v>17.375025959023489</c:v>
                </c:pt>
                <c:pt idx="3269">
                  <c:v>17.375025959023489</c:v>
                </c:pt>
                <c:pt idx="3270">
                  <c:v>17.375025959023489</c:v>
                </c:pt>
                <c:pt idx="3271">
                  <c:v>17.375025959023489</c:v>
                </c:pt>
                <c:pt idx="3272">
                  <c:v>17.375025959023489</c:v>
                </c:pt>
                <c:pt idx="3273">
                  <c:v>17.375025959023489</c:v>
                </c:pt>
                <c:pt idx="3274">
                  <c:v>17.375025959023489</c:v>
                </c:pt>
                <c:pt idx="3275">
                  <c:v>17.375025959023489</c:v>
                </c:pt>
                <c:pt idx="3276">
                  <c:v>17.375025959023489</c:v>
                </c:pt>
                <c:pt idx="3277">
                  <c:v>17.375025959023489</c:v>
                </c:pt>
                <c:pt idx="3278">
                  <c:v>17.375025959023489</c:v>
                </c:pt>
                <c:pt idx="3279">
                  <c:v>17.375025959023489</c:v>
                </c:pt>
                <c:pt idx="3280">
                  <c:v>17.375025959023489</c:v>
                </c:pt>
                <c:pt idx="3281">
                  <c:v>17.375025959023489</c:v>
                </c:pt>
                <c:pt idx="3282">
                  <c:v>17.375025959023489</c:v>
                </c:pt>
                <c:pt idx="3283">
                  <c:v>17.375025959023489</c:v>
                </c:pt>
                <c:pt idx="3284">
                  <c:v>17.375025959023489</c:v>
                </c:pt>
                <c:pt idx="3285">
                  <c:v>17.375025959023489</c:v>
                </c:pt>
                <c:pt idx="3286">
                  <c:v>17.375025959023489</c:v>
                </c:pt>
                <c:pt idx="3287">
                  <c:v>17.375025959023489</c:v>
                </c:pt>
                <c:pt idx="3288">
                  <c:v>17.375025959023489</c:v>
                </c:pt>
                <c:pt idx="3289">
                  <c:v>17.375025959023489</c:v>
                </c:pt>
                <c:pt idx="3290">
                  <c:v>17.375025959023489</c:v>
                </c:pt>
                <c:pt idx="3291">
                  <c:v>17.375025959023489</c:v>
                </c:pt>
                <c:pt idx="3292">
                  <c:v>17.375025959023489</c:v>
                </c:pt>
                <c:pt idx="3293">
                  <c:v>17.375025959023489</c:v>
                </c:pt>
                <c:pt idx="3294">
                  <c:v>17.375025959023489</c:v>
                </c:pt>
                <c:pt idx="3295">
                  <c:v>17.375025959023489</c:v>
                </c:pt>
                <c:pt idx="3296">
                  <c:v>17.375025959023489</c:v>
                </c:pt>
                <c:pt idx="3297">
                  <c:v>17.375025959023489</c:v>
                </c:pt>
                <c:pt idx="3298">
                  <c:v>17.375025959023489</c:v>
                </c:pt>
                <c:pt idx="3299">
                  <c:v>17.375025959023489</c:v>
                </c:pt>
                <c:pt idx="3300">
                  <c:v>17.375025959023489</c:v>
                </c:pt>
                <c:pt idx="3301">
                  <c:v>17.375025959023489</c:v>
                </c:pt>
                <c:pt idx="3302">
                  <c:v>17.375025959023489</c:v>
                </c:pt>
                <c:pt idx="3303">
                  <c:v>17.375025959023489</c:v>
                </c:pt>
                <c:pt idx="3304">
                  <c:v>17.375025959023489</c:v>
                </c:pt>
                <c:pt idx="3305">
                  <c:v>17.375025959023489</c:v>
                </c:pt>
                <c:pt idx="3306">
                  <c:v>17.375025959023489</c:v>
                </c:pt>
                <c:pt idx="3307">
                  <c:v>17.375025959023489</c:v>
                </c:pt>
                <c:pt idx="3308">
                  <c:v>17.375025959023489</c:v>
                </c:pt>
                <c:pt idx="3309">
                  <c:v>17.375025959023489</c:v>
                </c:pt>
                <c:pt idx="3310">
                  <c:v>17.375025959023489</c:v>
                </c:pt>
                <c:pt idx="3311">
                  <c:v>17.375025959023489</c:v>
                </c:pt>
                <c:pt idx="3312">
                  <c:v>17.375025959023489</c:v>
                </c:pt>
                <c:pt idx="3313">
                  <c:v>17.375025959023489</c:v>
                </c:pt>
                <c:pt idx="3314">
                  <c:v>17.375025959023489</c:v>
                </c:pt>
                <c:pt idx="3315">
                  <c:v>17.375025959023489</c:v>
                </c:pt>
                <c:pt idx="3316">
                  <c:v>17.375025959023489</c:v>
                </c:pt>
                <c:pt idx="3317">
                  <c:v>17.375025959023489</c:v>
                </c:pt>
                <c:pt idx="3318">
                  <c:v>17.375025959023489</c:v>
                </c:pt>
                <c:pt idx="3319">
                  <c:v>17.375025959023489</c:v>
                </c:pt>
                <c:pt idx="3320">
                  <c:v>17.375025959023489</c:v>
                </c:pt>
                <c:pt idx="3321">
                  <c:v>17.375025959023489</c:v>
                </c:pt>
                <c:pt idx="3322">
                  <c:v>17.375025959023489</c:v>
                </c:pt>
                <c:pt idx="3323">
                  <c:v>17.375025959023489</c:v>
                </c:pt>
                <c:pt idx="3324">
                  <c:v>17.375025959023489</c:v>
                </c:pt>
                <c:pt idx="3325">
                  <c:v>17.375025959023489</c:v>
                </c:pt>
                <c:pt idx="3326">
                  <c:v>17.375025959023489</c:v>
                </c:pt>
                <c:pt idx="3327">
                  <c:v>17.375025959023489</c:v>
                </c:pt>
                <c:pt idx="3328">
                  <c:v>17.375025959023489</c:v>
                </c:pt>
                <c:pt idx="3329">
                  <c:v>17.375025959023489</c:v>
                </c:pt>
                <c:pt idx="3330">
                  <c:v>17.375025959023489</c:v>
                </c:pt>
                <c:pt idx="3331">
                  <c:v>17.375025959023489</c:v>
                </c:pt>
                <c:pt idx="3332">
                  <c:v>17.375025959023489</c:v>
                </c:pt>
                <c:pt idx="3333">
                  <c:v>17.375025959023489</c:v>
                </c:pt>
                <c:pt idx="3334">
                  <c:v>17.375025959023489</c:v>
                </c:pt>
                <c:pt idx="3335">
                  <c:v>17.375025959023489</c:v>
                </c:pt>
                <c:pt idx="3336">
                  <c:v>17.375025959023489</c:v>
                </c:pt>
                <c:pt idx="3337">
                  <c:v>17.375025959023489</c:v>
                </c:pt>
                <c:pt idx="3338">
                  <c:v>17.375025959023489</c:v>
                </c:pt>
                <c:pt idx="3339">
                  <c:v>17.375025959023489</c:v>
                </c:pt>
                <c:pt idx="3340">
                  <c:v>17.375025959023489</c:v>
                </c:pt>
                <c:pt idx="3341">
                  <c:v>17.375025959023489</c:v>
                </c:pt>
                <c:pt idx="3342">
                  <c:v>17.375025959023489</c:v>
                </c:pt>
                <c:pt idx="3343">
                  <c:v>17.375025959023489</c:v>
                </c:pt>
                <c:pt idx="3344">
                  <c:v>17.375025959023489</c:v>
                </c:pt>
                <c:pt idx="3345">
                  <c:v>17.375025959023489</c:v>
                </c:pt>
                <c:pt idx="3346">
                  <c:v>17.375025959023489</c:v>
                </c:pt>
                <c:pt idx="3347">
                  <c:v>17.375025959023489</c:v>
                </c:pt>
                <c:pt idx="3348">
                  <c:v>17.375025959023489</c:v>
                </c:pt>
                <c:pt idx="3349">
                  <c:v>17.375025959023489</c:v>
                </c:pt>
                <c:pt idx="3350">
                  <c:v>17.375025959023489</c:v>
                </c:pt>
                <c:pt idx="3351">
                  <c:v>17.375025959023489</c:v>
                </c:pt>
                <c:pt idx="3352">
                  <c:v>17.375025959023489</c:v>
                </c:pt>
                <c:pt idx="3353">
                  <c:v>17.375025959023489</c:v>
                </c:pt>
                <c:pt idx="3354">
                  <c:v>17.375025959023489</c:v>
                </c:pt>
                <c:pt idx="3355">
                  <c:v>17.375025959023489</c:v>
                </c:pt>
                <c:pt idx="3356">
                  <c:v>17.375025959023489</c:v>
                </c:pt>
                <c:pt idx="3357">
                  <c:v>17.375025959023489</c:v>
                </c:pt>
                <c:pt idx="3358">
                  <c:v>17.375025959023489</c:v>
                </c:pt>
                <c:pt idx="3359">
                  <c:v>17.375025959023489</c:v>
                </c:pt>
                <c:pt idx="3360">
                  <c:v>17.375025959023489</c:v>
                </c:pt>
                <c:pt idx="3361">
                  <c:v>17.375025959023489</c:v>
                </c:pt>
                <c:pt idx="3362">
                  <c:v>17.375025959023489</c:v>
                </c:pt>
                <c:pt idx="3363">
                  <c:v>17.375025959023489</c:v>
                </c:pt>
                <c:pt idx="3364">
                  <c:v>17.375025959023489</c:v>
                </c:pt>
                <c:pt idx="3365">
                  <c:v>17.375025959023489</c:v>
                </c:pt>
                <c:pt idx="3366">
                  <c:v>17.375025959023489</c:v>
                </c:pt>
                <c:pt idx="3367">
                  <c:v>17.375025959023489</c:v>
                </c:pt>
                <c:pt idx="3368">
                  <c:v>17.375025959023489</c:v>
                </c:pt>
                <c:pt idx="3369">
                  <c:v>17.375025959023489</c:v>
                </c:pt>
                <c:pt idx="3370">
                  <c:v>17.375025959023489</c:v>
                </c:pt>
                <c:pt idx="3371">
                  <c:v>17.375025959023489</c:v>
                </c:pt>
                <c:pt idx="3372">
                  <c:v>17.375025959023489</c:v>
                </c:pt>
                <c:pt idx="3373">
                  <c:v>17.375025959023489</c:v>
                </c:pt>
                <c:pt idx="3374">
                  <c:v>17.375025959023489</c:v>
                </c:pt>
                <c:pt idx="3375">
                  <c:v>17.375025959023489</c:v>
                </c:pt>
                <c:pt idx="3376">
                  <c:v>17.375025959023489</c:v>
                </c:pt>
                <c:pt idx="3377">
                  <c:v>17.375025959023489</c:v>
                </c:pt>
                <c:pt idx="3378">
                  <c:v>17.375025959023489</c:v>
                </c:pt>
                <c:pt idx="3379">
                  <c:v>17.375025959023489</c:v>
                </c:pt>
                <c:pt idx="3380">
                  <c:v>17.375025959023489</c:v>
                </c:pt>
                <c:pt idx="3381">
                  <c:v>17.375025959023489</c:v>
                </c:pt>
                <c:pt idx="3382">
                  <c:v>17.375025959023489</c:v>
                </c:pt>
                <c:pt idx="3383">
                  <c:v>17.375025959023489</c:v>
                </c:pt>
                <c:pt idx="3384">
                  <c:v>17.375025959023489</c:v>
                </c:pt>
                <c:pt idx="3385">
                  <c:v>17.375025959023489</c:v>
                </c:pt>
                <c:pt idx="3386">
                  <c:v>17.375025959023489</c:v>
                </c:pt>
                <c:pt idx="3387">
                  <c:v>17.375025959023489</c:v>
                </c:pt>
                <c:pt idx="3388">
                  <c:v>17.375025959023489</c:v>
                </c:pt>
                <c:pt idx="3389">
                  <c:v>17.375025959023489</c:v>
                </c:pt>
                <c:pt idx="3390">
                  <c:v>17.375025959023489</c:v>
                </c:pt>
                <c:pt idx="3391">
                  <c:v>17.375025959023489</c:v>
                </c:pt>
                <c:pt idx="3392">
                  <c:v>17.375025959023489</c:v>
                </c:pt>
                <c:pt idx="3393">
                  <c:v>17.375025959023489</c:v>
                </c:pt>
                <c:pt idx="3394">
                  <c:v>17.375025959023489</c:v>
                </c:pt>
                <c:pt idx="3395">
                  <c:v>17.375025959023489</c:v>
                </c:pt>
                <c:pt idx="3396">
                  <c:v>17.375025959023489</c:v>
                </c:pt>
                <c:pt idx="3397">
                  <c:v>17.375025959023489</c:v>
                </c:pt>
                <c:pt idx="3398">
                  <c:v>17.375025959023489</c:v>
                </c:pt>
                <c:pt idx="3399">
                  <c:v>17.375025959023489</c:v>
                </c:pt>
                <c:pt idx="3400">
                  <c:v>17.375025959023489</c:v>
                </c:pt>
                <c:pt idx="3401">
                  <c:v>17.375025959023489</c:v>
                </c:pt>
                <c:pt idx="3402">
                  <c:v>17.375025959023489</c:v>
                </c:pt>
                <c:pt idx="3403">
                  <c:v>17.375025959023489</c:v>
                </c:pt>
                <c:pt idx="3404">
                  <c:v>17.375025959023489</c:v>
                </c:pt>
                <c:pt idx="3405">
                  <c:v>17.375025959023489</c:v>
                </c:pt>
                <c:pt idx="3406">
                  <c:v>17.375025959023489</c:v>
                </c:pt>
                <c:pt idx="3407">
                  <c:v>17.375025959023489</c:v>
                </c:pt>
                <c:pt idx="3408">
                  <c:v>17.375025959023489</c:v>
                </c:pt>
                <c:pt idx="3409">
                  <c:v>17.375025959023489</c:v>
                </c:pt>
                <c:pt idx="3410">
                  <c:v>17.375025959023489</c:v>
                </c:pt>
                <c:pt idx="3411">
                  <c:v>17.375025959023489</c:v>
                </c:pt>
                <c:pt idx="3412">
                  <c:v>17.375025959023489</c:v>
                </c:pt>
                <c:pt idx="3413">
                  <c:v>17.375025959023489</c:v>
                </c:pt>
                <c:pt idx="3414">
                  <c:v>17.375025959023489</c:v>
                </c:pt>
                <c:pt idx="3415">
                  <c:v>17.375025959023489</c:v>
                </c:pt>
                <c:pt idx="3416">
                  <c:v>17.375025959023489</c:v>
                </c:pt>
                <c:pt idx="3417">
                  <c:v>17.375025959023489</c:v>
                </c:pt>
                <c:pt idx="3418">
                  <c:v>17.375025959023489</c:v>
                </c:pt>
                <c:pt idx="3419">
                  <c:v>17.375025959023489</c:v>
                </c:pt>
                <c:pt idx="3420">
                  <c:v>17.375025959023489</c:v>
                </c:pt>
                <c:pt idx="3421">
                  <c:v>17.375025959023489</c:v>
                </c:pt>
                <c:pt idx="3422">
                  <c:v>17.375025959023489</c:v>
                </c:pt>
                <c:pt idx="3423">
                  <c:v>17.375025959023489</c:v>
                </c:pt>
                <c:pt idx="3424">
                  <c:v>17.375025959023489</c:v>
                </c:pt>
                <c:pt idx="3425">
                  <c:v>17.375025959023489</c:v>
                </c:pt>
                <c:pt idx="3426">
                  <c:v>17.375025959023489</c:v>
                </c:pt>
                <c:pt idx="3427">
                  <c:v>17.375025959023489</c:v>
                </c:pt>
                <c:pt idx="3428">
                  <c:v>17.375025959023489</c:v>
                </c:pt>
                <c:pt idx="3429">
                  <c:v>17.375025959023489</c:v>
                </c:pt>
                <c:pt idx="3430">
                  <c:v>17.375025959023489</c:v>
                </c:pt>
                <c:pt idx="3431">
                  <c:v>17.375025959023489</c:v>
                </c:pt>
                <c:pt idx="3432">
                  <c:v>17.375025959023489</c:v>
                </c:pt>
                <c:pt idx="3433">
                  <c:v>17.375025959023489</c:v>
                </c:pt>
                <c:pt idx="3434">
                  <c:v>17.375025959023489</c:v>
                </c:pt>
                <c:pt idx="3435">
                  <c:v>17.375025959023489</c:v>
                </c:pt>
                <c:pt idx="3436">
                  <c:v>17.375025959023489</c:v>
                </c:pt>
                <c:pt idx="3437">
                  <c:v>17.375025959023489</c:v>
                </c:pt>
                <c:pt idx="3438">
                  <c:v>17.375025959023489</c:v>
                </c:pt>
                <c:pt idx="3439">
                  <c:v>17.375025959023489</c:v>
                </c:pt>
                <c:pt idx="3440">
                  <c:v>17.375025959023489</c:v>
                </c:pt>
                <c:pt idx="3441">
                  <c:v>17.375025959023489</c:v>
                </c:pt>
                <c:pt idx="3442">
                  <c:v>17.375025959023489</c:v>
                </c:pt>
                <c:pt idx="3443">
                  <c:v>17.375025959023489</c:v>
                </c:pt>
                <c:pt idx="3444">
                  <c:v>17.375025959023489</c:v>
                </c:pt>
                <c:pt idx="3445">
                  <c:v>17.375025959023489</c:v>
                </c:pt>
                <c:pt idx="3446">
                  <c:v>17.375025959023489</c:v>
                </c:pt>
                <c:pt idx="3447">
                  <c:v>17.375025959023489</c:v>
                </c:pt>
                <c:pt idx="3448">
                  <c:v>17.375025959023489</c:v>
                </c:pt>
                <c:pt idx="3449">
                  <c:v>17.375025959023489</c:v>
                </c:pt>
                <c:pt idx="3450">
                  <c:v>17.375025959023489</c:v>
                </c:pt>
                <c:pt idx="3451">
                  <c:v>17.375025959023489</c:v>
                </c:pt>
                <c:pt idx="3452">
                  <c:v>17.375025959023489</c:v>
                </c:pt>
                <c:pt idx="3453">
                  <c:v>17.375025959023489</c:v>
                </c:pt>
                <c:pt idx="3454">
                  <c:v>17.375025959023489</c:v>
                </c:pt>
                <c:pt idx="3455">
                  <c:v>17.375025959023489</c:v>
                </c:pt>
                <c:pt idx="3456">
                  <c:v>17.375025959023489</c:v>
                </c:pt>
                <c:pt idx="3457">
                  <c:v>17.375025959023489</c:v>
                </c:pt>
                <c:pt idx="3458">
                  <c:v>17.375025959023489</c:v>
                </c:pt>
                <c:pt idx="3459">
                  <c:v>17.375025959023489</c:v>
                </c:pt>
                <c:pt idx="3460">
                  <c:v>17.375025959023489</c:v>
                </c:pt>
                <c:pt idx="3461">
                  <c:v>17.375025959023489</c:v>
                </c:pt>
                <c:pt idx="3462">
                  <c:v>17.375025959023489</c:v>
                </c:pt>
                <c:pt idx="3463">
                  <c:v>17.375025959023489</c:v>
                </c:pt>
                <c:pt idx="3464">
                  <c:v>17.375025959023489</c:v>
                </c:pt>
                <c:pt idx="3465">
                  <c:v>17.375025959023489</c:v>
                </c:pt>
                <c:pt idx="3466">
                  <c:v>17.375025959023489</c:v>
                </c:pt>
                <c:pt idx="3467">
                  <c:v>17.375025959023489</c:v>
                </c:pt>
                <c:pt idx="3468">
                  <c:v>17.375025959023489</c:v>
                </c:pt>
                <c:pt idx="3469">
                  <c:v>17.375025959023489</c:v>
                </c:pt>
                <c:pt idx="3470">
                  <c:v>17.375025959023489</c:v>
                </c:pt>
                <c:pt idx="3471">
                  <c:v>17.375025959023489</c:v>
                </c:pt>
                <c:pt idx="3472">
                  <c:v>17.375025959023489</c:v>
                </c:pt>
                <c:pt idx="3473">
                  <c:v>17.375025959023489</c:v>
                </c:pt>
                <c:pt idx="3474">
                  <c:v>17.375025959023489</c:v>
                </c:pt>
                <c:pt idx="3475">
                  <c:v>17.375025959023489</c:v>
                </c:pt>
                <c:pt idx="3476">
                  <c:v>17.375025959023489</c:v>
                </c:pt>
                <c:pt idx="3477">
                  <c:v>17.375025959023489</c:v>
                </c:pt>
                <c:pt idx="3478">
                  <c:v>17.375025959023489</c:v>
                </c:pt>
                <c:pt idx="3479">
                  <c:v>17.375025959023489</c:v>
                </c:pt>
                <c:pt idx="3480">
                  <c:v>17.375025959023489</c:v>
                </c:pt>
                <c:pt idx="3481">
                  <c:v>17.375025959023489</c:v>
                </c:pt>
                <c:pt idx="3482">
                  <c:v>17.375025959023489</c:v>
                </c:pt>
                <c:pt idx="3483">
                  <c:v>17.375025959023489</c:v>
                </c:pt>
                <c:pt idx="3484">
                  <c:v>17.375025959023489</c:v>
                </c:pt>
                <c:pt idx="3485">
                  <c:v>17.375025959023489</c:v>
                </c:pt>
                <c:pt idx="3486">
                  <c:v>17.375025959023489</c:v>
                </c:pt>
                <c:pt idx="3487">
                  <c:v>17.375025959023489</c:v>
                </c:pt>
                <c:pt idx="3488">
                  <c:v>17.375025959023489</c:v>
                </c:pt>
                <c:pt idx="3489">
                  <c:v>17.375025959023489</c:v>
                </c:pt>
                <c:pt idx="3490">
                  <c:v>17.375025959023489</c:v>
                </c:pt>
                <c:pt idx="3491">
                  <c:v>17.375025959023489</c:v>
                </c:pt>
                <c:pt idx="3492">
                  <c:v>17.375025959023489</c:v>
                </c:pt>
                <c:pt idx="3493">
                  <c:v>17.375025959023489</c:v>
                </c:pt>
                <c:pt idx="3494">
                  <c:v>17.375025959023489</c:v>
                </c:pt>
                <c:pt idx="3495">
                  <c:v>17.375025959023489</c:v>
                </c:pt>
                <c:pt idx="3496">
                  <c:v>17.375025959023489</c:v>
                </c:pt>
                <c:pt idx="3497">
                  <c:v>17.375025959023489</c:v>
                </c:pt>
                <c:pt idx="3498">
                  <c:v>17.375025959023489</c:v>
                </c:pt>
                <c:pt idx="3499">
                  <c:v>17.375025959023489</c:v>
                </c:pt>
                <c:pt idx="3500">
                  <c:v>17.375025959023489</c:v>
                </c:pt>
                <c:pt idx="3501">
                  <c:v>17.375025959023489</c:v>
                </c:pt>
                <c:pt idx="3502">
                  <c:v>17.375025959023489</c:v>
                </c:pt>
                <c:pt idx="3503">
                  <c:v>17.375025959023489</c:v>
                </c:pt>
                <c:pt idx="3504">
                  <c:v>17.375025959023489</c:v>
                </c:pt>
                <c:pt idx="3505">
                  <c:v>17.375025959023489</c:v>
                </c:pt>
                <c:pt idx="3506">
                  <c:v>17.375025959023489</c:v>
                </c:pt>
                <c:pt idx="3507">
                  <c:v>17.375025959023489</c:v>
                </c:pt>
                <c:pt idx="3508">
                  <c:v>17.375025959023489</c:v>
                </c:pt>
                <c:pt idx="3509">
                  <c:v>17.375025959023489</c:v>
                </c:pt>
                <c:pt idx="3510">
                  <c:v>17.375025959023489</c:v>
                </c:pt>
                <c:pt idx="3511">
                  <c:v>17.375025959023489</c:v>
                </c:pt>
                <c:pt idx="3512">
                  <c:v>17.375025959023489</c:v>
                </c:pt>
                <c:pt idx="3513">
                  <c:v>17.375025959023489</c:v>
                </c:pt>
                <c:pt idx="3514">
                  <c:v>17.375025959023489</c:v>
                </c:pt>
                <c:pt idx="3515">
                  <c:v>17.375025959023489</c:v>
                </c:pt>
                <c:pt idx="3516">
                  <c:v>17.375025959023489</c:v>
                </c:pt>
                <c:pt idx="3517">
                  <c:v>17.375025959023489</c:v>
                </c:pt>
                <c:pt idx="3518">
                  <c:v>17.375025959023489</c:v>
                </c:pt>
                <c:pt idx="3519">
                  <c:v>17.375025959023489</c:v>
                </c:pt>
                <c:pt idx="3520">
                  <c:v>17.375025959023489</c:v>
                </c:pt>
                <c:pt idx="3521">
                  <c:v>17.375025959023489</c:v>
                </c:pt>
                <c:pt idx="3522">
                  <c:v>17.375025959023489</c:v>
                </c:pt>
                <c:pt idx="3523">
                  <c:v>17.375025959023489</c:v>
                </c:pt>
                <c:pt idx="3524">
                  <c:v>17.375025959023489</c:v>
                </c:pt>
                <c:pt idx="3525">
                  <c:v>17.375025959023489</c:v>
                </c:pt>
                <c:pt idx="3526">
                  <c:v>17.375025959023489</c:v>
                </c:pt>
                <c:pt idx="3527">
                  <c:v>17.375025959023489</c:v>
                </c:pt>
                <c:pt idx="3528">
                  <c:v>17.375025959023489</c:v>
                </c:pt>
                <c:pt idx="3529">
                  <c:v>17.375025959023489</c:v>
                </c:pt>
                <c:pt idx="3530">
                  <c:v>17.375025959023489</c:v>
                </c:pt>
                <c:pt idx="3531">
                  <c:v>17.375025959023489</c:v>
                </c:pt>
                <c:pt idx="3532">
                  <c:v>17.375025959023489</c:v>
                </c:pt>
                <c:pt idx="3533">
                  <c:v>17.375025959023489</c:v>
                </c:pt>
                <c:pt idx="3534">
                  <c:v>17.375025959023489</c:v>
                </c:pt>
                <c:pt idx="3535">
                  <c:v>17.375025959023489</c:v>
                </c:pt>
                <c:pt idx="3536">
                  <c:v>17.375025959023489</c:v>
                </c:pt>
                <c:pt idx="3537">
                  <c:v>17.375025959023489</c:v>
                </c:pt>
                <c:pt idx="3538">
                  <c:v>17.375025959023489</c:v>
                </c:pt>
                <c:pt idx="3539">
                  <c:v>17.375025959023489</c:v>
                </c:pt>
                <c:pt idx="3540">
                  <c:v>17.375025959023489</c:v>
                </c:pt>
                <c:pt idx="3541">
                  <c:v>17.375025959023489</c:v>
                </c:pt>
                <c:pt idx="3542">
                  <c:v>17.375025959023489</c:v>
                </c:pt>
                <c:pt idx="3543">
                  <c:v>17.375025959023489</c:v>
                </c:pt>
                <c:pt idx="3544">
                  <c:v>17.375025959023489</c:v>
                </c:pt>
                <c:pt idx="3545">
                  <c:v>17.375025959023489</c:v>
                </c:pt>
                <c:pt idx="3546">
                  <c:v>17.375025959023489</c:v>
                </c:pt>
                <c:pt idx="3547">
                  <c:v>17.375025959023489</c:v>
                </c:pt>
                <c:pt idx="3548">
                  <c:v>17.375025959023489</c:v>
                </c:pt>
                <c:pt idx="3549">
                  <c:v>17.375025959023489</c:v>
                </c:pt>
                <c:pt idx="3550">
                  <c:v>17.375025959023489</c:v>
                </c:pt>
                <c:pt idx="3551">
                  <c:v>17.375025959023489</c:v>
                </c:pt>
                <c:pt idx="3552">
                  <c:v>17.375025959023489</c:v>
                </c:pt>
                <c:pt idx="3553">
                  <c:v>17.375025959023489</c:v>
                </c:pt>
                <c:pt idx="3554">
                  <c:v>17.375025959023489</c:v>
                </c:pt>
                <c:pt idx="3555">
                  <c:v>17.375025959023489</c:v>
                </c:pt>
                <c:pt idx="3556">
                  <c:v>17.375025959023489</c:v>
                </c:pt>
                <c:pt idx="3557">
                  <c:v>17.375025959023489</c:v>
                </c:pt>
                <c:pt idx="3558">
                  <c:v>17.375025959023489</c:v>
                </c:pt>
                <c:pt idx="3559">
                  <c:v>17.375025959023489</c:v>
                </c:pt>
                <c:pt idx="3560">
                  <c:v>17.375025959023489</c:v>
                </c:pt>
                <c:pt idx="3561">
                  <c:v>17.375025959023489</c:v>
                </c:pt>
                <c:pt idx="3562">
                  <c:v>17.375025959023489</c:v>
                </c:pt>
                <c:pt idx="3563">
                  <c:v>17.375025959023489</c:v>
                </c:pt>
                <c:pt idx="3564">
                  <c:v>17.375025959023489</c:v>
                </c:pt>
                <c:pt idx="3565">
                  <c:v>17.375025959023489</c:v>
                </c:pt>
                <c:pt idx="3566">
                  <c:v>17.375025959023489</c:v>
                </c:pt>
                <c:pt idx="3567">
                  <c:v>17.375025959023489</c:v>
                </c:pt>
                <c:pt idx="3568">
                  <c:v>17.375025959023489</c:v>
                </c:pt>
                <c:pt idx="3569">
                  <c:v>17.375025959023489</c:v>
                </c:pt>
                <c:pt idx="3570">
                  <c:v>17.375025959023489</c:v>
                </c:pt>
                <c:pt idx="3571">
                  <c:v>17.375025959023489</c:v>
                </c:pt>
                <c:pt idx="3572">
                  <c:v>17.375025959023489</c:v>
                </c:pt>
                <c:pt idx="3573">
                  <c:v>17.375025959023489</c:v>
                </c:pt>
                <c:pt idx="3574">
                  <c:v>17.375025959023489</c:v>
                </c:pt>
                <c:pt idx="3575">
                  <c:v>17.375025959023489</c:v>
                </c:pt>
                <c:pt idx="3576">
                  <c:v>17.375025959023489</c:v>
                </c:pt>
                <c:pt idx="3577">
                  <c:v>17.375025959023489</c:v>
                </c:pt>
                <c:pt idx="3578">
                  <c:v>17.375025959023489</c:v>
                </c:pt>
                <c:pt idx="3579">
                  <c:v>17.375025959023489</c:v>
                </c:pt>
                <c:pt idx="3580">
                  <c:v>17.375025959023489</c:v>
                </c:pt>
                <c:pt idx="3581">
                  <c:v>17.375025959023489</c:v>
                </c:pt>
                <c:pt idx="3582">
                  <c:v>17.375025959023489</c:v>
                </c:pt>
                <c:pt idx="3583">
                  <c:v>17.375025959023489</c:v>
                </c:pt>
                <c:pt idx="3584">
                  <c:v>17.375025959023489</c:v>
                </c:pt>
                <c:pt idx="3585">
                  <c:v>17.375025959023489</c:v>
                </c:pt>
                <c:pt idx="3586">
                  <c:v>17.375025959023489</c:v>
                </c:pt>
                <c:pt idx="3587">
                  <c:v>17.375025959023489</c:v>
                </c:pt>
                <c:pt idx="3588">
                  <c:v>17.375025959023489</c:v>
                </c:pt>
                <c:pt idx="3589">
                  <c:v>17.375025959023489</c:v>
                </c:pt>
                <c:pt idx="3590">
                  <c:v>17.375025959023489</c:v>
                </c:pt>
                <c:pt idx="3591">
                  <c:v>17.375025959023489</c:v>
                </c:pt>
                <c:pt idx="3592">
                  <c:v>17.375025959023489</c:v>
                </c:pt>
                <c:pt idx="3593">
                  <c:v>17.375025959023489</c:v>
                </c:pt>
                <c:pt idx="3594">
                  <c:v>17.375025959023489</c:v>
                </c:pt>
                <c:pt idx="3595">
                  <c:v>17.375025959023489</c:v>
                </c:pt>
                <c:pt idx="3596">
                  <c:v>17.375025959023489</c:v>
                </c:pt>
                <c:pt idx="3597">
                  <c:v>17.375025959023489</c:v>
                </c:pt>
                <c:pt idx="3598">
                  <c:v>17.375025959023489</c:v>
                </c:pt>
                <c:pt idx="3599">
                  <c:v>17.375025959023489</c:v>
                </c:pt>
                <c:pt idx="3600">
                  <c:v>17.375025959023489</c:v>
                </c:pt>
                <c:pt idx="3601">
                  <c:v>17.375025959023489</c:v>
                </c:pt>
                <c:pt idx="3602">
                  <c:v>17.375025959023489</c:v>
                </c:pt>
                <c:pt idx="3603">
                  <c:v>17.375025959023489</c:v>
                </c:pt>
                <c:pt idx="3604">
                  <c:v>17.375025959023489</c:v>
                </c:pt>
                <c:pt idx="3605">
                  <c:v>17.375025959023489</c:v>
                </c:pt>
                <c:pt idx="3606">
                  <c:v>17.375025959023489</c:v>
                </c:pt>
                <c:pt idx="3607">
                  <c:v>17.375025959023489</c:v>
                </c:pt>
                <c:pt idx="3608">
                  <c:v>17.375025959023489</c:v>
                </c:pt>
                <c:pt idx="3609">
                  <c:v>17.375025959023489</c:v>
                </c:pt>
                <c:pt idx="3610">
                  <c:v>17.375025959023489</c:v>
                </c:pt>
                <c:pt idx="3611">
                  <c:v>17.375025959023489</c:v>
                </c:pt>
                <c:pt idx="3612">
                  <c:v>17.375025959023489</c:v>
                </c:pt>
                <c:pt idx="3613">
                  <c:v>17.375025959023489</c:v>
                </c:pt>
                <c:pt idx="3614">
                  <c:v>17.375025959023489</c:v>
                </c:pt>
                <c:pt idx="3615">
                  <c:v>17.375025959023489</c:v>
                </c:pt>
                <c:pt idx="3616">
                  <c:v>17.375025959023489</c:v>
                </c:pt>
                <c:pt idx="3617">
                  <c:v>17.375025959023489</c:v>
                </c:pt>
                <c:pt idx="3618">
                  <c:v>17.375025959023489</c:v>
                </c:pt>
                <c:pt idx="3619">
                  <c:v>17.375025959023489</c:v>
                </c:pt>
                <c:pt idx="3620">
                  <c:v>17.375025959023489</c:v>
                </c:pt>
                <c:pt idx="3621">
                  <c:v>17.375025959023489</c:v>
                </c:pt>
                <c:pt idx="3622">
                  <c:v>17.375025959023489</c:v>
                </c:pt>
                <c:pt idx="3623">
                  <c:v>17.375025959023489</c:v>
                </c:pt>
                <c:pt idx="3624">
                  <c:v>17.375025959023489</c:v>
                </c:pt>
                <c:pt idx="3625">
                  <c:v>17.375025959023489</c:v>
                </c:pt>
                <c:pt idx="3626">
                  <c:v>17.375025959023489</c:v>
                </c:pt>
                <c:pt idx="3627">
                  <c:v>17.375025959023489</c:v>
                </c:pt>
                <c:pt idx="3628">
                  <c:v>17.375025959023489</c:v>
                </c:pt>
                <c:pt idx="3629">
                  <c:v>17.375025959023489</c:v>
                </c:pt>
                <c:pt idx="3630">
                  <c:v>17.375025959023489</c:v>
                </c:pt>
                <c:pt idx="3631">
                  <c:v>17.375025959023489</c:v>
                </c:pt>
                <c:pt idx="3632">
                  <c:v>17.375025959023489</c:v>
                </c:pt>
                <c:pt idx="3633">
                  <c:v>17.375025959023489</c:v>
                </c:pt>
                <c:pt idx="3634">
                  <c:v>17.375025959023489</c:v>
                </c:pt>
                <c:pt idx="3635">
                  <c:v>17.375025959023489</c:v>
                </c:pt>
                <c:pt idx="3636">
                  <c:v>17.375025959023489</c:v>
                </c:pt>
                <c:pt idx="3637">
                  <c:v>17.375025959023489</c:v>
                </c:pt>
                <c:pt idx="3638">
                  <c:v>17.375025959023489</c:v>
                </c:pt>
                <c:pt idx="3639">
                  <c:v>17.375025959023489</c:v>
                </c:pt>
                <c:pt idx="3640">
                  <c:v>17.375025959023489</c:v>
                </c:pt>
                <c:pt idx="3641">
                  <c:v>17.375025959023489</c:v>
                </c:pt>
                <c:pt idx="3642">
                  <c:v>17.375025959023489</c:v>
                </c:pt>
                <c:pt idx="3643">
                  <c:v>17.375025959023489</c:v>
                </c:pt>
                <c:pt idx="3644">
                  <c:v>17.375025959023489</c:v>
                </c:pt>
                <c:pt idx="3645">
                  <c:v>17.375025959023489</c:v>
                </c:pt>
                <c:pt idx="3646">
                  <c:v>17.375025959023489</c:v>
                </c:pt>
                <c:pt idx="3647">
                  <c:v>17.375025959023489</c:v>
                </c:pt>
                <c:pt idx="3648">
                  <c:v>17.375025959023489</c:v>
                </c:pt>
                <c:pt idx="3649">
                  <c:v>17.375025959023489</c:v>
                </c:pt>
                <c:pt idx="3650">
                  <c:v>17.375025959023489</c:v>
                </c:pt>
                <c:pt idx="3651">
                  <c:v>17.375025959023489</c:v>
                </c:pt>
                <c:pt idx="3652">
                  <c:v>17.375025959023489</c:v>
                </c:pt>
                <c:pt idx="3653">
                  <c:v>17.375025959023489</c:v>
                </c:pt>
                <c:pt idx="3654">
                  <c:v>17.375025959023489</c:v>
                </c:pt>
                <c:pt idx="3655">
                  <c:v>17.375025959023489</c:v>
                </c:pt>
                <c:pt idx="3656">
                  <c:v>17.375025959023489</c:v>
                </c:pt>
                <c:pt idx="3657">
                  <c:v>17.375025959023489</c:v>
                </c:pt>
                <c:pt idx="3658">
                  <c:v>17.375025959023489</c:v>
                </c:pt>
                <c:pt idx="3659">
                  <c:v>17.375025959023489</c:v>
                </c:pt>
                <c:pt idx="3660">
                  <c:v>17.375025959023489</c:v>
                </c:pt>
                <c:pt idx="3661">
                  <c:v>17.375025959023489</c:v>
                </c:pt>
                <c:pt idx="3662">
                  <c:v>17.375025959023489</c:v>
                </c:pt>
                <c:pt idx="3663">
                  <c:v>17.375025959023489</c:v>
                </c:pt>
                <c:pt idx="3664">
                  <c:v>17.375025959023489</c:v>
                </c:pt>
                <c:pt idx="3665">
                  <c:v>17.375025959023489</c:v>
                </c:pt>
                <c:pt idx="3666">
                  <c:v>17.375025959023489</c:v>
                </c:pt>
                <c:pt idx="3667">
                  <c:v>17.375025959023489</c:v>
                </c:pt>
                <c:pt idx="3668">
                  <c:v>17.375025959023489</c:v>
                </c:pt>
                <c:pt idx="3669">
                  <c:v>17.375025959023489</c:v>
                </c:pt>
                <c:pt idx="3670">
                  <c:v>17.375025959023489</c:v>
                </c:pt>
                <c:pt idx="3671">
                  <c:v>17.375025959023489</c:v>
                </c:pt>
                <c:pt idx="3672">
                  <c:v>17.375025959023489</c:v>
                </c:pt>
                <c:pt idx="3673">
                  <c:v>17.375025959023489</c:v>
                </c:pt>
                <c:pt idx="3674">
                  <c:v>17.375025959023489</c:v>
                </c:pt>
                <c:pt idx="3675">
                  <c:v>17.375025959023489</c:v>
                </c:pt>
                <c:pt idx="3676">
                  <c:v>17.375025959023489</c:v>
                </c:pt>
                <c:pt idx="3677">
                  <c:v>17.375025959023489</c:v>
                </c:pt>
                <c:pt idx="3678">
                  <c:v>17.375025959023489</c:v>
                </c:pt>
                <c:pt idx="3679">
                  <c:v>17.375025959023489</c:v>
                </c:pt>
                <c:pt idx="3680">
                  <c:v>17.375025959023489</c:v>
                </c:pt>
                <c:pt idx="3681">
                  <c:v>17.375025959023489</c:v>
                </c:pt>
                <c:pt idx="3682">
                  <c:v>17.375025959023489</c:v>
                </c:pt>
                <c:pt idx="3683">
                  <c:v>17.375025959023489</c:v>
                </c:pt>
                <c:pt idx="3684">
                  <c:v>17.375025959023489</c:v>
                </c:pt>
                <c:pt idx="3685">
                  <c:v>17.375025959023489</c:v>
                </c:pt>
                <c:pt idx="3686">
                  <c:v>17.375025959023489</c:v>
                </c:pt>
                <c:pt idx="3687">
                  <c:v>17.375025959023489</c:v>
                </c:pt>
                <c:pt idx="3688">
                  <c:v>17.375025959023489</c:v>
                </c:pt>
                <c:pt idx="3689">
                  <c:v>17.375025959023489</c:v>
                </c:pt>
                <c:pt idx="3690">
                  <c:v>17.375025959023489</c:v>
                </c:pt>
                <c:pt idx="3691">
                  <c:v>17.375025959023489</c:v>
                </c:pt>
                <c:pt idx="3692">
                  <c:v>17.375025959023489</c:v>
                </c:pt>
                <c:pt idx="3693">
                  <c:v>17.375025959023489</c:v>
                </c:pt>
                <c:pt idx="3694">
                  <c:v>17.375025959023489</c:v>
                </c:pt>
                <c:pt idx="3695">
                  <c:v>17.375025959023489</c:v>
                </c:pt>
                <c:pt idx="3696">
                  <c:v>17.375025959023489</c:v>
                </c:pt>
                <c:pt idx="3697">
                  <c:v>17.375025959023489</c:v>
                </c:pt>
                <c:pt idx="3698">
                  <c:v>17.375025959023489</c:v>
                </c:pt>
                <c:pt idx="3699">
                  <c:v>17.375025959023489</c:v>
                </c:pt>
                <c:pt idx="3700">
                  <c:v>17.375025959023489</c:v>
                </c:pt>
                <c:pt idx="3701">
                  <c:v>17.375025959023489</c:v>
                </c:pt>
                <c:pt idx="3702">
                  <c:v>17.375025959023489</c:v>
                </c:pt>
                <c:pt idx="3703">
                  <c:v>17.375025959023489</c:v>
                </c:pt>
                <c:pt idx="3704">
                  <c:v>17.375025959023489</c:v>
                </c:pt>
                <c:pt idx="3705">
                  <c:v>17.375025959023489</c:v>
                </c:pt>
                <c:pt idx="3706">
                  <c:v>17.375025959023489</c:v>
                </c:pt>
                <c:pt idx="3707">
                  <c:v>17.375025959023489</c:v>
                </c:pt>
                <c:pt idx="3708">
                  <c:v>17.375025959023489</c:v>
                </c:pt>
                <c:pt idx="3709">
                  <c:v>17.375025959023489</c:v>
                </c:pt>
                <c:pt idx="3710">
                  <c:v>17.375025959023489</c:v>
                </c:pt>
                <c:pt idx="3711">
                  <c:v>17.375025959023489</c:v>
                </c:pt>
                <c:pt idx="3712">
                  <c:v>17.375025959023489</c:v>
                </c:pt>
                <c:pt idx="3713">
                  <c:v>17.375025959023489</c:v>
                </c:pt>
                <c:pt idx="3714">
                  <c:v>17.375025959023489</c:v>
                </c:pt>
                <c:pt idx="3715">
                  <c:v>17.375025959023489</c:v>
                </c:pt>
                <c:pt idx="3716">
                  <c:v>17.375025959023489</c:v>
                </c:pt>
                <c:pt idx="3717">
                  <c:v>17.375025959023489</c:v>
                </c:pt>
                <c:pt idx="3718">
                  <c:v>17.375025959023489</c:v>
                </c:pt>
                <c:pt idx="3719">
                  <c:v>17.375025959023489</c:v>
                </c:pt>
                <c:pt idx="3720">
                  <c:v>17.375025959023489</c:v>
                </c:pt>
                <c:pt idx="3721">
                  <c:v>17.375025959023489</c:v>
                </c:pt>
                <c:pt idx="3722">
                  <c:v>17.375025959023489</c:v>
                </c:pt>
                <c:pt idx="3723">
                  <c:v>17.375025959023489</c:v>
                </c:pt>
                <c:pt idx="3724">
                  <c:v>17.375025959023489</c:v>
                </c:pt>
                <c:pt idx="3725">
                  <c:v>17.375025959023489</c:v>
                </c:pt>
                <c:pt idx="3726">
                  <c:v>17.375025959023489</c:v>
                </c:pt>
                <c:pt idx="3727">
                  <c:v>17.375025959023489</c:v>
                </c:pt>
                <c:pt idx="3728">
                  <c:v>17.375025959023489</c:v>
                </c:pt>
                <c:pt idx="3729">
                  <c:v>17.375025959023489</c:v>
                </c:pt>
                <c:pt idx="3730">
                  <c:v>17.375025959023489</c:v>
                </c:pt>
                <c:pt idx="3731">
                  <c:v>17.375025959023489</c:v>
                </c:pt>
                <c:pt idx="3732">
                  <c:v>17.375025959023489</c:v>
                </c:pt>
                <c:pt idx="3733">
                  <c:v>17.375025959023489</c:v>
                </c:pt>
                <c:pt idx="3734">
                  <c:v>17.375025959023489</c:v>
                </c:pt>
                <c:pt idx="3735">
                  <c:v>17.375025959023489</c:v>
                </c:pt>
                <c:pt idx="3736">
                  <c:v>17.375025959023489</c:v>
                </c:pt>
                <c:pt idx="3737">
                  <c:v>17.375025959023489</c:v>
                </c:pt>
                <c:pt idx="3738">
                  <c:v>17.375025959023489</c:v>
                </c:pt>
                <c:pt idx="3739">
                  <c:v>17.375025959023489</c:v>
                </c:pt>
                <c:pt idx="3740">
                  <c:v>17.375025959023489</c:v>
                </c:pt>
                <c:pt idx="3741">
                  <c:v>17.375025959023489</c:v>
                </c:pt>
                <c:pt idx="3742">
                  <c:v>17.375025959023489</c:v>
                </c:pt>
                <c:pt idx="3743">
                  <c:v>17.375025959023489</c:v>
                </c:pt>
                <c:pt idx="3744">
                  <c:v>17.375025959023489</c:v>
                </c:pt>
                <c:pt idx="3745">
                  <c:v>17.375025959023489</c:v>
                </c:pt>
                <c:pt idx="3746">
                  <c:v>17.375025959023489</c:v>
                </c:pt>
                <c:pt idx="3747">
                  <c:v>17.375025959023489</c:v>
                </c:pt>
                <c:pt idx="3748">
                  <c:v>17.375025959023489</c:v>
                </c:pt>
                <c:pt idx="3749">
                  <c:v>17.375025959023489</c:v>
                </c:pt>
                <c:pt idx="3750">
                  <c:v>17.375025959023489</c:v>
                </c:pt>
                <c:pt idx="3751">
                  <c:v>17.375025959023489</c:v>
                </c:pt>
                <c:pt idx="3752">
                  <c:v>17.375025959023489</c:v>
                </c:pt>
                <c:pt idx="3753">
                  <c:v>17.375025959023489</c:v>
                </c:pt>
                <c:pt idx="3754">
                  <c:v>17.375025959023489</c:v>
                </c:pt>
                <c:pt idx="3755">
                  <c:v>17.375025959023489</c:v>
                </c:pt>
                <c:pt idx="3756">
                  <c:v>17.375025959023489</c:v>
                </c:pt>
                <c:pt idx="3757">
                  <c:v>17.375025959023489</c:v>
                </c:pt>
                <c:pt idx="3758">
                  <c:v>17.375025959023489</c:v>
                </c:pt>
                <c:pt idx="3759">
                  <c:v>17.375025959023489</c:v>
                </c:pt>
                <c:pt idx="3760">
                  <c:v>17.375025959023489</c:v>
                </c:pt>
                <c:pt idx="3761">
                  <c:v>17.375025959023489</c:v>
                </c:pt>
                <c:pt idx="3762">
                  <c:v>17.375025959023489</c:v>
                </c:pt>
                <c:pt idx="3763">
                  <c:v>17.375025959023489</c:v>
                </c:pt>
                <c:pt idx="3764">
                  <c:v>17.375025959023489</c:v>
                </c:pt>
                <c:pt idx="3765">
                  <c:v>17.375025959023489</c:v>
                </c:pt>
                <c:pt idx="3766">
                  <c:v>17.375025959023489</c:v>
                </c:pt>
                <c:pt idx="3767">
                  <c:v>17.375025959023489</c:v>
                </c:pt>
                <c:pt idx="3768">
                  <c:v>17.375025959023489</c:v>
                </c:pt>
                <c:pt idx="3769">
                  <c:v>17.375025959023489</c:v>
                </c:pt>
                <c:pt idx="3770">
                  <c:v>17.375025959023489</c:v>
                </c:pt>
                <c:pt idx="3771">
                  <c:v>17.375025959023489</c:v>
                </c:pt>
                <c:pt idx="3772">
                  <c:v>17.375025959023489</c:v>
                </c:pt>
                <c:pt idx="3773">
                  <c:v>17.375025959023489</c:v>
                </c:pt>
                <c:pt idx="3774">
                  <c:v>17.375025959023489</c:v>
                </c:pt>
                <c:pt idx="3775">
                  <c:v>17.375025959023489</c:v>
                </c:pt>
                <c:pt idx="3776">
                  <c:v>17.375025959023489</c:v>
                </c:pt>
                <c:pt idx="3777">
                  <c:v>17.375025959023489</c:v>
                </c:pt>
                <c:pt idx="3778">
                  <c:v>17.375025959023489</c:v>
                </c:pt>
                <c:pt idx="3779">
                  <c:v>17.375025959023489</c:v>
                </c:pt>
                <c:pt idx="3780">
                  <c:v>17.375025959023489</c:v>
                </c:pt>
                <c:pt idx="3781">
                  <c:v>17.375025959023489</c:v>
                </c:pt>
                <c:pt idx="3782">
                  <c:v>17.375025959023489</c:v>
                </c:pt>
                <c:pt idx="3783">
                  <c:v>17.375025959023489</c:v>
                </c:pt>
                <c:pt idx="3784">
                  <c:v>17.375025959023489</c:v>
                </c:pt>
                <c:pt idx="3785">
                  <c:v>17.375025959023489</c:v>
                </c:pt>
                <c:pt idx="3786">
                  <c:v>17.375025959023489</c:v>
                </c:pt>
                <c:pt idx="3787">
                  <c:v>17.375025959023489</c:v>
                </c:pt>
                <c:pt idx="3788">
                  <c:v>17.375025959023489</c:v>
                </c:pt>
                <c:pt idx="3789">
                  <c:v>17.375025959023489</c:v>
                </c:pt>
                <c:pt idx="3790">
                  <c:v>17.375025959023489</c:v>
                </c:pt>
                <c:pt idx="3791">
                  <c:v>17.375025959023489</c:v>
                </c:pt>
                <c:pt idx="3792">
                  <c:v>17.375025959023489</c:v>
                </c:pt>
                <c:pt idx="3793">
                  <c:v>17.375025959023489</c:v>
                </c:pt>
                <c:pt idx="3794">
                  <c:v>17.375025959023489</c:v>
                </c:pt>
                <c:pt idx="3795">
                  <c:v>17.375025959023489</c:v>
                </c:pt>
                <c:pt idx="3796">
                  <c:v>17.375025959023489</c:v>
                </c:pt>
                <c:pt idx="3797">
                  <c:v>17.375025959023489</c:v>
                </c:pt>
                <c:pt idx="3798">
                  <c:v>17.375025959023489</c:v>
                </c:pt>
                <c:pt idx="3799">
                  <c:v>17.375025959023489</c:v>
                </c:pt>
                <c:pt idx="3800">
                  <c:v>17.375025959023489</c:v>
                </c:pt>
                <c:pt idx="3801">
                  <c:v>17.375025959023489</c:v>
                </c:pt>
                <c:pt idx="3802">
                  <c:v>17.375025959023489</c:v>
                </c:pt>
                <c:pt idx="3803">
                  <c:v>17.375025959023489</c:v>
                </c:pt>
                <c:pt idx="3804">
                  <c:v>17.375025959023489</c:v>
                </c:pt>
                <c:pt idx="3805">
                  <c:v>17.375025959023489</c:v>
                </c:pt>
                <c:pt idx="3806">
                  <c:v>17.375025959023489</c:v>
                </c:pt>
                <c:pt idx="3807">
                  <c:v>17.375025959023489</c:v>
                </c:pt>
                <c:pt idx="3808">
                  <c:v>17.375025959023489</c:v>
                </c:pt>
                <c:pt idx="3809">
                  <c:v>17.375025959023489</c:v>
                </c:pt>
                <c:pt idx="3810">
                  <c:v>17.375025959023489</c:v>
                </c:pt>
                <c:pt idx="3811">
                  <c:v>17.375025959023489</c:v>
                </c:pt>
                <c:pt idx="3812">
                  <c:v>17.375025959023489</c:v>
                </c:pt>
                <c:pt idx="3813">
                  <c:v>17.375025959023489</c:v>
                </c:pt>
                <c:pt idx="3814">
                  <c:v>17.375025959023489</c:v>
                </c:pt>
                <c:pt idx="3815">
                  <c:v>17.375025959023489</c:v>
                </c:pt>
                <c:pt idx="3816">
                  <c:v>17.375025959023489</c:v>
                </c:pt>
                <c:pt idx="3817">
                  <c:v>17.375025959023489</c:v>
                </c:pt>
                <c:pt idx="3818">
                  <c:v>17.375025959023489</c:v>
                </c:pt>
                <c:pt idx="3819">
                  <c:v>17.375025959023489</c:v>
                </c:pt>
                <c:pt idx="3820">
                  <c:v>17.375025959023489</c:v>
                </c:pt>
                <c:pt idx="3821">
                  <c:v>17.375025959023489</c:v>
                </c:pt>
                <c:pt idx="3822">
                  <c:v>17.375025959023489</c:v>
                </c:pt>
                <c:pt idx="3823">
                  <c:v>17.375025959023489</c:v>
                </c:pt>
                <c:pt idx="3824">
                  <c:v>17.375025959023489</c:v>
                </c:pt>
                <c:pt idx="3825">
                  <c:v>17.375025959023489</c:v>
                </c:pt>
                <c:pt idx="3826">
                  <c:v>17.375025959023489</c:v>
                </c:pt>
                <c:pt idx="3827">
                  <c:v>17.375025959023489</c:v>
                </c:pt>
                <c:pt idx="3828">
                  <c:v>17.375025959023489</c:v>
                </c:pt>
                <c:pt idx="3829">
                  <c:v>17.375025959023489</c:v>
                </c:pt>
                <c:pt idx="3830">
                  <c:v>17.375025959023489</c:v>
                </c:pt>
                <c:pt idx="3831">
                  <c:v>17.375025959023489</c:v>
                </c:pt>
                <c:pt idx="3832">
                  <c:v>17.375025959023489</c:v>
                </c:pt>
                <c:pt idx="3833">
                  <c:v>17.375025959023489</c:v>
                </c:pt>
                <c:pt idx="3834">
                  <c:v>17.375025959023489</c:v>
                </c:pt>
                <c:pt idx="3835">
                  <c:v>17.375025959023489</c:v>
                </c:pt>
                <c:pt idx="3836">
                  <c:v>17.375025959023489</c:v>
                </c:pt>
                <c:pt idx="3837">
                  <c:v>17.375025959023489</c:v>
                </c:pt>
                <c:pt idx="3838">
                  <c:v>17.375025959023489</c:v>
                </c:pt>
                <c:pt idx="3839">
                  <c:v>17.375025959023489</c:v>
                </c:pt>
                <c:pt idx="3840">
                  <c:v>17.375025959023489</c:v>
                </c:pt>
                <c:pt idx="3841">
                  <c:v>17.375025959023489</c:v>
                </c:pt>
                <c:pt idx="3842">
                  <c:v>17.375025959023489</c:v>
                </c:pt>
                <c:pt idx="3843">
                  <c:v>17.375025959023489</c:v>
                </c:pt>
                <c:pt idx="3844">
                  <c:v>17.375025959023489</c:v>
                </c:pt>
                <c:pt idx="3845">
                  <c:v>17.375025959023489</c:v>
                </c:pt>
                <c:pt idx="3846">
                  <c:v>17.375025959023489</c:v>
                </c:pt>
                <c:pt idx="3847">
                  <c:v>17.375025959023489</c:v>
                </c:pt>
                <c:pt idx="3848">
                  <c:v>17.375025959023489</c:v>
                </c:pt>
                <c:pt idx="3849">
                  <c:v>17.375025959023489</c:v>
                </c:pt>
                <c:pt idx="3850">
                  <c:v>17.375025959023489</c:v>
                </c:pt>
                <c:pt idx="3851">
                  <c:v>17.375025959023489</c:v>
                </c:pt>
                <c:pt idx="3852">
                  <c:v>17.375025959023489</c:v>
                </c:pt>
                <c:pt idx="3853">
                  <c:v>17.375025959023489</c:v>
                </c:pt>
                <c:pt idx="3854">
                  <c:v>17.375025959023489</c:v>
                </c:pt>
                <c:pt idx="3855">
                  <c:v>17.375025959023489</c:v>
                </c:pt>
                <c:pt idx="3856">
                  <c:v>17.375025959023489</c:v>
                </c:pt>
                <c:pt idx="3857">
                  <c:v>17.375025959023489</c:v>
                </c:pt>
                <c:pt idx="3858">
                  <c:v>17.375025959023489</c:v>
                </c:pt>
                <c:pt idx="3859">
                  <c:v>17.375025959023489</c:v>
                </c:pt>
                <c:pt idx="3860">
                  <c:v>17.375025959023489</c:v>
                </c:pt>
                <c:pt idx="3861">
                  <c:v>17.375025959023489</c:v>
                </c:pt>
                <c:pt idx="3862">
                  <c:v>17.375025959023489</c:v>
                </c:pt>
                <c:pt idx="3863">
                  <c:v>17.375025959023489</c:v>
                </c:pt>
                <c:pt idx="3864">
                  <c:v>17.375025959023489</c:v>
                </c:pt>
                <c:pt idx="3865">
                  <c:v>17.375025959023489</c:v>
                </c:pt>
                <c:pt idx="3866">
                  <c:v>17.375025959023489</c:v>
                </c:pt>
                <c:pt idx="3867">
                  <c:v>17.375025959023489</c:v>
                </c:pt>
                <c:pt idx="3868">
                  <c:v>17.375025959023489</c:v>
                </c:pt>
                <c:pt idx="3869">
                  <c:v>17.375025959023489</c:v>
                </c:pt>
                <c:pt idx="3870">
                  <c:v>17.375025959023489</c:v>
                </c:pt>
                <c:pt idx="3871">
                  <c:v>17.375025959023489</c:v>
                </c:pt>
                <c:pt idx="3872">
                  <c:v>17.375025959023489</c:v>
                </c:pt>
                <c:pt idx="3873">
                  <c:v>17.375025959023489</c:v>
                </c:pt>
                <c:pt idx="3874">
                  <c:v>17.375025959023489</c:v>
                </c:pt>
                <c:pt idx="3875">
                  <c:v>17.375025959023489</c:v>
                </c:pt>
                <c:pt idx="3876">
                  <c:v>17.375025959023489</c:v>
                </c:pt>
                <c:pt idx="3877">
                  <c:v>17.375025959023489</c:v>
                </c:pt>
                <c:pt idx="3878">
                  <c:v>17.375025959023489</c:v>
                </c:pt>
                <c:pt idx="3879">
                  <c:v>17.375025959023489</c:v>
                </c:pt>
                <c:pt idx="3880">
                  <c:v>17.375025959023489</c:v>
                </c:pt>
                <c:pt idx="3881">
                  <c:v>17.375025959023489</c:v>
                </c:pt>
                <c:pt idx="3882">
                  <c:v>17.375025959023489</c:v>
                </c:pt>
                <c:pt idx="3883">
                  <c:v>17.375025959023489</c:v>
                </c:pt>
                <c:pt idx="3884">
                  <c:v>17.375025959023489</c:v>
                </c:pt>
                <c:pt idx="3885">
                  <c:v>17.375025959023489</c:v>
                </c:pt>
                <c:pt idx="3886">
                  <c:v>17.375025959023489</c:v>
                </c:pt>
                <c:pt idx="3887">
                  <c:v>17.375025959023489</c:v>
                </c:pt>
                <c:pt idx="3888">
                  <c:v>17.375025959023489</c:v>
                </c:pt>
                <c:pt idx="3889">
                  <c:v>17.375025959023489</c:v>
                </c:pt>
                <c:pt idx="3890">
                  <c:v>17.375025959023489</c:v>
                </c:pt>
                <c:pt idx="3891">
                  <c:v>17.375025959023489</c:v>
                </c:pt>
                <c:pt idx="3892">
                  <c:v>17.375025959023489</c:v>
                </c:pt>
                <c:pt idx="3893">
                  <c:v>17.375025959023489</c:v>
                </c:pt>
                <c:pt idx="3894">
                  <c:v>17.375025959023489</c:v>
                </c:pt>
                <c:pt idx="3895">
                  <c:v>17.375025959023489</c:v>
                </c:pt>
                <c:pt idx="3896">
                  <c:v>17.375025959023489</c:v>
                </c:pt>
                <c:pt idx="3897">
                  <c:v>17.375025959023489</c:v>
                </c:pt>
                <c:pt idx="3898">
                  <c:v>17.375025959023489</c:v>
                </c:pt>
                <c:pt idx="3899">
                  <c:v>17.375025959023489</c:v>
                </c:pt>
                <c:pt idx="3900">
                  <c:v>17.375025959023489</c:v>
                </c:pt>
                <c:pt idx="3901">
                  <c:v>17.375025959023489</c:v>
                </c:pt>
                <c:pt idx="3902">
                  <c:v>17.375025959023489</c:v>
                </c:pt>
                <c:pt idx="3903">
                  <c:v>17.375025959023489</c:v>
                </c:pt>
                <c:pt idx="3904">
                  <c:v>17.375025959023489</c:v>
                </c:pt>
                <c:pt idx="3905">
                  <c:v>17.375025959023489</c:v>
                </c:pt>
                <c:pt idx="3906">
                  <c:v>17.375025959023489</c:v>
                </c:pt>
                <c:pt idx="3907">
                  <c:v>17.375025959023489</c:v>
                </c:pt>
                <c:pt idx="3908">
                  <c:v>17.375025959023489</c:v>
                </c:pt>
                <c:pt idx="3909">
                  <c:v>17.375025959023489</c:v>
                </c:pt>
                <c:pt idx="3910">
                  <c:v>17.375025959023489</c:v>
                </c:pt>
                <c:pt idx="3911">
                  <c:v>17.375025959023489</c:v>
                </c:pt>
                <c:pt idx="3912">
                  <c:v>17.375025959023489</c:v>
                </c:pt>
                <c:pt idx="3913">
                  <c:v>17.375025959023489</c:v>
                </c:pt>
                <c:pt idx="3914">
                  <c:v>17.375025959023489</c:v>
                </c:pt>
                <c:pt idx="3915">
                  <c:v>17.375025959023489</c:v>
                </c:pt>
                <c:pt idx="3916">
                  <c:v>17.375025959023489</c:v>
                </c:pt>
                <c:pt idx="3917">
                  <c:v>17.375025959023489</c:v>
                </c:pt>
                <c:pt idx="3918">
                  <c:v>17.375025959023489</c:v>
                </c:pt>
                <c:pt idx="3919">
                  <c:v>17.375025959023489</c:v>
                </c:pt>
                <c:pt idx="3920">
                  <c:v>17.375025959023489</c:v>
                </c:pt>
                <c:pt idx="3921">
                  <c:v>17.375025959023489</c:v>
                </c:pt>
                <c:pt idx="3922">
                  <c:v>17.375025959023489</c:v>
                </c:pt>
                <c:pt idx="3923">
                  <c:v>17.375025959023489</c:v>
                </c:pt>
                <c:pt idx="3924">
                  <c:v>17.375025959023489</c:v>
                </c:pt>
                <c:pt idx="3925">
                  <c:v>17.375025959023489</c:v>
                </c:pt>
                <c:pt idx="3926">
                  <c:v>17.375025959023489</c:v>
                </c:pt>
                <c:pt idx="3927">
                  <c:v>17.375025959023489</c:v>
                </c:pt>
                <c:pt idx="3928">
                  <c:v>17.375025959023489</c:v>
                </c:pt>
                <c:pt idx="3929">
                  <c:v>17.375025959023489</c:v>
                </c:pt>
                <c:pt idx="3930">
                  <c:v>17.375025959023489</c:v>
                </c:pt>
                <c:pt idx="3931">
                  <c:v>17.375025959023489</c:v>
                </c:pt>
                <c:pt idx="3932">
                  <c:v>17.375025959023489</c:v>
                </c:pt>
                <c:pt idx="3933">
                  <c:v>17.375025959023489</c:v>
                </c:pt>
                <c:pt idx="3934">
                  <c:v>17.375025959023489</c:v>
                </c:pt>
                <c:pt idx="3935">
                  <c:v>17.375025959023489</c:v>
                </c:pt>
                <c:pt idx="3936">
                  <c:v>17.375025959023489</c:v>
                </c:pt>
                <c:pt idx="3937">
                  <c:v>17.375025959023489</c:v>
                </c:pt>
                <c:pt idx="3938">
                  <c:v>17.375025959023489</c:v>
                </c:pt>
                <c:pt idx="3939">
                  <c:v>17.375025959023489</c:v>
                </c:pt>
                <c:pt idx="3940">
                  <c:v>17.375025959023489</c:v>
                </c:pt>
                <c:pt idx="3941">
                  <c:v>17.375025959023489</c:v>
                </c:pt>
                <c:pt idx="3942">
                  <c:v>17.375025959023489</c:v>
                </c:pt>
                <c:pt idx="3943">
                  <c:v>17.375025959023489</c:v>
                </c:pt>
                <c:pt idx="3944">
                  <c:v>17.375025959023489</c:v>
                </c:pt>
                <c:pt idx="3945">
                  <c:v>17.375025959023489</c:v>
                </c:pt>
                <c:pt idx="3946">
                  <c:v>17.375025959023489</c:v>
                </c:pt>
                <c:pt idx="3947">
                  <c:v>17.375025959023489</c:v>
                </c:pt>
                <c:pt idx="3948">
                  <c:v>17.375025959023489</c:v>
                </c:pt>
                <c:pt idx="3949">
                  <c:v>17.375025959023489</c:v>
                </c:pt>
                <c:pt idx="3950">
                  <c:v>17.375025959023489</c:v>
                </c:pt>
                <c:pt idx="3951">
                  <c:v>17.375025959023489</c:v>
                </c:pt>
                <c:pt idx="3952">
                  <c:v>17.375025959023489</c:v>
                </c:pt>
                <c:pt idx="3953">
                  <c:v>17.375025959023489</c:v>
                </c:pt>
                <c:pt idx="3954">
                  <c:v>17.375025959023489</c:v>
                </c:pt>
                <c:pt idx="3955">
                  <c:v>17.375025959023489</c:v>
                </c:pt>
                <c:pt idx="3956">
                  <c:v>17.375025959023489</c:v>
                </c:pt>
                <c:pt idx="3957">
                  <c:v>17.375025959023489</c:v>
                </c:pt>
                <c:pt idx="3958">
                  <c:v>17.375025959023489</c:v>
                </c:pt>
                <c:pt idx="3959">
                  <c:v>17.375025959023489</c:v>
                </c:pt>
                <c:pt idx="3960">
                  <c:v>17.375025959023489</c:v>
                </c:pt>
                <c:pt idx="3961">
                  <c:v>17.375025959023489</c:v>
                </c:pt>
                <c:pt idx="3962">
                  <c:v>17.375025959023489</c:v>
                </c:pt>
                <c:pt idx="3963">
                  <c:v>17.375025959023489</c:v>
                </c:pt>
                <c:pt idx="3964">
                  <c:v>17.375025959023489</c:v>
                </c:pt>
                <c:pt idx="3965">
                  <c:v>17.375025959023489</c:v>
                </c:pt>
                <c:pt idx="3966">
                  <c:v>17.375025959023489</c:v>
                </c:pt>
                <c:pt idx="3967">
                  <c:v>17.375025959023489</c:v>
                </c:pt>
                <c:pt idx="3968">
                  <c:v>17.375025959023489</c:v>
                </c:pt>
                <c:pt idx="3969">
                  <c:v>17.375025959023489</c:v>
                </c:pt>
                <c:pt idx="3970">
                  <c:v>17.375025959023489</c:v>
                </c:pt>
                <c:pt idx="3971">
                  <c:v>17.375025959023489</c:v>
                </c:pt>
                <c:pt idx="3972">
                  <c:v>17.375025959023489</c:v>
                </c:pt>
                <c:pt idx="3973">
                  <c:v>17.375025959023489</c:v>
                </c:pt>
                <c:pt idx="3974">
                  <c:v>17.375025959023489</c:v>
                </c:pt>
                <c:pt idx="3975">
                  <c:v>17.375025959023489</c:v>
                </c:pt>
                <c:pt idx="3976">
                  <c:v>17.375025959023489</c:v>
                </c:pt>
                <c:pt idx="3977">
                  <c:v>17.375025959023489</c:v>
                </c:pt>
                <c:pt idx="3978">
                  <c:v>17.375025959023489</c:v>
                </c:pt>
                <c:pt idx="3979">
                  <c:v>17.375025959023489</c:v>
                </c:pt>
                <c:pt idx="3980">
                  <c:v>17.375025959023489</c:v>
                </c:pt>
                <c:pt idx="3981">
                  <c:v>17.375025959023489</c:v>
                </c:pt>
                <c:pt idx="3982">
                  <c:v>17.375025959023489</c:v>
                </c:pt>
                <c:pt idx="3983">
                  <c:v>17.375025959023489</c:v>
                </c:pt>
                <c:pt idx="3984">
                  <c:v>17.375025959023489</c:v>
                </c:pt>
                <c:pt idx="3985">
                  <c:v>17.375025959023489</c:v>
                </c:pt>
                <c:pt idx="3986">
                  <c:v>17.375025959023489</c:v>
                </c:pt>
                <c:pt idx="3987">
                  <c:v>17.375025959023489</c:v>
                </c:pt>
                <c:pt idx="3988">
                  <c:v>17.375025959023489</c:v>
                </c:pt>
                <c:pt idx="3989">
                  <c:v>17.375025959023489</c:v>
                </c:pt>
                <c:pt idx="3990">
                  <c:v>17.375025959023489</c:v>
                </c:pt>
                <c:pt idx="3991">
                  <c:v>17.375025959023489</c:v>
                </c:pt>
                <c:pt idx="3992">
                  <c:v>17.375025959023489</c:v>
                </c:pt>
                <c:pt idx="3993">
                  <c:v>17.375025959023489</c:v>
                </c:pt>
                <c:pt idx="3994">
                  <c:v>17.375025959023489</c:v>
                </c:pt>
                <c:pt idx="3995">
                  <c:v>17.375025959023489</c:v>
                </c:pt>
                <c:pt idx="3996">
                  <c:v>17.375025959023489</c:v>
                </c:pt>
                <c:pt idx="3997">
                  <c:v>17.375025959023489</c:v>
                </c:pt>
                <c:pt idx="3998">
                  <c:v>17.375025959023489</c:v>
                </c:pt>
                <c:pt idx="3999">
                  <c:v>17.375025959023489</c:v>
                </c:pt>
                <c:pt idx="4000">
                  <c:v>17.375025959023489</c:v>
                </c:pt>
                <c:pt idx="4001">
                  <c:v>17.375025959023489</c:v>
                </c:pt>
                <c:pt idx="4002">
                  <c:v>17.375025959023489</c:v>
                </c:pt>
                <c:pt idx="4003">
                  <c:v>17.375025959023489</c:v>
                </c:pt>
                <c:pt idx="4004">
                  <c:v>17.375025959023489</c:v>
                </c:pt>
                <c:pt idx="4005">
                  <c:v>17.375025959023489</c:v>
                </c:pt>
                <c:pt idx="4006">
                  <c:v>17.375025959023489</c:v>
                </c:pt>
                <c:pt idx="4007">
                  <c:v>17.375025959023489</c:v>
                </c:pt>
                <c:pt idx="4008">
                  <c:v>17.375025959023489</c:v>
                </c:pt>
                <c:pt idx="4009">
                  <c:v>17.375025959023489</c:v>
                </c:pt>
                <c:pt idx="4010">
                  <c:v>17.375025959023489</c:v>
                </c:pt>
                <c:pt idx="4011">
                  <c:v>17.375025959023489</c:v>
                </c:pt>
                <c:pt idx="4012">
                  <c:v>17.375025959023489</c:v>
                </c:pt>
                <c:pt idx="4013">
                  <c:v>17.375025959023489</c:v>
                </c:pt>
                <c:pt idx="4014">
                  <c:v>17.375025959023489</c:v>
                </c:pt>
                <c:pt idx="4015">
                  <c:v>17.375025959023489</c:v>
                </c:pt>
                <c:pt idx="4016">
                  <c:v>17.375025959023489</c:v>
                </c:pt>
                <c:pt idx="4017">
                  <c:v>17.375025959023489</c:v>
                </c:pt>
                <c:pt idx="4018">
                  <c:v>17.375025959023489</c:v>
                </c:pt>
                <c:pt idx="4019">
                  <c:v>17.375025959023489</c:v>
                </c:pt>
                <c:pt idx="4020">
                  <c:v>17.375025959023489</c:v>
                </c:pt>
                <c:pt idx="4021">
                  <c:v>17.375025959023489</c:v>
                </c:pt>
                <c:pt idx="4022">
                  <c:v>17.375025959023489</c:v>
                </c:pt>
                <c:pt idx="4023">
                  <c:v>17.375025959023489</c:v>
                </c:pt>
                <c:pt idx="4024">
                  <c:v>17.375025959023489</c:v>
                </c:pt>
                <c:pt idx="4025">
                  <c:v>17.375025959023489</c:v>
                </c:pt>
                <c:pt idx="4026">
                  <c:v>17.375025959023489</c:v>
                </c:pt>
                <c:pt idx="4027">
                  <c:v>17.375025959023489</c:v>
                </c:pt>
                <c:pt idx="4028">
                  <c:v>17.375025959023489</c:v>
                </c:pt>
                <c:pt idx="4029">
                  <c:v>17.375025959023489</c:v>
                </c:pt>
                <c:pt idx="4030">
                  <c:v>17.375025959023489</c:v>
                </c:pt>
                <c:pt idx="4031">
                  <c:v>17.375025959023489</c:v>
                </c:pt>
                <c:pt idx="4032">
                  <c:v>17.375025959023489</c:v>
                </c:pt>
                <c:pt idx="4033">
                  <c:v>17.375025959023489</c:v>
                </c:pt>
                <c:pt idx="4034">
                  <c:v>17.375025959023489</c:v>
                </c:pt>
                <c:pt idx="4035">
                  <c:v>17.375025959023489</c:v>
                </c:pt>
                <c:pt idx="4036">
                  <c:v>17.375025959023489</c:v>
                </c:pt>
                <c:pt idx="4037">
                  <c:v>17.375025959023489</c:v>
                </c:pt>
                <c:pt idx="4038">
                  <c:v>17.375025959023489</c:v>
                </c:pt>
                <c:pt idx="4039">
                  <c:v>17.375025959023489</c:v>
                </c:pt>
                <c:pt idx="4040">
                  <c:v>17.375025959023489</c:v>
                </c:pt>
                <c:pt idx="4041">
                  <c:v>17.375025959023489</c:v>
                </c:pt>
                <c:pt idx="4042">
                  <c:v>17.375025959023489</c:v>
                </c:pt>
                <c:pt idx="4043">
                  <c:v>17.375025959023489</c:v>
                </c:pt>
                <c:pt idx="4044">
                  <c:v>17.375025959023489</c:v>
                </c:pt>
                <c:pt idx="4045">
                  <c:v>17.375025959023489</c:v>
                </c:pt>
                <c:pt idx="4046">
                  <c:v>17.375025959023489</c:v>
                </c:pt>
                <c:pt idx="4047">
                  <c:v>17.375025959023489</c:v>
                </c:pt>
                <c:pt idx="4048">
                  <c:v>17.375025959023489</c:v>
                </c:pt>
                <c:pt idx="4049">
                  <c:v>17.375025959023489</c:v>
                </c:pt>
                <c:pt idx="4050">
                  <c:v>17.375025959023489</c:v>
                </c:pt>
                <c:pt idx="4051">
                  <c:v>17.375025959023489</c:v>
                </c:pt>
                <c:pt idx="4052">
                  <c:v>17.375025959023489</c:v>
                </c:pt>
                <c:pt idx="4053">
                  <c:v>17.375025959023489</c:v>
                </c:pt>
                <c:pt idx="4054">
                  <c:v>17.375025959023489</c:v>
                </c:pt>
                <c:pt idx="4055">
                  <c:v>17.375025959023489</c:v>
                </c:pt>
                <c:pt idx="4056">
                  <c:v>17.375025959023489</c:v>
                </c:pt>
                <c:pt idx="4057">
                  <c:v>17.375025959023489</c:v>
                </c:pt>
                <c:pt idx="4058">
                  <c:v>17.375025959023489</c:v>
                </c:pt>
                <c:pt idx="4059">
                  <c:v>17.375025959023489</c:v>
                </c:pt>
                <c:pt idx="4060">
                  <c:v>17.375025959023489</c:v>
                </c:pt>
                <c:pt idx="4061">
                  <c:v>17.375025959023489</c:v>
                </c:pt>
                <c:pt idx="4062">
                  <c:v>17.375025959023489</c:v>
                </c:pt>
                <c:pt idx="4063">
                  <c:v>17.375025959023489</c:v>
                </c:pt>
                <c:pt idx="4064">
                  <c:v>17.375025959023489</c:v>
                </c:pt>
                <c:pt idx="4065">
                  <c:v>17.375025959023489</c:v>
                </c:pt>
                <c:pt idx="4066">
                  <c:v>17.375025959023489</c:v>
                </c:pt>
                <c:pt idx="4067">
                  <c:v>17.375025959023489</c:v>
                </c:pt>
                <c:pt idx="4068">
                  <c:v>17.375025959023489</c:v>
                </c:pt>
                <c:pt idx="4069">
                  <c:v>17.375025959023489</c:v>
                </c:pt>
                <c:pt idx="4070">
                  <c:v>17.375025959023489</c:v>
                </c:pt>
                <c:pt idx="4071">
                  <c:v>17.375025959023489</c:v>
                </c:pt>
                <c:pt idx="4072">
                  <c:v>17.375025959023489</c:v>
                </c:pt>
                <c:pt idx="4073">
                  <c:v>17.375025959023489</c:v>
                </c:pt>
                <c:pt idx="4074">
                  <c:v>17.375025959023489</c:v>
                </c:pt>
                <c:pt idx="4075">
                  <c:v>17.375025959023489</c:v>
                </c:pt>
                <c:pt idx="4076">
                  <c:v>17.375025959023489</c:v>
                </c:pt>
                <c:pt idx="4077">
                  <c:v>17.375025959023489</c:v>
                </c:pt>
                <c:pt idx="4078">
                  <c:v>17.375025959023489</c:v>
                </c:pt>
                <c:pt idx="4079">
                  <c:v>17.375025959023489</c:v>
                </c:pt>
                <c:pt idx="4080">
                  <c:v>17.375025959023489</c:v>
                </c:pt>
                <c:pt idx="4081">
                  <c:v>17.375025959023489</c:v>
                </c:pt>
                <c:pt idx="4082">
                  <c:v>17.375025959023489</c:v>
                </c:pt>
                <c:pt idx="4083">
                  <c:v>17.375025959023489</c:v>
                </c:pt>
                <c:pt idx="4084">
                  <c:v>17.375025959023489</c:v>
                </c:pt>
                <c:pt idx="4085">
                  <c:v>17.375025959023489</c:v>
                </c:pt>
                <c:pt idx="4086">
                  <c:v>17.375025959023489</c:v>
                </c:pt>
                <c:pt idx="4087">
                  <c:v>17.375025959023489</c:v>
                </c:pt>
                <c:pt idx="4088">
                  <c:v>17.375025959023489</c:v>
                </c:pt>
                <c:pt idx="4089">
                  <c:v>17.375025959023489</c:v>
                </c:pt>
                <c:pt idx="4090">
                  <c:v>17.375025959023489</c:v>
                </c:pt>
                <c:pt idx="4091">
                  <c:v>17.375025959023489</c:v>
                </c:pt>
                <c:pt idx="4092">
                  <c:v>17.375025959023489</c:v>
                </c:pt>
                <c:pt idx="4093">
                  <c:v>17.375025959023489</c:v>
                </c:pt>
                <c:pt idx="4094">
                  <c:v>17.375025959023489</c:v>
                </c:pt>
                <c:pt idx="4095">
                  <c:v>17.375025959023489</c:v>
                </c:pt>
                <c:pt idx="4096">
                  <c:v>17.375025959023489</c:v>
                </c:pt>
                <c:pt idx="4097">
                  <c:v>17.375025959023489</c:v>
                </c:pt>
                <c:pt idx="4098">
                  <c:v>17.375025959023489</c:v>
                </c:pt>
                <c:pt idx="4099">
                  <c:v>17.375025959023489</c:v>
                </c:pt>
                <c:pt idx="4100">
                  <c:v>17.375025959023489</c:v>
                </c:pt>
                <c:pt idx="4101">
                  <c:v>17.375025959023489</c:v>
                </c:pt>
                <c:pt idx="4102">
                  <c:v>17.375025959023489</c:v>
                </c:pt>
                <c:pt idx="4103">
                  <c:v>17.375025959023489</c:v>
                </c:pt>
                <c:pt idx="4104">
                  <c:v>17.375025959023489</c:v>
                </c:pt>
                <c:pt idx="4105">
                  <c:v>17.375025959023489</c:v>
                </c:pt>
                <c:pt idx="4106">
                  <c:v>17.375025959023489</c:v>
                </c:pt>
                <c:pt idx="4107">
                  <c:v>17.375025959023489</c:v>
                </c:pt>
                <c:pt idx="4108">
                  <c:v>17.375025959023489</c:v>
                </c:pt>
                <c:pt idx="4109">
                  <c:v>17.375025959023489</c:v>
                </c:pt>
                <c:pt idx="4110">
                  <c:v>17.375025959023489</c:v>
                </c:pt>
                <c:pt idx="4111">
                  <c:v>17.375025959023489</c:v>
                </c:pt>
                <c:pt idx="4112">
                  <c:v>17.375025959023489</c:v>
                </c:pt>
                <c:pt idx="4113">
                  <c:v>17.375025959023489</c:v>
                </c:pt>
                <c:pt idx="4114">
                  <c:v>17.375025959023489</c:v>
                </c:pt>
                <c:pt idx="4115">
                  <c:v>17.375025959023489</c:v>
                </c:pt>
                <c:pt idx="4116">
                  <c:v>17.375025959023489</c:v>
                </c:pt>
                <c:pt idx="4117">
                  <c:v>17.375025959023489</c:v>
                </c:pt>
                <c:pt idx="4118">
                  <c:v>17.375025959023489</c:v>
                </c:pt>
                <c:pt idx="4119">
                  <c:v>17.375025959023489</c:v>
                </c:pt>
                <c:pt idx="4120">
                  <c:v>17.375025959023489</c:v>
                </c:pt>
                <c:pt idx="4121">
                  <c:v>17.375025959023489</c:v>
                </c:pt>
                <c:pt idx="4122">
                  <c:v>17.375025959023489</c:v>
                </c:pt>
                <c:pt idx="4123">
                  <c:v>17.375025959023489</c:v>
                </c:pt>
                <c:pt idx="4124">
                  <c:v>17.375025959023489</c:v>
                </c:pt>
                <c:pt idx="4125">
                  <c:v>17.375025959023489</c:v>
                </c:pt>
                <c:pt idx="4126">
                  <c:v>17.375025959023489</c:v>
                </c:pt>
                <c:pt idx="4127">
                  <c:v>17.375025959023489</c:v>
                </c:pt>
                <c:pt idx="4128">
                  <c:v>17.375025959023489</c:v>
                </c:pt>
                <c:pt idx="4129">
                  <c:v>17.375025959023489</c:v>
                </c:pt>
                <c:pt idx="4130">
                  <c:v>17.375025959023489</c:v>
                </c:pt>
                <c:pt idx="4131">
                  <c:v>17.375025959023489</c:v>
                </c:pt>
                <c:pt idx="4132">
                  <c:v>17.375025959023489</c:v>
                </c:pt>
                <c:pt idx="4133">
                  <c:v>17.375025959023489</c:v>
                </c:pt>
                <c:pt idx="4134">
                  <c:v>17.375025959023489</c:v>
                </c:pt>
                <c:pt idx="4135">
                  <c:v>17.375025959023489</c:v>
                </c:pt>
                <c:pt idx="4136">
                  <c:v>17.375025959023489</c:v>
                </c:pt>
                <c:pt idx="4137">
                  <c:v>17.375025959023489</c:v>
                </c:pt>
                <c:pt idx="4138">
                  <c:v>17.375025959023489</c:v>
                </c:pt>
                <c:pt idx="4139">
                  <c:v>17.375025959023489</c:v>
                </c:pt>
                <c:pt idx="4140">
                  <c:v>17.375025959023489</c:v>
                </c:pt>
                <c:pt idx="4141">
                  <c:v>17.375025959023489</c:v>
                </c:pt>
                <c:pt idx="4142">
                  <c:v>17.375025959023489</c:v>
                </c:pt>
                <c:pt idx="4143">
                  <c:v>17.375025959023489</c:v>
                </c:pt>
                <c:pt idx="4144">
                  <c:v>17.375025959023489</c:v>
                </c:pt>
                <c:pt idx="4145">
                  <c:v>17.375025959023489</c:v>
                </c:pt>
                <c:pt idx="4146">
                  <c:v>17.375025959023489</c:v>
                </c:pt>
                <c:pt idx="4147">
                  <c:v>17.375025959023489</c:v>
                </c:pt>
                <c:pt idx="4148">
                  <c:v>17.375025959023489</c:v>
                </c:pt>
                <c:pt idx="4149">
                  <c:v>17.375025959023489</c:v>
                </c:pt>
                <c:pt idx="4150">
                  <c:v>17.375025959023489</c:v>
                </c:pt>
                <c:pt idx="4151">
                  <c:v>17.375025959023489</c:v>
                </c:pt>
                <c:pt idx="4152">
                  <c:v>17.375025959023489</c:v>
                </c:pt>
                <c:pt idx="4153">
                  <c:v>17.375025959023489</c:v>
                </c:pt>
                <c:pt idx="4154">
                  <c:v>17.375025959023489</c:v>
                </c:pt>
                <c:pt idx="4155">
                  <c:v>17.375025959023489</c:v>
                </c:pt>
                <c:pt idx="4156">
                  <c:v>17.375025959023489</c:v>
                </c:pt>
                <c:pt idx="4157">
                  <c:v>17.375025959023489</c:v>
                </c:pt>
                <c:pt idx="4158">
                  <c:v>17.375025959023489</c:v>
                </c:pt>
                <c:pt idx="4159">
                  <c:v>17.375025959023489</c:v>
                </c:pt>
                <c:pt idx="4160">
                  <c:v>17.375025959023489</c:v>
                </c:pt>
                <c:pt idx="4161">
                  <c:v>17.375025959023489</c:v>
                </c:pt>
                <c:pt idx="4162">
                  <c:v>17.375025959023489</c:v>
                </c:pt>
                <c:pt idx="4163">
                  <c:v>17.375025959023489</c:v>
                </c:pt>
                <c:pt idx="4164">
                  <c:v>17.375025959023489</c:v>
                </c:pt>
                <c:pt idx="4165">
                  <c:v>17.375025959023489</c:v>
                </c:pt>
                <c:pt idx="4166">
                  <c:v>17.375025959023489</c:v>
                </c:pt>
                <c:pt idx="4167">
                  <c:v>17.375025959023489</c:v>
                </c:pt>
                <c:pt idx="4168">
                  <c:v>17.375025959023489</c:v>
                </c:pt>
                <c:pt idx="4169">
                  <c:v>17.375025959023489</c:v>
                </c:pt>
                <c:pt idx="4170">
                  <c:v>17.375025959023489</c:v>
                </c:pt>
                <c:pt idx="4171">
                  <c:v>17.375025959023489</c:v>
                </c:pt>
                <c:pt idx="4172">
                  <c:v>17.375025959023489</c:v>
                </c:pt>
                <c:pt idx="4173">
                  <c:v>17.375025959023489</c:v>
                </c:pt>
                <c:pt idx="4174">
                  <c:v>17.375025959023489</c:v>
                </c:pt>
                <c:pt idx="4175">
                  <c:v>17.375025959023489</c:v>
                </c:pt>
                <c:pt idx="4176">
                  <c:v>17.375025959023489</c:v>
                </c:pt>
                <c:pt idx="4177">
                  <c:v>17.375025959023489</c:v>
                </c:pt>
                <c:pt idx="4178">
                  <c:v>17.375025959023489</c:v>
                </c:pt>
                <c:pt idx="4179">
                  <c:v>17.375025959023489</c:v>
                </c:pt>
                <c:pt idx="4180">
                  <c:v>17.375025959023489</c:v>
                </c:pt>
                <c:pt idx="4181">
                  <c:v>17.375025959023489</c:v>
                </c:pt>
                <c:pt idx="4182">
                  <c:v>17.375025959023489</c:v>
                </c:pt>
                <c:pt idx="4183">
                  <c:v>17.375025959023489</c:v>
                </c:pt>
                <c:pt idx="4184">
                  <c:v>17.375025959023489</c:v>
                </c:pt>
                <c:pt idx="4185">
                  <c:v>17.375025959023489</c:v>
                </c:pt>
                <c:pt idx="4186">
                  <c:v>17.375025959023489</c:v>
                </c:pt>
                <c:pt idx="4187">
                  <c:v>17.375025959023489</c:v>
                </c:pt>
                <c:pt idx="4188">
                  <c:v>17.375025959023489</c:v>
                </c:pt>
                <c:pt idx="4189">
                  <c:v>17.375025959023489</c:v>
                </c:pt>
                <c:pt idx="4190">
                  <c:v>17.375025959023489</c:v>
                </c:pt>
                <c:pt idx="4191">
                  <c:v>17.375025959023489</c:v>
                </c:pt>
                <c:pt idx="4192">
                  <c:v>17.375025959023489</c:v>
                </c:pt>
                <c:pt idx="4193">
                  <c:v>17.375025959023489</c:v>
                </c:pt>
                <c:pt idx="4194">
                  <c:v>17.375025959023489</c:v>
                </c:pt>
                <c:pt idx="4195">
                  <c:v>17.375025959023489</c:v>
                </c:pt>
                <c:pt idx="4196">
                  <c:v>17.375025959023489</c:v>
                </c:pt>
                <c:pt idx="4197">
                  <c:v>17.375025959023489</c:v>
                </c:pt>
                <c:pt idx="4198">
                  <c:v>17.375025959023489</c:v>
                </c:pt>
                <c:pt idx="4199">
                  <c:v>17.375025959023489</c:v>
                </c:pt>
                <c:pt idx="4200">
                  <c:v>17.375025959023489</c:v>
                </c:pt>
                <c:pt idx="4201">
                  <c:v>17.375025959023489</c:v>
                </c:pt>
                <c:pt idx="4202">
                  <c:v>17.375025959023489</c:v>
                </c:pt>
                <c:pt idx="4203">
                  <c:v>17.375025959023489</c:v>
                </c:pt>
                <c:pt idx="4204">
                  <c:v>17.375025959023489</c:v>
                </c:pt>
                <c:pt idx="4205">
                  <c:v>17.375025959023489</c:v>
                </c:pt>
                <c:pt idx="4206">
                  <c:v>17.375025959023489</c:v>
                </c:pt>
                <c:pt idx="4207">
                  <c:v>17.375025959023489</c:v>
                </c:pt>
                <c:pt idx="4208">
                  <c:v>17.375025959023489</c:v>
                </c:pt>
                <c:pt idx="4209">
                  <c:v>17.375025959023489</c:v>
                </c:pt>
                <c:pt idx="4210">
                  <c:v>17.375025959023489</c:v>
                </c:pt>
                <c:pt idx="4211">
                  <c:v>17.375025959023489</c:v>
                </c:pt>
                <c:pt idx="4212">
                  <c:v>17.375025959023489</c:v>
                </c:pt>
                <c:pt idx="4213">
                  <c:v>17.375025959023489</c:v>
                </c:pt>
                <c:pt idx="4214">
                  <c:v>17.375025959023489</c:v>
                </c:pt>
                <c:pt idx="4215">
                  <c:v>17.375025959023489</c:v>
                </c:pt>
                <c:pt idx="4216">
                  <c:v>17.375025959023489</c:v>
                </c:pt>
                <c:pt idx="4217">
                  <c:v>17.375025959023489</c:v>
                </c:pt>
                <c:pt idx="4218">
                  <c:v>17.375025959023489</c:v>
                </c:pt>
                <c:pt idx="4219">
                  <c:v>17.375025959023489</c:v>
                </c:pt>
                <c:pt idx="4220">
                  <c:v>17.375025959023489</c:v>
                </c:pt>
                <c:pt idx="4221">
                  <c:v>17.375025959023489</c:v>
                </c:pt>
                <c:pt idx="4222">
                  <c:v>17.375025959023489</c:v>
                </c:pt>
                <c:pt idx="4223">
                  <c:v>17.375025959023489</c:v>
                </c:pt>
                <c:pt idx="4224">
                  <c:v>17.375025959023489</c:v>
                </c:pt>
                <c:pt idx="4225">
                  <c:v>17.375025959023489</c:v>
                </c:pt>
                <c:pt idx="4226">
                  <c:v>17.375025959023489</c:v>
                </c:pt>
                <c:pt idx="4227">
                  <c:v>17.375025959023489</c:v>
                </c:pt>
                <c:pt idx="4228">
                  <c:v>17.375025959023489</c:v>
                </c:pt>
                <c:pt idx="4229">
                  <c:v>17.375025959023489</c:v>
                </c:pt>
                <c:pt idx="4230">
                  <c:v>17.375025959023489</c:v>
                </c:pt>
                <c:pt idx="4231">
                  <c:v>17.375025959023489</c:v>
                </c:pt>
                <c:pt idx="4232">
                  <c:v>17.375025959023489</c:v>
                </c:pt>
                <c:pt idx="4233">
                  <c:v>17.375025959023489</c:v>
                </c:pt>
                <c:pt idx="4234">
                  <c:v>17.375025959023489</c:v>
                </c:pt>
                <c:pt idx="4235">
                  <c:v>17.375025959023489</c:v>
                </c:pt>
                <c:pt idx="4236">
                  <c:v>17.375025959023489</c:v>
                </c:pt>
                <c:pt idx="4237">
                  <c:v>17.375025959023489</c:v>
                </c:pt>
                <c:pt idx="4238">
                  <c:v>17.375025959023489</c:v>
                </c:pt>
                <c:pt idx="4239">
                  <c:v>17.375025959023489</c:v>
                </c:pt>
                <c:pt idx="4240">
                  <c:v>17.375025959023489</c:v>
                </c:pt>
                <c:pt idx="4241">
                  <c:v>17.375025959023489</c:v>
                </c:pt>
                <c:pt idx="4242">
                  <c:v>17.375025959023489</c:v>
                </c:pt>
                <c:pt idx="4243">
                  <c:v>17.375025959023489</c:v>
                </c:pt>
                <c:pt idx="4244">
                  <c:v>17.375025959023489</c:v>
                </c:pt>
                <c:pt idx="4245">
                  <c:v>17.375025959023489</c:v>
                </c:pt>
                <c:pt idx="4246">
                  <c:v>17.375025959023489</c:v>
                </c:pt>
                <c:pt idx="4247">
                  <c:v>17.375025959023489</c:v>
                </c:pt>
                <c:pt idx="4248">
                  <c:v>17.375025959023489</c:v>
                </c:pt>
                <c:pt idx="4249">
                  <c:v>17.375025959023489</c:v>
                </c:pt>
                <c:pt idx="4250">
                  <c:v>17.375025959023489</c:v>
                </c:pt>
                <c:pt idx="4251">
                  <c:v>17.375025959023489</c:v>
                </c:pt>
                <c:pt idx="4252">
                  <c:v>17.375025959023489</c:v>
                </c:pt>
                <c:pt idx="4253">
                  <c:v>17.375025959023489</c:v>
                </c:pt>
                <c:pt idx="4254">
                  <c:v>17.375025959023489</c:v>
                </c:pt>
                <c:pt idx="4255">
                  <c:v>17.375025959023489</c:v>
                </c:pt>
                <c:pt idx="4256">
                  <c:v>17.375025959023489</c:v>
                </c:pt>
                <c:pt idx="4257">
                  <c:v>17.375025959023489</c:v>
                </c:pt>
                <c:pt idx="4258">
                  <c:v>17.375025959023489</c:v>
                </c:pt>
                <c:pt idx="4259">
                  <c:v>17.375025959023489</c:v>
                </c:pt>
                <c:pt idx="4260">
                  <c:v>17.375025959023489</c:v>
                </c:pt>
                <c:pt idx="4261">
                  <c:v>17.375025959023489</c:v>
                </c:pt>
                <c:pt idx="4262">
                  <c:v>17.375025959023489</c:v>
                </c:pt>
                <c:pt idx="4263">
                  <c:v>17.375025959023489</c:v>
                </c:pt>
                <c:pt idx="4264">
                  <c:v>17.375025959023489</c:v>
                </c:pt>
                <c:pt idx="4265">
                  <c:v>17.375025959023489</c:v>
                </c:pt>
                <c:pt idx="4266">
                  <c:v>17.375025959023489</c:v>
                </c:pt>
                <c:pt idx="4267">
                  <c:v>17.375025959023489</c:v>
                </c:pt>
                <c:pt idx="4268">
                  <c:v>17.375025959023489</c:v>
                </c:pt>
                <c:pt idx="4269">
                  <c:v>17.375025959023489</c:v>
                </c:pt>
                <c:pt idx="4270">
                  <c:v>17.375025959023489</c:v>
                </c:pt>
                <c:pt idx="4271">
                  <c:v>17.375025959023489</c:v>
                </c:pt>
                <c:pt idx="4272">
                  <c:v>17.375025959023489</c:v>
                </c:pt>
                <c:pt idx="4273">
                  <c:v>17.375025959023489</c:v>
                </c:pt>
                <c:pt idx="4274">
                  <c:v>17.375025959023489</c:v>
                </c:pt>
                <c:pt idx="4275">
                  <c:v>17.375025959023489</c:v>
                </c:pt>
                <c:pt idx="4276">
                  <c:v>17.375025959023489</c:v>
                </c:pt>
                <c:pt idx="4277">
                  <c:v>17.375025959023489</c:v>
                </c:pt>
                <c:pt idx="4278">
                  <c:v>17.375025959023489</c:v>
                </c:pt>
                <c:pt idx="4279">
                  <c:v>17.375025959023489</c:v>
                </c:pt>
                <c:pt idx="4280">
                  <c:v>17.375025959023489</c:v>
                </c:pt>
                <c:pt idx="4281">
                  <c:v>17.375025959023489</c:v>
                </c:pt>
                <c:pt idx="4282">
                  <c:v>17.375025959023489</c:v>
                </c:pt>
                <c:pt idx="4283">
                  <c:v>17.375025959023489</c:v>
                </c:pt>
                <c:pt idx="4284">
                  <c:v>17.375025959023489</c:v>
                </c:pt>
                <c:pt idx="4285">
                  <c:v>17.375025959023489</c:v>
                </c:pt>
                <c:pt idx="4286">
                  <c:v>17.375025959023489</c:v>
                </c:pt>
                <c:pt idx="4287">
                  <c:v>17.375025959023489</c:v>
                </c:pt>
                <c:pt idx="4288">
                  <c:v>17.375025959023489</c:v>
                </c:pt>
                <c:pt idx="4289">
                  <c:v>17.375025959023489</c:v>
                </c:pt>
                <c:pt idx="4290">
                  <c:v>17.375025959023489</c:v>
                </c:pt>
                <c:pt idx="4291">
                  <c:v>17.375025959023489</c:v>
                </c:pt>
                <c:pt idx="4292">
                  <c:v>17.375025959023489</c:v>
                </c:pt>
                <c:pt idx="4293">
                  <c:v>17.375025959023489</c:v>
                </c:pt>
                <c:pt idx="4294">
                  <c:v>17.375025959023489</c:v>
                </c:pt>
                <c:pt idx="4295">
                  <c:v>17.375025959023489</c:v>
                </c:pt>
                <c:pt idx="4296">
                  <c:v>17.375025959023489</c:v>
                </c:pt>
                <c:pt idx="4297">
                  <c:v>17.375025959023489</c:v>
                </c:pt>
                <c:pt idx="4298">
                  <c:v>17.375025959023489</c:v>
                </c:pt>
                <c:pt idx="4299">
                  <c:v>17.375025959023489</c:v>
                </c:pt>
                <c:pt idx="4300">
                  <c:v>17.375025959023489</c:v>
                </c:pt>
                <c:pt idx="4301">
                  <c:v>17.375025959023489</c:v>
                </c:pt>
                <c:pt idx="4302">
                  <c:v>17.375025959023489</c:v>
                </c:pt>
                <c:pt idx="4303">
                  <c:v>17.375025959023489</c:v>
                </c:pt>
                <c:pt idx="4304">
                  <c:v>17.375025959023489</c:v>
                </c:pt>
                <c:pt idx="4305">
                  <c:v>17.375025959023489</c:v>
                </c:pt>
                <c:pt idx="4306">
                  <c:v>17.375025959023489</c:v>
                </c:pt>
                <c:pt idx="4307">
                  <c:v>17.375025959023489</c:v>
                </c:pt>
                <c:pt idx="4308">
                  <c:v>17.375025959023489</c:v>
                </c:pt>
                <c:pt idx="4309">
                  <c:v>17.375025959023489</c:v>
                </c:pt>
                <c:pt idx="4310">
                  <c:v>17.375025959023489</c:v>
                </c:pt>
                <c:pt idx="4311">
                  <c:v>17.375025959023489</c:v>
                </c:pt>
                <c:pt idx="4312">
                  <c:v>17.375025959023489</c:v>
                </c:pt>
                <c:pt idx="4313">
                  <c:v>17.375025959023489</c:v>
                </c:pt>
                <c:pt idx="4314">
                  <c:v>17.375025959023489</c:v>
                </c:pt>
                <c:pt idx="4315">
                  <c:v>17.375025959023489</c:v>
                </c:pt>
                <c:pt idx="4316">
                  <c:v>17.375025959023489</c:v>
                </c:pt>
                <c:pt idx="4317">
                  <c:v>17.375025959023489</c:v>
                </c:pt>
                <c:pt idx="4318">
                  <c:v>17.375025959023489</c:v>
                </c:pt>
                <c:pt idx="4319">
                  <c:v>17.375025959023489</c:v>
                </c:pt>
                <c:pt idx="4320">
                  <c:v>17.375025959023489</c:v>
                </c:pt>
                <c:pt idx="4321">
                  <c:v>17.375025959023489</c:v>
                </c:pt>
                <c:pt idx="4322">
                  <c:v>17.375025959023489</c:v>
                </c:pt>
                <c:pt idx="4323">
                  <c:v>17.375025959023489</c:v>
                </c:pt>
                <c:pt idx="4324">
                  <c:v>17.375025959023489</c:v>
                </c:pt>
                <c:pt idx="4325">
                  <c:v>17.375025959023489</c:v>
                </c:pt>
                <c:pt idx="4326">
                  <c:v>17.375025959023489</c:v>
                </c:pt>
                <c:pt idx="4327">
                  <c:v>17.375025959023489</c:v>
                </c:pt>
                <c:pt idx="4328">
                  <c:v>17.375025959023489</c:v>
                </c:pt>
                <c:pt idx="4329">
                  <c:v>17.375025959023489</c:v>
                </c:pt>
                <c:pt idx="4330">
                  <c:v>17.375025959023489</c:v>
                </c:pt>
                <c:pt idx="4331">
                  <c:v>17.375025959023489</c:v>
                </c:pt>
                <c:pt idx="4332">
                  <c:v>17.375025959023489</c:v>
                </c:pt>
                <c:pt idx="4333">
                  <c:v>17.375025959023489</c:v>
                </c:pt>
                <c:pt idx="4334">
                  <c:v>17.375025959023489</c:v>
                </c:pt>
                <c:pt idx="4335">
                  <c:v>17.375025959023489</c:v>
                </c:pt>
                <c:pt idx="4336">
                  <c:v>17.375025959023489</c:v>
                </c:pt>
                <c:pt idx="4337">
                  <c:v>17.375025959023489</c:v>
                </c:pt>
                <c:pt idx="4338">
                  <c:v>17.375025959023489</c:v>
                </c:pt>
                <c:pt idx="4339">
                  <c:v>17.375025959023489</c:v>
                </c:pt>
                <c:pt idx="4340">
                  <c:v>17.375025959023489</c:v>
                </c:pt>
                <c:pt idx="4341">
                  <c:v>17.375025959023489</c:v>
                </c:pt>
                <c:pt idx="4342">
                  <c:v>17.375025959023489</c:v>
                </c:pt>
                <c:pt idx="4343">
                  <c:v>17.375025959023489</c:v>
                </c:pt>
                <c:pt idx="4344">
                  <c:v>17.375025959023489</c:v>
                </c:pt>
                <c:pt idx="4345">
                  <c:v>17.375025959023489</c:v>
                </c:pt>
                <c:pt idx="4346">
                  <c:v>17.375025959023489</c:v>
                </c:pt>
                <c:pt idx="4347">
                  <c:v>17.375025959023489</c:v>
                </c:pt>
                <c:pt idx="4348">
                  <c:v>17.375025959023489</c:v>
                </c:pt>
                <c:pt idx="4349">
                  <c:v>17.375025959023489</c:v>
                </c:pt>
                <c:pt idx="4350">
                  <c:v>17.375025959023489</c:v>
                </c:pt>
                <c:pt idx="4351">
                  <c:v>17.375025959023489</c:v>
                </c:pt>
                <c:pt idx="4352">
                  <c:v>17.375025959023489</c:v>
                </c:pt>
                <c:pt idx="4353">
                  <c:v>17.375025959023489</c:v>
                </c:pt>
                <c:pt idx="4354">
                  <c:v>17.375025959023489</c:v>
                </c:pt>
                <c:pt idx="4355">
                  <c:v>17.375025959023489</c:v>
                </c:pt>
                <c:pt idx="4356">
                  <c:v>17.375025959023489</c:v>
                </c:pt>
                <c:pt idx="4357">
                  <c:v>17.375025959023489</c:v>
                </c:pt>
                <c:pt idx="4358">
                  <c:v>17.375025959023489</c:v>
                </c:pt>
                <c:pt idx="4359">
                  <c:v>17.375025959023489</c:v>
                </c:pt>
                <c:pt idx="4360">
                  <c:v>17.375025959023489</c:v>
                </c:pt>
                <c:pt idx="4361">
                  <c:v>17.375025959023489</c:v>
                </c:pt>
                <c:pt idx="4362">
                  <c:v>17.375025959023489</c:v>
                </c:pt>
                <c:pt idx="4363">
                  <c:v>17.375025959023489</c:v>
                </c:pt>
                <c:pt idx="4364">
                  <c:v>17.375025959023489</c:v>
                </c:pt>
                <c:pt idx="4365">
                  <c:v>17.375025959023489</c:v>
                </c:pt>
                <c:pt idx="4366">
                  <c:v>17.375025959023489</c:v>
                </c:pt>
                <c:pt idx="4367">
                  <c:v>17.375025959023489</c:v>
                </c:pt>
                <c:pt idx="4368">
                  <c:v>17.375025959023489</c:v>
                </c:pt>
                <c:pt idx="4369">
                  <c:v>17.375025959023489</c:v>
                </c:pt>
                <c:pt idx="4370">
                  <c:v>17.375025959023489</c:v>
                </c:pt>
                <c:pt idx="4371">
                  <c:v>17.375025959023489</c:v>
                </c:pt>
                <c:pt idx="4372">
                  <c:v>17.375025959023489</c:v>
                </c:pt>
                <c:pt idx="4373">
                  <c:v>17.375025959023489</c:v>
                </c:pt>
                <c:pt idx="4374">
                  <c:v>17.375025959023489</c:v>
                </c:pt>
                <c:pt idx="4375">
                  <c:v>17.375025959023489</c:v>
                </c:pt>
                <c:pt idx="4376">
                  <c:v>17.375025959023489</c:v>
                </c:pt>
                <c:pt idx="4377">
                  <c:v>17.375025959023489</c:v>
                </c:pt>
                <c:pt idx="4378">
                  <c:v>17.375025959023489</c:v>
                </c:pt>
                <c:pt idx="4379">
                  <c:v>17.375025959023489</c:v>
                </c:pt>
                <c:pt idx="4380">
                  <c:v>17.375025959023489</c:v>
                </c:pt>
                <c:pt idx="4381">
                  <c:v>17.375025959023489</c:v>
                </c:pt>
                <c:pt idx="4382">
                  <c:v>17.375025959023489</c:v>
                </c:pt>
                <c:pt idx="4383">
                  <c:v>17.375025959023489</c:v>
                </c:pt>
                <c:pt idx="4384">
                  <c:v>17.375025959023489</c:v>
                </c:pt>
                <c:pt idx="4385">
                  <c:v>17.375025959023489</c:v>
                </c:pt>
                <c:pt idx="4386">
                  <c:v>17.375025959023489</c:v>
                </c:pt>
                <c:pt idx="4387">
                  <c:v>17.375025959023489</c:v>
                </c:pt>
                <c:pt idx="4388">
                  <c:v>17.375025959023489</c:v>
                </c:pt>
                <c:pt idx="4389">
                  <c:v>17.375025959023489</c:v>
                </c:pt>
                <c:pt idx="4390">
                  <c:v>17.375025959023489</c:v>
                </c:pt>
                <c:pt idx="4391">
                  <c:v>17.375025959023489</c:v>
                </c:pt>
                <c:pt idx="4392">
                  <c:v>17.375025959023489</c:v>
                </c:pt>
                <c:pt idx="4393">
                  <c:v>17.375025959023489</c:v>
                </c:pt>
                <c:pt idx="4394">
                  <c:v>17.375025959023489</c:v>
                </c:pt>
                <c:pt idx="4395">
                  <c:v>17.375025959023489</c:v>
                </c:pt>
                <c:pt idx="4396">
                  <c:v>17.375025959023489</c:v>
                </c:pt>
                <c:pt idx="4397">
                  <c:v>17.375025959023489</c:v>
                </c:pt>
                <c:pt idx="4398">
                  <c:v>17.375025959023489</c:v>
                </c:pt>
                <c:pt idx="4399">
                  <c:v>17.375025959023489</c:v>
                </c:pt>
                <c:pt idx="4400">
                  <c:v>17.375025959023489</c:v>
                </c:pt>
                <c:pt idx="4401">
                  <c:v>17.375025959023489</c:v>
                </c:pt>
                <c:pt idx="4402">
                  <c:v>17.375025959023489</c:v>
                </c:pt>
                <c:pt idx="4403">
                  <c:v>17.375025959023489</c:v>
                </c:pt>
                <c:pt idx="4404">
                  <c:v>17.375025959023489</c:v>
                </c:pt>
                <c:pt idx="4405">
                  <c:v>17.375025959023489</c:v>
                </c:pt>
                <c:pt idx="4406">
                  <c:v>17.375025959023489</c:v>
                </c:pt>
                <c:pt idx="4407">
                  <c:v>17.375025959023489</c:v>
                </c:pt>
                <c:pt idx="4408">
                  <c:v>17.375025959023489</c:v>
                </c:pt>
                <c:pt idx="4409">
                  <c:v>17.375025959023489</c:v>
                </c:pt>
                <c:pt idx="4410">
                  <c:v>17.375025959023489</c:v>
                </c:pt>
                <c:pt idx="4411">
                  <c:v>17.375025959023489</c:v>
                </c:pt>
                <c:pt idx="4412">
                  <c:v>17.375025959023489</c:v>
                </c:pt>
                <c:pt idx="4413">
                  <c:v>17.375025959023489</c:v>
                </c:pt>
                <c:pt idx="4414">
                  <c:v>17.375025959023489</c:v>
                </c:pt>
                <c:pt idx="4415">
                  <c:v>17.375025959023489</c:v>
                </c:pt>
                <c:pt idx="4416">
                  <c:v>17.375025959023489</c:v>
                </c:pt>
                <c:pt idx="4417">
                  <c:v>17.375025959023489</c:v>
                </c:pt>
                <c:pt idx="4418">
                  <c:v>17.375025959023489</c:v>
                </c:pt>
                <c:pt idx="4419">
                  <c:v>17.375025959023489</c:v>
                </c:pt>
                <c:pt idx="4420">
                  <c:v>17.375025959023489</c:v>
                </c:pt>
                <c:pt idx="4421">
                  <c:v>17.375025959023489</c:v>
                </c:pt>
                <c:pt idx="4422">
                  <c:v>17.375025959023489</c:v>
                </c:pt>
                <c:pt idx="4423">
                  <c:v>17.375025959023489</c:v>
                </c:pt>
                <c:pt idx="4424">
                  <c:v>17.375025959023489</c:v>
                </c:pt>
                <c:pt idx="4425">
                  <c:v>17.375025959023489</c:v>
                </c:pt>
                <c:pt idx="4426">
                  <c:v>17.375025959023489</c:v>
                </c:pt>
                <c:pt idx="4427">
                  <c:v>17.375025959023489</c:v>
                </c:pt>
                <c:pt idx="4428">
                  <c:v>17.375025959023489</c:v>
                </c:pt>
                <c:pt idx="4429">
                  <c:v>17.375025959023489</c:v>
                </c:pt>
                <c:pt idx="4430">
                  <c:v>17.375025959023489</c:v>
                </c:pt>
                <c:pt idx="4431">
                  <c:v>17.375025959023489</c:v>
                </c:pt>
                <c:pt idx="4432">
                  <c:v>17.375025959023489</c:v>
                </c:pt>
                <c:pt idx="4433">
                  <c:v>17.375025959023489</c:v>
                </c:pt>
                <c:pt idx="4434">
                  <c:v>17.375025959023489</c:v>
                </c:pt>
                <c:pt idx="4435">
                  <c:v>17.375025959023489</c:v>
                </c:pt>
                <c:pt idx="4436">
                  <c:v>17.375025959023489</c:v>
                </c:pt>
                <c:pt idx="4437">
                  <c:v>17.375025959023489</c:v>
                </c:pt>
                <c:pt idx="4438">
                  <c:v>17.375025959023489</c:v>
                </c:pt>
                <c:pt idx="4439">
                  <c:v>17.375025959023489</c:v>
                </c:pt>
                <c:pt idx="4440">
                  <c:v>17.375025959023489</c:v>
                </c:pt>
                <c:pt idx="4441">
                  <c:v>17.375025959023489</c:v>
                </c:pt>
                <c:pt idx="4442">
                  <c:v>17.375025959023489</c:v>
                </c:pt>
                <c:pt idx="4443">
                  <c:v>17.375025959023489</c:v>
                </c:pt>
                <c:pt idx="4444">
                  <c:v>17.375025959023489</c:v>
                </c:pt>
                <c:pt idx="4445">
                  <c:v>17.375025959023489</c:v>
                </c:pt>
                <c:pt idx="4446">
                  <c:v>17.375025959023489</c:v>
                </c:pt>
                <c:pt idx="4447">
                  <c:v>17.375025959023489</c:v>
                </c:pt>
                <c:pt idx="4448">
                  <c:v>17.375025959023489</c:v>
                </c:pt>
                <c:pt idx="4449">
                  <c:v>17.375025959023489</c:v>
                </c:pt>
                <c:pt idx="4450">
                  <c:v>17.375025959023489</c:v>
                </c:pt>
                <c:pt idx="4451">
                  <c:v>17.375025959023489</c:v>
                </c:pt>
                <c:pt idx="4452">
                  <c:v>17.375025959023489</c:v>
                </c:pt>
                <c:pt idx="4453">
                  <c:v>17.375025959023489</c:v>
                </c:pt>
                <c:pt idx="4454">
                  <c:v>17.375025959023489</c:v>
                </c:pt>
                <c:pt idx="4455">
                  <c:v>17.375025959023489</c:v>
                </c:pt>
                <c:pt idx="4456">
                  <c:v>17.375025959023489</c:v>
                </c:pt>
                <c:pt idx="4457">
                  <c:v>17.375025959023489</c:v>
                </c:pt>
                <c:pt idx="4458">
                  <c:v>17.375025959023489</c:v>
                </c:pt>
                <c:pt idx="4459">
                  <c:v>17.375025959023489</c:v>
                </c:pt>
                <c:pt idx="4460">
                  <c:v>17.375025959023489</c:v>
                </c:pt>
                <c:pt idx="4461">
                  <c:v>17.375025959023489</c:v>
                </c:pt>
                <c:pt idx="4462">
                  <c:v>17.375025959023489</c:v>
                </c:pt>
                <c:pt idx="4463">
                  <c:v>17.375025959023489</c:v>
                </c:pt>
                <c:pt idx="4464">
                  <c:v>17.375025959023489</c:v>
                </c:pt>
                <c:pt idx="4465">
                  <c:v>17.375025959023489</c:v>
                </c:pt>
                <c:pt idx="4466">
                  <c:v>17.375025959023489</c:v>
                </c:pt>
                <c:pt idx="4467">
                  <c:v>17.375025959023489</c:v>
                </c:pt>
                <c:pt idx="4468">
                  <c:v>17.375025959023489</c:v>
                </c:pt>
                <c:pt idx="4469">
                  <c:v>17.375025959023489</c:v>
                </c:pt>
                <c:pt idx="4470">
                  <c:v>17.375025959023489</c:v>
                </c:pt>
                <c:pt idx="4471">
                  <c:v>17.375025959023489</c:v>
                </c:pt>
                <c:pt idx="4472">
                  <c:v>17.375025959023489</c:v>
                </c:pt>
                <c:pt idx="4473">
                  <c:v>17.375025959023489</c:v>
                </c:pt>
                <c:pt idx="4474">
                  <c:v>17.375025959023489</c:v>
                </c:pt>
                <c:pt idx="4475">
                  <c:v>17.375025959023489</c:v>
                </c:pt>
                <c:pt idx="4476">
                  <c:v>17.375025959023489</c:v>
                </c:pt>
                <c:pt idx="4477">
                  <c:v>17.375025959023489</c:v>
                </c:pt>
                <c:pt idx="4478">
                  <c:v>17.375025959023489</c:v>
                </c:pt>
                <c:pt idx="4479">
                  <c:v>17.375025959023489</c:v>
                </c:pt>
                <c:pt idx="4480">
                  <c:v>17.375025959023489</c:v>
                </c:pt>
                <c:pt idx="4481">
                  <c:v>17.375025959023489</c:v>
                </c:pt>
                <c:pt idx="4482">
                  <c:v>17.375025959023489</c:v>
                </c:pt>
                <c:pt idx="4483">
                  <c:v>17.375025959023489</c:v>
                </c:pt>
                <c:pt idx="4484">
                  <c:v>17.375025959023489</c:v>
                </c:pt>
                <c:pt idx="4485">
                  <c:v>17.375025959023489</c:v>
                </c:pt>
                <c:pt idx="4486">
                  <c:v>17.375025959023489</c:v>
                </c:pt>
                <c:pt idx="4487">
                  <c:v>17.375025959023489</c:v>
                </c:pt>
                <c:pt idx="4488">
                  <c:v>17.375025959023489</c:v>
                </c:pt>
                <c:pt idx="4489">
                  <c:v>17.375025959023489</c:v>
                </c:pt>
                <c:pt idx="4490">
                  <c:v>17.375025959023489</c:v>
                </c:pt>
                <c:pt idx="4491">
                  <c:v>17.375025959023489</c:v>
                </c:pt>
                <c:pt idx="4492">
                  <c:v>17.375025959023489</c:v>
                </c:pt>
                <c:pt idx="4493">
                  <c:v>17.375025959023489</c:v>
                </c:pt>
                <c:pt idx="4494">
                  <c:v>17.375025959023489</c:v>
                </c:pt>
                <c:pt idx="4495">
                  <c:v>17.375025959023489</c:v>
                </c:pt>
                <c:pt idx="4496">
                  <c:v>17.375025959023489</c:v>
                </c:pt>
                <c:pt idx="4497">
                  <c:v>17.375025959023489</c:v>
                </c:pt>
                <c:pt idx="4498">
                  <c:v>17.375025959023489</c:v>
                </c:pt>
                <c:pt idx="4499">
                  <c:v>17.375025959023489</c:v>
                </c:pt>
                <c:pt idx="4500">
                  <c:v>17.375025959023489</c:v>
                </c:pt>
                <c:pt idx="4501">
                  <c:v>17.375025959023489</c:v>
                </c:pt>
                <c:pt idx="4502">
                  <c:v>17.375025959023489</c:v>
                </c:pt>
                <c:pt idx="4503">
                  <c:v>17.375025959023489</c:v>
                </c:pt>
                <c:pt idx="4504">
                  <c:v>17.375025959023489</c:v>
                </c:pt>
                <c:pt idx="4505">
                  <c:v>17.375025959023489</c:v>
                </c:pt>
                <c:pt idx="4506">
                  <c:v>17.375025959023489</c:v>
                </c:pt>
                <c:pt idx="4507">
                  <c:v>17.375025959023489</c:v>
                </c:pt>
                <c:pt idx="4508">
                  <c:v>17.375025959023489</c:v>
                </c:pt>
                <c:pt idx="4509">
                  <c:v>17.375025959023489</c:v>
                </c:pt>
                <c:pt idx="4510">
                  <c:v>17.375025959023489</c:v>
                </c:pt>
                <c:pt idx="4511">
                  <c:v>17.375025959023489</c:v>
                </c:pt>
                <c:pt idx="4512">
                  <c:v>17.375025959023489</c:v>
                </c:pt>
                <c:pt idx="4513">
                  <c:v>17.375025959023489</c:v>
                </c:pt>
                <c:pt idx="4514">
                  <c:v>17.375025959023489</c:v>
                </c:pt>
                <c:pt idx="4515">
                  <c:v>17.375025959023489</c:v>
                </c:pt>
                <c:pt idx="4516">
                  <c:v>17.375025959023489</c:v>
                </c:pt>
                <c:pt idx="4517">
                  <c:v>17.375025959023489</c:v>
                </c:pt>
                <c:pt idx="4518">
                  <c:v>17.375025959023489</c:v>
                </c:pt>
                <c:pt idx="4519">
                  <c:v>17.375025959023489</c:v>
                </c:pt>
                <c:pt idx="4520">
                  <c:v>17.375025959023489</c:v>
                </c:pt>
                <c:pt idx="4521">
                  <c:v>17.375025959023489</c:v>
                </c:pt>
                <c:pt idx="4522">
                  <c:v>17.375025959023489</c:v>
                </c:pt>
                <c:pt idx="4523">
                  <c:v>17.375025959023489</c:v>
                </c:pt>
                <c:pt idx="4524">
                  <c:v>17.375025959023489</c:v>
                </c:pt>
                <c:pt idx="4525">
                  <c:v>17.375025959023489</c:v>
                </c:pt>
                <c:pt idx="4526">
                  <c:v>17.375025959023489</c:v>
                </c:pt>
                <c:pt idx="4527">
                  <c:v>17.375025959023489</c:v>
                </c:pt>
                <c:pt idx="4528">
                  <c:v>17.375025959023489</c:v>
                </c:pt>
                <c:pt idx="4529">
                  <c:v>17.375025959023489</c:v>
                </c:pt>
                <c:pt idx="4530">
                  <c:v>17.375025959023489</c:v>
                </c:pt>
                <c:pt idx="4531">
                  <c:v>17.375025959023489</c:v>
                </c:pt>
                <c:pt idx="4532">
                  <c:v>17.375025959023489</c:v>
                </c:pt>
                <c:pt idx="4533">
                  <c:v>17.375025959023489</c:v>
                </c:pt>
                <c:pt idx="4534">
                  <c:v>17.375025959023489</c:v>
                </c:pt>
                <c:pt idx="4535">
                  <c:v>17.375025959023489</c:v>
                </c:pt>
                <c:pt idx="4536">
                  <c:v>17.375025959023489</c:v>
                </c:pt>
                <c:pt idx="4537">
                  <c:v>17.375025959023489</c:v>
                </c:pt>
                <c:pt idx="4538">
                  <c:v>17.375025959023489</c:v>
                </c:pt>
                <c:pt idx="4539">
                  <c:v>17.375025959023489</c:v>
                </c:pt>
                <c:pt idx="4540">
                  <c:v>17.375025959023489</c:v>
                </c:pt>
                <c:pt idx="4541">
                  <c:v>17.375025959023489</c:v>
                </c:pt>
                <c:pt idx="4542">
                  <c:v>17.375025959023489</c:v>
                </c:pt>
                <c:pt idx="4543">
                  <c:v>17.375025959023489</c:v>
                </c:pt>
                <c:pt idx="4544">
                  <c:v>17.375025959023489</c:v>
                </c:pt>
                <c:pt idx="4545">
                  <c:v>17.375025959023489</c:v>
                </c:pt>
                <c:pt idx="4546">
                  <c:v>17.375025959023489</c:v>
                </c:pt>
                <c:pt idx="4547">
                  <c:v>17.375025959023489</c:v>
                </c:pt>
                <c:pt idx="4548">
                  <c:v>17.375025959023489</c:v>
                </c:pt>
                <c:pt idx="4549">
                  <c:v>17.375025959023489</c:v>
                </c:pt>
                <c:pt idx="4550">
                  <c:v>17.375025959023489</c:v>
                </c:pt>
                <c:pt idx="4551">
                  <c:v>17.375025959023489</c:v>
                </c:pt>
                <c:pt idx="4552">
                  <c:v>17.375025959023489</c:v>
                </c:pt>
                <c:pt idx="4553">
                  <c:v>17.375025959023489</c:v>
                </c:pt>
                <c:pt idx="4554">
                  <c:v>17.375025959023489</c:v>
                </c:pt>
                <c:pt idx="4555">
                  <c:v>17.375025959023489</c:v>
                </c:pt>
                <c:pt idx="4556">
                  <c:v>17.375025959023489</c:v>
                </c:pt>
                <c:pt idx="4557">
                  <c:v>17.375025959023489</c:v>
                </c:pt>
                <c:pt idx="4558">
                  <c:v>17.375025959023489</c:v>
                </c:pt>
                <c:pt idx="4559">
                  <c:v>17.375025959023489</c:v>
                </c:pt>
                <c:pt idx="4560">
                  <c:v>17.375025959023489</c:v>
                </c:pt>
                <c:pt idx="4561">
                  <c:v>17.375025959023489</c:v>
                </c:pt>
                <c:pt idx="4562">
                  <c:v>17.375025959023489</c:v>
                </c:pt>
                <c:pt idx="4563">
                  <c:v>17.375025959023489</c:v>
                </c:pt>
                <c:pt idx="4564">
                  <c:v>17.375025959023489</c:v>
                </c:pt>
                <c:pt idx="4565">
                  <c:v>17.375025959023489</c:v>
                </c:pt>
                <c:pt idx="4566">
                  <c:v>17.375025959023489</c:v>
                </c:pt>
                <c:pt idx="4567">
                  <c:v>17.375025959023489</c:v>
                </c:pt>
                <c:pt idx="4568">
                  <c:v>17.375025959023489</c:v>
                </c:pt>
                <c:pt idx="4569">
                  <c:v>17.375025959023489</c:v>
                </c:pt>
                <c:pt idx="4570">
                  <c:v>17.375025959023489</c:v>
                </c:pt>
                <c:pt idx="4571">
                  <c:v>17.375025959023489</c:v>
                </c:pt>
                <c:pt idx="4572">
                  <c:v>17.375025959023489</c:v>
                </c:pt>
                <c:pt idx="4573">
                  <c:v>17.375025959023489</c:v>
                </c:pt>
                <c:pt idx="4574">
                  <c:v>17.375025959023489</c:v>
                </c:pt>
                <c:pt idx="4575">
                  <c:v>17.375025959023489</c:v>
                </c:pt>
                <c:pt idx="4576">
                  <c:v>17.375025959023489</c:v>
                </c:pt>
                <c:pt idx="4577">
                  <c:v>17.375025959023489</c:v>
                </c:pt>
                <c:pt idx="4578">
                  <c:v>17.375025959023489</c:v>
                </c:pt>
                <c:pt idx="4579">
                  <c:v>17.375025959023489</c:v>
                </c:pt>
                <c:pt idx="4580">
                  <c:v>17.375025959023489</c:v>
                </c:pt>
                <c:pt idx="4581">
                  <c:v>17.375025959023489</c:v>
                </c:pt>
                <c:pt idx="4582">
                  <c:v>17.375025959023489</c:v>
                </c:pt>
                <c:pt idx="4583">
                  <c:v>17.375025959023489</c:v>
                </c:pt>
                <c:pt idx="4584">
                  <c:v>17.375025959023489</c:v>
                </c:pt>
                <c:pt idx="4585">
                  <c:v>17.375025959023489</c:v>
                </c:pt>
                <c:pt idx="4586">
                  <c:v>17.375025959023489</c:v>
                </c:pt>
                <c:pt idx="4587">
                  <c:v>17.375025959023489</c:v>
                </c:pt>
              </c:numCache>
            </c:numRef>
          </c:val>
          <c:smooth val="0"/>
          <c:extLst>
            <c:ext xmlns:c16="http://schemas.microsoft.com/office/drawing/2014/chart" uri="{C3380CC4-5D6E-409C-BE32-E72D297353CC}">
              <c16:uniqueId val="{00000006-070E-45FF-9145-46F7F45A9F8E}"/>
            </c:ext>
          </c:extLst>
        </c:ser>
        <c:ser>
          <c:idx val="3"/>
          <c:order val="3"/>
          <c:tx>
            <c:strRef>
              <c:f>Worksheet!$F$6</c:f>
              <c:strCache>
                <c:ptCount val="1"/>
              </c:strCache>
            </c:strRef>
          </c:tx>
          <c:spPr>
            <a:ln w="15875" cap="rnd">
              <a:solidFill>
                <a:schemeClr val="accent2"/>
              </a:solidFill>
              <a:prstDash val="sysDash"/>
              <a:round/>
            </a:ln>
            <a:effectLst/>
          </c:spPr>
          <c:marker>
            <c:symbol val="none"/>
          </c:marker>
          <c:cat>
            <c:numRef>
              <c:f>Worksheet!$A$8:$A$6089</c:f>
              <c:numCache>
                <c:formatCode>dd\.mm\.yyyy</c:formatCode>
                <c:ptCount val="6082"/>
                <c:pt idx="0">
                  <c:v>39083</c:v>
                </c:pt>
                <c:pt idx="1">
                  <c:v>39084</c:v>
                </c:pt>
                <c:pt idx="2">
                  <c:v>39085</c:v>
                </c:pt>
                <c:pt idx="3">
                  <c:v>39086</c:v>
                </c:pt>
                <c:pt idx="4">
                  <c:v>39087</c:v>
                </c:pt>
                <c:pt idx="5">
                  <c:v>39090</c:v>
                </c:pt>
                <c:pt idx="6">
                  <c:v>39091</c:v>
                </c:pt>
                <c:pt idx="7">
                  <c:v>39092</c:v>
                </c:pt>
                <c:pt idx="8">
                  <c:v>39093</c:v>
                </c:pt>
                <c:pt idx="9">
                  <c:v>39094</c:v>
                </c:pt>
                <c:pt idx="10">
                  <c:v>39097</c:v>
                </c:pt>
                <c:pt idx="11">
                  <c:v>39098</c:v>
                </c:pt>
                <c:pt idx="12">
                  <c:v>39099</c:v>
                </c:pt>
                <c:pt idx="13">
                  <c:v>39100</c:v>
                </c:pt>
                <c:pt idx="14">
                  <c:v>39101</c:v>
                </c:pt>
                <c:pt idx="15">
                  <c:v>39104</c:v>
                </c:pt>
                <c:pt idx="16">
                  <c:v>39105</c:v>
                </c:pt>
                <c:pt idx="17">
                  <c:v>39106</c:v>
                </c:pt>
                <c:pt idx="18">
                  <c:v>39107</c:v>
                </c:pt>
                <c:pt idx="19">
                  <c:v>39108</c:v>
                </c:pt>
                <c:pt idx="20">
                  <c:v>39111</c:v>
                </c:pt>
                <c:pt idx="21">
                  <c:v>39112</c:v>
                </c:pt>
                <c:pt idx="22">
                  <c:v>39113</c:v>
                </c:pt>
                <c:pt idx="23">
                  <c:v>39114</c:v>
                </c:pt>
                <c:pt idx="24">
                  <c:v>39115</c:v>
                </c:pt>
                <c:pt idx="25">
                  <c:v>39118</c:v>
                </c:pt>
                <c:pt idx="26">
                  <c:v>39119</c:v>
                </c:pt>
                <c:pt idx="27">
                  <c:v>39120</c:v>
                </c:pt>
                <c:pt idx="28">
                  <c:v>39121</c:v>
                </c:pt>
                <c:pt idx="29">
                  <c:v>39122</c:v>
                </c:pt>
                <c:pt idx="30">
                  <c:v>39125</c:v>
                </c:pt>
                <c:pt idx="31">
                  <c:v>39126</c:v>
                </c:pt>
                <c:pt idx="32">
                  <c:v>39127</c:v>
                </c:pt>
                <c:pt idx="33">
                  <c:v>39128</c:v>
                </c:pt>
                <c:pt idx="34">
                  <c:v>39129</c:v>
                </c:pt>
                <c:pt idx="35">
                  <c:v>39132</c:v>
                </c:pt>
                <c:pt idx="36">
                  <c:v>39133</c:v>
                </c:pt>
                <c:pt idx="37">
                  <c:v>39134</c:v>
                </c:pt>
                <c:pt idx="38">
                  <c:v>39135</c:v>
                </c:pt>
                <c:pt idx="39">
                  <c:v>39136</c:v>
                </c:pt>
                <c:pt idx="40">
                  <c:v>39139</c:v>
                </c:pt>
                <c:pt idx="41">
                  <c:v>39140</c:v>
                </c:pt>
                <c:pt idx="42">
                  <c:v>39141</c:v>
                </c:pt>
                <c:pt idx="43">
                  <c:v>39142</c:v>
                </c:pt>
                <c:pt idx="44">
                  <c:v>39143</c:v>
                </c:pt>
                <c:pt idx="45">
                  <c:v>39146</c:v>
                </c:pt>
                <c:pt idx="46">
                  <c:v>39147</c:v>
                </c:pt>
                <c:pt idx="47">
                  <c:v>39148</c:v>
                </c:pt>
                <c:pt idx="48">
                  <c:v>39149</c:v>
                </c:pt>
                <c:pt idx="49">
                  <c:v>39150</c:v>
                </c:pt>
                <c:pt idx="50">
                  <c:v>39153</c:v>
                </c:pt>
                <c:pt idx="51">
                  <c:v>39154</c:v>
                </c:pt>
                <c:pt idx="52">
                  <c:v>39155</c:v>
                </c:pt>
                <c:pt idx="53">
                  <c:v>39156</c:v>
                </c:pt>
                <c:pt idx="54">
                  <c:v>39157</c:v>
                </c:pt>
                <c:pt idx="55">
                  <c:v>39160</c:v>
                </c:pt>
                <c:pt idx="56">
                  <c:v>39161</c:v>
                </c:pt>
                <c:pt idx="57">
                  <c:v>39162</c:v>
                </c:pt>
                <c:pt idx="58">
                  <c:v>39163</c:v>
                </c:pt>
                <c:pt idx="59">
                  <c:v>39164</c:v>
                </c:pt>
                <c:pt idx="60">
                  <c:v>39167</c:v>
                </c:pt>
                <c:pt idx="61">
                  <c:v>39168</c:v>
                </c:pt>
                <c:pt idx="62">
                  <c:v>39169</c:v>
                </c:pt>
                <c:pt idx="63">
                  <c:v>39170</c:v>
                </c:pt>
                <c:pt idx="64">
                  <c:v>39171</c:v>
                </c:pt>
                <c:pt idx="65">
                  <c:v>39174</c:v>
                </c:pt>
                <c:pt idx="66">
                  <c:v>39175</c:v>
                </c:pt>
                <c:pt idx="67">
                  <c:v>39176</c:v>
                </c:pt>
                <c:pt idx="68">
                  <c:v>39177</c:v>
                </c:pt>
                <c:pt idx="69">
                  <c:v>39178</c:v>
                </c:pt>
                <c:pt idx="70">
                  <c:v>39181</c:v>
                </c:pt>
                <c:pt idx="71">
                  <c:v>39182</c:v>
                </c:pt>
                <c:pt idx="72">
                  <c:v>39183</c:v>
                </c:pt>
                <c:pt idx="73">
                  <c:v>39184</c:v>
                </c:pt>
                <c:pt idx="74">
                  <c:v>39185</c:v>
                </c:pt>
                <c:pt idx="75">
                  <c:v>39188</c:v>
                </c:pt>
                <c:pt idx="76">
                  <c:v>39189</c:v>
                </c:pt>
                <c:pt idx="77">
                  <c:v>39190</c:v>
                </c:pt>
                <c:pt idx="78">
                  <c:v>39191</c:v>
                </c:pt>
                <c:pt idx="79">
                  <c:v>39192</c:v>
                </c:pt>
                <c:pt idx="80">
                  <c:v>39195</c:v>
                </c:pt>
                <c:pt idx="81">
                  <c:v>39196</c:v>
                </c:pt>
                <c:pt idx="82">
                  <c:v>39197</c:v>
                </c:pt>
                <c:pt idx="83">
                  <c:v>39198</c:v>
                </c:pt>
                <c:pt idx="84">
                  <c:v>39199</c:v>
                </c:pt>
                <c:pt idx="85">
                  <c:v>39202</c:v>
                </c:pt>
                <c:pt idx="86">
                  <c:v>39203</c:v>
                </c:pt>
                <c:pt idx="87">
                  <c:v>39204</c:v>
                </c:pt>
                <c:pt idx="88">
                  <c:v>39205</c:v>
                </c:pt>
                <c:pt idx="89">
                  <c:v>39206</c:v>
                </c:pt>
                <c:pt idx="90">
                  <c:v>39209</c:v>
                </c:pt>
                <c:pt idx="91">
                  <c:v>39210</c:v>
                </c:pt>
                <c:pt idx="92">
                  <c:v>39211</c:v>
                </c:pt>
                <c:pt idx="93">
                  <c:v>39212</c:v>
                </c:pt>
                <c:pt idx="94">
                  <c:v>39213</c:v>
                </c:pt>
                <c:pt idx="95">
                  <c:v>39216</c:v>
                </c:pt>
                <c:pt idx="96">
                  <c:v>39217</c:v>
                </c:pt>
                <c:pt idx="97">
                  <c:v>39218</c:v>
                </c:pt>
                <c:pt idx="98">
                  <c:v>39219</c:v>
                </c:pt>
                <c:pt idx="99">
                  <c:v>39220</c:v>
                </c:pt>
                <c:pt idx="100">
                  <c:v>39223</c:v>
                </c:pt>
                <c:pt idx="101">
                  <c:v>39224</c:v>
                </c:pt>
                <c:pt idx="102">
                  <c:v>39225</c:v>
                </c:pt>
                <c:pt idx="103">
                  <c:v>39226</c:v>
                </c:pt>
                <c:pt idx="104">
                  <c:v>39227</c:v>
                </c:pt>
                <c:pt idx="105">
                  <c:v>39230</c:v>
                </c:pt>
                <c:pt idx="106">
                  <c:v>39231</c:v>
                </c:pt>
                <c:pt idx="107">
                  <c:v>39232</c:v>
                </c:pt>
                <c:pt idx="108">
                  <c:v>39233</c:v>
                </c:pt>
                <c:pt idx="109">
                  <c:v>39234</c:v>
                </c:pt>
                <c:pt idx="110">
                  <c:v>39237</c:v>
                </c:pt>
                <c:pt idx="111">
                  <c:v>39238</c:v>
                </c:pt>
                <c:pt idx="112">
                  <c:v>39239</c:v>
                </c:pt>
                <c:pt idx="113">
                  <c:v>39240</c:v>
                </c:pt>
                <c:pt idx="114">
                  <c:v>39241</c:v>
                </c:pt>
                <c:pt idx="115">
                  <c:v>39244</c:v>
                </c:pt>
                <c:pt idx="116">
                  <c:v>39245</c:v>
                </c:pt>
                <c:pt idx="117">
                  <c:v>39246</c:v>
                </c:pt>
                <c:pt idx="118">
                  <c:v>39247</c:v>
                </c:pt>
                <c:pt idx="119">
                  <c:v>39248</c:v>
                </c:pt>
                <c:pt idx="120">
                  <c:v>39251</c:v>
                </c:pt>
                <c:pt idx="121">
                  <c:v>39252</c:v>
                </c:pt>
                <c:pt idx="122">
                  <c:v>39253</c:v>
                </c:pt>
                <c:pt idx="123">
                  <c:v>39254</c:v>
                </c:pt>
                <c:pt idx="124">
                  <c:v>39255</c:v>
                </c:pt>
                <c:pt idx="125">
                  <c:v>39258</c:v>
                </c:pt>
                <c:pt idx="126">
                  <c:v>39259</c:v>
                </c:pt>
                <c:pt idx="127">
                  <c:v>39260</c:v>
                </c:pt>
                <c:pt idx="128">
                  <c:v>39261</c:v>
                </c:pt>
                <c:pt idx="129">
                  <c:v>39262</c:v>
                </c:pt>
                <c:pt idx="130">
                  <c:v>39265</c:v>
                </c:pt>
                <c:pt idx="131">
                  <c:v>39266</c:v>
                </c:pt>
                <c:pt idx="132">
                  <c:v>39267</c:v>
                </c:pt>
                <c:pt idx="133">
                  <c:v>39268</c:v>
                </c:pt>
                <c:pt idx="134">
                  <c:v>39269</c:v>
                </c:pt>
                <c:pt idx="135">
                  <c:v>39272</c:v>
                </c:pt>
                <c:pt idx="136">
                  <c:v>39273</c:v>
                </c:pt>
                <c:pt idx="137">
                  <c:v>39274</c:v>
                </c:pt>
                <c:pt idx="138">
                  <c:v>39275</c:v>
                </c:pt>
                <c:pt idx="139">
                  <c:v>39276</c:v>
                </c:pt>
                <c:pt idx="140">
                  <c:v>39279</c:v>
                </c:pt>
                <c:pt idx="141">
                  <c:v>39280</c:v>
                </c:pt>
                <c:pt idx="142">
                  <c:v>39281</c:v>
                </c:pt>
                <c:pt idx="143">
                  <c:v>39282</c:v>
                </c:pt>
                <c:pt idx="144">
                  <c:v>39283</c:v>
                </c:pt>
                <c:pt idx="145">
                  <c:v>39286</c:v>
                </c:pt>
                <c:pt idx="146">
                  <c:v>39287</c:v>
                </c:pt>
                <c:pt idx="147">
                  <c:v>39288</c:v>
                </c:pt>
                <c:pt idx="148">
                  <c:v>39289</c:v>
                </c:pt>
                <c:pt idx="149">
                  <c:v>39290</c:v>
                </c:pt>
                <c:pt idx="150">
                  <c:v>39293</c:v>
                </c:pt>
                <c:pt idx="151">
                  <c:v>39294</c:v>
                </c:pt>
                <c:pt idx="152">
                  <c:v>39295</c:v>
                </c:pt>
                <c:pt idx="153">
                  <c:v>39296</c:v>
                </c:pt>
                <c:pt idx="154">
                  <c:v>39297</c:v>
                </c:pt>
                <c:pt idx="155">
                  <c:v>39300</c:v>
                </c:pt>
                <c:pt idx="156">
                  <c:v>39301</c:v>
                </c:pt>
                <c:pt idx="157">
                  <c:v>39302</c:v>
                </c:pt>
                <c:pt idx="158">
                  <c:v>39303</c:v>
                </c:pt>
                <c:pt idx="159">
                  <c:v>39304</c:v>
                </c:pt>
                <c:pt idx="160">
                  <c:v>39307</c:v>
                </c:pt>
                <c:pt idx="161">
                  <c:v>39308</c:v>
                </c:pt>
                <c:pt idx="162">
                  <c:v>39309</c:v>
                </c:pt>
                <c:pt idx="163">
                  <c:v>39310</c:v>
                </c:pt>
                <c:pt idx="164">
                  <c:v>39311</c:v>
                </c:pt>
                <c:pt idx="165">
                  <c:v>39314</c:v>
                </c:pt>
                <c:pt idx="166">
                  <c:v>39315</c:v>
                </c:pt>
                <c:pt idx="167">
                  <c:v>39316</c:v>
                </c:pt>
                <c:pt idx="168">
                  <c:v>39317</c:v>
                </c:pt>
                <c:pt idx="169">
                  <c:v>39318</c:v>
                </c:pt>
                <c:pt idx="170">
                  <c:v>39321</c:v>
                </c:pt>
                <c:pt idx="171">
                  <c:v>39322</c:v>
                </c:pt>
                <c:pt idx="172">
                  <c:v>39323</c:v>
                </c:pt>
                <c:pt idx="173">
                  <c:v>39324</c:v>
                </c:pt>
                <c:pt idx="174">
                  <c:v>39325</c:v>
                </c:pt>
                <c:pt idx="175">
                  <c:v>39328</c:v>
                </c:pt>
                <c:pt idx="176">
                  <c:v>39329</c:v>
                </c:pt>
                <c:pt idx="177">
                  <c:v>39330</c:v>
                </c:pt>
                <c:pt idx="178">
                  <c:v>39331</c:v>
                </c:pt>
                <c:pt idx="179">
                  <c:v>39332</c:v>
                </c:pt>
                <c:pt idx="180">
                  <c:v>39335</c:v>
                </c:pt>
                <c:pt idx="181">
                  <c:v>39336</c:v>
                </c:pt>
                <c:pt idx="182">
                  <c:v>39337</c:v>
                </c:pt>
                <c:pt idx="183">
                  <c:v>39338</c:v>
                </c:pt>
                <c:pt idx="184">
                  <c:v>39339</c:v>
                </c:pt>
                <c:pt idx="185">
                  <c:v>39342</c:v>
                </c:pt>
                <c:pt idx="186">
                  <c:v>39343</c:v>
                </c:pt>
                <c:pt idx="187">
                  <c:v>39344</c:v>
                </c:pt>
                <c:pt idx="188">
                  <c:v>39345</c:v>
                </c:pt>
                <c:pt idx="189">
                  <c:v>39346</c:v>
                </c:pt>
                <c:pt idx="190">
                  <c:v>39349</c:v>
                </c:pt>
                <c:pt idx="191">
                  <c:v>39350</c:v>
                </c:pt>
                <c:pt idx="192">
                  <c:v>39351</c:v>
                </c:pt>
                <c:pt idx="193">
                  <c:v>39352</c:v>
                </c:pt>
                <c:pt idx="194">
                  <c:v>39353</c:v>
                </c:pt>
                <c:pt idx="195">
                  <c:v>39356</c:v>
                </c:pt>
                <c:pt idx="196">
                  <c:v>39357</c:v>
                </c:pt>
                <c:pt idx="197">
                  <c:v>39358</c:v>
                </c:pt>
                <c:pt idx="198">
                  <c:v>39359</c:v>
                </c:pt>
                <c:pt idx="199">
                  <c:v>39360</c:v>
                </c:pt>
                <c:pt idx="200">
                  <c:v>39363</c:v>
                </c:pt>
                <c:pt idx="201">
                  <c:v>39364</c:v>
                </c:pt>
                <c:pt idx="202">
                  <c:v>39365</c:v>
                </c:pt>
                <c:pt idx="203">
                  <c:v>39366</c:v>
                </c:pt>
                <c:pt idx="204">
                  <c:v>39367</c:v>
                </c:pt>
                <c:pt idx="205">
                  <c:v>39370</c:v>
                </c:pt>
                <c:pt idx="206">
                  <c:v>39371</c:v>
                </c:pt>
                <c:pt idx="207">
                  <c:v>39372</c:v>
                </c:pt>
                <c:pt idx="208">
                  <c:v>39373</c:v>
                </c:pt>
                <c:pt idx="209">
                  <c:v>39374</c:v>
                </c:pt>
                <c:pt idx="210">
                  <c:v>39377</c:v>
                </c:pt>
                <c:pt idx="211">
                  <c:v>39378</c:v>
                </c:pt>
                <c:pt idx="212">
                  <c:v>39379</c:v>
                </c:pt>
                <c:pt idx="213">
                  <c:v>39380</c:v>
                </c:pt>
                <c:pt idx="214">
                  <c:v>39381</c:v>
                </c:pt>
                <c:pt idx="215">
                  <c:v>39384</c:v>
                </c:pt>
                <c:pt idx="216">
                  <c:v>39385</c:v>
                </c:pt>
                <c:pt idx="217">
                  <c:v>39386</c:v>
                </c:pt>
                <c:pt idx="218">
                  <c:v>39387</c:v>
                </c:pt>
                <c:pt idx="219">
                  <c:v>39388</c:v>
                </c:pt>
                <c:pt idx="220">
                  <c:v>39391</c:v>
                </c:pt>
                <c:pt idx="221">
                  <c:v>39392</c:v>
                </c:pt>
                <c:pt idx="222">
                  <c:v>39393</c:v>
                </c:pt>
                <c:pt idx="223">
                  <c:v>39394</c:v>
                </c:pt>
                <c:pt idx="224">
                  <c:v>39395</c:v>
                </c:pt>
                <c:pt idx="225">
                  <c:v>39398</c:v>
                </c:pt>
                <c:pt idx="226">
                  <c:v>39399</c:v>
                </c:pt>
                <c:pt idx="227">
                  <c:v>39400</c:v>
                </c:pt>
                <c:pt idx="228">
                  <c:v>39401</c:v>
                </c:pt>
                <c:pt idx="229">
                  <c:v>39402</c:v>
                </c:pt>
                <c:pt idx="230">
                  <c:v>39405</c:v>
                </c:pt>
                <c:pt idx="231">
                  <c:v>39406</c:v>
                </c:pt>
                <c:pt idx="232">
                  <c:v>39407</c:v>
                </c:pt>
                <c:pt idx="233">
                  <c:v>39408</c:v>
                </c:pt>
                <c:pt idx="234">
                  <c:v>39409</c:v>
                </c:pt>
                <c:pt idx="235">
                  <c:v>39412</c:v>
                </c:pt>
                <c:pt idx="236">
                  <c:v>39413</c:v>
                </c:pt>
                <c:pt idx="237">
                  <c:v>39414</c:v>
                </c:pt>
                <c:pt idx="238">
                  <c:v>39415</c:v>
                </c:pt>
                <c:pt idx="239">
                  <c:v>39416</c:v>
                </c:pt>
                <c:pt idx="240">
                  <c:v>39419</c:v>
                </c:pt>
                <c:pt idx="241">
                  <c:v>39420</c:v>
                </c:pt>
                <c:pt idx="242">
                  <c:v>39421</c:v>
                </c:pt>
                <c:pt idx="243">
                  <c:v>39422</c:v>
                </c:pt>
                <c:pt idx="244">
                  <c:v>39423</c:v>
                </c:pt>
                <c:pt idx="245">
                  <c:v>39426</c:v>
                </c:pt>
                <c:pt idx="246">
                  <c:v>39427</c:v>
                </c:pt>
                <c:pt idx="247">
                  <c:v>39428</c:v>
                </c:pt>
                <c:pt idx="248">
                  <c:v>39429</c:v>
                </c:pt>
                <c:pt idx="249">
                  <c:v>39430</c:v>
                </c:pt>
                <c:pt idx="250">
                  <c:v>39433</c:v>
                </c:pt>
                <c:pt idx="251">
                  <c:v>39434</c:v>
                </c:pt>
                <c:pt idx="252">
                  <c:v>39435</c:v>
                </c:pt>
                <c:pt idx="253">
                  <c:v>39436</c:v>
                </c:pt>
                <c:pt idx="254">
                  <c:v>39437</c:v>
                </c:pt>
                <c:pt idx="255">
                  <c:v>39440</c:v>
                </c:pt>
                <c:pt idx="256">
                  <c:v>39441</c:v>
                </c:pt>
                <c:pt idx="257">
                  <c:v>39442</c:v>
                </c:pt>
                <c:pt idx="258">
                  <c:v>39443</c:v>
                </c:pt>
                <c:pt idx="259">
                  <c:v>39444</c:v>
                </c:pt>
                <c:pt idx="260">
                  <c:v>39447</c:v>
                </c:pt>
                <c:pt idx="261">
                  <c:v>39448</c:v>
                </c:pt>
                <c:pt idx="262">
                  <c:v>39449</c:v>
                </c:pt>
                <c:pt idx="263">
                  <c:v>39450</c:v>
                </c:pt>
                <c:pt idx="264">
                  <c:v>39451</c:v>
                </c:pt>
                <c:pt idx="265">
                  <c:v>39454</c:v>
                </c:pt>
                <c:pt idx="266">
                  <c:v>39455</c:v>
                </c:pt>
                <c:pt idx="267">
                  <c:v>39456</c:v>
                </c:pt>
                <c:pt idx="268">
                  <c:v>39457</c:v>
                </c:pt>
                <c:pt idx="269">
                  <c:v>39458</c:v>
                </c:pt>
                <c:pt idx="270">
                  <c:v>39461</c:v>
                </c:pt>
                <c:pt idx="271">
                  <c:v>39462</c:v>
                </c:pt>
                <c:pt idx="272">
                  <c:v>39463</c:v>
                </c:pt>
                <c:pt idx="273">
                  <c:v>39464</c:v>
                </c:pt>
                <c:pt idx="274">
                  <c:v>39465</c:v>
                </c:pt>
                <c:pt idx="275">
                  <c:v>39468</c:v>
                </c:pt>
                <c:pt idx="276">
                  <c:v>39469</c:v>
                </c:pt>
                <c:pt idx="277">
                  <c:v>39470</c:v>
                </c:pt>
                <c:pt idx="278">
                  <c:v>39471</c:v>
                </c:pt>
                <c:pt idx="279">
                  <c:v>39472</c:v>
                </c:pt>
                <c:pt idx="280">
                  <c:v>39475</c:v>
                </c:pt>
                <c:pt idx="281">
                  <c:v>39476</c:v>
                </c:pt>
                <c:pt idx="282">
                  <c:v>39477</c:v>
                </c:pt>
                <c:pt idx="283">
                  <c:v>39478</c:v>
                </c:pt>
                <c:pt idx="284">
                  <c:v>39479</c:v>
                </c:pt>
                <c:pt idx="285">
                  <c:v>39482</c:v>
                </c:pt>
                <c:pt idx="286">
                  <c:v>39483</c:v>
                </c:pt>
                <c:pt idx="287">
                  <c:v>39484</c:v>
                </c:pt>
                <c:pt idx="288">
                  <c:v>39485</c:v>
                </c:pt>
                <c:pt idx="289">
                  <c:v>39486</c:v>
                </c:pt>
                <c:pt idx="290">
                  <c:v>39489</c:v>
                </c:pt>
                <c:pt idx="291">
                  <c:v>39490</c:v>
                </c:pt>
                <c:pt idx="292">
                  <c:v>39491</c:v>
                </c:pt>
                <c:pt idx="293">
                  <c:v>39492</c:v>
                </c:pt>
                <c:pt idx="294">
                  <c:v>39493</c:v>
                </c:pt>
                <c:pt idx="295">
                  <c:v>39496</c:v>
                </c:pt>
                <c:pt idx="296">
                  <c:v>39497</c:v>
                </c:pt>
                <c:pt idx="297">
                  <c:v>39498</c:v>
                </c:pt>
                <c:pt idx="298">
                  <c:v>39499</c:v>
                </c:pt>
                <c:pt idx="299">
                  <c:v>39500</c:v>
                </c:pt>
                <c:pt idx="300">
                  <c:v>39503</c:v>
                </c:pt>
                <c:pt idx="301">
                  <c:v>39504</c:v>
                </c:pt>
                <c:pt idx="302">
                  <c:v>39505</c:v>
                </c:pt>
                <c:pt idx="303">
                  <c:v>39506</c:v>
                </c:pt>
                <c:pt idx="304">
                  <c:v>39507</c:v>
                </c:pt>
                <c:pt idx="305">
                  <c:v>39510</c:v>
                </c:pt>
                <c:pt idx="306">
                  <c:v>39511</c:v>
                </c:pt>
                <c:pt idx="307">
                  <c:v>39512</c:v>
                </c:pt>
                <c:pt idx="308">
                  <c:v>39513</c:v>
                </c:pt>
                <c:pt idx="309">
                  <c:v>39514</c:v>
                </c:pt>
                <c:pt idx="310">
                  <c:v>39517</c:v>
                </c:pt>
                <c:pt idx="311">
                  <c:v>39518</c:v>
                </c:pt>
                <c:pt idx="312">
                  <c:v>39519</c:v>
                </c:pt>
                <c:pt idx="313">
                  <c:v>39520</c:v>
                </c:pt>
                <c:pt idx="314">
                  <c:v>39521</c:v>
                </c:pt>
                <c:pt idx="315">
                  <c:v>39524</c:v>
                </c:pt>
                <c:pt idx="316">
                  <c:v>39525</c:v>
                </c:pt>
                <c:pt idx="317">
                  <c:v>39526</c:v>
                </c:pt>
                <c:pt idx="318">
                  <c:v>39527</c:v>
                </c:pt>
                <c:pt idx="319">
                  <c:v>39528</c:v>
                </c:pt>
                <c:pt idx="320">
                  <c:v>39531</c:v>
                </c:pt>
                <c:pt idx="321">
                  <c:v>39532</c:v>
                </c:pt>
                <c:pt idx="322">
                  <c:v>39533</c:v>
                </c:pt>
                <c:pt idx="323">
                  <c:v>39534</c:v>
                </c:pt>
                <c:pt idx="324">
                  <c:v>39535</c:v>
                </c:pt>
                <c:pt idx="325">
                  <c:v>39538</c:v>
                </c:pt>
                <c:pt idx="326">
                  <c:v>39539</c:v>
                </c:pt>
                <c:pt idx="327">
                  <c:v>39540</c:v>
                </c:pt>
                <c:pt idx="328">
                  <c:v>39541</c:v>
                </c:pt>
                <c:pt idx="329">
                  <c:v>39542</c:v>
                </c:pt>
                <c:pt idx="330">
                  <c:v>39545</c:v>
                </c:pt>
                <c:pt idx="331">
                  <c:v>39546</c:v>
                </c:pt>
                <c:pt idx="332">
                  <c:v>39547</c:v>
                </c:pt>
                <c:pt idx="333">
                  <c:v>39548</c:v>
                </c:pt>
                <c:pt idx="334">
                  <c:v>39549</c:v>
                </c:pt>
                <c:pt idx="335">
                  <c:v>39552</c:v>
                </c:pt>
                <c:pt idx="336">
                  <c:v>39553</c:v>
                </c:pt>
                <c:pt idx="337">
                  <c:v>39554</c:v>
                </c:pt>
                <c:pt idx="338">
                  <c:v>39555</c:v>
                </c:pt>
                <c:pt idx="339">
                  <c:v>39556</c:v>
                </c:pt>
                <c:pt idx="340">
                  <c:v>39559</c:v>
                </c:pt>
                <c:pt idx="341">
                  <c:v>39560</c:v>
                </c:pt>
                <c:pt idx="342">
                  <c:v>39561</c:v>
                </c:pt>
                <c:pt idx="343">
                  <c:v>39562</c:v>
                </c:pt>
                <c:pt idx="344">
                  <c:v>39563</c:v>
                </c:pt>
                <c:pt idx="345">
                  <c:v>39566</c:v>
                </c:pt>
                <c:pt idx="346">
                  <c:v>39567</c:v>
                </c:pt>
                <c:pt idx="347">
                  <c:v>39568</c:v>
                </c:pt>
                <c:pt idx="348">
                  <c:v>39569</c:v>
                </c:pt>
                <c:pt idx="349">
                  <c:v>39570</c:v>
                </c:pt>
                <c:pt idx="350">
                  <c:v>39573</c:v>
                </c:pt>
                <c:pt idx="351">
                  <c:v>39574</c:v>
                </c:pt>
                <c:pt idx="352">
                  <c:v>39575</c:v>
                </c:pt>
                <c:pt idx="353">
                  <c:v>39576</c:v>
                </c:pt>
                <c:pt idx="354">
                  <c:v>39577</c:v>
                </c:pt>
                <c:pt idx="355">
                  <c:v>39580</c:v>
                </c:pt>
                <c:pt idx="356">
                  <c:v>39581</c:v>
                </c:pt>
                <c:pt idx="357">
                  <c:v>39582</c:v>
                </c:pt>
                <c:pt idx="358">
                  <c:v>39583</c:v>
                </c:pt>
                <c:pt idx="359">
                  <c:v>39584</c:v>
                </c:pt>
                <c:pt idx="360">
                  <c:v>39587</c:v>
                </c:pt>
                <c:pt idx="361">
                  <c:v>39588</c:v>
                </c:pt>
                <c:pt idx="362">
                  <c:v>39589</c:v>
                </c:pt>
                <c:pt idx="363">
                  <c:v>39590</c:v>
                </c:pt>
                <c:pt idx="364">
                  <c:v>39591</c:v>
                </c:pt>
                <c:pt idx="365">
                  <c:v>39594</c:v>
                </c:pt>
                <c:pt idx="366">
                  <c:v>39595</c:v>
                </c:pt>
                <c:pt idx="367">
                  <c:v>39596</c:v>
                </c:pt>
                <c:pt idx="368">
                  <c:v>39597</c:v>
                </c:pt>
                <c:pt idx="369">
                  <c:v>39598</c:v>
                </c:pt>
                <c:pt idx="370">
                  <c:v>39601</c:v>
                </c:pt>
                <c:pt idx="371">
                  <c:v>39602</c:v>
                </c:pt>
                <c:pt idx="372">
                  <c:v>39603</c:v>
                </c:pt>
                <c:pt idx="373">
                  <c:v>39604</c:v>
                </c:pt>
                <c:pt idx="374">
                  <c:v>39605</c:v>
                </c:pt>
                <c:pt idx="375">
                  <c:v>39608</c:v>
                </c:pt>
                <c:pt idx="376">
                  <c:v>39609</c:v>
                </c:pt>
                <c:pt idx="377">
                  <c:v>39610</c:v>
                </c:pt>
                <c:pt idx="378">
                  <c:v>39611</c:v>
                </c:pt>
                <c:pt idx="379">
                  <c:v>39612</c:v>
                </c:pt>
                <c:pt idx="380">
                  <c:v>39615</c:v>
                </c:pt>
                <c:pt idx="381">
                  <c:v>39616</c:v>
                </c:pt>
                <c:pt idx="382">
                  <c:v>39617</c:v>
                </c:pt>
                <c:pt idx="383">
                  <c:v>39618</c:v>
                </c:pt>
                <c:pt idx="384">
                  <c:v>39619</c:v>
                </c:pt>
                <c:pt idx="385">
                  <c:v>39622</c:v>
                </c:pt>
                <c:pt idx="386">
                  <c:v>39623</c:v>
                </c:pt>
                <c:pt idx="387">
                  <c:v>39624</c:v>
                </c:pt>
                <c:pt idx="388">
                  <c:v>39625</c:v>
                </c:pt>
                <c:pt idx="389">
                  <c:v>39626</c:v>
                </c:pt>
                <c:pt idx="390">
                  <c:v>39629</c:v>
                </c:pt>
                <c:pt idx="391">
                  <c:v>39630</c:v>
                </c:pt>
                <c:pt idx="392">
                  <c:v>39631</c:v>
                </c:pt>
                <c:pt idx="393">
                  <c:v>39632</c:v>
                </c:pt>
                <c:pt idx="394">
                  <c:v>39633</c:v>
                </c:pt>
                <c:pt idx="395">
                  <c:v>39636</c:v>
                </c:pt>
                <c:pt idx="396">
                  <c:v>39637</c:v>
                </c:pt>
                <c:pt idx="397">
                  <c:v>39638</c:v>
                </c:pt>
                <c:pt idx="398">
                  <c:v>39639</c:v>
                </c:pt>
                <c:pt idx="399">
                  <c:v>39640</c:v>
                </c:pt>
                <c:pt idx="400">
                  <c:v>39643</c:v>
                </c:pt>
                <c:pt idx="401">
                  <c:v>39644</c:v>
                </c:pt>
                <c:pt idx="402">
                  <c:v>39645</c:v>
                </c:pt>
                <c:pt idx="403">
                  <c:v>39646</c:v>
                </c:pt>
                <c:pt idx="404">
                  <c:v>39647</c:v>
                </c:pt>
                <c:pt idx="405">
                  <c:v>39650</c:v>
                </c:pt>
                <c:pt idx="406">
                  <c:v>39651</c:v>
                </c:pt>
                <c:pt idx="407">
                  <c:v>39652</c:v>
                </c:pt>
                <c:pt idx="408">
                  <c:v>39653</c:v>
                </c:pt>
                <c:pt idx="409">
                  <c:v>39654</c:v>
                </c:pt>
                <c:pt idx="410">
                  <c:v>39657</c:v>
                </c:pt>
                <c:pt idx="411">
                  <c:v>39658</c:v>
                </c:pt>
                <c:pt idx="412">
                  <c:v>39659</c:v>
                </c:pt>
                <c:pt idx="413">
                  <c:v>39660</c:v>
                </c:pt>
                <c:pt idx="414">
                  <c:v>39661</c:v>
                </c:pt>
                <c:pt idx="415">
                  <c:v>39664</c:v>
                </c:pt>
                <c:pt idx="416">
                  <c:v>39665</c:v>
                </c:pt>
                <c:pt idx="417">
                  <c:v>39666</c:v>
                </c:pt>
                <c:pt idx="418">
                  <c:v>39667</c:v>
                </c:pt>
                <c:pt idx="419">
                  <c:v>39668</c:v>
                </c:pt>
                <c:pt idx="420">
                  <c:v>39671</c:v>
                </c:pt>
                <c:pt idx="421">
                  <c:v>39672</c:v>
                </c:pt>
                <c:pt idx="422">
                  <c:v>39673</c:v>
                </c:pt>
                <c:pt idx="423">
                  <c:v>39674</c:v>
                </c:pt>
                <c:pt idx="424">
                  <c:v>39675</c:v>
                </c:pt>
                <c:pt idx="425">
                  <c:v>39678</c:v>
                </c:pt>
                <c:pt idx="426">
                  <c:v>39679</c:v>
                </c:pt>
                <c:pt idx="427">
                  <c:v>39680</c:v>
                </c:pt>
                <c:pt idx="428">
                  <c:v>39681</c:v>
                </c:pt>
                <c:pt idx="429">
                  <c:v>39682</c:v>
                </c:pt>
                <c:pt idx="430">
                  <c:v>39685</c:v>
                </c:pt>
                <c:pt idx="431">
                  <c:v>39686</c:v>
                </c:pt>
                <c:pt idx="432">
                  <c:v>39687</c:v>
                </c:pt>
                <c:pt idx="433">
                  <c:v>39688</c:v>
                </c:pt>
                <c:pt idx="434">
                  <c:v>39689</c:v>
                </c:pt>
                <c:pt idx="435">
                  <c:v>39692</c:v>
                </c:pt>
                <c:pt idx="436">
                  <c:v>39693</c:v>
                </c:pt>
                <c:pt idx="437">
                  <c:v>39694</c:v>
                </c:pt>
                <c:pt idx="438">
                  <c:v>39695</c:v>
                </c:pt>
                <c:pt idx="439">
                  <c:v>39696</c:v>
                </c:pt>
                <c:pt idx="440">
                  <c:v>39699</c:v>
                </c:pt>
                <c:pt idx="441">
                  <c:v>39700</c:v>
                </c:pt>
                <c:pt idx="442">
                  <c:v>39701</c:v>
                </c:pt>
                <c:pt idx="443">
                  <c:v>39702</c:v>
                </c:pt>
                <c:pt idx="444">
                  <c:v>39703</c:v>
                </c:pt>
                <c:pt idx="445">
                  <c:v>39706</c:v>
                </c:pt>
                <c:pt idx="446">
                  <c:v>39707</c:v>
                </c:pt>
                <c:pt idx="447">
                  <c:v>39708</c:v>
                </c:pt>
                <c:pt idx="448">
                  <c:v>39709</c:v>
                </c:pt>
                <c:pt idx="449">
                  <c:v>39710</c:v>
                </c:pt>
                <c:pt idx="450">
                  <c:v>39713</c:v>
                </c:pt>
                <c:pt idx="451">
                  <c:v>39714</c:v>
                </c:pt>
                <c:pt idx="452">
                  <c:v>39715</c:v>
                </c:pt>
                <c:pt idx="453">
                  <c:v>39716</c:v>
                </c:pt>
                <c:pt idx="454">
                  <c:v>39717</c:v>
                </c:pt>
                <c:pt idx="455">
                  <c:v>39720</c:v>
                </c:pt>
                <c:pt idx="456">
                  <c:v>39721</c:v>
                </c:pt>
                <c:pt idx="457">
                  <c:v>39722</c:v>
                </c:pt>
                <c:pt idx="458">
                  <c:v>39723</c:v>
                </c:pt>
                <c:pt idx="459">
                  <c:v>39724</c:v>
                </c:pt>
                <c:pt idx="460">
                  <c:v>39727</c:v>
                </c:pt>
                <c:pt idx="461">
                  <c:v>39728</c:v>
                </c:pt>
                <c:pt idx="462">
                  <c:v>39729</c:v>
                </c:pt>
                <c:pt idx="463">
                  <c:v>39730</c:v>
                </c:pt>
                <c:pt idx="464">
                  <c:v>39731</c:v>
                </c:pt>
                <c:pt idx="465">
                  <c:v>39734</c:v>
                </c:pt>
                <c:pt idx="466">
                  <c:v>39735</c:v>
                </c:pt>
                <c:pt idx="467">
                  <c:v>39736</c:v>
                </c:pt>
                <c:pt idx="468">
                  <c:v>39737</c:v>
                </c:pt>
                <c:pt idx="469">
                  <c:v>39738</c:v>
                </c:pt>
                <c:pt idx="470">
                  <c:v>39741</c:v>
                </c:pt>
                <c:pt idx="471">
                  <c:v>39742</c:v>
                </c:pt>
                <c:pt idx="472">
                  <c:v>39743</c:v>
                </c:pt>
                <c:pt idx="473">
                  <c:v>39744</c:v>
                </c:pt>
                <c:pt idx="474">
                  <c:v>39745</c:v>
                </c:pt>
                <c:pt idx="475">
                  <c:v>39748</c:v>
                </c:pt>
                <c:pt idx="476">
                  <c:v>39749</c:v>
                </c:pt>
                <c:pt idx="477">
                  <c:v>39750</c:v>
                </c:pt>
                <c:pt idx="478">
                  <c:v>39751</c:v>
                </c:pt>
                <c:pt idx="479">
                  <c:v>39752</c:v>
                </c:pt>
                <c:pt idx="480">
                  <c:v>39755</c:v>
                </c:pt>
                <c:pt idx="481">
                  <c:v>39756</c:v>
                </c:pt>
                <c:pt idx="482">
                  <c:v>39757</c:v>
                </c:pt>
                <c:pt idx="483">
                  <c:v>39758</c:v>
                </c:pt>
                <c:pt idx="484">
                  <c:v>39759</c:v>
                </c:pt>
                <c:pt idx="485">
                  <c:v>39762</c:v>
                </c:pt>
                <c:pt idx="486">
                  <c:v>39763</c:v>
                </c:pt>
                <c:pt idx="487">
                  <c:v>39764</c:v>
                </c:pt>
                <c:pt idx="488">
                  <c:v>39765</c:v>
                </c:pt>
                <c:pt idx="489">
                  <c:v>39766</c:v>
                </c:pt>
                <c:pt idx="490">
                  <c:v>39769</c:v>
                </c:pt>
                <c:pt idx="491">
                  <c:v>39770</c:v>
                </c:pt>
                <c:pt idx="492">
                  <c:v>39771</c:v>
                </c:pt>
                <c:pt idx="493">
                  <c:v>39772</c:v>
                </c:pt>
                <c:pt idx="494">
                  <c:v>39773</c:v>
                </c:pt>
                <c:pt idx="495">
                  <c:v>39776</c:v>
                </c:pt>
                <c:pt idx="496">
                  <c:v>39777</c:v>
                </c:pt>
                <c:pt idx="497">
                  <c:v>39778</c:v>
                </c:pt>
                <c:pt idx="498">
                  <c:v>39779</c:v>
                </c:pt>
                <c:pt idx="499">
                  <c:v>39780</c:v>
                </c:pt>
                <c:pt idx="500">
                  <c:v>39783</c:v>
                </c:pt>
                <c:pt idx="501">
                  <c:v>39784</c:v>
                </c:pt>
                <c:pt idx="502">
                  <c:v>39785</c:v>
                </c:pt>
                <c:pt idx="503">
                  <c:v>39786</c:v>
                </c:pt>
                <c:pt idx="504">
                  <c:v>39787</c:v>
                </c:pt>
                <c:pt idx="505">
                  <c:v>39790</c:v>
                </c:pt>
                <c:pt idx="506">
                  <c:v>39791</c:v>
                </c:pt>
                <c:pt idx="507">
                  <c:v>39792</c:v>
                </c:pt>
                <c:pt idx="508">
                  <c:v>39793</c:v>
                </c:pt>
                <c:pt idx="509">
                  <c:v>39794</c:v>
                </c:pt>
                <c:pt idx="510">
                  <c:v>39797</c:v>
                </c:pt>
                <c:pt idx="511">
                  <c:v>39798</c:v>
                </c:pt>
                <c:pt idx="512">
                  <c:v>39799</c:v>
                </c:pt>
                <c:pt idx="513">
                  <c:v>39800</c:v>
                </c:pt>
                <c:pt idx="514">
                  <c:v>39801</c:v>
                </c:pt>
                <c:pt idx="515">
                  <c:v>39804</c:v>
                </c:pt>
                <c:pt idx="516">
                  <c:v>39805</c:v>
                </c:pt>
                <c:pt idx="517">
                  <c:v>39806</c:v>
                </c:pt>
                <c:pt idx="518">
                  <c:v>39807</c:v>
                </c:pt>
                <c:pt idx="519">
                  <c:v>39808</c:v>
                </c:pt>
                <c:pt idx="520">
                  <c:v>39811</c:v>
                </c:pt>
                <c:pt idx="521">
                  <c:v>39812</c:v>
                </c:pt>
                <c:pt idx="522">
                  <c:v>39813</c:v>
                </c:pt>
                <c:pt idx="523">
                  <c:v>39814</c:v>
                </c:pt>
                <c:pt idx="524">
                  <c:v>39815</c:v>
                </c:pt>
                <c:pt idx="525">
                  <c:v>39818</c:v>
                </c:pt>
                <c:pt idx="526">
                  <c:v>39819</c:v>
                </c:pt>
                <c:pt idx="527">
                  <c:v>39820</c:v>
                </c:pt>
                <c:pt idx="528">
                  <c:v>39821</c:v>
                </c:pt>
                <c:pt idx="529">
                  <c:v>39822</c:v>
                </c:pt>
                <c:pt idx="530">
                  <c:v>39825</c:v>
                </c:pt>
                <c:pt idx="531">
                  <c:v>39826</c:v>
                </c:pt>
                <c:pt idx="532">
                  <c:v>39827</c:v>
                </c:pt>
                <c:pt idx="533">
                  <c:v>39828</c:v>
                </c:pt>
                <c:pt idx="534">
                  <c:v>39829</c:v>
                </c:pt>
                <c:pt idx="535">
                  <c:v>39832</c:v>
                </c:pt>
                <c:pt idx="536">
                  <c:v>39833</c:v>
                </c:pt>
                <c:pt idx="537">
                  <c:v>39834</c:v>
                </c:pt>
                <c:pt idx="538">
                  <c:v>39835</c:v>
                </c:pt>
                <c:pt idx="539">
                  <c:v>39836</c:v>
                </c:pt>
                <c:pt idx="540">
                  <c:v>39839</c:v>
                </c:pt>
                <c:pt idx="541">
                  <c:v>39840</c:v>
                </c:pt>
                <c:pt idx="542">
                  <c:v>39841</c:v>
                </c:pt>
                <c:pt idx="543">
                  <c:v>39842</c:v>
                </c:pt>
                <c:pt idx="544">
                  <c:v>39843</c:v>
                </c:pt>
                <c:pt idx="545">
                  <c:v>39846</c:v>
                </c:pt>
                <c:pt idx="546">
                  <c:v>39847</c:v>
                </c:pt>
                <c:pt idx="547">
                  <c:v>39848</c:v>
                </c:pt>
                <c:pt idx="548">
                  <c:v>39849</c:v>
                </c:pt>
                <c:pt idx="549">
                  <c:v>39850</c:v>
                </c:pt>
                <c:pt idx="550">
                  <c:v>39853</c:v>
                </c:pt>
                <c:pt idx="551">
                  <c:v>39854</c:v>
                </c:pt>
                <c:pt idx="552">
                  <c:v>39855</c:v>
                </c:pt>
                <c:pt idx="553">
                  <c:v>39856</c:v>
                </c:pt>
                <c:pt idx="554">
                  <c:v>39857</c:v>
                </c:pt>
                <c:pt idx="555">
                  <c:v>39860</c:v>
                </c:pt>
                <c:pt idx="556">
                  <c:v>39861</c:v>
                </c:pt>
                <c:pt idx="557">
                  <c:v>39862</c:v>
                </c:pt>
                <c:pt idx="558">
                  <c:v>39863</c:v>
                </c:pt>
                <c:pt idx="559">
                  <c:v>39864</c:v>
                </c:pt>
                <c:pt idx="560">
                  <c:v>39867</c:v>
                </c:pt>
                <c:pt idx="561">
                  <c:v>39868</c:v>
                </c:pt>
                <c:pt idx="562">
                  <c:v>39869</c:v>
                </c:pt>
                <c:pt idx="563">
                  <c:v>39870</c:v>
                </c:pt>
                <c:pt idx="564">
                  <c:v>39871</c:v>
                </c:pt>
                <c:pt idx="565">
                  <c:v>39874</c:v>
                </c:pt>
                <c:pt idx="566">
                  <c:v>39875</c:v>
                </c:pt>
                <c:pt idx="567">
                  <c:v>39876</c:v>
                </c:pt>
                <c:pt idx="568">
                  <c:v>39877</c:v>
                </c:pt>
                <c:pt idx="569">
                  <c:v>39878</c:v>
                </c:pt>
                <c:pt idx="570">
                  <c:v>39881</c:v>
                </c:pt>
                <c:pt idx="571">
                  <c:v>39882</c:v>
                </c:pt>
                <c:pt idx="572">
                  <c:v>39883</c:v>
                </c:pt>
                <c:pt idx="573">
                  <c:v>39884</c:v>
                </c:pt>
                <c:pt idx="574">
                  <c:v>39885</c:v>
                </c:pt>
                <c:pt idx="575">
                  <c:v>39888</c:v>
                </c:pt>
                <c:pt idx="576">
                  <c:v>39889</c:v>
                </c:pt>
                <c:pt idx="577">
                  <c:v>39890</c:v>
                </c:pt>
                <c:pt idx="578">
                  <c:v>39891</c:v>
                </c:pt>
                <c:pt idx="579">
                  <c:v>39892</c:v>
                </c:pt>
                <c:pt idx="580">
                  <c:v>39895</c:v>
                </c:pt>
                <c:pt idx="581">
                  <c:v>39896</c:v>
                </c:pt>
                <c:pt idx="582">
                  <c:v>39897</c:v>
                </c:pt>
                <c:pt idx="583">
                  <c:v>39898</c:v>
                </c:pt>
                <c:pt idx="584">
                  <c:v>39899</c:v>
                </c:pt>
                <c:pt idx="585">
                  <c:v>39902</c:v>
                </c:pt>
                <c:pt idx="586">
                  <c:v>39903</c:v>
                </c:pt>
                <c:pt idx="587">
                  <c:v>39904</c:v>
                </c:pt>
                <c:pt idx="588">
                  <c:v>39905</c:v>
                </c:pt>
                <c:pt idx="589">
                  <c:v>39906</c:v>
                </c:pt>
                <c:pt idx="590">
                  <c:v>39909</c:v>
                </c:pt>
                <c:pt idx="591">
                  <c:v>39910</c:v>
                </c:pt>
                <c:pt idx="592">
                  <c:v>39911</c:v>
                </c:pt>
                <c:pt idx="593">
                  <c:v>39912</c:v>
                </c:pt>
                <c:pt idx="594">
                  <c:v>39913</c:v>
                </c:pt>
                <c:pt idx="595">
                  <c:v>39916</c:v>
                </c:pt>
                <c:pt idx="596">
                  <c:v>39917</c:v>
                </c:pt>
                <c:pt idx="597">
                  <c:v>39918</c:v>
                </c:pt>
                <c:pt idx="598">
                  <c:v>39919</c:v>
                </c:pt>
                <c:pt idx="599">
                  <c:v>39920</c:v>
                </c:pt>
                <c:pt idx="600">
                  <c:v>39923</c:v>
                </c:pt>
                <c:pt idx="601">
                  <c:v>39924</c:v>
                </c:pt>
                <c:pt idx="602">
                  <c:v>39925</c:v>
                </c:pt>
                <c:pt idx="603">
                  <c:v>39926</c:v>
                </c:pt>
                <c:pt idx="604">
                  <c:v>39927</c:v>
                </c:pt>
                <c:pt idx="605">
                  <c:v>39930</c:v>
                </c:pt>
                <c:pt idx="606">
                  <c:v>39931</c:v>
                </c:pt>
                <c:pt idx="607">
                  <c:v>39932</c:v>
                </c:pt>
                <c:pt idx="608">
                  <c:v>39933</c:v>
                </c:pt>
                <c:pt idx="609">
                  <c:v>39934</c:v>
                </c:pt>
                <c:pt idx="610">
                  <c:v>39937</c:v>
                </c:pt>
                <c:pt idx="611">
                  <c:v>39938</c:v>
                </c:pt>
                <c:pt idx="612">
                  <c:v>39939</c:v>
                </c:pt>
                <c:pt idx="613">
                  <c:v>39940</c:v>
                </c:pt>
                <c:pt idx="614">
                  <c:v>39941</c:v>
                </c:pt>
                <c:pt idx="615">
                  <c:v>39944</c:v>
                </c:pt>
                <c:pt idx="616">
                  <c:v>39945</c:v>
                </c:pt>
                <c:pt idx="617">
                  <c:v>39946</c:v>
                </c:pt>
                <c:pt idx="618">
                  <c:v>39947</c:v>
                </c:pt>
                <c:pt idx="619">
                  <c:v>39948</c:v>
                </c:pt>
                <c:pt idx="620">
                  <c:v>39951</c:v>
                </c:pt>
                <c:pt idx="621">
                  <c:v>39952</c:v>
                </c:pt>
                <c:pt idx="622">
                  <c:v>39953</c:v>
                </c:pt>
                <c:pt idx="623">
                  <c:v>39954</c:v>
                </c:pt>
                <c:pt idx="624">
                  <c:v>39955</c:v>
                </c:pt>
                <c:pt idx="625">
                  <c:v>39958</c:v>
                </c:pt>
                <c:pt idx="626">
                  <c:v>39959</c:v>
                </c:pt>
                <c:pt idx="627">
                  <c:v>39960</c:v>
                </c:pt>
                <c:pt idx="628">
                  <c:v>39961</c:v>
                </c:pt>
                <c:pt idx="629">
                  <c:v>39962</c:v>
                </c:pt>
                <c:pt idx="630">
                  <c:v>39965</c:v>
                </c:pt>
                <c:pt idx="631">
                  <c:v>39966</c:v>
                </c:pt>
                <c:pt idx="632">
                  <c:v>39967</c:v>
                </c:pt>
                <c:pt idx="633">
                  <c:v>39968</c:v>
                </c:pt>
                <c:pt idx="634">
                  <c:v>39969</c:v>
                </c:pt>
                <c:pt idx="635">
                  <c:v>39972</c:v>
                </c:pt>
                <c:pt idx="636">
                  <c:v>39973</c:v>
                </c:pt>
                <c:pt idx="637">
                  <c:v>39974</c:v>
                </c:pt>
                <c:pt idx="638">
                  <c:v>39975</c:v>
                </c:pt>
                <c:pt idx="639">
                  <c:v>39976</c:v>
                </c:pt>
                <c:pt idx="640">
                  <c:v>39979</c:v>
                </c:pt>
                <c:pt idx="641">
                  <c:v>39980</c:v>
                </c:pt>
                <c:pt idx="642">
                  <c:v>39981</c:v>
                </c:pt>
                <c:pt idx="643">
                  <c:v>39982</c:v>
                </c:pt>
                <c:pt idx="644">
                  <c:v>39983</c:v>
                </c:pt>
                <c:pt idx="645">
                  <c:v>39986</c:v>
                </c:pt>
                <c:pt idx="646">
                  <c:v>39987</c:v>
                </c:pt>
                <c:pt idx="647">
                  <c:v>39988</c:v>
                </c:pt>
                <c:pt idx="648">
                  <c:v>39989</c:v>
                </c:pt>
                <c:pt idx="649">
                  <c:v>39990</c:v>
                </c:pt>
                <c:pt idx="650">
                  <c:v>39993</c:v>
                </c:pt>
                <c:pt idx="651">
                  <c:v>39994</c:v>
                </c:pt>
                <c:pt idx="652">
                  <c:v>39995</c:v>
                </c:pt>
                <c:pt idx="653">
                  <c:v>39996</c:v>
                </c:pt>
                <c:pt idx="654">
                  <c:v>39997</c:v>
                </c:pt>
                <c:pt idx="655">
                  <c:v>40000</c:v>
                </c:pt>
                <c:pt idx="656">
                  <c:v>40001</c:v>
                </c:pt>
                <c:pt idx="657">
                  <c:v>40002</c:v>
                </c:pt>
                <c:pt idx="658">
                  <c:v>40003</c:v>
                </c:pt>
                <c:pt idx="659">
                  <c:v>40004</c:v>
                </c:pt>
                <c:pt idx="660">
                  <c:v>40007</c:v>
                </c:pt>
                <c:pt idx="661">
                  <c:v>40008</c:v>
                </c:pt>
                <c:pt idx="662">
                  <c:v>40009</c:v>
                </c:pt>
                <c:pt idx="663">
                  <c:v>40010</c:v>
                </c:pt>
                <c:pt idx="664">
                  <c:v>40011</c:v>
                </c:pt>
                <c:pt idx="665">
                  <c:v>40014</c:v>
                </c:pt>
                <c:pt idx="666">
                  <c:v>40015</c:v>
                </c:pt>
                <c:pt idx="667">
                  <c:v>40016</c:v>
                </c:pt>
                <c:pt idx="668">
                  <c:v>40017</c:v>
                </c:pt>
                <c:pt idx="669">
                  <c:v>40018</c:v>
                </c:pt>
                <c:pt idx="670">
                  <c:v>40021</c:v>
                </c:pt>
                <c:pt idx="671">
                  <c:v>40022</c:v>
                </c:pt>
                <c:pt idx="672">
                  <c:v>40023</c:v>
                </c:pt>
                <c:pt idx="673">
                  <c:v>40024</c:v>
                </c:pt>
                <c:pt idx="674">
                  <c:v>40025</c:v>
                </c:pt>
                <c:pt idx="675">
                  <c:v>40028</c:v>
                </c:pt>
                <c:pt idx="676">
                  <c:v>40029</c:v>
                </c:pt>
                <c:pt idx="677">
                  <c:v>40030</c:v>
                </c:pt>
                <c:pt idx="678">
                  <c:v>40031</c:v>
                </c:pt>
                <c:pt idx="679">
                  <c:v>40032</c:v>
                </c:pt>
                <c:pt idx="680">
                  <c:v>40035</c:v>
                </c:pt>
                <c:pt idx="681">
                  <c:v>40036</c:v>
                </c:pt>
                <c:pt idx="682">
                  <c:v>40037</c:v>
                </c:pt>
                <c:pt idx="683">
                  <c:v>40038</c:v>
                </c:pt>
                <c:pt idx="684">
                  <c:v>40039</c:v>
                </c:pt>
                <c:pt idx="685">
                  <c:v>40042</c:v>
                </c:pt>
                <c:pt idx="686">
                  <c:v>40043</c:v>
                </c:pt>
                <c:pt idx="687">
                  <c:v>40044</c:v>
                </c:pt>
                <c:pt idx="688">
                  <c:v>40045</c:v>
                </c:pt>
                <c:pt idx="689">
                  <c:v>40046</c:v>
                </c:pt>
                <c:pt idx="690">
                  <c:v>40049</c:v>
                </c:pt>
                <c:pt idx="691">
                  <c:v>40050</c:v>
                </c:pt>
                <c:pt idx="692">
                  <c:v>40051</c:v>
                </c:pt>
                <c:pt idx="693">
                  <c:v>40052</c:v>
                </c:pt>
                <c:pt idx="694">
                  <c:v>40053</c:v>
                </c:pt>
                <c:pt idx="695">
                  <c:v>40056</c:v>
                </c:pt>
                <c:pt idx="696">
                  <c:v>40057</c:v>
                </c:pt>
                <c:pt idx="697">
                  <c:v>40058</c:v>
                </c:pt>
                <c:pt idx="698">
                  <c:v>40059</c:v>
                </c:pt>
                <c:pt idx="699">
                  <c:v>40060</c:v>
                </c:pt>
                <c:pt idx="700">
                  <c:v>40063</c:v>
                </c:pt>
                <c:pt idx="701">
                  <c:v>40064</c:v>
                </c:pt>
                <c:pt idx="702">
                  <c:v>40065</c:v>
                </c:pt>
                <c:pt idx="703">
                  <c:v>40066</c:v>
                </c:pt>
                <c:pt idx="704">
                  <c:v>40067</c:v>
                </c:pt>
                <c:pt idx="705">
                  <c:v>40070</c:v>
                </c:pt>
                <c:pt idx="706">
                  <c:v>40071</c:v>
                </c:pt>
                <c:pt idx="707">
                  <c:v>40072</c:v>
                </c:pt>
                <c:pt idx="708">
                  <c:v>40073</c:v>
                </c:pt>
                <c:pt idx="709">
                  <c:v>40074</c:v>
                </c:pt>
                <c:pt idx="710">
                  <c:v>40077</c:v>
                </c:pt>
                <c:pt idx="711">
                  <c:v>40078</c:v>
                </c:pt>
                <c:pt idx="712">
                  <c:v>40079</c:v>
                </c:pt>
                <c:pt idx="713">
                  <c:v>40080</c:v>
                </c:pt>
                <c:pt idx="714">
                  <c:v>40081</c:v>
                </c:pt>
                <c:pt idx="715">
                  <c:v>40084</c:v>
                </c:pt>
                <c:pt idx="716">
                  <c:v>40085</c:v>
                </c:pt>
                <c:pt idx="717">
                  <c:v>40086</c:v>
                </c:pt>
                <c:pt idx="718">
                  <c:v>40087</c:v>
                </c:pt>
                <c:pt idx="719">
                  <c:v>40088</c:v>
                </c:pt>
                <c:pt idx="720">
                  <c:v>40091</c:v>
                </c:pt>
                <c:pt idx="721">
                  <c:v>40092</c:v>
                </c:pt>
                <c:pt idx="722">
                  <c:v>40093</c:v>
                </c:pt>
                <c:pt idx="723">
                  <c:v>40094</c:v>
                </c:pt>
                <c:pt idx="724">
                  <c:v>40095</c:v>
                </c:pt>
                <c:pt idx="725">
                  <c:v>40098</c:v>
                </c:pt>
                <c:pt idx="726">
                  <c:v>40099</c:v>
                </c:pt>
                <c:pt idx="727">
                  <c:v>40100</c:v>
                </c:pt>
                <c:pt idx="728">
                  <c:v>40101</c:v>
                </c:pt>
                <c:pt idx="729">
                  <c:v>40102</c:v>
                </c:pt>
                <c:pt idx="730">
                  <c:v>40105</c:v>
                </c:pt>
                <c:pt idx="731">
                  <c:v>40106</c:v>
                </c:pt>
                <c:pt idx="732">
                  <c:v>40107</c:v>
                </c:pt>
                <c:pt idx="733">
                  <c:v>40108</c:v>
                </c:pt>
                <c:pt idx="734">
                  <c:v>40109</c:v>
                </c:pt>
                <c:pt idx="735">
                  <c:v>40112</c:v>
                </c:pt>
                <c:pt idx="736">
                  <c:v>40113</c:v>
                </c:pt>
                <c:pt idx="737">
                  <c:v>40114</c:v>
                </c:pt>
                <c:pt idx="738">
                  <c:v>40115</c:v>
                </c:pt>
                <c:pt idx="739">
                  <c:v>40116</c:v>
                </c:pt>
                <c:pt idx="740">
                  <c:v>40119</c:v>
                </c:pt>
                <c:pt idx="741">
                  <c:v>40120</c:v>
                </c:pt>
                <c:pt idx="742">
                  <c:v>40121</c:v>
                </c:pt>
                <c:pt idx="743">
                  <c:v>40122</c:v>
                </c:pt>
                <c:pt idx="744">
                  <c:v>40123</c:v>
                </c:pt>
                <c:pt idx="745">
                  <c:v>40126</c:v>
                </c:pt>
                <c:pt idx="746">
                  <c:v>40127</c:v>
                </c:pt>
                <c:pt idx="747">
                  <c:v>40128</c:v>
                </c:pt>
                <c:pt idx="748">
                  <c:v>40129</c:v>
                </c:pt>
                <c:pt idx="749">
                  <c:v>40130</c:v>
                </c:pt>
                <c:pt idx="750">
                  <c:v>40133</c:v>
                </c:pt>
                <c:pt idx="751">
                  <c:v>40134</c:v>
                </c:pt>
                <c:pt idx="752">
                  <c:v>40135</c:v>
                </c:pt>
                <c:pt idx="753">
                  <c:v>40136</c:v>
                </c:pt>
                <c:pt idx="754">
                  <c:v>40137</c:v>
                </c:pt>
                <c:pt idx="755">
                  <c:v>40140</c:v>
                </c:pt>
                <c:pt idx="756">
                  <c:v>40141</c:v>
                </c:pt>
                <c:pt idx="757">
                  <c:v>40142</c:v>
                </c:pt>
                <c:pt idx="758">
                  <c:v>40143</c:v>
                </c:pt>
                <c:pt idx="759">
                  <c:v>40144</c:v>
                </c:pt>
                <c:pt idx="760">
                  <c:v>40147</c:v>
                </c:pt>
                <c:pt idx="761">
                  <c:v>40148</c:v>
                </c:pt>
                <c:pt idx="762">
                  <c:v>40149</c:v>
                </c:pt>
                <c:pt idx="763">
                  <c:v>40150</c:v>
                </c:pt>
                <c:pt idx="764">
                  <c:v>40151</c:v>
                </c:pt>
                <c:pt idx="765">
                  <c:v>40154</c:v>
                </c:pt>
                <c:pt idx="766">
                  <c:v>40155</c:v>
                </c:pt>
                <c:pt idx="767">
                  <c:v>40156</c:v>
                </c:pt>
                <c:pt idx="768">
                  <c:v>40157</c:v>
                </c:pt>
                <c:pt idx="769">
                  <c:v>40158</c:v>
                </c:pt>
                <c:pt idx="770">
                  <c:v>40161</c:v>
                </c:pt>
                <c:pt idx="771">
                  <c:v>40162</c:v>
                </c:pt>
                <c:pt idx="772">
                  <c:v>40163</c:v>
                </c:pt>
                <c:pt idx="773">
                  <c:v>40164</c:v>
                </c:pt>
                <c:pt idx="774">
                  <c:v>40165</c:v>
                </c:pt>
                <c:pt idx="775">
                  <c:v>40168</c:v>
                </c:pt>
                <c:pt idx="776">
                  <c:v>40169</c:v>
                </c:pt>
                <c:pt idx="777">
                  <c:v>40170</c:v>
                </c:pt>
                <c:pt idx="778">
                  <c:v>40171</c:v>
                </c:pt>
                <c:pt idx="779">
                  <c:v>40172</c:v>
                </c:pt>
                <c:pt idx="780">
                  <c:v>40175</c:v>
                </c:pt>
                <c:pt idx="781">
                  <c:v>40176</c:v>
                </c:pt>
                <c:pt idx="782">
                  <c:v>40177</c:v>
                </c:pt>
                <c:pt idx="783">
                  <c:v>40178</c:v>
                </c:pt>
                <c:pt idx="784">
                  <c:v>40179</c:v>
                </c:pt>
                <c:pt idx="785">
                  <c:v>40182</c:v>
                </c:pt>
                <c:pt idx="786">
                  <c:v>40183</c:v>
                </c:pt>
                <c:pt idx="787">
                  <c:v>40184</c:v>
                </c:pt>
                <c:pt idx="788">
                  <c:v>40185</c:v>
                </c:pt>
                <c:pt idx="789">
                  <c:v>40186</c:v>
                </c:pt>
                <c:pt idx="790">
                  <c:v>40189</c:v>
                </c:pt>
                <c:pt idx="791">
                  <c:v>40190</c:v>
                </c:pt>
                <c:pt idx="792">
                  <c:v>40191</c:v>
                </c:pt>
                <c:pt idx="793">
                  <c:v>40192</c:v>
                </c:pt>
                <c:pt idx="794">
                  <c:v>40193</c:v>
                </c:pt>
                <c:pt idx="795">
                  <c:v>40196</c:v>
                </c:pt>
                <c:pt idx="796">
                  <c:v>40197</c:v>
                </c:pt>
                <c:pt idx="797">
                  <c:v>40198</c:v>
                </c:pt>
                <c:pt idx="798">
                  <c:v>40199</c:v>
                </c:pt>
                <c:pt idx="799">
                  <c:v>40200</c:v>
                </c:pt>
                <c:pt idx="800">
                  <c:v>40203</c:v>
                </c:pt>
                <c:pt idx="801">
                  <c:v>40204</c:v>
                </c:pt>
                <c:pt idx="802">
                  <c:v>40205</c:v>
                </c:pt>
                <c:pt idx="803">
                  <c:v>40206</c:v>
                </c:pt>
                <c:pt idx="804">
                  <c:v>40207</c:v>
                </c:pt>
                <c:pt idx="805">
                  <c:v>40210</c:v>
                </c:pt>
                <c:pt idx="806">
                  <c:v>40211</c:v>
                </c:pt>
                <c:pt idx="807">
                  <c:v>40212</c:v>
                </c:pt>
                <c:pt idx="808">
                  <c:v>40213</c:v>
                </c:pt>
                <c:pt idx="809">
                  <c:v>40214</c:v>
                </c:pt>
                <c:pt idx="810">
                  <c:v>40217</c:v>
                </c:pt>
                <c:pt idx="811">
                  <c:v>40218</c:v>
                </c:pt>
                <c:pt idx="812">
                  <c:v>40219</c:v>
                </c:pt>
                <c:pt idx="813">
                  <c:v>40220</c:v>
                </c:pt>
                <c:pt idx="814">
                  <c:v>40221</c:v>
                </c:pt>
                <c:pt idx="815">
                  <c:v>40224</c:v>
                </c:pt>
                <c:pt idx="816">
                  <c:v>40225</c:v>
                </c:pt>
                <c:pt idx="817">
                  <c:v>40226</c:v>
                </c:pt>
                <c:pt idx="818">
                  <c:v>40227</c:v>
                </c:pt>
                <c:pt idx="819">
                  <c:v>40228</c:v>
                </c:pt>
                <c:pt idx="820">
                  <c:v>40231</c:v>
                </c:pt>
                <c:pt idx="821">
                  <c:v>40232</c:v>
                </c:pt>
                <c:pt idx="822">
                  <c:v>40233</c:v>
                </c:pt>
                <c:pt idx="823">
                  <c:v>40234</c:v>
                </c:pt>
                <c:pt idx="824">
                  <c:v>40235</c:v>
                </c:pt>
                <c:pt idx="825">
                  <c:v>40238</c:v>
                </c:pt>
                <c:pt idx="826">
                  <c:v>40239</c:v>
                </c:pt>
                <c:pt idx="827">
                  <c:v>40240</c:v>
                </c:pt>
                <c:pt idx="828">
                  <c:v>40241</c:v>
                </c:pt>
                <c:pt idx="829">
                  <c:v>40242</c:v>
                </c:pt>
                <c:pt idx="830">
                  <c:v>40245</c:v>
                </c:pt>
                <c:pt idx="831">
                  <c:v>40246</c:v>
                </c:pt>
                <c:pt idx="832">
                  <c:v>40247</c:v>
                </c:pt>
                <c:pt idx="833">
                  <c:v>40248</c:v>
                </c:pt>
                <c:pt idx="834">
                  <c:v>40249</c:v>
                </c:pt>
                <c:pt idx="835">
                  <c:v>40252</c:v>
                </c:pt>
                <c:pt idx="836">
                  <c:v>40253</c:v>
                </c:pt>
                <c:pt idx="837">
                  <c:v>40254</c:v>
                </c:pt>
                <c:pt idx="838">
                  <c:v>40255</c:v>
                </c:pt>
                <c:pt idx="839">
                  <c:v>40256</c:v>
                </c:pt>
                <c:pt idx="840">
                  <c:v>40259</c:v>
                </c:pt>
                <c:pt idx="841">
                  <c:v>40260</c:v>
                </c:pt>
                <c:pt idx="842">
                  <c:v>40261</c:v>
                </c:pt>
                <c:pt idx="843">
                  <c:v>40262</c:v>
                </c:pt>
                <c:pt idx="844">
                  <c:v>40263</c:v>
                </c:pt>
                <c:pt idx="845">
                  <c:v>40266</c:v>
                </c:pt>
                <c:pt idx="846">
                  <c:v>40267</c:v>
                </c:pt>
                <c:pt idx="847">
                  <c:v>40268</c:v>
                </c:pt>
                <c:pt idx="848">
                  <c:v>40269</c:v>
                </c:pt>
                <c:pt idx="849">
                  <c:v>40270</c:v>
                </c:pt>
                <c:pt idx="850">
                  <c:v>40273</c:v>
                </c:pt>
                <c:pt idx="851">
                  <c:v>40274</c:v>
                </c:pt>
                <c:pt idx="852">
                  <c:v>40275</c:v>
                </c:pt>
                <c:pt idx="853">
                  <c:v>40276</c:v>
                </c:pt>
                <c:pt idx="854">
                  <c:v>40277</c:v>
                </c:pt>
                <c:pt idx="855">
                  <c:v>40280</c:v>
                </c:pt>
                <c:pt idx="856">
                  <c:v>40281</c:v>
                </c:pt>
                <c:pt idx="857">
                  <c:v>40282</c:v>
                </c:pt>
                <c:pt idx="858">
                  <c:v>40283</c:v>
                </c:pt>
                <c:pt idx="859">
                  <c:v>40284</c:v>
                </c:pt>
                <c:pt idx="860">
                  <c:v>40287</c:v>
                </c:pt>
                <c:pt idx="861">
                  <c:v>40288</c:v>
                </c:pt>
                <c:pt idx="862">
                  <c:v>40289</c:v>
                </c:pt>
                <c:pt idx="863">
                  <c:v>40290</c:v>
                </c:pt>
                <c:pt idx="864">
                  <c:v>40291</c:v>
                </c:pt>
                <c:pt idx="865">
                  <c:v>40294</c:v>
                </c:pt>
                <c:pt idx="866">
                  <c:v>40295</c:v>
                </c:pt>
                <c:pt idx="867">
                  <c:v>40296</c:v>
                </c:pt>
                <c:pt idx="868">
                  <c:v>40297</c:v>
                </c:pt>
                <c:pt idx="869">
                  <c:v>40298</c:v>
                </c:pt>
                <c:pt idx="870">
                  <c:v>40301</c:v>
                </c:pt>
                <c:pt idx="871">
                  <c:v>40302</c:v>
                </c:pt>
                <c:pt idx="872">
                  <c:v>40303</c:v>
                </c:pt>
                <c:pt idx="873">
                  <c:v>40304</c:v>
                </c:pt>
                <c:pt idx="874">
                  <c:v>40305</c:v>
                </c:pt>
                <c:pt idx="875">
                  <c:v>40308</c:v>
                </c:pt>
                <c:pt idx="876">
                  <c:v>40309</c:v>
                </c:pt>
                <c:pt idx="877">
                  <c:v>40310</c:v>
                </c:pt>
                <c:pt idx="878">
                  <c:v>40311</c:v>
                </c:pt>
                <c:pt idx="879">
                  <c:v>40312</c:v>
                </c:pt>
                <c:pt idx="880">
                  <c:v>40315</c:v>
                </c:pt>
                <c:pt idx="881">
                  <c:v>40316</c:v>
                </c:pt>
                <c:pt idx="882">
                  <c:v>40317</c:v>
                </c:pt>
                <c:pt idx="883">
                  <c:v>40318</c:v>
                </c:pt>
                <c:pt idx="884">
                  <c:v>40319</c:v>
                </c:pt>
                <c:pt idx="885">
                  <c:v>40322</c:v>
                </c:pt>
                <c:pt idx="886">
                  <c:v>40323</c:v>
                </c:pt>
                <c:pt idx="887">
                  <c:v>40324</c:v>
                </c:pt>
                <c:pt idx="888">
                  <c:v>40325</c:v>
                </c:pt>
                <c:pt idx="889">
                  <c:v>40326</c:v>
                </c:pt>
                <c:pt idx="890">
                  <c:v>40329</c:v>
                </c:pt>
                <c:pt idx="891">
                  <c:v>40330</c:v>
                </c:pt>
                <c:pt idx="892">
                  <c:v>40331</c:v>
                </c:pt>
                <c:pt idx="893">
                  <c:v>40332</c:v>
                </c:pt>
                <c:pt idx="894">
                  <c:v>40333</c:v>
                </c:pt>
                <c:pt idx="895">
                  <c:v>40336</c:v>
                </c:pt>
                <c:pt idx="896">
                  <c:v>40337</c:v>
                </c:pt>
                <c:pt idx="897">
                  <c:v>40338</c:v>
                </c:pt>
                <c:pt idx="898">
                  <c:v>40339</c:v>
                </c:pt>
                <c:pt idx="899">
                  <c:v>40340</c:v>
                </c:pt>
                <c:pt idx="900">
                  <c:v>40343</c:v>
                </c:pt>
                <c:pt idx="901">
                  <c:v>40344</c:v>
                </c:pt>
                <c:pt idx="902">
                  <c:v>40345</c:v>
                </c:pt>
                <c:pt idx="903">
                  <c:v>40346</c:v>
                </c:pt>
                <c:pt idx="904">
                  <c:v>40347</c:v>
                </c:pt>
                <c:pt idx="905">
                  <c:v>40350</c:v>
                </c:pt>
                <c:pt idx="906">
                  <c:v>40351</c:v>
                </c:pt>
                <c:pt idx="907">
                  <c:v>40352</c:v>
                </c:pt>
                <c:pt idx="908">
                  <c:v>40353</c:v>
                </c:pt>
                <c:pt idx="909">
                  <c:v>40354</c:v>
                </c:pt>
                <c:pt idx="910">
                  <c:v>40357</c:v>
                </c:pt>
                <c:pt idx="911">
                  <c:v>40358</c:v>
                </c:pt>
                <c:pt idx="912">
                  <c:v>40359</c:v>
                </c:pt>
                <c:pt idx="913">
                  <c:v>40360</c:v>
                </c:pt>
                <c:pt idx="914">
                  <c:v>40361</c:v>
                </c:pt>
                <c:pt idx="915">
                  <c:v>40364</c:v>
                </c:pt>
                <c:pt idx="916">
                  <c:v>40365</c:v>
                </c:pt>
                <c:pt idx="917">
                  <c:v>40366</c:v>
                </c:pt>
                <c:pt idx="918">
                  <c:v>40367</c:v>
                </c:pt>
                <c:pt idx="919">
                  <c:v>40368</c:v>
                </c:pt>
                <c:pt idx="920">
                  <c:v>40371</c:v>
                </c:pt>
                <c:pt idx="921">
                  <c:v>40372</c:v>
                </c:pt>
                <c:pt idx="922">
                  <c:v>40373</c:v>
                </c:pt>
                <c:pt idx="923">
                  <c:v>40374</c:v>
                </c:pt>
                <c:pt idx="924">
                  <c:v>40375</c:v>
                </c:pt>
                <c:pt idx="925">
                  <c:v>40378</c:v>
                </c:pt>
                <c:pt idx="926">
                  <c:v>40379</c:v>
                </c:pt>
                <c:pt idx="927">
                  <c:v>40380</c:v>
                </c:pt>
                <c:pt idx="928">
                  <c:v>40381</c:v>
                </c:pt>
                <c:pt idx="929">
                  <c:v>40382</c:v>
                </c:pt>
                <c:pt idx="930">
                  <c:v>40385</c:v>
                </c:pt>
                <c:pt idx="931">
                  <c:v>40386</c:v>
                </c:pt>
                <c:pt idx="932">
                  <c:v>40387</c:v>
                </c:pt>
                <c:pt idx="933">
                  <c:v>40388</c:v>
                </c:pt>
                <c:pt idx="934">
                  <c:v>40389</c:v>
                </c:pt>
                <c:pt idx="935">
                  <c:v>40392</c:v>
                </c:pt>
                <c:pt idx="936">
                  <c:v>40393</c:v>
                </c:pt>
                <c:pt idx="937">
                  <c:v>40394</c:v>
                </c:pt>
                <c:pt idx="938">
                  <c:v>40395</c:v>
                </c:pt>
                <c:pt idx="939">
                  <c:v>40396</c:v>
                </c:pt>
                <c:pt idx="940">
                  <c:v>40399</c:v>
                </c:pt>
                <c:pt idx="941">
                  <c:v>40400</c:v>
                </c:pt>
                <c:pt idx="942">
                  <c:v>40401</c:v>
                </c:pt>
                <c:pt idx="943">
                  <c:v>40402</c:v>
                </c:pt>
                <c:pt idx="944">
                  <c:v>40403</c:v>
                </c:pt>
                <c:pt idx="945">
                  <c:v>40406</c:v>
                </c:pt>
                <c:pt idx="946">
                  <c:v>40407</c:v>
                </c:pt>
                <c:pt idx="947">
                  <c:v>40408</c:v>
                </c:pt>
                <c:pt idx="948">
                  <c:v>40409</c:v>
                </c:pt>
                <c:pt idx="949">
                  <c:v>40410</c:v>
                </c:pt>
                <c:pt idx="950">
                  <c:v>40413</c:v>
                </c:pt>
                <c:pt idx="951">
                  <c:v>40414</c:v>
                </c:pt>
                <c:pt idx="952">
                  <c:v>40415</c:v>
                </c:pt>
                <c:pt idx="953">
                  <c:v>40416</c:v>
                </c:pt>
                <c:pt idx="954">
                  <c:v>40417</c:v>
                </c:pt>
                <c:pt idx="955">
                  <c:v>40420</c:v>
                </c:pt>
                <c:pt idx="956">
                  <c:v>40421</c:v>
                </c:pt>
                <c:pt idx="957">
                  <c:v>40422</c:v>
                </c:pt>
                <c:pt idx="958">
                  <c:v>40423</c:v>
                </c:pt>
                <c:pt idx="959">
                  <c:v>40424</c:v>
                </c:pt>
                <c:pt idx="960">
                  <c:v>40427</c:v>
                </c:pt>
                <c:pt idx="961">
                  <c:v>40428</c:v>
                </c:pt>
                <c:pt idx="962">
                  <c:v>40429</c:v>
                </c:pt>
                <c:pt idx="963">
                  <c:v>40430</c:v>
                </c:pt>
                <c:pt idx="964">
                  <c:v>40431</c:v>
                </c:pt>
                <c:pt idx="965">
                  <c:v>40434</c:v>
                </c:pt>
                <c:pt idx="966">
                  <c:v>40435</c:v>
                </c:pt>
                <c:pt idx="967">
                  <c:v>40436</c:v>
                </c:pt>
                <c:pt idx="968">
                  <c:v>40437</c:v>
                </c:pt>
                <c:pt idx="969">
                  <c:v>40438</c:v>
                </c:pt>
                <c:pt idx="970">
                  <c:v>40441</c:v>
                </c:pt>
                <c:pt idx="971">
                  <c:v>40442</c:v>
                </c:pt>
                <c:pt idx="972">
                  <c:v>40443</c:v>
                </c:pt>
                <c:pt idx="973">
                  <c:v>40444</c:v>
                </c:pt>
                <c:pt idx="974">
                  <c:v>40445</c:v>
                </c:pt>
                <c:pt idx="975">
                  <c:v>40448</c:v>
                </c:pt>
                <c:pt idx="976">
                  <c:v>40449</c:v>
                </c:pt>
                <c:pt idx="977">
                  <c:v>40450</c:v>
                </c:pt>
                <c:pt idx="978">
                  <c:v>40451</c:v>
                </c:pt>
                <c:pt idx="979">
                  <c:v>40452</c:v>
                </c:pt>
                <c:pt idx="980">
                  <c:v>40455</c:v>
                </c:pt>
                <c:pt idx="981">
                  <c:v>40456</c:v>
                </c:pt>
                <c:pt idx="982">
                  <c:v>40457</c:v>
                </c:pt>
                <c:pt idx="983">
                  <c:v>40458</c:v>
                </c:pt>
                <c:pt idx="984">
                  <c:v>40459</c:v>
                </c:pt>
                <c:pt idx="985">
                  <c:v>40462</c:v>
                </c:pt>
                <c:pt idx="986">
                  <c:v>40463</c:v>
                </c:pt>
                <c:pt idx="987">
                  <c:v>40464</c:v>
                </c:pt>
                <c:pt idx="988">
                  <c:v>40465</c:v>
                </c:pt>
                <c:pt idx="989">
                  <c:v>40466</c:v>
                </c:pt>
                <c:pt idx="990">
                  <c:v>40469</c:v>
                </c:pt>
                <c:pt idx="991">
                  <c:v>40470</c:v>
                </c:pt>
                <c:pt idx="992">
                  <c:v>40471</c:v>
                </c:pt>
                <c:pt idx="993">
                  <c:v>40472</c:v>
                </c:pt>
                <c:pt idx="994">
                  <c:v>40473</c:v>
                </c:pt>
                <c:pt idx="995">
                  <c:v>40476</c:v>
                </c:pt>
                <c:pt idx="996">
                  <c:v>40477</c:v>
                </c:pt>
                <c:pt idx="997">
                  <c:v>40478</c:v>
                </c:pt>
                <c:pt idx="998">
                  <c:v>40479</c:v>
                </c:pt>
                <c:pt idx="999">
                  <c:v>40480</c:v>
                </c:pt>
                <c:pt idx="1000">
                  <c:v>40483</c:v>
                </c:pt>
                <c:pt idx="1001">
                  <c:v>40484</c:v>
                </c:pt>
                <c:pt idx="1002">
                  <c:v>40485</c:v>
                </c:pt>
                <c:pt idx="1003">
                  <c:v>40486</c:v>
                </c:pt>
                <c:pt idx="1004">
                  <c:v>40487</c:v>
                </c:pt>
                <c:pt idx="1005">
                  <c:v>40490</c:v>
                </c:pt>
                <c:pt idx="1006">
                  <c:v>40491</c:v>
                </c:pt>
                <c:pt idx="1007">
                  <c:v>40492</c:v>
                </c:pt>
                <c:pt idx="1008">
                  <c:v>40493</c:v>
                </c:pt>
                <c:pt idx="1009">
                  <c:v>40494</c:v>
                </c:pt>
                <c:pt idx="1010">
                  <c:v>40497</c:v>
                </c:pt>
                <c:pt idx="1011">
                  <c:v>40498</c:v>
                </c:pt>
                <c:pt idx="1012">
                  <c:v>40499</c:v>
                </c:pt>
                <c:pt idx="1013">
                  <c:v>40500</c:v>
                </c:pt>
                <c:pt idx="1014">
                  <c:v>40501</c:v>
                </c:pt>
                <c:pt idx="1015">
                  <c:v>40504</c:v>
                </c:pt>
                <c:pt idx="1016">
                  <c:v>40505</c:v>
                </c:pt>
                <c:pt idx="1017">
                  <c:v>40506</c:v>
                </c:pt>
                <c:pt idx="1018">
                  <c:v>40507</c:v>
                </c:pt>
                <c:pt idx="1019">
                  <c:v>40508</c:v>
                </c:pt>
                <c:pt idx="1020">
                  <c:v>40511</c:v>
                </c:pt>
                <c:pt idx="1021">
                  <c:v>40512</c:v>
                </c:pt>
                <c:pt idx="1022">
                  <c:v>40513</c:v>
                </c:pt>
                <c:pt idx="1023">
                  <c:v>40514</c:v>
                </c:pt>
                <c:pt idx="1024">
                  <c:v>40515</c:v>
                </c:pt>
                <c:pt idx="1025">
                  <c:v>40518</c:v>
                </c:pt>
                <c:pt idx="1026">
                  <c:v>40519</c:v>
                </c:pt>
                <c:pt idx="1027">
                  <c:v>40520</c:v>
                </c:pt>
                <c:pt idx="1028">
                  <c:v>40521</c:v>
                </c:pt>
                <c:pt idx="1029">
                  <c:v>40522</c:v>
                </c:pt>
                <c:pt idx="1030">
                  <c:v>40525</c:v>
                </c:pt>
                <c:pt idx="1031">
                  <c:v>40526</c:v>
                </c:pt>
                <c:pt idx="1032">
                  <c:v>40527</c:v>
                </c:pt>
                <c:pt idx="1033">
                  <c:v>40528</c:v>
                </c:pt>
                <c:pt idx="1034">
                  <c:v>40529</c:v>
                </c:pt>
                <c:pt idx="1035">
                  <c:v>40532</c:v>
                </c:pt>
                <c:pt idx="1036">
                  <c:v>40533</c:v>
                </c:pt>
                <c:pt idx="1037">
                  <c:v>40534</c:v>
                </c:pt>
                <c:pt idx="1038">
                  <c:v>40535</c:v>
                </c:pt>
                <c:pt idx="1039">
                  <c:v>40536</c:v>
                </c:pt>
                <c:pt idx="1040">
                  <c:v>40539</c:v>
                </c:pt>
                <c:pt idx="1041">
                  <c:v>40540</c:v>
                </c:pt>
                <c:pt idx="1042">
                  <c:v>40541</c:v>
                </c:pt>
                <c:pt idx="1043">
                  <c:v>40542</c:v>
                </c:pt>
                <c:pt idx="1044">
                  <c:v>40543</c:v>
                </c:pt>
                <c:pt idx="1045">
                  <c:v>40546</c:v>
                </c:pt>
                <c:pt idx="1046">
                  <c:v>40547</c:v>
                </c:pt>
                <c:pt idx="1047">
                  <c:v>40548</c:v>
                </c:pt>
                <c:pt idx="1048">
                  <c:v>40549</c:v>
                </c:pt>
                <c:pt idx="1049">
                  <c:v>40550</c:v>
                </c:pt>
                <c:pt idx="1050">
                  <c:v>40553</c:v>
                </c:pt>
                <c:pt idx="1051">
                  <c:v>40554</c:v>
                </c:pt>
                <c:pt idx="1052">
                  <c:v>40555</c:v>
                </c:pt>
                <c:pt idx="1053">
                  <c:v>40556</c:v>
                </c:pt>
                <c:pt idx="1054">
                  <c:v>40557</c:v>
                </c:pt>
                <c:pt idx="1055">
                  <c:v>40560</c:v>
                </c:pt>
                <c:pt idx="1056">
                  <c:v>40561</c:v>
                </c:pt>
                <c:pt idx="1057">
                  <c:v>40562</c:v>
                </c:pt>
                <c:pt idx="1058">
                  <c:v>40563</c:v>
                </c:pt>
                <c:pt idx="1059">
                  <c:v>40564</c:v>
                </c:pt>
                <c:pt idx="1060">
                  <c:v>40567</c:v>
                </c:pt>
                <c:pt idx="1061">
                  <c:v>40568</c:v>
                </c:pt>
                <c:pt idx="1062">
                  <c:v>40569</c:v>
                </c:pt>
                <c:pt idx="1063">
                  <c:v>40570</c:v>
                </c:pt>
                <c:pt idx="1064">
                  <c:v>40571</c:v>
                </c:pt>
                <c:pt idx="1065">
                  <c:v>40574</c:v>
                </c:pt>
                <c:pt idx="1066">
                  <c:v>40575</c:v>
                </c:pt>
                <c:pt idx="1067">
                  <c:v>40576</c:v>
                </c:pt>
                <c:pt idx="1068">
                  <c:v>40577</c:v>
                </c:pt>
                <c:pt idx="1069">
                  <c:v>40578</c:v>
                </c:pt>
                <c:pt idx="1070">
                  <c:v>40581</c:v>
                </c:pt>
                <c:pt idx="1071">
                  <c:v>40582</c:v>
                </c:pt>
                <c:pt idx="1072">
                  <c:v>40583</c:v>
                </c:pt>
                <c:pt idx="1073">
                  <c:v>40584</c:v>
                </c:pt>
                <c:pt idx="1074">
                  <c:v>40585</c:v>
                </c:pt>
                <c:pt idx="1075">
                  <c:v>40588</c:v>
                </c:pt>
                <c:pt idx="1076">
                  <c:v>40589</c:v>
                </c:pt>
                <c:pt idx="1077">
                  <c:v>40590</c:v>
                </c:pt>
                <c:pt idx="1078">
                  <c:v>40591</c:v>
                </c:pt>
                <c:pt idx="1079">
                  <c:v>40592</c:v>
                </c:pt>
                <c:pt idx="1080">
                  <c:v>40595</c:v>
                </c:pt>
                <c:pt idx="1081">
                  <c:v>40596</c:v>
                </c:pt>
                <c:pt idx="1082">
                  <c:v>40597</c:v>
                </c:pt>
                <c:pt idx="1083">
                  <c:v>40598</c:v>
                </c:pt>
                <c:pt idx="1084">
                  <c:v>40599</c:v>
                </c:pt>
                <c:pt idx="1085">
                  <c:v>40602</c:v>
                </c:pt>
                <c:pt idx="1086">
                  <c:v>40603</c:v>
                </c:pt>
                <c:pt idx="1087">
                  <c:v>40604</c:v>
                </c:pt>
                <c:pt idx="1088">
                  <c:v>40605</c:v>
                </c:pt>
                <c:pt idx="1089">
                  <c:v>40606</c:v>
                </c:pt>
                <c:pt idx="1090">
                  <c:v>40609</c:v>
                </c:pt>
                <c:pt idx="1091">
                  <c:v>40610</c:v>
                </c:pt>
                <c:pt idx="1092">
                  <c:v>40611</c:v>
                </c:pt>
                <c:pt idx="1093">
                  <c:v>40612</c:v>
                </c:pt>
                <c:pt idx="1094">
                  <c:v>40613</c:v>
                </c:pt>
                <c:pt idx="1095">
                  <c:v>40616</c:v>
                </c:pt>
                <c:pt idx="1096">
                  <c:v>40617</c:v>
                </c:pt>
                <c:pt idx="1097">
                  <c:v>40618</c:v>
                </c:pt>
                <c:pt idx="1098">
                  <c:v>40619</c:v>
                </c:pt>
                <c:pt idx="1099">
                  <c:v>40620</c:v>
                </c:pt>
                <c:pt idx="1100">
                  <c:v>40623</c:v>
                </c:pt>
                <c:pt idx="1101">
                  <c:v>40624</c:v>
                </c:pt>
                <c:pt idx="1102">
                  <c:v>40625</c:v>
                </c:pt>
                <c:pt idx="1103">
                  <c:v>40626</c:v>
                </c:pt>
                <c:pt idx="1104">
                  <c:v>40627</c:v>
                </c:pt>
                <c:pt idx="1105">
                  <c:v>40630</c:v>
                </c:pt>
                <c:pt idx="1106">
                  <c:v>40631</c:v>
                </c:pt>
                <c:pt idx="1107">
                  <c:v>40632</c:v>
                </c:pt>
                <c:pt idx="1108">
                  <c:v>40633</c:v>
                </c:pt>
                <c:pt idx="1109">
                  <c:v>40634</c:v>
                </c:pt>
                <c:pt idx="1110">
                  <c:v>40637</c:v>
                </c:pt>
                <c:pt idx="1111">
                  <c:v>40638</c:v>
                </c:pt>
                <c:pt idx="1112">
                  <c:v>40639</c:v>
                </c:pt>
                <c:pt idx="1113">
                  <c:v>40640</c:v>
                </c:pt>
                <c:pt idx="1114">
                  <c:v>40641</c:v>
                </c:pt>
                <c:pt idx="1115">
                  <c:v>40644</c:v>
                </c:pt>
                <c:pt idx="1116">
                  <c:v>40645</c:v>
                </c:pt>
                <c:pt idx="1117">
                  <c:v>40646</c:v>
                </c:pt>
                <c:pt idx="1118">
                  <c:v>40647</c:v>
                </c:pt>
                <c:pt idx="1119">
                  <c:v>40648</c:v>
                </c:pt>
                <c:pt idx="1120">
                  <c:v>40651</c:v>
                </c:pt>
                <c:pt idx="1121">
                  <c:v>40652</c:v>
                </c:pt>
                <c:pt idx="1122">
                  <c:v>40653</c:v>
                </c:pt>
                <c:pt idx="1123">
                  <c:v>40654</c:v>
                </c:pt>
                <c:pt idx="1124">
                  <c:v>40655</c:v>
                </c:pt>
                <c:pt idx="1125">
                  <c:v>40658</c:v>
                </c:pt>
                <c:pt idx="1126">
                  <c:v>40659</c:v>
                </c:pt>
                <c:pt idx="1127">
                  <c:v>40660</c:v>
                </c:pt>
                <c:pt idx="1128">
                  <c:v>40661</c:v>
                </c:pt>
                <c:pt idx="1129">
                  <c:v>40662</c:v>
                </c:pt>
                <c:pt idx="1130">
                  <c:v>40665</c:v>
                </c:pt>
                <c:pt idx="1131">
                  <c:v>40666</c:v>
                </c:pt>
                <c:pt idx="1132">
                  <c:v>40667</c:v>
                </c:pt>
                <c:pt idx="1133">
                  <c:v>40668</c:v>
                </c:pt>
                <c:pt idx="1134">
                  <c:v>40669</c:v>
                </c:pt>
                <c:pt idx="1135">
                  <c:v>40672</c:v>
                </c:pt>
                <c:pt idx="1136">
                  <c:v>40673</c:v>
                </c:pt>
                <c:pt idx="1137">
                  <c:v>40674</c:v>
                </c:pt>
                <c:pt idx="1138">
                  <c:v>40675</c:v>
                </c:pt>
                <c:pt idx="1139">
                  <c:v>40676</c:v>
                </c:pt>
                <c:pt idx="1140">
                  <c:v>40679</c:v>
                </c:pt>
                <c:pt idx="1141">
                  <c:v>40680</c:v>
                </c:pt>
                <c:pt idx="1142">
                  <c:v>40681</c:v>
                </c:pt>
                <c:pt idx="1143">
                  <c:v>40682</c:v>
                </c:pt>
                <c:pt idx="1144">
                  <c:v>40683</c:v>
                </c:pt>
                <c:pt idx="1145">
                  <c:v>40686</c:v>
                </c:pt>
                <c:pt idx="1146">
                  <c:v>40687</c:v>
                </c:pt>
                <c:pt idx="1147">
                  <c:v>40688</c:v>
                </c:pt>
                <c:pt idx="1148">
                  <c:v>40689</c:v>
                </c:pt>
                <c:pt idx="1149">
                  <c:v>40690</c:v>
                </c:pt>
                <c:pt idx="1150">
                  <c:v>40693</c:v>
                </c:pt>
                <c:pt idx="1151">
                  <c:v>40694</c:v>
                </c:pt>
                <c:pt idx="1152">
                  <c:v>40695</c:v>
                </c:pt>
                <c:pt idx="1153">
                  <c:v>40696</c:v>
                </c:pt>
                <c:pt idx="1154">
                  <c:v>40697</c:v>
                </c:pt>
                <c:pt idx="1155">
                  <c:v>40700</c:v>
                </c:pt>
                <c:pt idx="1156">
                  <c:v>40701</c:v>
                </c:pt>
                <c:pt idx="1157">
                  <c:v>40702</c:v>
                </c:pt>
                <c:pt idx="1158">
                  <c:v>40703</c:v>
                </c:pt>
                <c:pt idx="1159">
                  <c:v>40704</c:v>
                </c:pt>
                <c:pt idx="1160">
                  <c:v>40707</c:v>
                </c:pt>
                <c:pt idx="1161">
                  <c:v>40708</c:v>
                </c:pt>
                <c:pt idx="1162">
                  <c:v>40709</c:v>
                </c:pt>
                <c:pt idx="1163">
                  <c:v>40710</c:v>
                </c:pt>
                <c:pt idx="1164">
                  <c:v>40711</c:v>
                </c:pt>
                <c:pt idx="1165">
                  <c:v>40714</c:v>
                </c:pt>
                <c:pt idx="1166">
                  <c:v>40715</c:v>
                </c:pt>
                <c:pt idx="1167">
                  <c:v>40716</c:v>
                </c:pt>
                <c:pt idx="1168">
                  <c:v>40717</c:v>
                </c:pt>
                <c:pt idx="1169">
                  <c:v>40718</c:v>
                </c:pt>
                <c:pt idx="1170">
                  <c:v>40721</c:v>
                </c:pt>
                <c:pt idx="1171">
                  <c:v>40722</c:v>
                </c:pt>
                <c:pt idx="1172">
                  <c:v>40723</c:v>
                </c:pt>
                <c:pt idx="1173">
                  <c:v>40724</c:v>
                </c:pt>
                <c:pt idx="1174">
                  <c:v>40725</c:v>
                </c:pt>
                <c:pt idx="1175">
                  <c:v>40728</c:v>
                </c:pt>
                <c:pt idx="1176">
                  <c:v>40729</c:v>
                </c:pt>
                <c:pt idx="1177">
                  <c:v>40730</c:v>
                </c:pt>
                <c:pt idx="1178">
                  <c:v>40731</c:v>
                </c:pt>
                <c:pt idx="1179">
                  <c:v>40732</c:v>
                </c:pt>
                <c:pt idx="1180">
                  <c:v>40735</c:v>
                </c:pt>
                <c:pt idx="1181">
                  <c:v>40736</c:v>
                </c:pt>
                <c:pt idx="1182">
                  <c:v>40737</c:v>
                </c:pt>
                <c:pt idx="1183">
                  <c:v>40738</c:v>
                </c:pt>
                <c:pt idx="1184">
                  <c:v>40739</c:v>
                </c:pt>
                <c:pt idx="1185">
                  <c:v>40742</c:v>
                </c:pt>
                <c:pt idx="1186">
                  <c:v>40743</c:v>
                </c:pt>
                <c:pt idx="1187">
                  <c:v>40744</c:v>
                </c:pt>
                <c:pt idx="1188">
                  <c:v>40745</c:v>
                </c:pt>
                <c:pt idx="1189">
                  <c:v>40746</c:v>
                </c:pt>
                <c:pt idx="1190">
                  <c:v>40749</c:v>
                </c:pt>
                <c:pt idx="1191">
                  <c:v>40750</c:v>
                </c:pt>
                <c:pt idx="1192">
                  <c:v>40751</c:v>
                </c:pt>
                <c:pt idx="1193">
                  <c:v>40752</c:v>
                </c:pt>
                <c:pt idx="1194">
                  <c:v>40753</c:v>
                </c:pt>
                <c:pt idx="1195">
                  <c:v>40756</c:v>
                </c:pt>
                <c:pt idx="1196">
                  <c:v>40757</c:v>
                </c:pt>
                <c:pt idx="1197">
                  <c:v>40758</c:v>
                </c:pt>
                <c:pt idx="1198">
                  <c:v>40759</c:v>
                </c:pt>
                <c:pt idx="1199">
                  <c:v>40760</c:v>
                </c:pt>
                <c:pt idx="1200">
                  <c:v>40763</c:v>
                </c:pt>
                <c:pt idx="1201">
                  <c:v>40764</c:v>
                </c:pt>
                <c:pt idx="1202">
                  <c:v>40765</c:v>
                </c:pt>
                <c:pt idx="1203">
                  <c:v>40766</c:v>
                </c:pt>
                <c:pt idx="1204">
                  <c:v>40767</c:v>
                </c:pt>
                <c:pt idx="1205">
                  <c:v>40770</c:v>
                </c:pt>
                <c:pt idx="1206">
                  <c:v>40771</c:v>
                </c:pt>
                <c:pt idx="1207">
                  <c:v>40772</c:v>
                </c:pt>
                <c:pt idx="1208">
                  <c:v>40773</c:v>
                </c:pt>
                <c:pt idx="1209">
                  <c:v>40774</c:v>
                </c:pt>
                <c:pt idx="1210">
                  <c:v>40777</c:v>
                </c:pt>
                <c:pt idx="1211">
                  <c:v>40778</c:v>
                </c:pt>
                <c:pt idx="1212">
                  <c:v>40779</c:v>
                </c:pt>
                <c:pt idx="1213">
                  <c:v>40780</c:v>
                </c:pt>
                <c:pt idx="1214">
                  <c:v>40781</c:v>
                </c:pt>
                <c:pt idx="1215">
                  <c:v>40784</c:v>
                </c:pt>
                <c:pt idx="1216">
                  <c:v>40785</c:v>
                </c:pt>
                <c:pt idx="1217">
                  <c:v>40786</c:v>
                </c:pt>
                <c:pt idx="1218">
                  <c:v>40787</c:v>
                </c:pt>
                <c:pt idx="1219">
                  <c:v>40788</c:v>
                </c:pt>
                <c:pt idx="1220">
                  <c:v>40791</c:v>
                </c:pt>
                <c:pt idx="1221">
                  <c:v>40792</c:v>
                </c:pt>
                <c:pt idx="1222">
                  <c:v>40793</c:v>
                </c:pt>
                <c:pt idx="1223">
                  <c:v>40794</c:v>
                </c:pt>
                <c:pt idx="1224">
                  <c:v>40795</c:v>
                </c:pt>
                <c:pt idx="1225">
                  <c:v>40798</c:v>
                </c:pt>
                <c:pt idx="1226">
                  <c:v>40799</c:v>
                </c:pt>
                <c:pt idx="1227">
                  <c:v>40800</c:v>
                </c:pt>
                <c:pt idx="1228">
                  <c:v>40801</c:v>
                </c:pt>
                <c:pt idx="1229">
                  <c:v>40802</c:v>
                </c:pt>
                <c:pt idx="1230">
                  <c:v>40805</c:v>
                </c:pt>
                <c:pt idx="1231">
                  <c:v>40806</c:v>
                </c:pt>
                <c:pt idx="1232">
                  <c:v>40807</c:v>
                </c:pt>
                <c:pt idx="1233">
                  <c:v>40808</c:v>
                </c:pt>
                <c:pt idx="1234">
                  <c:v>40809</c:v>
                </c:pt>
                <c:pt idx="1235">
                  <c:v>40812</c:v>
                </c:pt>
                <c:pt idx="1236">
                  <c:v>40813</c:v>
                </c:pt>
                <c:pt idx="1237">
                  <c:v>40814</c:v>
                </c:pt>
                <c:pt idx="1238">
                  <c:v>40815</c:v>
                </c:pt>
                <c:pt idx="1239">
                  <c:v>40816</c:v>
                </c:pt>
                <c:pt idx="1240">
                  <c:v>40819</c:v>
                </c:pt>
                <c:pt idx="1241">
                  <c:v>40820</c:v>
                </c:pt>
                <c:pt idx="1242">
                  <c:v>40821</c:v>
                </c:pt>
                <c:pt idx="1243">
                  <c:v>40822</c:v>
                </c:pt>
                <c:pt idx="1244">
                  <c:v>40823</c:v>
                </c:pt>
                <c:pt idx="1245">
                  <c:v>40826</c:v>
                </c:pt>
                <c:pt idx="1246">
                  <c:v>40827</c:v>
                </c:pt>
                <c:pt idx="1247">
                  <c:v>40828</c:v>
                </c:pt>
                <c:pt idx="1248">
                  <c:v>40829</c:v>
                </c:pt>
                <c:pt idx="1249">
                  <c:v>40830</c:v>
                </c:pt>
                <c:pt idx="1250">
                  <c:v>40833</c:v>
                </c:pt>
                <c:pt idx="1251">
                  <c:v>40834</c:v>
                </c:pt>
                <c:pt idx="1252">
                  <c:v>40835</c:v>
                </c:pt>
                <c:pt idx="1253">
                  <c:v>40836</c:v>
                </c:pt>
                <c:pt idx="1254">
                  <c:v>40837</c:v>
                </c:pt>
                <c:pt idx="1255">
                  <c:v>40840</c:v>
                </c:pt>
                <c:pt idx="1256">
                  <c:v>40841</c:v>
                </c:pt>
                <c:pt idx="1257">
                  <c:v>40842</c:v>
                </c:pt>
                <c:pt idx="1258">
                  <c:v>40843</c:v>
                </c:pt>
                <c:pt idx="1259">
                  <c:v>40844</c:v>
                </c:pt>
                <c:pt idx="1260">
                  <c:v>40847</c:v>
                </c:pt>
                <c:pt idx="1261">
                  <c:v>40848</c:v>
                </c:pt>
                <c:pt idx="1262">
                  <c:v>40849</c:v>
                </c:pt>
                <c:pt idx="1263">
                  <c:v>40850</c:v>
                </c:pt>
                <c:pt idx="1264">
                  <c:v>40851</c:v>
                </c:pt>
                <c:pt idx="1265">
                  <c:v>40854</c:v>
                </c:pt>
                <c:pt idx="1266">
                  <c:v>40855</c:v>
                </c:pt>
                <c:pt idx="1267">
                  <c:v>40856</c:v>
                </c:pt>
                <c:pt idx="1268">
                  <c:v>40857</c:v>
                </c:pt>
                <c:pt idx="1269">
                  <c:v>40858</c:v>
                </c:pt>
                <c:pt idx="1270">
                  <c:v>40861</c:v>
                </c:pt>
                <c:pt idx="1271">
                  <c:v>40862</c:v>
                </c:pt>
                <c:pt idx="1272">
                  <c:v>40863</c:v>
                </c:pt>
                <c:pt idx="1273">
                  <c:v>40864</c:v>
                </c:pt>
                <c:pt idx="1274">
                  <c:v>40865</c:v>
                </c:pt>
                <c:pt idx="1275">
                  <c:v>40868</c:v>
                </c:pt>
                <c:pt idx="1276">
                  <c:v>40869</c:v>
                </c:pt>
                <c:pt idx="1277">
                  <c:v>40870</c:v>
                </c:pt>
                <c:pt idx="1278">
                  <c:v>40871</c:v>
                </c:pt>
                <c:pt idx="1279">
                  <c:v>40872</c:v>
                </c:pt>
                <c:pt idx="1280">
                  <c:v>40875</c:v>
                </c:pt>
                <c:pt idx="1281">
                  <c:v>40876</c:v>
                </c:pt>
                <c:pt idx="1282">
                  <c:v>40877</c:v>
                </c:pt>
                <c:pt idx="1283">
                  <c:v>40878</c:v>
                </c:pt>
                <c:pt idx="1284">
                  <c:v>40879</c:v>
                </c:pt>
                <c:pt idx="1285">
                  <c:v>40882</c:v>
                </c:pt>
                <c:pt idx="1286">
                  <c:v>40883</c:v>
                </c:pt>
                <c:pt idx="1287">
                  <c:v>40884</c:v>
                </c:pt>
                <c:pt idx="1288">
                  <c:v>40885</c:v>
                </c:pt>
                <c:pt idx="1289">
                  <c:v>40886</c:v>
                </c:pt>
                <c:pt idx="1290">
                  <c:v>40889</c:v>
                </c:pt>
                <c:pt idx="1291">
                  <c:v>40890</c:v>
                </c:pt>
                <c:pt idx="1292">
                  <c:v>40891</c:v>
                </c:pt>
                <c:pt idx="1293">
                  <c:v>40892</c:v>
                </c:pt>
                <c:pt idx="1294">
                  <c:v>40893</c:v>
                </c:pt>
                <c:pt idx="1295">
                  <c:v>40896</c:v>
                </c:pt>
                <c:pt idx="1296">
                  <c:v>40897</c:v>
                </c:pt>
                <c:pt idx="1297">
                  <c:v>40898</c:v>
                </c:pt>
                <c:pt idx="1298">
                  <c:v>40899</c:v>
                </c:pt>
                <c:pt idx="1299">
                  <c:v>40900</c:v>
                </c:pt>
                <c:pt idx="1300">
                  <c:v>40903</c:v>
                </c:pt>
                <c:pt idx="1301">
                  <c:v>40904</c:v>
                </c:pt>
                <c:pt idx="1302">
                  <c:v>40905</c:v>
                </c:pt>
                <c:pt idx="1303">
                  <c:v>40906</c:v>
                </c:pt>
                <c:pt idx="1304">
                  <c:v>40907</c:v>
                </c:pt>
                <c:pt idx="1305">
                  <c:v>40910</c:v>
                </c:pt>
                <c:pt idx="1306">
                  <c:v>40911</c:v>
                </c:pt>
                <c:pt idx="1307">
                  <c:v>40912</c:v>
                </c:pt>
                <c:pt idx="1308">
                  <c:v>40913</c:v>
                </c:pt>
                <c:pt idx="1309">
                  <c:v>40914</c:v>
                </c:pt>
                <c:pt idx="1310">
                  <c:v>40917</c:v>
                </c:pt>
                <c:pt idx="1311">
                  <c:v>40918</c:v>
                </c:pt>
                <c:pt idx="1312">
                  <c:v>40919</c:v>
                </c:pt>
                <c:pt idx="1313">
                  <c:v>40920</c:v>
                </c:pt>
                <c:pt idx="1314">
                  <c:v>40921</c:v>
                </c:pt>
                <c:pt idx="1315">
                  <c:v>40924</c:v>
                </c:pt>
                <c:pt idx="1316">
                  <c:v>40925</c:v>
                </c:pt>
                <c:pt idx="1317">
                  <c:v>40926</c:v>
                </c:pt>
                <c:pt idx="1318">
                  <c:v>40927</c:v>
                </c:pt>
                <c:pt idx="1319">
                  <c:v>40928</c:v>
                </c:pt>
                <c:pt idx="1320">
                  <c:v>40931</c:v>
                </c:pt>
                <c:pt idx="1321">
                  <c:v>40932</c:v>
                </c:pt>
                <c:pt idx="1322">
                  <c:v>40933</c:v>
                </c:pt>
                <c:pt idx="1323">
                  <c:v>40934</c:v>
                </c:pt>
                <c:pt idx="1324">
                  <c:v>40935</c:v>
                </c:pt>
                <c:pt idx="1325">
                  <c:v>40938</c:v>
                </c:pt>
                <c:pt idx="1326">
                  <c:v>40939</c:v>
                </c:pt>
                <c:pt idx="1327">
                  <c:v>40940</c:v>
                </c:pt>
                <c:pt idx="1328">
                  <c:v>40941</c:v>
                </c:pt>
                <c:pt idx="1329">
                  <c:v>40942</c:v>
                </c:pt>
                <c:pt idx="1330">
                  <c:v>40945</c:v>
                </c:pt>
                <c:pt idx="1331">
                  <c:v>40946</c:v>
                </c:pt>
                <c:pt idx="1332">
                  <c:v>40947</c:v>
                </c:pt>
                <c:pt idx="1333">
                  <c:v>40948</c:v>
                </c:pt>
                <c:pt idx="1334">
                  <c:v>40949</c:v>
                </c:pt>
                <c:pt idx="1335">
                  <c:v>40952</c:v>
                </c:pt>
                <c:pt idx="1336">
                  <c:v>40953</c:v>
                </c:pt>
                <c:pt idx="1337">
                  <c:v>40954</c:v>
                </c:pt>
                <c:pt idx="1338">
                  <c:v>40955</c:v>
                </c:pt>
                <c:pt idx="1339">
                  <c:v>40956</c:v>
                </c:pt>
                <c:pt idx="1340">
                  <c:v>40959</c:v>
                </c:pt>
                <c:pt idx="1341">
                  <c:v>40960</c:v>
                </c:pt>
                <c:pt idx="1342">
                  <c:v>40961</c:v>
                </c:pt>
                <c:pt idx="1343">
                  <c:v>40962</c:v>
                </c:pt>
                <c:pt idx="1344">
                  <c:v>40963</c:v>
                </c:pt>
                <c:pt idx="1345">
                  <c:v>40966</c:v>
                </c:pt>
                <c:pt idx="1346">
                  <c:v>40967</c:v>
                </c:pt>
                <c:pt idx="1347">
                  <c:v>40968</c:v>
                </c:pt>
                <c:pt idx="1348">
                  <c:v>40969</c:v>
                </c:pt>
                <c:pt idx="1349">
                  <c:v>40970</c:v>
                </c:pt>
                <c:pt idx="1350">
                  <c:v>40973</c:v>
                </c:pt>
                <c:pt idx="1351">
                  <c:v>40974</c:v>
                </c:pt>
                <c:pt idx="1352">
                  <c:v>40975</c:v>
                </c:pt>
                <c:pt idx="1353">
                  <c:v>40976</c:v>
                </c:pt>
                <c:pt idx="1354">
                  <c:v>40977</c:v>
                </c:pt>
                <c:pt idx="1355">
                  <c:v>40980</c:v>
                </c:pt>
                <c:pt idx="1356">
                  <c:v>40981</c:v>
                </c:pt>
                <c:pt idx="1357">
                  <c:v>40982</c:v>
                </c:pt>
                <c:pt idx="1358">
                  <c:v>40983</c:v>
                </c:pt>
                <c:pt idx="1359">
                  <c:v>40984</c:v>
                </c:pt>
                <c:pt idx="1360">
                  <c:v>40987</c:v>
                </c:pt>
                <c:pt idx="1361">
                  <c:v>40988</c:v>
                </c:pt>
                <c:pt idx="1362">
                  <c:v>40989</c:v>
                </c:pt>
                <c:pt idx="1363">
                  <c:v>40990</c:v>
                </c:pt>
                <c:pt idx="1364">
                  <c:v>40991</c:v>
                </c:pt>
                <c:pt idx="1365">
                  <c:v>40994</c:v>
                </c:pt>
                <c:pt idx="1366">
                  <c:v>40995</c:v>
                </c:pt>
                <c:pt idx="1367">
                  <c:v>40996</c:v>
                </c:pt>
                <c:pt idx="1368">
                  <c:v>40997</c:v>
                </c:pt>
                <c:pt idx="1369">
                  <c:v>40998</c:v>
                </c:pt>
                <c:pt idx="1370">
                  <c:v>41001</c:v>
                </c:pt>
                <c:pt idx="1371">
                  <c:v>41002</c:v>
                </c:pt>
                <c:pt idx="1372">
                  <c:v>41003</c:v>
                </c:pt>
                <c:pt idx="1373">
                  <c:v>41004</c:v>
                </c:pt>
                <c:pt idx="1374">
                  <c:v>41005</c:v>
                </c:pt>
                <c:pt idx="1375">
                  <c:v>41008</c:v>
                </c:pt>
                <c:pt idx="1376">
                  <c:v>41009</c:v>
                </c:pt>
                <c:pt idx="1377">
                  <c:v>41010</c:v>
                </c:pt>
                <c:pt idx="1378">
                  <c:v>41011</c:v>
                </c:pt>
                <c:pt idx="1379">
                  <c:v>41012</c:v>
                </c:pt>
                <c:pt idx="1380">
                  <c:v>41015</c:v>
                </c:pt>
                <c:pt idx="1381">
                  <c:v>41016</c:v>
                </c:pt>
                <c:pt idx="1382">
                  <c:v>41017</c:v>
                </c:pt>
                <c:pt idx="1383">
                  <c:v>41018</c:v>
                </c:pt>
                <c:pt idx="1384">
                  <c:v>41019</c:v>
                </c:pt>
                <c:pt idx="1385">
                  <c:v>41022</c:v>
                </c:pt>
                <c:pt idx="1386">
                  <c:v>41023</c:v>
                </c:pt>
                <c:pt idx="1387">
                  <c:v>41024</c:v>
                </c:pt>
                <c:pt idx="1388">
                  <c:v>41025</c:v>
                </c:pt>
                <c:pt idx="1389">
                  <c:v>41026</c:v>
                </c:pt>
                <c:pt idx="1390">
                  <c:v>41029</c:v>
                </c:pt>
                <c:pt idx="1391">
                  <c:v>41030</c:v>
                </c:pt>
                <c:pt idx="1392">
                  <c:v>41031</c:v>
                </c:pt>
                <c:pt idx="1393">
                  <c:v>41032</c:v>
                </c:pt>
                <c:pt idx="1394">
                  <c:v>41033</c:v>
                </c:pt>
                <c:pt idx="1395">
                  <c:v>41036</c:v>
                </c:pt>
                <c:pt idx="1396">
                  <c:v>41037</c:v>
                </c:pt>
                <c:pt idx="1397">
                  <c:v>41038</c:v>
                </c:pt>
                <c:pt idx="1398">
                  <c:v>41039</c:v>
                </c:pt>
                <c:pt idx="1399">
                  <c:v>41040</c:v>
                </c:pt>
                <c:pt idx="1400">
                  <c:v>41043</c:v>
                </c:pt>
                <c:pt idx="1401">
                  <c:v>41044</c:v>
                </c:pt>
                <c:pt idx="1402">
                  <c:v>41045</c:v>
                </c:pt>
                <c:pt idx="1403">
                  <c:v>41046</c:v>
                </c:pt>
                <c:pt idx="1404">
                  <c:v>41047</c:v>
                </c:pt>
                <c:pt idx="1405">
                  <c:v>41050</c:v>
                </c:pt>
                <c:pt idx="1406">
                  <c:v>41051</c:v>
                </c:pt>
                <c:pt idx="1407">
                  <c:v>41052</c:v>
                </c:pt>
                <c:pt idx="1408">
                  <c:v>41053</c:v>
                </c:pt>
                <c:pt idx="1409">
                  <c:v>41054</c:v>
                </c:pt>
                <c:pt idx="1410">
                  <c:v>41057</c:v>
                </c:pt>
                <c:pt idx="1411">
                  <c:v>41058</c:v>
                </c:pt>
                <c:pt idx="1412">
                  <c:v>41059</c:v>
                </c:pt>
                <c:pt idx="1413">
                  <c:v>41060</c:v>
                </c:pt>
                <c:pt idx="1414">
                  <c:v>41061</c:v>
                </c:pt>
                <c:pt idx="1415">
                  <c:v>41064</c:v>
                </c:pt>
                <c:pt idx="1416">
                  <c:v>41065</c:v>
                </c:pt>
                <c:pt idx="1417">
                  <c:v>41066</c:v>
                </c:pt>
                <c:pt idx="1418">
                  <c:v>41067</c:v>
                </c:pt>
                <c:pt idx="1419">
                  <c:v>41068</c:v>
                </c:pt>
                <c:pt idx="1420">
                  <c:v>41071</c:v>
                </c:pt>
                <c:pt idx="1421">
                  <c:v>41072</c:v>
                </c:pt>
                <c:pt idx="1422">
                  <c:v>41073</c:v>
                </c:pt>
                <c:pt idx="1423">
                  <c:v>41074</c:v>
                </c:pt>
                <c:pt idx="1424">
                  <c:v>41075</c:v>
                </c:pt>
                <c:pt idx="1425">
                  <c:v>41078</c:v>
                </c:pt>
                <c:pt idx="1426">
                  <c:v>41079</c:v>
                </c:pt>
                <c:pt idx="1427">
                  <c:v>41080</c:v>
                </c:pt>
                <c:pt idx="1428">
                  <c:v>41081</c:v>
                </c:pt>
                <c:pt idx="1429">
                  <c:v>41082</c:v>
                </c:pt>
                <c:pt idx="1430">
                  <c:v>41085</c:v>
                </c:pt>
                <c:pt idx="1431">
                  <c:v>41086</c:v>
                </c:pt>
                <c:pt idx="1432">
                  <c:v>41087</c:v>
                </c:pt>
                <c:pt idx="1433">
                  <c:v>41088</c:v>
                </c:pt>
                <c:pt idx="1434">
                  <c:v>41089</c:v>
                </c:pt>
                <c:pt idx="1435">
                  <c:v>41092</c:v>
                </c:pt>
                <c:pt idx="1436">
                  <c:v>41093</c:v>
                </c:pt>
                <c:pt idx="1437">
                  <c:v>41094</c:v>
                </c:pt>
                <c:pt idx="1438">
                  <c:v>41095</c:v>
                </c:pt>
                <c:pt idx="1439">
                  <c:v>41096</c:v>
                </c:pt>
                <c:pt idx="1440">
                  <c:v>41099</c:v>
                </c:pt>
                <c:pt idx="1441">
                  <c:v>41100</c:v>
                </c:pt>
                <c:pt idx="1442">
                  <c:v>41101</c:v>
                </c:pt>
                <c:pt idx="1443">
                  <c:v>41102</c:v>
                </c:pt>
                <c:pt idx="1444">
                  <c:v>41103</c:v>
                </c:pt>
                <c:pt idx="1445">
                  <c:v>41106</c:v>
                </c:pt>
                <c:pt idx="1446">
                  <c:v>41107</c:v>
                </c:pt>
                <c:pt idx="1447">
                  <c:v>41108</c:v>
                </c:pt>
                <c:pt idx="1448">
                  <c:v>41109</c:v>
                </c:pt>
                <c:pt idx="1449">
                  <c:v>41110</c:v>
                </c:pt>
                <c:pt idx="1450">
                  <c:v>41113</c:v>
                </c:pt>
                <c:pt idx="1451">
                  <c:v>41114</c:v>
                </c:pt>
                <c:pt idx="1452">
                  <c:v>41115</c:v>
                </c:pt>
                <c:pt idx="1453">
                  <c:v>41116</c:v>
                </c:pt>
                <c:pt idx="1454">
                  <c:v>41117</c:v>
                </c:pt>
                <c:pt idx="1455">
                  <c:v>41120</c:v>
                </c:pt>
                <c:pt idx="1456">
                  <c:v>41121</c:v>
                </c:pt>
                <c:pt idx="1457">
                  <c:v>41122</c:v>
                </c:pt>
                <c:pt idx="1458">
                  <c:v>41123</c:v>
                </c:pt>
                <c:pt idx="1459">
                  <c:v>41124</c:v>
                </c:pt>
                <c:pt idx="1460">
                  <c:v>41127</c:v>
                </c:pt>
                <c:pt idx="1461">
                  <c:v>41128</c:v>
                </c:pt>
                <c:pt idx="1462">
                  <c:v>41129</c:v>
                </c:pt>
                <c:pt idx="1463">
                  <c:v>41130</c:v>
                </c:pt>
                <c:pt idx="1464">
                  <c:v>41131</c:v>
                </c:pt>
                <c:pt idx="1465">
                  <c:v>41134</c:v>
                </c:pt>
                <c:pt idx="1466">
                  <c:v>41135</c:v>
                </c:pt>
                <c:pt idx="1467">
                  <c:v>41136</c:v>
                </c:pt>
                <c:pt idx="1468">
                  <c:v>41137</c:v>
                </c:pt>
                <c:pt idx="1469">
                  <c:v>41138</c:v>
                </c:pt>
                <c:pt idx="1470">
                  <c:v>41141</c:v>
                </c:pt>
                <c:pt idx="1471">
                  <c:v>41142</c:v>
                </c:pt>
                <c:pt idx="1472">
                  <c:v>41143</c:v>
                </c:pt>
                <c:pt idx="1473">
                  <c:v>41144</c:v>
                </c:pt>
                <c:pt idx="1474">
                  <c:v>41145</c:v>
                </c:pt>
                <c:pt idx="1475">
                  <c:v>41148</c:v>
                </c:pt>
                <c:pt idx="1476">
                  <c:v>41149</c:v>
                </c:pt>
                <c:pt idx="1477">
                  <c:v>41150</c:v>
                </c:pt>
                <c:pt idx="1478">
                  <c:v>41151</c:v>
                </c:pt>
                <c:pt idx="1479">
                  <c:v>41152</c:v>
                </c:pt>
                <c:pt idx="1480">
                  <c:v>41155</c:v>
                </c:pt>
                <c:pt idx="1481">
                  <c:v>41156</c:v>
                </c:pt>
                <c:pt idx="1482">
                  <c:v>41157</c:v>
                </c:pt>
                <c:pt idx="1483">
                  <c:v>41158</c:v>
                </c:pt>
                <c:pt idx="1484">
                  <c:v>41159</c:v>
                </c:pt>
                <c:pt idx="1485">
                  <c:v>41162</c:v>
                </c:pt>
                <c:pt idx="1486">
                  <c:v>41163</c:v>
                </c:pt>
                <c:pt idx="1487">
                  <c:v>41164</c:v>
                </c:pt>
                <c:pt idx="1488">
                  <c:v>41165</c:v>
                </c:pt>
                <c:pt idx="1489">
                  <c:v>41166</c:v>
                </c:pt>
                <c:pt idx="1490">
                  <c:v>41169</c:v>
                </c:pt>
                <c:pt idx="1491">
                  <c:v>41170</c:v>
                </c:pt>
                <c:pt idx="1492">
                  <c:v>41171</c:v>
                </c:pt>
                <c:pt idx="1493">
                  <c:v>41172</c:v>
                </c:pt>
                <c:pt idx="1494">
                  <c:v>41173</c:v>
                </c:pt>
                <c:pt idx="1495">
                  <c:v>41176</c:v>
                </c:pt>
                <c:pt idx="1496">
                  <c:v>41177</c:v>
                </c:pt>
                <c:pt idx="1497">
                  <c:v>41178</c:v>
                </c:pt>
                <c:pt idx="1498">
                  <c:v>41179</c:v>
                </c:pt>
                <c:pt idx="1499">
                  <c:v>41180</c:v>
                </c:pt>
                <c:pt idx="1500">
                  <c:v>41183</c:v>
                </c:pt>
                <c:pt idx="1501">
                  <c:v>41184</c:v>
                </c:pt>
                <c:pt idx="1502">
                  <c:v>41185</c:v>
                </c:pt>
                <c:pt idx="1503">
                  <c:v>41186</c:v>
                </c:pt>
                <c:pt idx="1504">
                  <c:v>41187</c:v>
                </c:pt>
                <c:pt idx="1505">
                  <c:v>41190</c:v>
                </c:pt>
                <c:pt idx="1506">
                  <c:v>41191</c:v>
                </c:pt>
                <c:pt idx="1507">
                  <c:v>41192</c:v>
                </c:pt>
                <c:pt idx="1508">
                  <c:v>41193</c:v>
                </c:pt>
                <c:pt idx="1509">
                  <c:v>41194</c:v>
                </c:pt>
                <c:pt idx="1510">
                  <c:v>41197</c:v>
                </c:pt>
                <c:pt idx="1511">
                  <c:v>41198</c:v>
                </c:pt>
                <c:pt idx="1512">
                  <c:v>41199</c:v>
                </c:pt>
                <c:pt idx="1513">
                  <c:v>41200</c:v>
                </c:pt>
                <c:pt idx="1514">
                  <c:v>41201</c:v>
                </c:pt>
                <c:pt idx="1515">
                  <c:v>41204</c:v>
                </c:pt>
                <c:pt idx="1516">
                  <c:v>41205</c:v>
                </c:pt>
                <c:pt idx="1517">
                  <c:v>41206</c:v>
                </c:pt>
                <c:pt idx="1518">
                  <c:v>41207</c:v>
                </c:pt>
                <c:pt idx="1519">
                  <c:v>41208</c:v>
                </c:pt>
                <c:pt idx="1520">
                  <c:v>41211</c:v>
                </c:pt>
                <c:pt idx="1521">
                  <c:v>41212</c:v>
                </c:pt>
                <c:pt idx="1522">
                  <c:v>41213</c:v>
                </c:pt>
                <c:pt idx="1523">
                  <c:v>41214</c:v>
                </c:pt>
                <c:pt idx="1524">
                  <c:v>41215</c:v>
                </c:pt>
                <c:pt idx="1525">
                  <c:v>41218</c:v>
                </c:pt>
                <c:pt idx="1526">
                  <c:v>41219</c:v>
                </c:pt>
                <c:pt idx="1527">
                  <c:v>41220</c:v>
                </c:pt>
                <c:pt idx="1528">
                  <c:v>41221</c:v>
                </c:pt>
                <c:pt idx="1529">
                  <c:v>41222</c:v>
                </c:pt>
                <c:pt idx="1530">
                  <c:v>41225</c:v>
                </c:pt>
                <c:pt idx="1531">
                  <c:v>41226</c:v>
                </c:pt>
                <c:pt idx="1532">
                  <c:v>41227</c:v>
                </c:pt>
                <c:pt idx="1533">
                  <c:v>41228</c:v>
                </c:pt>
                <c:pt idx="1534">
                  <c:v>41229</c:v>
                </c:pt>
                <c:pt idx="1535">
                  <c:v>41232</c:v>
                </c:pt>
                <c:pt idx="1536">
                  <c:v>41233</c:v>
                </c:pt>
                <c:pt idx="1537">
                  <c:v>41234</c:v>
                </c:pt>
                <c:pt idx="1538">
                  <c:v>41235</c:v>
                </c:pt>
                <c:pt idx="1539">
                  <c:v>41236</c:v>
                </c:pt>
                <c:pt idx="1540">
                  <c:v>41239</c:v>
                </c:pt>
                <c:pt idx="1541">
                  <c:v>41240</c:v>
                </c:pt>
                <c:pt idx="1542">
                  <c:v>41241</c:v>
                </c:pt>
                <c:pt idx="1543">
                  <c:v>41242</c:v>
                </c:pt>
                <c:pt idx="1544">
                  <c:v>41243</c:v>
                </c:pt>
                <c:pt idx="1545">
                  <c:v>41246</c:v>
                </c:pt>
                <c:pt idx="1546">
                  <c:v>41247</c:v>
                </c:pt>
                <c:pt idx="1547">
                  <c:v>41248</c:v>
                </c:pt>
                <c:pt idx="1548">
                  <c:v>41249</c:v>
                </c:pt>
                <c:pt idx="1549">
                  <c:v>41250</c:v>
                </c:pt>
                <c:pt idx="1550">
                  <c:v>41253</c:v>
                </c:pt>
                <c:pt idx="1551">
                  <c:v>41254</c:v>
                </c:pt>
                <c:pt idx="1552">
                  <c:v>41255</c:v>
                </c:pt>
                <c:pt idx="1553">
                  <c:v>41256</c:v>
                </c:pt>
                <c:pt idx="1554">
                  <c:v>41257</c:v>
                </c:pt>
                <c:pt idx="1555">
                  <c:v>41260</c:v>
                </c:pt>
                <c:pt idx="1556">
                  <c:v>41261</c:v>
                </c:pt>
                <c:pt idx="1557">
                  <c:v>41262</c:v>
                </c:pt>
                <c:pt idx="1558">
                  <c:v>41263</c:v>
                </c:pt>
                <c:pt idx="1559">
                  <c:v>41264</c:v>
                </c:pt>
                <c:pt idx="1560">
                  <c:v>41267</c:v>
                </c:pt>
                <c:pt idx="1561">
                  <c:v>41268</c:v>
                </c:pt>
                <c:pt idx="1562">
                  <c:v>41269</c:v>
                </c:pt>
                <c:pt idx="1563">
                  <c:v>41270</c:v>
                </c:pt>
                <c:pt idx="1564">
                  <c:v>41271</c:v>
                </c:pt>
                <c:pt idx="1565">
                  <c:v>41274</c:v>
                </c:pt>
                <c:pt idx="1566">
                  <c:v>41275</c:v>
                </c:pt>
                <c:pt idx="1567">
                  <c:v>41276</c:v>
                </c:pt>
                <c:pt idx="1568">
                  <c:v>41277</c:v>
                </c:pt>
                <c:pt idx="1569">
                  <c:v>41278</c:v>
                </c:pt>
                <c:pt idx="1570">
                  <c:v>41281</c:v>
                </c:pt>
                <c:pt idx="1571">
                  <c:v>41282</c:v>
                </c:pt>
                <c:pt idx="1572">
                  <c:v>41283</c:v>
                </c:pt>
                <c:pt idx="1573">
                  <c:v>41284</c:v>
                </c:pt>
                <c:pt idx="1574">
                  <c:v>41285</c:v>
                </c:pt>
                <c:pt idx="1575">
                  <c:v>41288</c:v>
                </c:pt>
                <c:pt idx="1576">
                  <c:v>41289</c:v>
                </c:pt>
                <c:pt idx="1577">
                  <c:v>41290</c:v>
                </c:pt>
                <c:pt idx="1578">
                  <c:v>41291</c:v>
                </c:pt>
                <c:pt idx="1579">
                  <c:v>41292</c:v>
                </c:pt>
                <c:pt idx="1580">
                  <c:v>41295</c:v>
                </c:pt>
                <c:pt idx="1581">
                  <c:v>41296</c:v>
                </c:pt>
                <c:pt idx="1582">
                  <c:v>41297</c:v>
                </c:pt>
                <c:pt idx="1583">
                  <c:v>41298</c:v>
                </c:pt>
                <c:pt idx="1584">
                  <c:v>41299</c:v>
                </c:pt>
                <c:pt idx="1585">
                  <c:v>41302</c:v>
                </c:pt>
                <c:pt idx="1586">
                  <c:v>41303</c:v>
                </c:pt>
                <c:pt idx="1587">
                  <c:v>41304</c:v>
                </c:pt>
                <c:pt idx="1588">
                  <c:v>41305</c:v>
                </c:pt>
                <c:pt idx="1589">
                  <c:v>41306</c:v>
                </c:pt>
                <c:pt idx="1590">
                  <c:v>41309</c:v>
                </c:pt>
                <c:pt idx="1591">
                  <c:v>41310</c:v>
                </c:pt>
                <c:pt idx="1592">
                  <c:v>41311</c:v>
                </c:pt>
                <c:pt idx="1593">
                  <c:v>41312</c:v>
                </c:pt>
                <c:pt idx="1594">
                  <c:v>41313</c:v>
                </c:pt>
                <c:pt idx="1595">
                  <c:v>41316</c:v>
                </c:pt>
                <c:pt idx="1596">
                  <c:v>41317</c:v>
                </c:pt>
                <c:pt idx="1597">
                  <c:v>41318</c:v>
                </c:pt>
                <c:pt idx="1598">
                  <c:v>41319</c:v>
                </c:pt>
                <c:pt idx="1599">
                  <c:v>41320</c:v>
                </c:pt>
                <c:pt idx="1600">
                  <c:v>41323</c:v>
                </c:pt>
                <c:pt idx="1601">
                  <c:v>41324</c:v>
                </c:pt>
                <c:pt idx="1602">
                  <c:v>41325</c:v>
                </c:pt>
                <c:pt idx="1603">
                  <c:v>41326</c:v>
                </c:pt>
                <c:pt idx="1604">
                  <c:v>41327</c:v>
                </c:pt>
                <c:pt idx="1605">
                  <c:v>41330</c:v>
                </c:pt>
                <c:pt idx="1606">
                  <c:v>41331</c:v>
                </c:pt>
                <c:pt idx="1607">
                  <c:v>41332</c:v>
                </c:pt>
                <c:pt idx="1608">
                  <c:v>41333</c:v>
                </c:pt>
                <c:pt idx="1609">
                  <c:v>41334</c:v>
                </c:pt>
                <c:pt idx="1610">
                  <c:v>41337</c:v>
                </c:pt>
                <c:pt idx="1611">
                  <c:v>41338</c:v>
                </c:pt>
                <c:pt idx="1612">
                  <c:v>41339</c:v>
                </c:pt>
                <c:pt idx="1613">
                  <c:v>41340</c:v>
                </c:pt>
                <c:pt idx="1614">
                  <c:v>41341</c:v>
                </c:pt>
                <c:pt idx="1615">
                  <c:v>41344</c:v>
                </c:pt>
                <c:pt idx="1616">
                  <c:v>41345</c:v>
                </c:pt>
                <c:pt idx="1617">
                  <c:v>41346</c:v>
                </c:pt>
                <c:pt idx="1618">
                  <c:v>41347</c:v>
                </c:pt>
                <c:pt idx="1619">
                  <c:v>41348</c:v>
                </c:pt>
                <c:pt idx="1620">
                  <c:v>41351</c:v>
                </c:pt>
                <c:pt idx="1621">
                  <c:v>41352</c:v>
                </c:pt>
                <c:pt idx="1622">
                  <c:v>41353</c:v>
                </c:pt>
                <c:pt idx="1623">
                  <c:v>41354</c:v>
                </c:pt>
                <c:pt idx="1624">
                  <c:v>41355</c:v>
                </c:pt>
                <c:pt idx="1625">
                  <c:v>41358</c:v>
                </c:pt>
                <c:pt idx="1626">
                  <c:v>41359</c:v>
                </c:pt>
                <c:pt idx="1627">
                  <c:v>41360</c:v>
                </c:pt>
                <c:pt idx="1628">
                  <c:v>41361</c:v>
                </c:pt>
                <c:pt idx="1629">
                  <c:v>41362</c:v>
                </c:pt>
                <c:pt idx="1630">
                  <c:v>41365</c:v>
                </c:pt>
                <c:pt idx="1631">
                  <c:v>41366</c:v>
                </c:pt>
                <c:pt idx="1632">
                  <c:v>41367</c:v>
                </c:pt>
                <c:pt idx="1633">
                  <c:v>41368</c:v>
                </c:pt>
                <c:pt idx="1634">
                  <c:v>41369</c:v>
                </c:pt>
                <c:pt idx="1635">
                  <c:v>41372</c:v>
                </c:pt>
                <c:pt idx="1636">
                  <c:v>41373</c:v>
                </c:pt>
                <c:pt idx="1637">
                  <c:v>41374</c:v>
                </c:pt>
                <c:pt idx="1638">
                  <c:v>41375</c:v>
                </c:pt>
                <c:pt idx="1639">
                  <c:v>41376</c:v>
                </c:pt>
                <c:pt idx="1640">
                  <c:v>41379</c:v>
                </c:pt>
                <c:pt idx="1641">
                  <c:v>41380</c:v>
                </c:pt>
                <c:pt idx="1642">
                  <c:v>41381</c:v>
                </c:pt>
                <c:pt idx="1643">
                  <c:v>41382</c:v>
                </c:pt>
                <c:pt idx="1644">
                  <c:v>41383</c:v>
                </c:pt>
                <c:pt idx="1645">
                  <c:v>41386</c:v>
                </c:pt>
                <c:pt idx="1646">
                  <c:v>41387</c:v>
                </c:pt>
                <c:pt idx="1647">
                  <c:v>41388</c:v>
                </c:pt>
                <c:pt idx="1648">
                  <c:v>41389</c:v>
                </c:pt>
                <c:pt idx="1649">
                  <c:v>41390</c:v>
                </c:pt>
                <c:pt idx="1650">
                  <c:v>41393</c:v>
                </c:pt>
                <c:pt idx="1651">
                  <c:v>41394</c:v>
                </c:pt>
                <c:pt idx="1652">
                  <c:v>41395</c:v>
                </c:pt>
                <c:pt idx="1653">
                  <c:v>41396</c:v>
                </c:pt>
                <c:pt idx="1654">
                  <c:v>41397</c:v>
                </c:pt>
                <c:pt idx="1655">
                  <c:v>41400</c:v>
                </c:pt>
                <c:pt idx="1656">
                  <c:v>41401</c:v>
                </c:pt>
                <c:pt idx="1657">
                  <c:v>41402</c:v>
                </c:pt>
                <c:pt idx="1658">
                  <c:v>41403</c:v>
                </c:pt>
                <c:pt idx="1659">
                  <c:v>41404</c:v>
                </c:pt>
                <c:pt idx="1660">
                  <c:v>41407</c:v>
                </c:pt>
                <c:pt idx="1661">
                  <c:v>41408</c:v>
                </c:pt>
                <c:pt idx="1662">
                  <c:v>41409</c:v>
                </c:pt>
                <c:pt idx="1663">
                  <c:v>41410</c:v>
                </c:pt>
                <c:pt idx="1664">
                  <c:v>41411</c:v>
                </c:pt>
                <c:pt idx="1665">
                  <c:v>41414</c:v>
                </c:pt>
                <c:pt idx="1666">
                  <c:v>41415</c:v>
                </c:pt>
                <c:pt idx="1667">
                  <c:v>41416</c:v>
                </c:pt>
                <c:pt idx="1668">
                  <c:v>41417</c:v>
                </c:pt>
                <c:pt idx="1669">
                  <c:v>41418</c:v>
                </c:pt>
                <c:pt idx="1670">
                  <c:v>41421</c:v>
                </c:pt>
                <c:pt idx="1671">
                  <c:v>41422</c:v>
                </c:pt>
                <c:pt idx="1672">
                  <c:v>41423</c:v>
                </c:pt>
                <c:pt idx="1673">
                  <c:v>41424</c:v>
                </c:pt>
                <c:pt idx="1674">
                  <c:v>41425</c:v>
                </c:pt>
                <c:pt idx="1675">
                  <c:v>41428</c:v>
                </c:pt>
                <c:pt idx="1676">
                  <c:v>41429</c:v>
                </c:pt>
                <c:pt idx="1677">
                  <c:v>41430</c:v>
                </c:pt>
                <c:pt idx="1678">
                  <c:v>41431</c:v>
                </c:pt>
                <c:pt idx="1679">
                  <c:v>41432</c:v>
                </c:pt>
                <c:pt idx="1680">
                  <c:v>41435</c:v>
                </c:pt>
                <c:pt idx="1681">
                  <c:v>41436</c:v>
                </c:pt>
                <c:pt idx="1682">
                  <c:v>41437</c:v>
                </c:pt>
                <c:pt idx="1683">
                  <c:v>41438</c:v>
                </c:pt>
                <c:pt idx="1684">
                  <c:v>41439</c:v>
                </c:pt>
                <c:pt idx="1685">
                  <c:v>41442</c:v>
                </c:pt>
                <c:pt idx="1686">
                  <c:v>41443</c:v>
                </c:pt>
                <c:pt idx="1687">
                  <c:v>41444</c:v>
                </c:pt>
                <c:pt idx="1688">
                  <c:v>41445</c:v>
                </c:pt>
                <c:pt idx="1689">
                  <c:v>41446</c:v>
                </c:pt>
                <c:pt idx="1690">
                  <c:v>41449</c:v>
                </c:pt>
                <c:pt idx="1691">
                  <c:v>41450</c:v>
                </c:pt>
                <c:pt idx="1692">
                  <c:v>41451</c:v>
                </c:pt>
                <c:pt idx="1693">
                  <c:v>41452</c:v>
                </c:pt>
                <c:pt idx="1694">
                  <c:v>41453</c:v>
                </c:pt>
                <c:pt idx="1695">
                  <c:v>41456</c:v>
                </c:pt>
                <c:pt idx="1696">
                  <c:v>41457</c:v>
                </c:pt>
                <c:pt idx="1697">
                  <c:v>41458</c:v>
                </c:pt>
                <c:pt idx="1698">
                  <c:v>41459</c:v>
                </c:pt>
                <c:pt idx="1699">
                  <c:v>41460</c:v>
                </c:pt>
                <c:pt idx="1700">
                  <c:v>41463</c:v>
                </c:pt>
                <c:pt idx="1701">
                  <c:v>41464</c:v>
                </c:pt>
                <c:pt idx="1702">
                  <c:v>41465</c:v>
                </c:pt>
                <c:pt idx="1703">
                  <c:v>41466</c:v>
                </c:pt>
                <c:pt idx="1704">
                  <c:v>41467</c:v>
                </c:pt>
                <c:pt idx="1705">
                  <c:v>41470</c:v>
                </c:pt>
                <c:pt idx="1706">
                  <c:v>41471</c:v>
                </c:pt>
                <c:pt idx="1707">
                  <c:v>41472</c:v>
                </c:pt>
                <c:pt idx="1708">
                  <c:v>41473</c:v>
                </c:pt>
                <c:pt idx="1709">
                  <c:v>41474</c:v>
                </c:pt>
                <c:pt idx="1710">
                  <c:v>41477</c:v>
                </c:pt>
                <c:pt idx="1711">
                  <c:v>41478</c:v>
                </c:pt>
                <c:pt idx="1712">
                  <c:v>41479</c:v>
                </c:pt>
                <c:pt idx="1713">
                  <c:v>41480</c:v>
                </c:pt>
                <c:pt idx="1714">
                  <c:v>41481</c:v>
                </c:pt>
                <c:pt idx="1715">
                  <c:v>41484</c:v>
                </c:pt>
                <c:pt idx="1716">
                  <c:v>41485</c:v>
                </c:pt>
                <c:pt idx="1717">
                  <c:v>41486</c:v>
                </c:pt>
                <c:pt idx="1718">
                  <c:v>41487</c:v>
                </c:pt>
                <c:pt idx="1719">
                  <c:v>41488</c:v>
                </c:pt>
                <c:pt idx="1720">
                  <c:v>41491</c:v>
                </c:pt>
                <c:pt idx="1721">
                  <c:v>41492</c:v>
                </c:pt>
                <c:pt idx="1722">
                  <c:v>41493</c:v>
                </c:pt>
                <c:pt idx="1723">
                  <c:v>41494</c:v>
                </c:pt>
                <c:pt idx="1724">
                  <c:v>41495</c:v>
                </c:pt>
                <c:pt idx="1725">
                  <c:v>41498</c:v>
                </c:pt>
                <c:pt idx="1726">
                  <c:v>41499</c:v>
                </c:pt>
                <c:pt idx="1727">
                  <c:v>41500</c:v>
                </c:pt>
                <c:pt idx="1728">
                  <c:v>41501</c:v>
                </c:pt>
                <c:pt idx="1729">
                  <c:v>41502</c:v>
                </c:pt>
                <c:pt idx="1730">
                  <c:v>41505</c:v>
                </c:pt>
                <c:pt idx="1731">
                  <c:v>41506</c:v>
                </c:pt>
                <c:pt idx="1732">
                  <c:v>41507</c:v>
                </c:pt>
                <c:pt idx="1733">
                  <c:v>41508</c:v>
                </c:pt>
                <c:pt idx="1734">
                  <c:v>41509</c:v>
                </c:pt>
                <c:pt idx="1735">
                  <c:v>41512</c:v>
                </c:pt>
                <c:pt idx="1736">
                  <c:v>41513</c:v>
                </c:pt>
                <c:pt idx="1737">
                  <c:v>41514</c:v>
                </c:pt>
                <c:pt idx="1738">
                  <c:v>41515</c:v>
                </c:pt>
                <c:pt idx="1739">
                  <c:v>41516</c:v>
                </c:pt>
                <c:pt idx="1740">
                  <c:v>41519</c:v>
                </c:pt>
                <c:pt idx="1741">
                  <c:v>41520</c:v>
                </c:pt>
                <c:pt idx="1742">
                  <c:v>41521</c:v>
                </c:pt>
                <c:pt idx="1743">
                  <c:v>41522</c:v>
                </c:pt>
                <c:pt idx="1744">
                  <c:v>41523</c:v>
                </c:pt>
                <c:pt idx="1745">
                  <c:v>41526</c:v>
                </c:pt>
                <c:pt idx="1746">
                  <c:v>41527</c:v>
                </c:pt>
                <c:pt idx="1747">
                  <c:v>41528</c:v>
                </c:pt>
                <c:pt idx="1748">
                  <c:v>41529</c:v>
                </c:pt>
                <c:pt idx="1749">
                  <c:v>41530</c:v>
                </c:pt>
                <c:pt idx="1750">
                  <c:v>41533</c:v>
                </c:pt>
                <c:pt idx="1751">
                  <c:v>41534</c:v>
                </c:pt>
                <c:pt idx="1752">
                  <c:v>41535</c:v>
                </c:pt>
                <c:pt idx="1753">
                  <c:v>41536</c:v>
                </c:pt>
                <c:pt idx="1754">
                  <c:v>41537</c:v>
                </c:pt>
                <c:pt idx="1755">
                  <c:v>41540</c:v>
                </c:pt>
                <c:pt idx="1756">
                  <c:v>41541</c:v>
                </c:pt>
                <c:pt idx="1757">
                  <c:v>41542</c:v>
                </c:pt>
                <c:pt idx="1758">
                  <c:v>41543</c:v>
                </c:pt>
                <c:pt idx="1759">
                  <c:v>41544</c:v>
                </c:pt>
                <c:pt idx="1760">
                  <c:v>41547</c:v>
                </c:pt>
                <c:pt idx="1761">
                  <c:v>41548</c:v>
                </c:pt>
                <c:pt idx="1762">
                  <c:v>41549</c:v>
                </c:pt>
                <c:pt idx="1763">
                  <c:v>41550</c:v>
                </c:pt>
                <c:pt idx="1764">
                  <c:v>41551</c:v>
                </c:pt>
                <c:pt idx="1765">
                  <c:v>41554</c:v>
                </c:pt>
                <c:pt idx="1766">
                  <c:v>41555</c:v>
                </c:pt>
                <c:pt idx="1767">
                  <c:v>41556</c:v>
                </c:pt>
                <c:pt idx="1768">
                  <c:v>41557</c:v>
                </c:pt>
                <c:pt idx="1769">
                  <c:v>41558</c:v>
                </c:pt>
                <c:pt idx="1770">
                  <c:v>41561</c:v>
                </c:pt>
                <c:pt idx="1771">
                  <c:v>41562</c:v>
                </c:pt>
                <c:pt idx="1772">
                  <c:v>41563</c:v>
                </c:pt>
                <c:pt idx="1773">
                  <c:v>41564</c:v>
                </c:pt>
                <c:pt idx="1774">
                  <c:v>41565</c:v>
                </c:pt>
                <c:pt idx="1775">
                  <c:v>41568</c:v>
                </c:pt>
                <c:pt idx="1776">
                  <c:v>41569</c:v>
                </c:pt>
                <c:pt idx="1777">
                  <c:v>41570</c:v>
                </c:pt>
                <c:pt idx="1778">
                  <c:v>41571</c:v>
                </c:pt>
                <c:pt idx="1779">
                  <c:v>41572</c:v>
                </c:pt>
                <c:pt idx="1780">
                  <c:v>41575</c:v>
                </c:pt>
                <c:pt idx="1781">
                  <c:v>41576</c:v>
                </c:pt>
                <c:pt idx="1782">
                  <c:v>41577</c:v>
                </c:pt>
                <c:pt idx="1783">
                  <c:v>41578</c:v>
                </c:pt>
                <c:pt idx="1784">
                  <c:v>41579</c:v>
                </c:pt>
                <c:pt idx="1785">
                  <c:v>41582</c:v>
                </c:pt>
                <c:pt idx="1786">
                  <c:v>41583</c:v>
                </c:pt>
                <c:pt idx="1787">
                  <c:v>41584</c:v>
                </c:pt>
                <c:pt idx="1788">
                  <c:v>41585</c:v>
                </c:pt>
                <c:pt idx="1789">
                  <c:v>41586</c:v>
                </c:pt>
                <c:pt idx="1790">
                  <c:v>41589</c:v>
                </c:pt>
                <c:pt idx="1791">
                  <c:v>41590</c:v>
                </c:pt>
                <c:pt idx="1792">
                  <c:v>41591</c:v>
                </c:pt>
                <c:pt idx="1793">
                  <c:v>41592</c:v>
                </c:pt>
                <c:pt idx="1794">
                  <c:v>41593</c:v>
                </c:pt>
                <c:pt idx="1795">
                  <c:v>41596</c:v>
                </c:pt>
                <c:pt idx="1796">
                  <c:v>41597</c:v>
                </c:pt>
                <c:pt idx="1797">
                  <c:v>41598</c:v>
                </c:pt>
                <c:pt idx="1798">
                  <c:v>41599</c:v>
                </c:pt>
                <c:pt idx="1799">
                  <c:v>41600</c:v>
                </c:pt>
                <c:pt idx="1800">
                  <c:v>41603</c:v>
                </c:pt>
                <c:pt idx="1801">
                  <c:v>41604</c:v>
                </c:pt>
                <c:pt idx="1802">
                  <c:v>41605</c:v>
                </c:pt>
                <c:pt idx="1803">
                  <c:v>41606</c:v>
                </c:pt>
                <c:pt idx="1804">
                  <c:v>41607</c:v>
                </c:pt>
                <c:pt idx="1805">
                  <c:v>41610</c:v>
                </c:pt>
                <c:pt idx="1806">
                  <c:v>41611</c:v>
                </c:pt>
                <c:pt idx="1807">
                  <c:v>41612</c:v>
                </c:pt>
                <c:pt idx="1808">
                  <c:v>41613</c:v>
                </c:pt>
                <c:pt idx="1809">
                  <c:v>41614</c:v>
                </c:pt>
                <c:pt idx="1810">
                  <c:v>41617</c:v>
                </c:pt>
                <c:pt idx="1811">
                  <c:v>41618</c:v>
                </c:pt>
                <c:pt idx="1812">
                  <c:v>41619</c:v>
                </c:pt>
                <c:pt idx="1813">
                  <c:v>41620</c:v>
                </c:pt>
                <c:pt idx="1814">
                  <c:v>41621</c:v>
                </c:pt>
                <c:pt idx="1815">
                  <c:v>41624</c:v>
                </c:pt>
                <c:pt idx="1816">
                  <c:v>41625</c:v>
                </c:pt>
                <c:pt idx="1817">
                  <c:v>41626</c:v>
                </c:pt>
                <c:pt idx="1818">
                  <c:v>41627</c:v>
                </c:pt>
                <c:pt idx="1819">
                  <c:v>41628</c:v>
                </c:pt>
                <c:pt idx="1820">
                  <c:v>41631</c:v>
                </c:pt>
                <c:pt idx="1821">
                  <c:v>41632</c:v>
                </c:pt>
                <c:pt idx="1822">
                  <c:v>41633</c:v>
                </c:pt>
                <c:pt idx="1823">
                  <c:v>41634</c:v>
                </c:pt>
                <c:pt idx="1824">
                  <c:v>41635</c:v>
                </c:pt>
                <c:pt idx="1825">
                  <c:v>41638</c:v>
                </c:pt>
                <c:pt idx="1826">
                  <c:v>41639</c:v>
                </c:pt>
                <c:pt idx="1827">
                  <c:v>41640</c:v>
                </c:pt>
                <c:pt idx="1828">
                  <c:v>41641</c:v>
                </c:pt>
                <c:pt idx="1829">
                  <c:v>41642</c:v>
                </c:pt>
                <c:pt idx="1830">
                  <c:v>41645</c:v>
                </c:pt>
                <c:pt idx="1831">
                  <c:v>41646</c:v>
                </c:pt>
                <c:pt idx="1832">
                  <c:v>41647</c:v>
                </c:pt>
                <c:pt idx="1833">
                  <c:v>41648</c:v>
                </c:pt>
                <c:pt idx="1834">
                  <c:v>41649</c:v>
                </c:pt>
                <c:pt idx="1835">
                  <c:v>41652</c:v>
                </c:pt>
                <c:pt idx="1836">
                  <c:v>41653</c:v>
                </c:pt>
                <c:pt idx="1837">
                  <c:v>41654</c:v>
                </c:pt>
                <c:pt idx="1838">
                  <c:v>41655</c:v>
                </c:pt>
                <c:pt idx="1839">
                  <c:v>41656</c:v>
                </c:pt>
                <c:pt idx="1840">
                  <c:v>41659</c:v>
                </c:pt>
                <c:pt idx="1841">
                  <c:v>41660</c:v>
                </c:pt>
                <c:pt idx="1842">
                  <c:v>41661</c:v>
                </c:pt>
                <c:pt idx="1843">
                  <c:v>41662</c:v>
                </c:pt>
                <c:pt idx="1844">
                  <c:v>41663</c:v>
                </c:pt>
                <c:pt idx="1845">
                  <c:v>41666</c:v>
                </c:pt>
                <c:pt idx="1846">
                  <c:v>41667</c:v>
                </c:pt>
                <c:pt idx="1847">
                  <c:v>41668</c:v>
                </c:pt>
                <c:pt idx="1848">
                  <c:v>41669</c:v>
                </c:pt>
                <c:pt idx="1849">
                  <c:v>41670</c:v>
                </c:pt>
                <c:pt idx="1850">
                  <c:v>41673</c:v>
                </c:pt>
                <c:pt idx="1851">
                  <c:v>41674</c:v>
                </c:pt>
                <c:pt idx="1852">
                  <c:v>41675</c:v>
                </c:pt>
                <c:pt idx="1853">
                  <c:v>41676</c:v>
                </c:pt>
                <c:pt idx="1854">
                  <c:v>41677</c:v>
                </c:pt>
                <c:pt idx="1855">
                  <c:v>41680</c:v>
                </c:pt>
                <c:pt idx="1856">
                  <c:v>41681</c:v>
                </c:pt>
                <c:pt idx="1857">
                  <c:v>41682</c:v>
                </c:pt>
                <c:pt idx="1858">
                  <c:v>41683</c:v>
                </c:pt>
                <c:pt idx="1859">
                  <c:v>41684</c:v>
                </c:pt>
                <c:pt idx="1860">
                  <c:v>41687</c:v>
                </c:pt>
                <c:pt idx="1861">
                  <c:v>41688</c:v>
                </c:pt>
                <c:pt idx="1862">
                  <c:v>41689</c:v>
                </c:pt>
                <c:pt idx="1863">
                  <c:v>41690</c:v>
                </c:pt>
                <c:pt idx="1864">
                  <c:v>41691</c:v>
                </c:pt>
                <c:pt idx="1865">
                  <c:v>41694</c:v>
                </c:pt>
                <c:pt idx="1866">
                  <c:v>41695</c:v>
                </c:pt>
                <c:pt idx="1867">
                  <c:v>41696</c:v>
                </c:pt>
                <c:pt idx="1868">
                  <c:v>41697</c:v>
                </c:pt>
                <c:pt idx="1869">
                  <c:v>41698</c:v>
                </c:pt>
                <c:pt idx="1870">
                  <c:v>41701</c:v>
                </c:pt>
                <c:pt idx="1871">
                  <c:v>41702</c:v>
                </c:pt>
                <c:pt idx="1872">
                  <c:v>41703</c:v>
                </c:pt>
                <c:pt idx="1873">
                  <c:v>41704</c:v>
                </c:pt>
                <c:pt idx="1874">
                  <c:v>41705</c:v>
                </c:pt>
                <c:pt idx="1875">
                  <c:v>41708</c:v>
                </c:pt>
                <c:pt idx="1876">
                  <c:v>41709</c:v>
                </c:pt>
                <c:pt idx="1877">
                  <c:v>41710</c:v>
                </c:pt>
                <c:pt idx="1878">
                  <c:v>41711</c:v>
                </c:pt>
                <c:pt idx="1879">
                  <c:v>41712</c:v>
                </c:pt>
                <c:pt idx="1880">
                  <c:v>41715</c:v>
                </c:pt>
                <c:pt idx="1881">
                  <c:v>41716</c:v>
                </c:pt>
                <c:pt idx="1882">
                  <c:v>41717</c:v>
                </c:pt>
                <c:pt idx="1883">
                  <c:v>41718</c:v>
                </c:pt>
                <c:pt idx="1884">
                  <c:v>41719</c:v>
                </c:pt>
                <c:pt idx="1885">
                  <c:v>41722</c:v>
                </c:pt>
                <c:pt idx="1886">
                  <c:v>41723</c:v>
                </c:pt>
                <c:pt idx="1887">
                  <c:v>41724</c:v>
                </c:pt>
                <c:pt idx="1888">
                  <c:v>41725</c:v>
                </c:pt>
                <c:pt idx="1889">
                  <c:v>41726</c:v>
                </c:pt>
                <c:pt idx="1890">
                  <c:v>41729</c:v>
                </c:pt>
                <c:pt idx="1891">
                  <c:v>41730</c:v>
                </c:pt>
                <c:pt idx="1892">
                  <c:v>41731</c:v>
                </c:pt>
                <c:pt idx="1893">
                  <c:v>41732</c:v>
                </c:pt>
                <c:pt idx="1894">
                  <c:v>41733</c:v>
                </c:pt>
                <c:pt idx="1895">
                  <c:v>41736</c:v>
                </c:pt>
                <c:pt idx="1896">
                  <c:v>41737</c:v>
                </c:pt>
                <c:pt idx="1897">
                  <c:v>41738</c:v>
                </c:pt>
                <c:pt idx="1898">
                  <c:v>41739</c:v>
                </c:pt>
                <c:pt idx="1899">
                  <c:v>41740</c:v>
                </c:pt>
                <c:pt idx="1900">
                  <c:v>41743</c:v>
                </c:pt>
                <c:pt idx="1901">
                  <c:v>41744</c:v>
                </c:pt>
                <c:pt idx="1902">
                  <c:v>41745</c:v>
                </c:pt>
                <c:pt idx="1903">
                  <c:v>41746</c:v>
                </c:pt>
                <c:pt idx="1904">
                  <c:v>41747</c:v>
                </c:pt>
                <c:pt idx="1905">
                  <c:v>41750</c:v>
                </c:pt>
                <c:pt idx="1906">
                  <c:v>41751</c:v>
                </c:pt>
                <c:pt idx="1907">
                  <c:v>41752</c:v>
                </c:pt>
                <c:pt idx="1908">
                  <c:v>41753</c:v>
                </c:pt>
                <c:pt idx="1909">
                  <c:v>41754</c:v>
                </c:pt>
                <c:pt idx="1910">
                  <c:v>41757</c:v>
                </c:pt>
                <c:pt idx="1911">
                  <c:v>41758</c:v>
                </c:pt>
                <c:pt idx="1912">
                  <c:v>41759</c:v>
                </c:pt>
                <c:pt idx="1913">
                  <c:v>41760</c:v>
                </c:pt>
                <c:pt idx="1914">
                  <c:v>41761</c:v>
                </c:pt>
                <c:pt idx="1915">
                  <c:v>41764</c:v>
                </c:pt>
                <c:pt idx="1916">
                  <c:v>41765</c:v>
                </c:pt>
                <c:pt idx="1917">
                  <c:v>41766</c:v>
                </c:pt>
                <c:pt idx="1918">
                  <c:v>41767</c:v>
                </c:pt>
                <c:pt idx="1919">
                  <c:v>41768</c:v>
                </c:pt>
                <c:pt idx="1920">
                  <c:v>41771</c:v>
                </c:pt>
                <c:pt idx="1921">
                  <c:v>41772</c:v>
                </c:pt>
                <c:pt idx="1922">
                  <c:v>41773</c:v>
                </c:pt>
                <c:pt idx="1923">
                  <c:v>41774</c:v>
                </c:pt>
                <c:pt idx="1924">
                  <c:v>41775</c:v>
                </c:pt>
                <c:pt idx="1925">
                  <c:v>41778</c:v>
                </c:pt>
                <c:pt idx="1926">
                  <c:v>41779</c:v>
                </c:pt>
                <c:pt idx="1927">
                  <c:v>41780</c:v>
                </c:pt>
                <c:pt idx="1928">
                  <c:v>41781</c:v>
                </c:pt>
                <c:pt idx="1929">
                  <c:v>41782</c:v>
                </c:pt>
                <c:pt idx="1930">
                  <c:v>41785</c:v>
                </c:pt>
                <c:pt idx="1931">
                  <c:v>41786</c:v>
                </c:pt>
                <c:pt idx="1932">
                  <c:v>41787</c:v>
                </c:pt>
                <c:pt idx="1933">
                  <c:v>41788</c:v>
                </c:pt>
                <c:pt idx="1934">
                  <c:v>41789</c:v>
                </c:pt>
                <c:pt idx="1935">
                  <c:v>41792</c:v>
                </c:pt>
                <c:pt idx="1936">
                  <c:v>41793</c:v>
                </c:pt>
                <c:pt idx="1937">
                  <c:v>41794</c:v>
                </c:pt>
                <c:pt idx="1938">
                  <c:v>41795</c:v>
                </c:pt>
                <c:pt idx="1939">
                  <c:v>41796</c:v>
                </c:pt>
                <c:pt idx="1940">
                  <c:v>41799</c:v>
                </c:pt>
                <c:pt idx="1941">
                  <c:v>41800</c:v>
                </c:pt>
                <c:pt idx="1942">
                  <c:v>41801</c:v>
                </c:pt>
                <c:pt idx="1943">
                  <c:v>41802</c:v>
                </c:pt>
                <c:pt idx="1944">
                  <c:v>41803</c:v>
                </c:pt>
                <c:pt idx="1945">
                  <c:v>41806</c:v>
                </c:pt>
                <c:pt idx="1946">
                  <c:v>41807</c:v>
                </c:pt>
                <c:pt idx="1947">
                  <c:v>41808</c:v>
                </c:pt>
                <c:pt idx="1948">
                  <c:v>41809</c:v>
                </c:pt>
                <c:pt idx="1949">
                  <c:v>41810</c:v>
                </c:pt>
                <c:pt idx="1950">
                  <c:v>41813</c:v>
                </c:pt>
                <c:pt idx="1951">
                  <c:v>41814</c:v>
                </c:pt>
                <c:pt idx="1952">
                  <c:v>41815</c:v>
                </c:pt>
                <c:pt idx="1953">
                  <c:v>41816</c:v>
                </c:pt>
                <c:pt idx="1954">
                  <c:v>41817</c:v>
                </c:pt>
                <c:pt idx="1955">
                  <c:v>41820</c:v>
                </c:pt>
                <c:pt idx="1956">
                  <c:v>41821</c:v>
                </c:pt>
                <c:pt idx="1957">
                  <c:v>41822</c:v>
                </c:pt>
                <c:pt idx="1958">
                  <c:v>41823</c:v>
                </c:pt>
                <c:pt idx="1959">
                  <c:v>41824</c:v>
                </c:pt>
                <c:pt idx="1960">
                  <c:v>41827</c:v>
                </c:pt>
                <c:pt idx="1961">
                  <c:v>41828</c:v>
                </c:pt>
                <c:pt idx="1962">
                  <c:v>41829</c:v>
                </c:pt>
                <c:pt idx="1963">
                  <c:v>41830</c:v>
                </c:pt>
                <c:pt idx="1964">
                  <c:v>41831</c:v>
                </c:pt>
                <c:pt idx="1965">
                  <c:v>41834</c:v>
                </c:pt>
                <c:pt idx="1966">
                  <c:v>41835</c:v>
                </c:pt>
                <c:pt idx="1967">
                  <c:v>41836</c:v>
                </c:pt>
                <c:pt idx="1968">
                  <c:v>41837</c:v>
                </c:pt>
                <c:pt idx="1969">
                  <c:v>41838</c:v>
                </c:pt>
                <c:pt idx="1970">
                  <c:v>41841</c:v>
                </c:pt>
                <c:pt idx="1971">
                  <c:v>41842</c:v>
                </c:pt>
                <c:pt idx="1972">
                  <c:v>41843</c:v>
                </c:pt>
                <c:pt idx="1973">
                  <c:v>41844</c:v>
                </c:pt>
                <c:pt idx="1974">
                  <c:v>41845</c:v>
                </c:pt>
                <c:pt idx="1975">
                  <c:v>41848</c:v>
                </c:pt>
                <c:pt idx="1976">
                  <c:v>41849</c:v>
                </c:pt>
                <c:pt idx="1977">
                  <c:v>41850</c:v>
                </c:pt>
                <c:pt idx="1978">
                  <c:v>41851</c:v>
                </c:pt>
                <c:pt idx="1979">
                  <c:v>41852</c:v>
                </c:pt>
                <c:pt idx="1980">
                  <c:v>41855</c:v>
                </c:pt>
                <c:pt idx="1981">
                  <c:v>41856</c:v>
                </c:pt>
                <c:pt idx="1982">
                  <c:v>41857</c:v>
                </c:pt>
                <c:pt idx="1983">
                  <c:v>41858</c:v>
                </c:pt>
                <c:pt idx="1984">
                  <c:v>41859</c:v>
                </c:pt>
                <c:pt idx="1985">
                  <c:v>41862</c:v>
                </c:pt>
                <c:pt idx="1986">
                  <c:v>41863</c:v>
                </c:pt>
                <c:pt idx="1987">
                  <c:v>41864</c:v>
                </c:pt>
                <c:pt idx="1988">
                  <c:v>41865</c:v>
                </c:pt>
                <c:pt idx="1989">
                  <c:v>41866</c:v>
                </c:pt>
                <c:pt idx="1990">
                  <c:v>41869</c:v>
                </c:pt>
                <c:pt idx="1991">
                  <c:v>41870</c:v>
                </c:pt>
                <c:pt idx="1992">
                  <c:v>41871</c:v>
                </c:pt>
                <c:pt idx="1993">
                  <c:v>41872</c:v>
                </c:pt>
                <c:pt idx="1994">
                  <c:v>41873</c:v>
                </c:pt>
                <c:pt idx="1995">
                  <c:v>41876</c:v>
                </c:pt>
                <c:pt idx="1996">
                  <c:v>41877</c:v>
                </c:pt>
                <c:pt idx="1997">
                  <c:v>41878</c:v>
                </c:pt>
                <c:pt idx="1998">
                  <c:v>41879</c:v>
                </c:pt>
                <c:pt idx="1999">
                  <c:v>41880</c:v>
                </c:pt>
                <c:pt idx="2000">
                  <c:v>41883</c:v>
                </c:pt>
                <c:pt idx="2001">
                  <c:v>41884</c:v>
                </c:pt>
                <c:pt idx="2002">
                  <c:v>41885</c:v>
                </c:pt>
                <c:pt idx="2003">
                  <c:v>41886</c:v>
                </c:pt>
                <c:pt idx="2004">
                  <c:v>41887</c:v>
                </c:pt>
                <c:pt idx="2005">
                  <c:v>41890</c:v>
                </c:pt>
                <c:pt idx="2006">
                  <c:v>41891</c:v>
                </c:pt>
                <c:pt idx="2007">
                  <c:v>41892</c:v>
                </c:pt>
                <c:pt idx="2008">
                  <c:v>41893</c:v>
                </c:pt>
                <c:pt idx="2009">
                  <c:v>41894</c:v>
                </c:pt>
                <c:pt idx="2010">
                  <c:v>41897</c:v>
                </c:pt>
                <c:pt idx="2011">
                  <c:v>41898</c:v>
                </c:pt>
                <c:pt idx="2012">
                  <c:v>41899</c:v>
                </c:pt>
                <c:pt idx="2013">
                  <c:v>41900</c:v>
                </c:pt>
                <c:pt idx="2014">
                  <c:v>41901</c:v>
                </c:pt>
                <c:pt idx="2015">
                  <c:v>41904</c:v>
                </c:pt>
                <c:pt idx="2016">
                  <c:v>41905</c:v>
                </c:pt>
                <c:pt idx="2017">
                  <c:v>41906</c:v>
                </c:pt>
                <c:pt idx="2018">
                  <c:v>41907</c:v>
                </c:pt>
                <c:pt idx="2019">
                  <c:v>41908</c:v>
                </c:pt>
                <c:pt idx="2020">
                  <c:v>41911</c:v>
                </c:pt>
                <c:pt idx="2021">
                  <c:v>41912</c:v>
                </c:pt>
                <c:pt idx="2022">
                  <c:v>41913</c:v>
                </c:pt>
                <c:pt idx="2023">
                  <c:v>41914</c:v>
                </c:pt>
                <c:pt idx="2024">
                  <c:v>41915</c:v>
                </c:pt>
                <c:pt idx="2025">
                  <c:v>41918</c:v>
                </c:pt>
                <c:pt idx="2026">
                  <c:v>41919</c:v>
                </c:pt>
                <c:pt idx="2027">
                  <c:v>41920</c:v>
                </c:pt>
                <c:pt idx="2028">
                  <c:v>41921</c:v>
                </c:pt>
                <c:pt idx="2029">
                  <c:v>41922</c:v>
                </c:pt>
                <c:pt idx="2030">
                  <c:v>41925</c:v>
                </c:pt>
                <c:pt idx="2031">
                  <c:v>41926</c:v>
                </c:pt>
                <c:pt idx="2032">
                  <c:v>41927</c:v>
                </c:pt>
                <c:pt idx="2033">
                  <c:v>41928</c:v>
                </c:pt>
                <c:pt idx="2034">
                  <c:v>41929</c:v>
                </c:pt>
                <c:pt idx="2035">
                  <c:v>41932</c:v>
                </c:pt>
                <c:pt idx="2036">
                  <c:v>41933</c:v>
                </c:pt>
                <c:pt idx="2037">
                  <c:v>41934</c:v>
                </c:pt>
                <c:pt idx="2038">
                  <c:v>41935</c:v>
                </c:pt>
                <c:pt idx="2039">
                  <c:v>41936</c:v>
                </c:pt>
                <c:pt idx="2040">
                  <c:v>41939</c:v>
                </c:pt>
                <c:pt idx="2041">
                  <c:v>41940</c:v>
                </c:pt>
                <c:pt idx="2042">
                  <c:v>41941</c:v>
                </c:pt>
                <c:pt idx="2043">
                  <c:v>41942</c:v>
                </c:pt>
                <c:pt idx="2044">
                  <c:v>41943</c:v>
                </c:pt>
                <c:pt idx="2045">
                  <c:v>41946</c:v>
                </c:pt>
                <c:pt idx="2046">
                  <c:v>41947</c:v>
                </c:pt>
                <c:pt idx="2047">
                  <c:v>41948</c:v>
                </c:pt>
                <c:pt idx="2048">
                  <c:v>41949</c:v>
                </c:pt>
                <c:pt idx="2049">
                  <c:v>41950</c:v>
                </c:pt>
                <c:pt idx="2050">
                  <c:v>41953</c:v>
                </c:pt>
                <c:pt idx="2051">
                  <c:v>41954</c:v>
                </c:pt>
                <c:pt idx="2052">
                  <c:v>41955</c:v>
                </c:pt>
                <c:pt idx="2053">
                  <c:v>41956</c:v>
                </c:pt>
                <c:pt idx="2054">
                  <c:v>41957</c:v>
                </c:pt>
                <c:pt idx="2055">
                  <c:v>41960</c:v>
                </c:pt>
                <c:pt idx="2056">
                  <c:v>41961</c:v>
                </c:pt>
                <c:pt idx="2057">
                  <c:v>41962</c:v>
                </c:pt>
                <c:pt idx="2058">
                  <c:v>41963</c:v>
                </c:pt>
                <c:pt idx="2059">
                  <c:v>41964</c:v>
                </c:pt>
                <c:pt idx="2060">
                  <c:v>41967</c:v>
                </c:pt>
                <c:pt idx="2061">
                  <c:v>41968</c:v>
                </c:pt>
                <c:pt idx="2062">
                  <c:v>41969</c:v>
                </c:pt>
                <c:pt idx="2063">
                  <c:v>41970</c:v>
                </c:pt>
                <c:pt idx="2064">
                  <c:v>41971</c:v>
                </c:pt>
                <c:pt idx="2065">
                  <c:v>41974</c:v>
                </c:pt>
                <c:pt idx="2066">
                  <c:v>41975</c:v>
                </c:pt>
                <c:pt idx="2067">
                  <c:v>41976</c:v>
                </c:pt>
                <c:pt idx="2068">
                  <c:v>41977</c:v>
                </c:pt>
                <c:pt idx="2069">
                  <c:v>41978</c:v>
                </c:pt>
                <c:pt idx="2070">
                  <c:v>41981</c:v>
                </c:pt>
                <c:pt idx="2071">
                  <c:v>41982</c:v>
                </c:pt>
                <c:pt idx="2072">
                  <c:v>41983</c:v>
                </c:pt>
                <c:pt idx="2073">
                  <c:v>41984</c:v>
                </c:pt>
                <c:pt idx="2074">
                  <c:v>41985</c:v>
                </c:pt>
                <c:pt idx="2075">
                  <c:v>41988</c:v>
                </c:pt>
                <c:pt idx="2076">
                  <c:v>41989</c:v>
                </c:pt>
                <c:pt idx="2077">
                  <c:v>41990</c:v>
                </c:pt>
                <c:pt idx="2078">
                  <c:v>41991</c:v>
                </c:pt>
                <c:pt idx="2079">
                  <c:v>41992</c:v>
                </c:pt>
                <c:pt idx="2080">
                  <c:v>41995</c:v>
                </c:pt>
                <c:pt idx="2081">
                  <c:v>41996</c:v>
                </c:pt>
                <c:pt idx="2082">
                  <c:v>41997</c:v>
                </c:pt>
                <c:pt idx="2083">
                  <c:v>41998</c:v>
                </c:pt>
                <c:pt idx="2084">
                  <c:v>41999</c:v>
                </c:pt>
                <c:pt idx="2085">
                  <c:v>42002</c:v>
                </c:pt>
                <c:pt idx="2086">
                  <c:v>42003</c:v>
                </c:pt>
                <c:pt idx="2087">
                  <c:v>42004</c:v>
                </c:pt>
                <c:pt idx="2088">
                  <c:v>42005</c:v>
                </c:pt>
                <c:pt idx="2089">
                  <c:v>42006</c:v>
                </c:pt>
                <c:pt idx="2090">
                  <c:v>42009</c:v>
                </c:pt>
                <c:pt idx="2091">
                  <c:v>42010</c:v>
                </c:pt>
                <c:pt idx="2092">
                  <c:v>42011</c:v>
                </c:pt>
                <c:pt idx="2093">
                  <c:v>42012</c:v>
                </c:pt>
                <c:pt idx="2094">
                  <c:v>42013</c:v>
                </c:pt>
                <c:pt idx="2095">
                  <c:v>42016</c:v>
                </c:pt>
                <c:pt idx="2096">
                  <c:v>42017</c:v>
                </c:pt>
                <c:pt idx="2097">
                  <c:v>42018</c:v>
                </c:pt>
                <c:pt idx="2098">
                  <c:v>42019</c:v>
                </c:pt>
                <c:pt idx="2099">
                  <c:v>42020</c:v>
                </c:pt>
                <c:pt idx="2100">
                  <c:v>42023</c:v>
                </c:pt>
                <c:pt idx="2101">
                  <c:v>42024</c:v>
                </c:pt>
                <c:pt idx="2102">
                  <c:v>42025</c:v>
                </c:pt>
                <c:pt idx="2103">
                  <c:v>42026</c:v>
                </c:pt>
                <c:pt idx="2104">
                  <c:v>42027</c:v>
                </c:pt>
                <c:pt idx="2105">
                  <c:v>42030</c:v>
                </c:pt>
                <c:pt idx="2106">
                  <c:v>42031</c:v>
                </c:pt>
                <c:pt idx="2107">
                  <c:v>42032</c:v>
                </c:pt>
                <c:pt idx="2108">
                  <c:v>42033</c:v>
                </c:pt>
                <c:pt idx="2109">
                  <c:v>42034</c:v>
                </c:pt>
                <c:pt idx="2110">
                  <c:v>42037</c:v>
                </c:pt>
                <c:pt idx="2111">
                  <c:v>42038</c:v>
                </c:pt>
                <c:pt idx="2112">
                  <c:v>42039</c:v>
                </c:pt>
                <c:pt idx="2113">
                  <c:v>42040</c:v>
                </c:pt>
                <c:pt idx="2114">
                  <c:v>42041</c:v>
                </c:pt>
                <c:pt idx="2115">
                  <c:v>42044</c:v>
                </c:pt>
                <c:pt idx="2116">
                  <c:v>42045</c:v>
                </c:pt>
                <c:pt idx="2117">
                  <c:v>42046</c:v>
                </c:pt>
                <c:pt idx="2118">
                  <c:v>42047</c:v>
                </c:pt>
                <c:pt idx="2119">
                  <c:v>42048</c:v>
                </c:pt>
                <c:pt idx="2120">
                  <c:v>42051</c:v>
                </c:pt>
                <c:pt idx="2121">
                  <c:v>42052</c:v>
                </c:pt>
                <c:pt idx="2122">
                  <c:v>42053</c:v>
                </c:pt>
                <c:pt idx="2123">
                  <c:v>42054</c:v>
                </c:pt>
                <c:pt idx="2124">
                  <c:v>42055</c:v>
                </c:pt>
                <c:pt idx="2125">
                  <c:v>42058</c:v>
                </c:pt>
                <c:pt idx="2126">
                  <c:v>42059</c:v>
                </c:pt>
                <c:pt idx="2127">
                  <c:v>42060</c:v>
                </c:pt>
                <c:pt idx="2128">
                  <c:v>42061</c:v>
                </c:pt>
                <c:pt idx="2129">
                  <c:v>42062</c:v>
                </c:pt>
                <c:pt idx="2130">
                  <c:v>42065</c:v>
                </c:pt>
                <c:pt idx="2131">
                  <c:v>42066</c:v>
                </c:pt>
                <c:pt idx="2132">
                  <c:v>42067</c:v>
                </c:pt>
                <c:pt idx="2133">
                  <c:v>42068</c:v>
                </c:pt>
                <c:pt idx="2134">
                  <c:v>42069</c:v>
                </c:pt>
                <c:pt idx="2135">
                  <c:v>42072</c:v>
                </c:pt>
                <c:pt idx="2136">
                  <c:v>42073</c:v>
                </c:pt>
                <c:pt idx="2137">
                  <c:v>42074</c:v>
                </c:pt>
                <c:pt idx="2138">
                  <c:v>42075</c:v>
                </c:pt>
                <c:pt idx="2139">
                  <c:v>42076</c:v>
                </c:pt>
                <c:pt idx="2140">
                  <c:v>42079</c:v>
                </c:pt>
                <c:pt idx="2141">
                  <c:v>42080</c:v>
                </c:pt>
                <c:pt idx="2142">
                  <c:v>42081</c:v>
                </c:pt>
                <c:pt idx="2143">
                  <c:v>42082</c:v>
                </c:pt>
                <c:pt idx="2144">
                  <c:v>42083</c:v>
                </c:pt>
                <c:pt idx="2145">
                  <c:v>42086</c:v>
                </c:pt>
                <c:pt idx="2146">
                  <c:v>42087</c:v>
                </c:pt>
                <c:pt idx="2147">
                  <c:v>42088</c:v>
                </c:pt>
                <c:pt idx="2148">
                  <c:v>42089</c:v>
                </c:pt>
                <c:pt idx="2149">
                  <c:v>42090</c:v>
                </c:pt>
                <c:pt idx="2150">
                  <c:v>42093</c:v>
                </c:pt>
                <c:pt idx="2151">
                  <c:v>42094</c:v>
                </c:pt>
                <c:pt idx="2152">
                  <c:v>42095</c:v>
                </c:pt>
                <c:pt idx="2153">
                  <c:v>42096</c:v>
                </c:pt>
                <c:pt idx="2154">
                  <c:v>42097</c:v>
                </c:pt>
                <c:pt idx="2155">
                  <c:v>42100</c:v>
                </c:pt>
                <c:pt idx="2156">
                  <c:v>42101</c:v>
                </c:pt>
                <c:pt idx="2157">
                  <c:v>42102</c:v>
                </c:pt>
                <c:pt idx="2158">
                  <c:v>42103</c:v>
                </c:pt>
                <c:pt idx="2159">
                  <c:v>42104</c:v>
                </c:pt>
                <c:pt idx="2160">
                  <c:v>42107</c:v>
                </c:pt>
                <c:pt idx="2161">
                  <c:v>42108</c:v>
                </c:pt>
                <c:pt idx="2162">
                  <c:v>42109</c:v>
                </c:pt>
                <c:pt idx="2163">
                  <c:v>42110</c:v>
                </c:pt>
                <c:pt idx="2164">
                  <c:v>42111</c:v>
                </c:pt>
                <c:pt idx="2165">
                  <c:v>42114</c:v>
                </c:pt>
                <c:pt idx="2166">
                  <c:v>42115</c:v>
                </c:pt>
                <c:pt idx="2167">
                  <c:v>42116</c:v>
                </c:pt>
                <c:pt idx="2168">
                  <c:v>42117</c:v>
                </c:pt>
                <c:pt idx="2169">
                  <c:v>42118</c:v>
                </c:pt>
                <c:pt idx="2170">
                  <c:v>42121</c:v>
                </c:pt>
                <c:pt idx="2171">
                  <c:v>42122</c:v>
                </c:pt>
                <c:pt idx="2172">
                  <c:v>42123</c:v>
                </c:pt>
                <c:pt idx="2173">
                  <c:v>42124</c:v>
                </c:pt>
                <c:pt idx="2174">
                  <c:v>42125</c:v>
                </c:pt>
                <c:pt idx="2175">
                  <c:v>42128</c:v>
                </c:pt>
                <c:pt idx="2176">
                  <c:v>42129</c:v>
                </c:pt>
                <c:pt idx="2177">
                  <c:v>42130</c:v>
                </c:pt>
                <c:pt idx="2178">
                  <c:v>42131</c:v>
                </c:pt>
                <c:pt idx="2179">
                  <c:v>42132</c:v>
                </c:pt>
                <c:pt idx="2180">
                  <c:v>42135</c:v>
                </c:pt>
                <c:pt idx="2181">
                  <c:v>42136</c:v>
                </c:pt>
                <c:pt idx="2182">
                  <c:v>42137</c:v>
                </c:pt>
                <c:pt idx="2183">
                  <c:v>42138</c:v>
                </c:pt>
                <c:pt idx="2184">
                  <c:v>42139</c:v>
                </c:pt>
                <c:pt idx="2185">
                  <c:v>42142</c:v>
                </c:pt>
                <c:pt idx="2186">
                  <c:v>42143</c:v>
                </c:pt>
                <c:pt idx="2187">
                  <c:v>42144</c:v>
                </c:pt>
                <c:pt idx="2188">
                  <c:v>42145</c:v>
                </c:pt>
                <c:pt idx="2189">
                  <c:v>42146</c:v>
                </c:pt>
                <c:pt idx="2190">
                  <c:v>42149</c:v>
                </c:pt>
                <c:pt idx="2191">
                  <c:v>42150</c:v>
                </c:pt>
                <c:pt idx="2192">
                  <c:v>42151</c:v>
                </c:pt>
                <c:pt idx="2193">
                  <c:v>42152</c:v>
                </c:pt>
                <c:pt idx="2194">
                  <c:v>42153</c:v>
                </c:pt>
                <c:pt idx="2195">
                  <c:v>42156</c:v>
                </c:pt>
                <c:pt idx="2196">
                  <c:v>42157</c:v>
                </c:pt>
                <c:pt idx="2197">
                  <c:v>42158</c:v>
                </c:pt>
                <c:pt idx="2198">
                  <c:v>42159</c:v>
                </c:pt>
                <c:pt idx="2199">
                  <c:v>42160</c:v>
                </c:pt>
                <c:pt idx="2200">
                  <c:v>42163</c:v>
                </c:pt>
                <c:pt idx="2201">
                  <c:v>42164</c:v>
                </c:pt>
                <c:pt idx="2202">
                  <c:v>42165</c:v>
                </c:pt>
                <c:pt idx="2203">
                  <c:v>42166</c:v>
                </c:pt>
                <c:pt idx="2204">
                  <c:v>42167</c:v>
                </c:pt>
                <c:pt idx="2205">
                  <c:v>42170</c:v>
                </c:pt>
                <c:pt idx="2206">
                  <c:v>42171</c:v>
                </c:pt>
                <c:pt idx="2207">
                  <c:v>42172</c:v>
                </c:pt>
                <c:pt idx="2208">
                  <c:v>42173</c:v>
                </c:pt>
                <c:pt idx="2209">
                  <c:v>42174</c:v>
                </c:pt>
                <c:pt idx="2210">
                  <c:v>42177</c:v>
                </c:pt>
                <c:pt idx="2211">
                  <c:v>42178</c:v>
                </c:pt>
                <c:pt idx="2212">
                  <c:v>42179</c:v>
                </c:pt>
                <c:pt idx="2213">
                  <c:v>42180</c:v>
                </c:pt>
                <c:pt idx="2214">
                  <c:v>42181</c:v>
                </c:pt>
                <c:pt idx="2215">
                  <c:v>42184</c:v>
                </c:pt>
                <c:pt idx="2216">
                  <c:v>42185</c:v>
                </c:pt>
                <c:pt idx="2217">
                  <c:v>42186</c:v>
                </c:pt>
                <c:pt idx="2218">
                  <c:v>42187</c:v>
                </c:pt>
                <c:pt idx="2219">
                  <c:v>42188</c:v>
                </c:pt>
                <c:pt idx="2220">
                  <c:v>42191</c:v>
                </c:pt>
                <c:pt idx="2221">
                  <c:v>42192</c:v>
                </c:pt>
                <c:pt idx="2222">
                  <c:v>42193</c:v>
                </c:pt>
                <c:pt idx="2223">
                  <c:v>42194</c:v>
                </c:pt>
                <c:pt idx="2224">
                  <c:v>42195</c:v>
                </c:pt>
                <c:pt idx="2225">
                  <c:v>42198</c:v>
                </c:pt>
                <c:pt idx="2226">
                  <c:v>42199</c:v>
                </c:pt>
                <c:pt idx="2227">
                  <c:v>42200</c:v>
                </c:pt>
                <c:pt idx="2228">
                  <c:v>42201</c:v>
                </c:pt>
                <c:pt idx="2229">
                  <c:v>42202</c:v>
                </c:pt>
                <c:pt idx="2230">
                  <c:v>42205</c:v>
                </c:pt>
                <c:pt idx="2231">
                  <c:v>42206</c:v>
                </c:pt>
                <c:pt idx="2232">
                  <c:v>42207</c:v>
                </c:pt>
                <c:pt idx="2233">
                  <c:v>42208</c:v>
                </c:pt>
                <c:pt idx="2234">
                  <c:v>42209</c:v>
                </c:pt>
                <c:pt idx="2235">
                  <c:v>42212</c:v>
                </c:pt>
                <c:pt idx="2236">
                  <c:v>42213</c:v>
                </c:pt>
                <c:pt idx="2237">
                  <c:v>42214</c:v>
                </c:pt>
                <c:pt idx="2238">
                  <c:v>42215</c:v>
                </c:pt>
                <c:pt idx="2239">
                  <c:v>42216</c:v>
                </c:pt>
                <c:pt idx="2240">
                  <c:v>42219</c:v>
                </c:pt>
                <c:pt idx="2241">
                  <c:v>42220</c:v>
                </c:pt>
                <c:pt idx="2242">
                  <c:v>42221</c:v>
                </c:pt>
                <c:pt idx="2243">
                  <c:v>42222</c:v>
                </c:pt>
                <c:pt idx="2244">
                  <c:v>42223</c:v>
                </c:pt>
                <c:pt idx="2245">
                  <c:v>42226</c:v>
                </c:pt>
                <c:pt idx="2246">
                  <c:v>42227</c:v>
                </c:pt>
                <c:pt idx="2247">
                  <c:v>42228</c:v>
                </c:pt>
                <c:pt idx="2248">
                  <c:v>42229</c:v>
                </c:pt>
                <c:pt idx="2249">
                  <c:v>42230</c:v>
                </c:pt>
                <c:pt idx="2250">
                  <c:v>42233</c:v>
                </c:pt>
                <c:pt idx="2251">
                  <c:v>42234</c:v>
                </c:pt>
                <c:pt idx="2252">
                  <c:v>42235</c:v>
                </c:pt>
                <c:pt idx="2253">
                  <c:v>42236</c:v>
                </c:pt>
                <c:pt idx="2254">
                  <c:v>42237</c:v>
                </c:pt>
                <c:pt idx="2255">
                  <c:v>42240</c:v>
                </c:pt>
                <c:pt idx="2256">
                  <c:v>42241</c:v>
                </c:pt>
                <c:pt idx="2257">
                  <c:v>42242</c:v>
                </c:pt>
                <c:pt idx="2258">
                  <c:v>42243</c:v>
                </c:pt>
                <c:pt idx="2259">
                  <c:v>42244</c:v>
                </c:pt>
                <c:pt idx="2260">
                  <c:v>42247</c:v>
                </c:pt>
                <c:pt idx="2261">
                  <c:v>42248</c:v>
                </c:pt>
                <c:pt idx="2262">
                  <c:v>42249</c:v>
                </c:pt>
                <c:pt idx="2263">
                  <c:v>42250</c:v>
                </c:pt>
                <c:pt idx="2264">
                  <c:v>42251</c:v>
                </c:pt>
                <c:pt idx="2265">
                  <c:v>42254</c:v>
                </c:pt>
                <c:pt idx="2266">
                  <c:v>42255</c:v>
                </c:pt>
                <c:pt idx="2267">
                  <c:v>42256</c:v>
                </c:pt>
                <c:pt idx="2268">
                  <c:v>42257</c:v>
                </c:pt>
                <c:pt idx="2269">
                  <c:v>42258</c:v>
                </c:pt>
                <c:pt idx="2270">
                  <c:v>42261</c:v>
                </c:pt>
                <c:pt idx="2271">
                  <c:v>42262</c:v>
                </c:pt>
                <c:pt idx="2272">
                  <c:v>42263</c:v>
                </c:pt>
                <c:pt idx="2273">
                  <c:v>42264</c:v>
                </c:pt>
                <c:pt idx="2274">
                  <c:v>42265</c:v>
                </c:pt>
                <c:pt idx="2275">
                  <c:v>42268</c:v>
                </c:pt>
                <c:pt idx="2276">
                  <c:v>42269</c:v>
                </c:pt>
                <c:pt idx="2277">
                  <c:v>42270</c:v>
                </c:pt>
                <c:pt idx="2278">
                  <c:v>42271</c:v>
                </c:pt>
                <c:pt idx="2279">
                  <c:v>42272</c:v>
                </c:pt>
                <c:pt idx="2280">
                  <c:v>42275</c:v>
                </c:pt>
                <c:pt idx="2281">
                  <c:v>42276</c:v>
                </c:pt>
                <c:pt idx="2282">
                  <c:v>42277</c:v>
                </c:pt>
                <c:pt idx="2283">
                  <c:v>42278</c:v>
                </c:pt>
                <c:pt idx="2284">
                  <c:v>42279</c:v>
                </c:pt>
                <c:pt idx="2285">
                  <c:v>42282</c:v>
                </c:pt>
                <c:pt idx="2286">
                  <c:v>42283</c:v>
                </c:pt>
                <c:pt idx="2287">
                  <c:v>42284</c:v>
                </c:pt>
                <c:pt idx="2288">
                  <c:v>42285</c:v>
                </c:pt>
                <c:pt idx="2289">
                  <c:v>42286</c:v>
                </c:pt>
                <c:pt idx="2290">
                  <c:v>42289</c:v>
                </c:pt>
                <c:pt idx="2291">
                  <c:v>42290</c:v>
                </c:pt>
                <c:pt idx="2292">
                  <c:v>42291</c:v>
                </c:pt>
                <c:pt idx="2293">
                  <c:v>42292</c:v>
                </c:pt>
                <c:pt idx="2294">
                  <c:v>42293</c:v>
                </c:pt>
                <c:pt idx="2295">
                  <c:v>42296</c:v>
                </c:pt>
                <c:pt idx="2296">
                  <c:v>42297</c:v>
                </c:pt>
                <c:pt idx="2297">
                  <c:v>42298</c:v>
                </c:pt>
                <c:pt idx="2298">
                  <c:v>42299</c:v>
                </c:pt>
                <c:pt idx="2299">
                  <c:v>42300</c:v>
                </c:pt>
                <c:pt idx="2300">
                  <c:v>42303</c:v>
                </c:pt>
                <c:pt idx="2301">
                  <c:v>42304</c:v>
                </c:pt>
                <c:pt idx="2302">
                  <c:v>42305</c:v>
                </c:pt>
                <c:pt idx="2303">
                  <c:v>42306</c:v>
                </c:pt>
                <c:pt idx="2304">
                  <c:v>42307</c:v>
                </c:pt>
                <c:pt idx="2305">
                  <c:v>42310</c:v>
                </c:pt>
                <c:pt idx="2306">
                  <c:v>42311</c:v>
                </c:pt>
                <c:pt idx="2307">
                  <c:v>42312</c:v>
                </c:pt>
                <c:pt idx="2308">
                  <c:v>42313</c:v>
                </c:pt>
                <c:pt idx="2309">
                  <c:v>42314</c:v>
                </c:pt>
                <c:pt idx="2310">
                  <c:v>42317</c:v>
                </c:pt>
                <c:pt idx="2311">
                  <c:v>42318</c:v>
                </c:pt>
                <c:pt idx="2312">
                  <c:v>42319</c:v>
                </c:pt>
                <c:pt idx="2313">
                  <c:v>42320</c:v>
                </c:pt>
                <c:pt idx="2314">
                  <c:v>42321</c:v>
                </c:pt>
                <c:pt idx="2315">
                  <c:v>42324</c:v>
                </c:pt>
                <c:pt idx="2316">
                  <c:v>42325</c:v>
                </c:pt>
                <c:pt idx="2317">
                  <c:v>42326</c:v>
                </c:pt>
                <c:pt idx="2318">
                  <c:v>42327</c:v>
                </c:pt>
                <c:pt idx="2319">
                  <c:v>42328</c:v>
                </c:pt>
                <c:pt idx="2320">
                  <c:v>42331</c:v>
                </c:pt>
                <c:pt idx="2321">
                  <c:v>42332</c:v>
                </c:pt>
                <c:pt idx="2322">
                  <c:v>42333</c:v>
                </c:pt>
                <c:pt idx="2323">
                  <c:v>42334</c:v>
                </c:pt>
                <c:pt idx="2324">
                  <c:v>42335</c:v>
                </c:pt>
                <c:pt idx="2325">
                  <c:v>42338</c:v>
                </c:pt>
                <c:pt idx="2326">
                  <c:v>42339</c:v>
                </c:pt>
                <c:pt idx="2327">
                  <c:v>42340</c:v>
                </c:pt>
                <c:pt idx="2328">
                  <c:v>42341</c:v>
                </c:pt>
                <c:pt idx="2329">
                  <c:v>42342</c:v>
                </c:pt>
                <c:pt idx="2330">
                  <c:v>42345</c:v>
                </c:pt>
                <c:pt idx="2331">
                  <c:v>42346</c:v>
                </c:pt>
                <c:pt idx="2332">
                  <c:v>42347</c:v>
                </c:pt>
                <c:pt idx="2333">
                  <c:v>42348</c:v>
                </c:pt>
                <c:pt idx="2334">
                  <c:v>42349</c:v>
                </c:pt>
                <c:pt idx="2335">
                  <c:v>42352</c:v>
                </c:pt>
                <c:pt idx="2336">
                  <c:v>42353</c:v>
                </c:pt>
                <c:pt idx="2337">
                  <c:v>42354</c:v>
                </c:pt>
                <c:pt idx="2338">
                  <c:v>42355</c:v>
                </c:pt>
                <c:pt idx="2339">
                  <c:v>42356</c:v>
                </c:pt>
                <c:pt idx="2340">
                  <c:v>42359</c:v>
                </c:pt>
                <c:pt idx="2341">
                  <c:v>42360</c:v>
                </c:pt>
                <c:pt idx="2342">
                  <c:v>42361</c:v>
                </c:pt>
                <c:pt idx="2343">
                  <c:v>42362</c:v>
                </c:pt>
                <c:pt idx="2344">
                  <c:v>42363</c:v>
                </c:pt>
                <c:pt idx="2345">
                  <c:v>42366</c:v>
                </c:pt>
                <c:pt idx="2346">
                  <c:v>42367</c:v>
                </c:pt>
                <c:pt idx="2347">
                  <c:v>42368</c:v>
                </c:pt>
                <c:pt idx="2348">
                  <c:v>42369</c:v>
                </c:pt>
                <c:pt idx="2349">
                  <c:v>42370</c:v>
                </c:pt>
                <c:pt idx="2350">
                  <c:v>42373</c:v>
                </c:pt>
                <c:pt idx="2351">
                  <c:v>42374</c:v>
                </c:pt>
                <c:pt idx="2352">
                  <c:v>42375</c:v>
                </c:pt>
                <c:pt idx="2353">
                  <c:v>42376</c:v>
                </c:pt>
                <c:pt idx="2354">
                  <c:v>42377</c:v>
                </c:pt>
                <c:pt idx="2355">
                  <c:v>42380</c:v>
                </c:pt>
                <c:pt idx="2356">
                  <c:v>42381</c:v>
                </c:pt>
                <c:pt idx="2357">
                  <c:v>42382</c:v>
                </c:pt>
                <c:pt idx="2358">
                  <c:v>42383</c:v>
                </c:pt>
                <c:pt idx="2359">
                  <c:v>42384</c:v>
                </c:pt>
                <c:pt idx="2360">
                  <c:v>42387</c:v>
                </c:pt>
                <c:pt idx="2361">
                  <c:v>42388</c:v>
                </c:pt>
                <c:pt idx="2362">
                  <c:v>42389</c:v>
                </c:pt>
                <c:pt idx="2363">
                  <c:v>42390</c:v>
                </c:pt>
                <c:pt idx="2364">
                  <c:v>42391</c:v>
                </c:pt>
                <c:pt idx="2365">
                  <c:v>42394</c:v>
                </c:pt>
                <c:pt idx="2366">
                  <c:v>42395</c:v>
                </c:pt>
                <c:pt idx="2367">
                  <c:v>42396</c:v>
                </c:pt>
                <c:pt idx="2368">
                  <c:v>42397</c:v>
                </c:pt>
                <c:pt idx="2369">
                  <c:v>42398</c:v>
                </c:pt>
                <c:pt idx="2370">
                  <c:v>42401</c:v>
                </c:pt>
                <c:pt idx="2371">
                  <c:v>42402</c:v>
                </c:pt>
                <c:pt idx="2372">
                  <c:v>42403</c:v>
                </c:pt>
                <c:pt idx="2373">
                  <c:v>42404</c:v>
                </c:pt>
                <c:pt idx="2374">
                  <c:v>42405</c:v>
                </c:pt>
                <c:pt idx="2375">
                  <c:v>42408</c:v>
                </c:pt>
                <c:pt idx="2376">
                  <c:v>42409</c:v>
                </c:pt>
                <c:pt idx="2377">
                  <c:v>42410</c:v>
                </c:pt>
                <c:pt idx="2378">
                  <c:v>42411</c:v>
                </c:pt>
                <c:pt idx="2379">
                  <c:v>42412</c:v>
                </c:pt>
                <c:pt idx="2380">
                  <c:v>42415</c:v>
                </c:pt>
                <c:pt idx="2381">
                  <c:v>42416</c:v>
                </c:pt>
                <c:pt idx="2382">
                  <c:v>42417</c:v>
                </c:pt>
                <c:pt idx="2383">
                  <c:v>42418</c:v>
                </c:pt>
                <c:pt idx="2384">
                  <c:v>42419</c:v>
                </c:pt>
                <c:pt idx="2385">
                  <c:v>42422</c:v>
                </c:pt>
                <c:pt idx="2386">
                  <c:v>42423</c:v>
                </c:pt>
                <c:pt idx="2387">
                  <c:v>42424</c:v>
                </c:pt>
                <c:pt idx="2388">
                  <c:v>42425</c:v>
                </c:pt>
                <c:pt idx="2389">
                  <c:v>42426</c:v>
                </c:pt>
                <c:pt idx="2390">
                  <c:v>42429</c:v>
                </c:pt>
                <c:pt idx="2391">
                  <c:v>42430</c:v>
                </c:pt>
                <c:pt idx="2392">
                  <c:v>42431</c:v>
                </c:pt>
                <c:pt idx="2393">
                  <c:v>42432</c:v>
                </c:pt>
                <c:pt idx="2394">
                  <c:v>42433</c:v>
                </c:pt>
                <c:pt idx="2395">
                  <c:v>42436</c:v>
                </c:pt>
                <c:pt idx="2396">
                  <c:v>42437</c:v>
                </c:pt>
                <c:pt idx="2397">
                  <c:v>42438</c:v>
                </c:pt>
                <c:pt idx="2398">
                  <c:v>42439</c:v>
                </c:pt>
                <c:pt idx="2399">
                  <c:v>42440</c:v>
                </c:pt>
                <c:pt idx="2400">
                  <c:v>42443</c:v>
                </c:pt>
                <c:pt idx="2401">
                  <c:v>42444</c:v>
                </c:pt>
                <c:pt idx="2402">
                  <c:v>42445</c:v>
                </c:pt>
                <c:pt idx="2403">
                  <c:v>42446</c:v>
                </c:pt>
                <c:pt idx="2404">
                  <c:v>42447</c:v>
                </c:pt>
                <c:pt idx="2405">
                  <c:v>42450</c:v>
                </c:pt>
                <c:pt idx="2406">
                  <c:v>42451</c:v>
                </c:pt>
                <c:pt idx="2407">
                  <c:v>42452</c:v>
                </c:pt>
                <c:pt idx="2408">
                  <c:v>42453</c:v>
                </c:pt>
                <c:pt idx="2409">
                  <c:v>42454</c:v>
                </c:pt>
                <c:pt idx="2410">
                  <c:v>42457</c:v>
                </c:pt>
                <c:pt idx="2411">
                  <c:v>42458</c:v>
                </c:pt>
                <c:pt idx="2412">
                  <c:v>42459</c:v>
                </c:pt>
                <c:pt idx="2413">
                  <c:v>42460</c:v>
                </c:pt>
                <c:pt idx="2414">
                  <c:v>42461</c:v>
                </c:pt>
                <c:pt idx="2415">
                  <c:v>42464</c:v>
                </c:pt>
                <c:pt idx="2416">
                  <c:v>42465</c:v>
                </c:pt>
                <c:pt idx="2417">
                  <c:v>42466</c:v>
                </c:pt>
                <c:pt idx="2418">
                  <c:v>42467</c:v>
                </c:pt>
                <c:pt idx="2419">
                  <c:v>42468</c:v>
                </c:pt>
                <c:pt idx="2420">
                  <c:v>42471</c:v>
                </c:pt>
                <c:pt idx="2421">
                  <c:v>42472</c:v>
                </c:pt>
                <c:pt idx="2422">
                  <c:v>42473</c:v>
                </c:pt>
                <c:pt idx="2423">
                  <c:v>42474</c:v>
                </c:pt>
                <c:pt idx="2424">
                  <c:v>42475</c:v>
                </c:pt>
                <c:pt idx="2425">
                  <c:v>42478</c:v>
                </c:pt>
                <c:pt idx="2426">
                  <c:v>42479</c:v>
                </c:pt>
                <c:pt idx="2427">
                  <c:v>42480</c:v>
                </c:pt>
                <c:pt idx="2428">
                  <c:v>42481</c:v>
                </c:pt>
                <c:pt idx="2429">
                  <c:v>42482</c:v>
                </c:pt>
                <c:pt idx="2430">
                  <c:v>42485</c:v>
                </c:pt>
                <c:pt idx="2431">
                  <c:v>42486</c:v>
                </c:pt>
                <c:pt idx="2432">
                  <c:v>42487</c:v>
                </c:pt>
                <c:pt idx="2433">
                  <c:v>42488</c:v>
                </c:pt>
                <c:pt idx="2434">
                  <c:v>42489</c:v>
                </c:pt>
                <c:pt idx="2435">
                  <c:v>42492</c:v>
                </c:pt>
                <c:pt idx="2436">
                  <c:v>42493</c:v>
                </c:pt>
                <c:pt idx="2437">
                  <c:v>42494</c:v>
                </c:pt>
                <c:pt idx="2438">
                  <c:v>42495</c:v>
                </c:pt>
                <c:pt idx="2439">
                  <c:v>42496</c:v>
                </c:pt>
                <c:pt idx="2440">
                  <c:v>42499</c:v>
                </c:pt>
                <c:pt idx="2441">
                  <c:v>42500</c:v>
                </c:pt>
                <c:pt idx="2442">
                  <c:v>42501</c:v>
                </c:pt>
                <c:pt idx="2443">
                  <c:v>42502</c:v>
                </c:pt>
                <c:pt idx="2444">
                  <c:v>42503</c:v>
                </c:pt>
                <c:pt idx="2445">
                  <c:v>42506</c:v>
                </c:pt>
                <c:pt idx="2446">
                  <c:v>42507</c:v>
                </c:pt>
                <c:pt idx="2447">
                  <c:v>42508</c:v>
                </c:pt>
                <c:pt idx="2448">
                  <c:v>42509</c:v>
                </c:pt>
                <c:pt idx="2449">
                  <c:v>42510</c:v>
                </c:pt>
                <c:pt idx="2450">
                  <c:v>42513</c:v>
                </c:pt>
                <c:pt idx="2451">
                  <c:v>42514</c:v>
                </c:pt>
                <c:pt idx="2452">
                  <c:v>42515</c:v>
                </c:pt>
                <c:pt idx="2453">
                  <c:v>42516</c:v>
                </c:pt>
                <c:pt idx="2454">
                  <c:v>42517</c:v>
                </c:pt>
                <c:pt idx="2455">
                  <c:v>42520</c:v>
                </c:pt>
                <c:pt idx="2456">
                  <c:v>42521</c:v>
                </c:pt>
                <c:pt idx="2457">
                  <c:v>42522</c:v>
                </c:pt>
                <c:pt idx="2458">
                  <c:v>42523</c:v>
                </c:pt>
                <c:pt idx="2459">
                  <c:v>42524</c:v>
                </c:pt>
                <c:pt idx="2460">
                  <c:v>42527</c:v>
                </c:pt>
                <c:pt idx="2461">
                  <c:v>42528</c:v>
                </c:pt>
                <c:pt idx="2462">
                  <c:v>42529</c:v>
                </c:pt>
                <c:pt idx="2463">
                  <c:v>42530</c:v>
                </c:pt>
                <c:pt idx="2464">
                  <c:v>42531</c:v>
                </c:pt>
                <c:pt idx="2465">
                  <c:v>42534</c:v>
                </c:pt>
                <c:pt idx="2466">
                  <c:v>42535</c:v>
                </c:pt>
                <c:pt idx="2467">
                  <c:v>42536</c:v>
                </c:pt>
                <c:pt idx="2468">
                  <c:v>42537</c:v>
                </c:pt>
                <c:pt idx="2469">
                  <c:v>42538</c:v>
                </c:pt>
                <c:pt idx="2470">
                  <c:v>42541</c:v>
                </c:pt>
                <c:pt idx="2471">
                  <c:v>42542</c:v>
                </c:pt>
                <c:pt idx="2472">
                  <c:v>42543</c:v>
                </c:pt>
                <c:pt idx="2473">
                  <c:v>42544</c:v>
                </c:pt>
                <c:pt idx="2474">
                  <c:v>42545</c:v>
                </c:pt>
                <c:pt idx="2475">
                  <c:v>42548</c:v>
                </c:pt>
                <c:pt idx="2476">
                  <c:v>42549</c:v>
                </c:pt>
                <c:pt idx="2477">
                  <c:v>42550</c:v>
                </c:pt>
                <c:pt idx="2478">
                  <c:v>42551</c:v>
                </c:pt>
                <c:pt idx="2479">
                  <c:v>42552</c:v>
                </c:pt>
                <c:pt idx="2480">
                  <c:v>42555</c:v>
                </c:pt>
                <c:pt idx="2481">
                  <c:v>42556</c:v>
                </c:pt>
                <c:pt idx="2482">
                  <c:v>42557</c:v>
                </c:pt>
                <c:pt idx="2483">
                  <c:v>42558</c:v>
                </c:pt>
                <c:pt idx="2484">
                  <c:v>42559</c:v>
                </c:pt>
                <c:pt idx="2485">
                  <c:v>42562</c:v>
                </c:pt>
                <c:pt idx="2486">
                  <c:v>42563</c:v>
                </c:pt>
                <c:pt idx="2487">
                  <c:v>42564</c:v>
                </c:pt>
                <c:pt idx="2488">
                  <c:v>42565</c:v>
                </c:pt>
                <c:pt idx="2489">
                  <c:v>42566</c:v>
                </c:pt>
                <c:pt idx="2490">
                  <c:v>42569</c:v>
                </c:pt>
                <c:pt idx="2491">
                  <c:v>42570</c:v>
                </c:pt>
                <c:pt idx="2492">
                  <c:v>42571</c:v>
                </c:pt>
                <c:pt idx="2493">
                  <c:v>42572</c:v>
                </c:pt>
                <c:pt idx="2494">
                  <c:v>42573</c:v>
                </c:pt>
                <c:pt idx="2495">
                  <c:v>42576</c:v>
                </c:pt>
                <c:pt idx="2496">
                  <c:v>42577</c:v>
                </c:pt>
                <c:pt idx="2497">
                  <c:v>42578</c:v>
                </c:pt>
                <c:pt idx="2498">
                  <c:v>42579</c:v>
                </c:pt>
                <c:pt idx="2499">
                  <c:v>42580</c:v>
                </c:pt>
                <c:pt idx="2500">
                  <c:v>42583</c:v>
                </c:pt>
                <c:pt idx="2501">
                  <c:v>42584</c:v>
                </c:pt>
                <c:pt idx="2502">
                  <c:v>42585</c:v>
                </c:pt>
                <c:pt idx="2503">
                  <c:v>42586</c:v>
                </c:pt>
                <c:pt idx="2504">
                  <c:v>42587</c:v>
                </c:pt>
                <c:pt idx="2505">
                  <c:v>42590</c:v>
                </c:pt>
                <c:pt idx="2506">
                  <c:v>42591</c:v>
                </c:pt>
                <c:pt idx="2507">
                  <c:v>42592</c:v>
                </c:pt>
                <c:pt idx="2508">
                  <c:v>42593</c:v>
                </c:pt>
                <c:pt idx="2509">
                  <c:v>42594</c:v>
                </c:pt>
                <c:pt idx="2510">
                  <c:v>42597</c:v>
                </c:pt>
                <c:pt idx="2511">
                  <c:v>42598</c:v>
                </c:pt>
                <c:pt idx="2512">
                  <c:v>42599</c:v>
                </c:pt>
                <c:pt idx="2513">
                  <c:v>42600</c:v>
                </c:pt>
                <c:pt idx="2514">
                  <c:v>42601</c:v>
                </c:pt>
                <c:pt idx="2515">
                  <c:v>42604</c:v>
                </c:pt>
                <c:pt idx="2516">
                  <c:v>42605</c:v>
                </c:pt>
                <c:pt idx="2517">
                  <c:v>42606</c:v>
                </c:pt>
                <c:pt idx="2518">
                  <c:v>42607</c:v>
                </c:pt>
                <c:pt idx="2519">
                  <c:v>42608</c:v>
                </c:pt>
                <c:pt idx="2520">
                  <c:v>42611</c:v>
                </c:pt>
                <c:pt idx="2521">
                  <c:v>42612</c:v>
                </c:pt>
                <c:pt idx="2522">
                  <c:v>42613</c:v>
                </c:pt>
                <c:pt idx="2523">
                  <c:v>42614</c:v>
                </c:pt>
                <c:pt idx="2524">
                  <c:v>42615</c:v>
                </c:pt>
                <c:pt idx="2525">
                  <c:v>42618</c:v>
                </c:pt>
                <c:pt idx="2526">
                  <c:v>42619</c:v>
                </c:pt>
                <c:pt idx="2527">
                  <c:v>42620</c:v>
                </c:pt>
                <c:pt idx="2528">
                  <c:v>42621</c:v>
                </c:pt>
                <c:pt idx="2529">
                  <c:v>42622</c:v>
                </c:pt>
                <c:pt idx="2530">
                  <c:v>42625</c:v>
                </c:pt>
                <c:pt idx="2531">
                  <c:v>42626</c:v>
                </c:pt>
                <c:pt idx="2532">
                  <c:v>42627</c:v>
                </c:pt>
                <c:pt idx="2533">
                  <c:v>42628</c:v>
                </c:pt>
                <c:pt idx="2534">
                  <c:v>42629</c:v>
                </c:pt>
                <c:pt idx="2535">
                  <c:v>42632</c:v>
                </c:pt>
                <c:pt idx="2536">
                  <c:v>42633</c:v>
                </c:pt>
                <c:pt idx="2537">
                  <c:v>42634</c:v>
                </c:pt>
                <c:pt idx="2538">
                  <c:v>42635</c:v>
                </c:pt>
                <c:pt idx="2539">
                  <c:v>42636</c:v>
                </c:pt>
                <c:pt idx="2540">
                  <c:v>42639</c:v>
                </c:pt>
                <c:pt idx="2541">
                  <c:v>42640</c:v>
                </c:pt>
                <c:pt idx="2542">
                  <c:v>42641</c:v>
                </c:pt>
                <c:pt idx="2543">
                  <c:v>42642</c:v>
                </c:pt>
                <c:pt idx="2544">
                  <c:v>42643</c:v>
                </c:pt>
                <c:pt idx="2545">
                  <c:v>42646</c:v>
                </c:pt>
                <c:pt idx="2546">
                  <c:v>42647</c:v>
                </c:pt>
                <c:pt idx="2547">
                  <c:v>42648</c:v>
                </c:pt>
                <c:pt idx="2548">
                  <c:v>42649</c:v>
                </c:pt>
                <c:pt idx="2549">
                  <c:v>42650</c:v>
                </c:pt>
                <c:pt idx="2550">
                  <c:v>42653</c:v>
                </c:pt>
                <c:pt idx="2551">
                  <c:v>42654</c:v>
                </c:pt>
                <c:pt idx="2552">
                  <c:v>42655</c:v>
                </c:pt>
                <c:pt idx="2553">
                  <c:v>42656</c:v>
                </c:pt>
                <c:pt idx="2554">
                  <c:v>42657</c:v>
                </c:pt>
                <c:pt idx="2555">
                  <c:v>42660</c:v>
                </c:pt>
                <c:pt idx="2556">
                  <c:v>42661</c:v>
                </c:pt>
                <c:pt idx="2557">
                  <c:v>42662</c:v>
                </c:pt>
                <c:pt idx="2558">
                  <c:v>42663</c:v>
                </c:pt>
                <c:pt idx="2559">
                  <c:v>42664</c:v>
                </c:pt>
                <c:pt idx="2560">
                  <c:v>42667</c:v>
                </c:pt>
                <c:pt idx="2561">
                  <c:v>42668</c:v>
                </c:pt>
                <c:pt idx="2562">
                  <c:v>42669</c:v>
                </c:pt>
                <c:pt idx="2563">
                  <c:v>42670</c:v>
                </c:pt>
                <c:pt idx="2564">
                  <c:v>42671</c:v>
                </c:pt>
                <c:pt idx="2565">
                  <c:v>42674</c:v>
                </c:pt>
                <c:pt idx="2566">
                  <c:v>42675</c:v>
                </c:pt>
                <c:pt idx="2567">
                  <c:v>42676</c:v>
                </c:pt>
                <c:pt idx="2568">
                  <c:v>42677</c:v>
                </c:pt>
                <c:pt idx="2569">
                  <c:v>42678</c:v>
                </c:pt>
                <c:pt idx="2570">
                  <c:v>42681</c:v>
                </c:pt>
                <c:pt idx="2571">
                  <c:v>42682</c:v>
                </c:pt>
                <c:pt idx="2572">
                  <c:v>42683</c:v>
                </c:pt>
                <c:pt idx="2573">
                  <c:v>42684</c:v>
                </c:pt>
                <c:pt idx="2574">
                  <c:v>42685</c:v>
                </c:pt>
                <c:pt idx="2575">
                  <c:v>42688</c:v>
                </c:pt>
                <c:pt idx="2576">
                  <c:v>42689</c:v>
                </c:pt>
                <c:pt idx="2577">
                  <c:v>42690</c:v>
                </c:pt>
                <c:pt idx="2578">
                  <c:v>42691</c:v>
                </c:pt>
                <c:pt idx="2579">
                  <c:v>42692</c:v>
                </c:pt>
                <c:pt idx="2580">
                  <c:v>42695</c:v>
                </c:pt>
                <c:pt idx="2581">
                  <c:v>42696</c:v>
                </c:pt>
                <c:pt idx="2582">
                  <c:v>42697</c:v>
                </c:pt>
                <c:pt idx="2583">
                  <c:v>42698</c:v>
                </c:pt>
                <c:pt idx="2584">
                  <c:v>42699</c:v>
                </c:pt>
                <c:pt idx="2585">
                  <c:v>42702</c:v>
                </c:pt>
                <c:pt idx="2586">
                  <c:v>42703</c:v>
                </c:pt>
                <c:pt idx="2587">
                  <c:v>42704</c:v>
                </c:pt>
                <c:pt idx="2588">
                  <c:v>42705</c:v>
                </c:pt>
                <c:pt idx="2589">
                  <c:v>42706</c:v>
                </c:pt>
                <c:pt idx="2590">
                  <c:v>42709</c:v>
                </c:pt>
                <c:pt idx="2591">
                  <c:v>42710</c:v>
                </c:pt>
                <c:pt idx="2592">
                  <c:v>42711</c:v>
                </c:pt>
                <c:pt idx="2593">
                  <c:v>42712</c:v>
                </c:pt>
                <c:pt idx="2594">
                  <c:v>42713</c:v>
                </c:pt>
                <c:pt idx="2595">
                  <c:v>42716</c:v>
                </c:pt>
                <c:pt idx="2596">
                  <c:v>42717</c:v>
                </c:pt>
                <c:pt idx="2597">
                  <c:v>42718</c:v>
                </c:pt>
                <c:pt idx="2598">
                  <c:v>42719</c:v>
                </c:pt>
                <c:pt idx="2599">
                  <c:v>42720</c:v>
                </c:pt>
                <c:pt idx="2600">
                  <c:v>42723</c:v>
                </c:pt>
                <c:pt idx="2601">
                  <c:v>42724</c:v>
                </c:pt>
                <c:pt idx="2602">
                  <c:v>42725</c:v>
                </c:pt>
                <c:pt idx="2603">
                  <c:v>42726</c:v>
                </c:pt>
                <c:pt idx="2604">
                  <c:v>42727</c:v>
                </c:pt>
                <c:pt idx="2605">
                  <c:v>42730</c:v>
                </c:pt>
                <c:pt idx="2606">
                  <c:v>42731</c:v>
                </c:pt>
                <c:pt idx="2607">
                  <c:v>42732</c:v>
                </c:pt>
                <c:pt idx="2608">
                  <c:v>42733</c:v>
                </c:pt>
                <c:pt idx="2609">
                  <c:v>42734</c:v>
                </c:pt>
                <c:pt idx="2610">
                  <c:v>42737</c:v>
                </c:pt>
                <c:pt idx="2611">
                  <c:v>42738</c:v>
                </c:pt>
                <c:pt idx="2612">
                  <c:v>42739</c:v>
                </c:pt>
                <c:pt idx="2613">
                  <c:v>42740</c:v>
                </c:pt>
                <c:pt idx="2614">
                  <c:v>42741</c:v>
                </c:pt>
                <c:pt idx="2615">
                  <c:v>42744</c:v>
                </c:pt>
                <c:pt idx="2616">
                  <c:v>42745</c:v>
                </c:pt>
                <c:pt idx="2617">
                  <c:v>42746</c:v>
                </c:pt>
                <c:pt idx="2618">
                  <c:v>42747</c:v>
                </c:pt>
                <c:pt idx="2619">
                  <c:v>42748</c:v>
                </c:pt>
                <c:pt idx="2620">
                  <c:v>42751</c:v>
                </c:pt>
                <c:pt idx="2621">
                  <c:v>42752</c:v>
                </c:pt>
                <c:pt idx="2622">
                  <c:v>42753</c:v>
                </c:pt>
                <c:pt idx="2623">
                  <c:v>42754</c:v>
                </c:pt>
                <c:pt idx="2624">
                  <c:v>42755</c:v>
                </c:pt>
                <c:pt idx="2625">
                  <c:v>42758</c:v>
                </c:pt>
                <c:pt idx="2626">
                  <c:v>42759</c:v>
                </c:pt>
                <c:pt idx="2627">
                  <c:v>42760</c:v>
                </c:pt>
                <c:pt idx="2628">
                  <c:v>42761</c:v>
                </c:pt>
                <c:pt idx="2629">
                  <c:v>42762</c:v>
                </c:pt>
                <c:pt idx="2630">
                  <c:v>42765</c:v>
                </c:pt>
                <c:pt idx="2631">
                  <c:v>42766</c:v>
                </c:pt>
                <c:pt idx="2632">
                  <c:v>42767</c:v>
                </c:pt>
                <c:pt idx="2633">
                  <c:v>42768</c:v>
                </c:pt>
                <c:pt idx="2634">
                  <c:v>42769</c:v>
                </c:pt>
                <c:pt idx="2635">
                  <c:v>42772</c:v>
                </c:pt>
                <c:pt idx="2636">
                  <c:v>42773</c:v>
                </c:pt>
                <c:pt idx="2637">
                  <c:v>42774</c:v>
                </c:pt>
                <c:pt idx="2638">
                  <c:v>42775</c:v>
                </c:pt>
                <c:pt idx="2639">
                  <c:v>42776</c:v>
                </c:pt>
                <c:pt idx="2640">
                  <c:v>42779</c:v>
                </c:pt>
                <c:pt idx="2641">
                  <c:v>42780</c:v>
                </c:pt>
                <c:pt idx="2642">
                  <c:v>42781</c:v>
                </c:pt>
                <c:pt idx="2643">
                  <c:v>42782</c:v>
                </c:pt>
                <c:pt idx="2644">
                  <c:v>42783</c:v>
                </c:pt>
                <c:pt idx="2645">
                  <c:v>42786</c:v>
                </c:pt>
                <c:pt idx="2646">
                  <c:v>42787</c:v>
                </c:pt>
                <c:pt idx="2647">
                  <c:v>42788</c:v>
                </c:pt>
                <c:pt idx="2648">
                  <c:v>42789</c:v>
                </c:pt>
                <c:pt idx="2649">
                  <c:v>42790</c:v>
                </c:pt>
                <c:pt idx="2650">
                  <c:v>42793</c:v>
                </c:pt>
                <c:pt idx="2651">
                  <c:v>42794</c:v>
                </c:pt>
                <c:pt idx="2652">
                  <c:v>42795</c:v>
                </c:pt>
                <c:pt idx="2653">
                  <c:v>42796</c:v>
                </c:pt>
                <c:pt idx="2654">
                  <c:v>42797</c:v>
                </c:pt>
                <c:pt idx="2655">
                  <c:v>42800</c:v>
                </c:pt>
                <c:pt idx="2656">
                  <c:v>42801</c:v>
                </c:pt>
                <c:pt idx="2657">
                  <c:v>42802</c:v>
                </c:pt>
                <c:pt idx="2658">
                  <c:v>42803</c:v>
                </c:pt>
                <c:pt idx="2659">
                  <c:v>42804</c:v>
                </c:pt>
                <c:pt idx="2660">
                  <c:v>42807</c:v>
                </c:pt>
                <c:pt idx="2661">
                  <c:v>42808</c:v>
                </c:pt>
                <c:pt idx="2662">
                  <c:v>42809</c:v>
                </c:pt>
                <c:pt idx="2663">
                  <c:v>42810</c:v>
                </c:pt>
                <c:pt idx="2664">
                  <c:v>42811</c:v>
                </c:pt>
                <c:pt idx="2665">
                  <c:v>42814</c:v>
                </c:pt>
                <c:pt idx="2666">
                  <c:v>42815</c:v>
                </c:pt>
                <c:pt idx="2667">
                  <c:v>42816</c:v>
                </c:pt>
                <c:pt idx="2668">
                  <c:v>42817</c:v>
                </c:pt>
                <c:pt idx="2669">
                  <c:v>42818</c:v>
                </c:pt>
                <c:pt idx="2670">
                  <c:v>42821</c:v>
                </c:pt>
                <c:pt idx="2671">
                  <c:v>42822</c:v>
                </c:pt>
                <c:pt idx="2672">
                  <c:v>42823</c:v>
                </c:pt>
                <c:pt idx="2673">
                  <c:v>42824</c:v>
                </c:pt>
                <c:pt idx="2674">
                  <c:v>42825</c:v>
                </c:pt>
                <c:pt idx="2675">
                  <c:v>42828</c:v>
                </c:pt>
                <c:pt idx="2676">
                  <c:v>42829</c:v>
                </c:pt>
                <c:pt idx="2677">
                  <c:v>42830</c:v>
                </c:pt>
                <c:pt idx="2678">
                  <c:v>42831</c:v>
                </c:pt>
                <c:pt idx="2679">
                  <c:v>42832</c:v>
                </c:pt>
                <c:pt idx="2680">
                  <c:v>42835</c:v>
                </c:pt>
                <c:pt idx="2681">
                  <c:v>42836</c:v>
                </c:pt>
                <c:pt idx="2682">
                  <c:v>42837</c:v>
                </c:pt>
                <c:pt idx="2683">
                  <c:v>42838</c:v>
                </c:pt>
                <c:pt idx="2684">
                  <c:v>42839</c:v>
                </c:pt>
                <c:pt idx="2685">
                  <c:v>42842</c:v>
                </c:pt>
                <c:pt idx="2686">
                  <c:v>42843</c:v>
                </c:pt>
                <c:pt idx="2687">
                  <c:v>42844</c:v>
                </c:pt>
                <c:pt idx="2688">
                  <c:v>42845</c:v>
                </c:pt>
                <c:pt idx="2689">
                  <c:v>42846</c:v>
                </c:pt>
                <c:pt idx="2690">
                  <c:v>42849</c:v>
                </c:pt>
                <c:pt idx="2691">
                  <c:v>42850</c:v>
                </c:pt>
                <c:pt idx="2692">
                  <c:v>42851</c:v>
                </c:pt>
                <c:pt idx="2693">
                  <c:v>42852</c:v>
                </c:pt>
                <c:pt idx="2694">
                  <c:v>42853</c:v>
                </c:pt>
                <c:pt idx="2695">
                  <c:v>42856</c:v>
                </c:pt>
                <c:pt idx="2696">
                  <c:v>42857</c:v>
                </c:pt>
                <c:pt idx="2697">
                  <c:v>42858</c:v>
                </c:pt>
                <c:pt idx="2698">
                  <c:v>42859</c:v>
                </c:pt>
                <c:pt idx="2699">
                  <c:v>42860</c:v>
                </c:pt>
                <c:pt idx="2700">
                  <c:v>42863</c:v>
                </c:pt>
                <c:pt idx="2701">
                  <c:v>42864</c:v>
                </c:pt>
                <c:pt idx="2702">
                  <c:v>42865</c:v>
                </c:pt>
                <c:pt idx="2703">
                  <c:v>42866</c:v>
                </c:pt>
                <c:pt idx="2704">
                  <c:v>42867</c:v>
                </c:pt>
                <c:pt idx="2705">
                  <c:v>42870</c:v>
                </c:pt>
                <c:pt idx="2706">
                  <c:v>42871</c:v>
                </c:pt>
                <c:pt idx="2707">
                  <c:v>42872</c:v>
                </c:pt>
                <c:pt idx="2708">
                  <c:v>42873</c:v>
                </c:pt>
                <c:pt idx="2709">
                  <c:v>42874</c:v>
                </c:pt>
                <c:pt idx="2710">
                  <c:v>42877</c:v>
                </c:pt>
                <c:pt idx="2711">
                  <c:v>42878</c:v>
                </c:pt>
                <c:pt idx="2712">
                  <c:v>42879</c:v>
                </c:pt>
                <c:pt idx="2713">
                  <c:v>42880</c:v>
                </c:pt>
                <c:pt idx="2714">
                  <c:v>42881</c:v>
                </c:pt>
                <c:pt idx="2715">
                  <c:v>42884</c:v>
                </c:pt>
                <c:pt idx="2716">
                  <c:v>42885</c:v>
                </c:pt>
                <c:pt idx="2717">
                  <c:v>42886</c:v>
                </c:pt>
                <c:pt idx="2718">
                  <c:v>42887</c:v>
                </c:pt>
                <c:pt idx="2719">
                  <c:v>42888</c:v>
                </c:pt>
                <c:pt idx="2720">
                  <c:v>42891</c:v>
                </c:pt>
                <c:pt idx="2721">
                  <c:v>42892</c:v>
                </c:pt>
                <c:pt idx="2722">
                  <c:v>42893</c:v>
                </c:pt>
                <c:pt idx="2723">
                  <c:v>42894</c:v>
                </c:pt>
                <c:pt idx="2724">
                  <c:v>42895</c:v>
                </c:pt>
                <c:pt idx="2725">
                  <c:v>42898</c:v>
                </c:pt>
                <c:pt idx="2726">
                  <c:v>42899</c:v>
                </c:pt>
                <c:pt idx="2727">
                  <c:v>42900</c:v>
                </c:pt>
                <c:pt idx="2728">
                  <c:v>42901</c:v>
                </c:pt>
                <c:pt idx="2729">
                  <c:v>42902</c:v>
                </c:pt>
                <c:pt idx="2730">
                  <c:v>42905</c:v>
                </c:pt>
                <c:pt idx="2731">
                  <c:v>42906</c:v>
                </c:pt>
                <c:pt idx="2732">
                  <c:v>42907</c:v>
                </c:pt>
                <c:pt idx="2733">
                  <c:v>42908</c:v>
                </c:pt>
                <c:pt idx="2734">
                  <c:v>42909</c:v>
                </c:pt>
                <c:pt idx="2735">
                  <c:v>42912</c:v>
                </c:pt>
                <c:pt idx="2736">
                  <c:v>42913</c:v>
                </c:pt>
                <c:pt idx="2737">
                  <c:v>42914</c:v>
                </c:pt>
                <c:pt idx="2738">
                  <c:v>42915</c:v>
                </c:pt>
                <c:pt idx="2739">
                  <c:v>42916</c:v>
                </c:pt>
                <c:pt idx="2740">
                  <c:v>42919</c:v>
                </c:pt>
                <c:pt idx="2741">
                  <c:v>42920</c:v>
                </c:pt>
                <c:pt idx="2742">
                  <c:v>42921</c:v>
                </c:pt>
                <c:pt idx="2743">
                  <c:v>42922</c:v>
                </c:pt>
                <c:pt idx="2744">
                  <c:v>42923</c:v>
                </c:pt>
                <c:pt idx="2745">
                  <c:v>42926</c:v>
                </c:pt>
                <c:pt idx="2746">
                  <c:v>42927</c:v>
                </c:pt>
                <c:pt idx="2747">
                  <c:v>42928</c:v>
                </c:pt>
                <c:pt idx="2748">
                  <c:v>42929</c:v>
                </c:pt>
                <c:pt idx="2749">
                  <c:v>42930</c:v>
                </c:pt>
                <c:pt idx="2750">
                  <c:v>42933</c:v>
                </c:pt>
                <c:pt idx="2751">
                  <c:v>42934</c:v>
                </c:pt>
                <c:pt idx="2752">
                  <c:v>42935</c:v>
                </c:pt>
                <c:pt idx="2753">
                  <c:v>42936</c:v>
                </c:pt>
                <c:pt idx="2754">
                  <c:v>42937</c:v>
                </c:pt>
                <c:pt idx="2755">
                  <c:v>42940</c:v>
                </c:pt>
                <c:pt idx="2756">
                  <c:v>42941</c:v>
                </c:pt>
                <c:pt idx="2757">
                  <c:v>42942</c:v>
                </c:pt>
                <c:pt idx="2758">
                  <c:v>42943</c:v>
                </c:pt>
                <c:pt idx="2759">
                  <c:v>42944</c:v>
                </c:pt>
                <c:pt idx="2760">
                  <c:v>42947</c:v>
                </c:pt>
                <c:pt idx="2761">
                  <c:v>42948</c:v>
                </c:pt>
                <c:pt idx="2762">
                  <c:v>42949</c:v>
                </c:pt>
                <c:pt idx="2763">
                  <c:v>42950</c:v>
                </c:pt>
                <c:pt idx="2764">
                  <c:v>42951</c:v>
                </c:pt>
                <c:pt idx="2765">
                  <c:v>42954</c:v>
                </c:pt>
                <c:pt idx="2766">
                  <c:v>42955</c:v>
                </c:pt>
                <c:pt idx="2767">
                  <c:v>42956</c:v>
                </c:pt>
                <c:pt idx="2768">
                  <c:v>42957</c:v>
                </c:pt>
                <c:pt idx="2769">
                  <c:v>42958</c:v>
                </c:pt>
                <c:pt idx="2770">
                  <c:v>42961</c:v>
                </c:pt>
                <c:pt idx="2771">
                  <c:v>42962</c:v>
                </c:pt>
                <c:pt idx="2772">
                  <c:v>42963</c:v>
                </c:pt>
                <c:pt idx="2773">
                  <c:v>42964</c:v>
                </c:pt>
                <c:pt idx="2774">
                  <c:v>42965</c:v>
                </c:pt>
                <c:pt idx="2775">
                  <c:v>42968</c:v>
                </c:pt>
                <c:pt idx="2776">
                  <c:v>42969</c:v>
                </c:pt>
                <c:pt idx="2777">
                  <c:v>42970</c:v>
                </c:pt>
                <c:pt idx="2778">
                  <c:v>42971</c:v>
                </c:pt>
                <c:pt idx="2779">
                  <c:v>42972</c:v>
                </c:pt>
                <c:pt idx="2780">
                  <c:v>42975</c:v>
                </c:pt>
                <c:pt idx="2781">
                  <c:v>42976</c:v>
                </c:pt>
                <c:pt idx="2782">
                  <c:v>42977</c:v>
                </c:pt>
                <c:pt idx="2783">
                  <c:v>42978</c:v>
                </c:pt>
                <c:pt idx="2784">
                  <c:v>42979</c:v>
                </c:pt>
                <c:pt idx="2785">
                  <c:v>42982</c:v>
                </c:pt>
                <c:pt idx="2786">
                  <c:v>42983</c:v>
                </c:pt>
                <c:pt idx="2787">
                  <c:v>42984</c:v>
                </c:pt>
                <c:pt idx="2788">
                  <c:v>42985</c:v>
                </c:pt>
                <c:pt idx="2789">
                  <c:v>42986</c:v>
                </c:pt>
                <c:pt idx="2790">
                  <c:v>42989</c:v>
                </c:pt>
                <c:pt idx="2791">
                  <c:v>42990</c:v>
                </c:pt>
                <c:pt idx="2792">
                  <c:v>42991</c:v>
                </c:pt>
                <c:pt idx="2793">
                  <c:v>42992</c:v>
                </c:pt>
                <c:pt idx="2794">
                  <c:v>42993</c:v>
                </c:pt>
                <c:pt idx="2795">
                  <c:v>42996</c:v>
                </c:pt>
                <c:pt idx="2796">
                  <c:v>42997</c:v>
                </c:pt>
                <c:pt idx="2797">
                  <c:v>42998</c:v>
                </c:pt>
                <c:pt idx="2798">
                  <c:v>42999</c:v>
                </c:pt>
                <c:pt idx="2799">
                  <c:v>43000</c:v>
                </c:pt>
                <c:pt idx="2800">
                  <c:v>43003</c:v>
                </c:pt>
                <c:pt idx="2801">
                  <c:v>43004</c:v>
                </c:pt>
                <c:pt idx="2802">
                  <c:v>43005</c:v>
                </c:pt>
                <c:pt idx="2803">
                  <c:v>43006</c:v>
                </c:pt>
                <c:pt idx="2804">
                  <c:v>43007</c:v>
                </c:pt>
                <c:pt idx="2805">
                  <c:v>43010</c:v>
                </c:pt>
                <c:pt idx="2806">
                  <c:v>43011</c:v>
                </c:pt>
                <c:pt idx="2807">
                  <c:v>43012</c:v>
                </c:pt>
                <c:pt idx="2808">
                  <c:v>43013</c:v>
                </c:pt>
                <c:pt idx="2809">
                  <c:v>43014</c:v>
                </c:pt>
                <c:pt idx="2810">
                  <c:v>43017</c:v>
                </c:pt>
                <c:pt idx="2811">
                  <c:v>43018</c:v>
                </c:pt>
                <c:pt idx="2812">
                  <c:v>43019</c:v>
                </c:pt>
                <c:pt idx="2813">
                  <c:v>43020</c:v>
                </c:pt>
                <c:pt idx="2814">
                  <c:v>43021</c:v>
                </c:pt>
                <c:pt idx="2815">
                  <c:v>43024</c:v>
                </c:pt>
                <c:pt idx="2816">
                  <c:v>43025</c:v>
                </c:pt>
                <c:pt idx="2817">
                  <c:v>43026</c:v>
                </c:pt>
                <c:pt idx="2818">
                  <c:v>43027</c:v>
                </c:pt>
                <c:pt idx="2819">
                  <c:v>43028</c:v>
                </c:pt>
                <c:pt idx="2820">
                  <c:v>43031</c:v>
                </c:pt>
                <c:pt idx="2821">
                  <c:v>43032</c:v>
                </c:pt>
                <c:pt idx="2822">
                  <c:v>43033</c:v>
                </c:pt>
                <c:pt idx="2823">
                  <c:v>43034</c:v>
                </c:pt>
                <c:pt idx="2824">
                  <c:v>43035</c:v>
                </c:pt>
                <c:pt idx="2825">
                  <c:v>43038</c:v>
                </c:pt>
                <c:pt idx="2826">
                  <c:v>43039</c:v>
                </c:pt>
                <c:pt idx="2827">
                  <c:v>43040</c:v>
                </c:pt>
                <c:pt idx="2828">
                  <c:v>43041</c:v>
                </c:pt>
                <c:pt idx="2829">
                  <c:v>43042</c:v>
                </c:pt>
                <c:pt idx="2830">
                  <c:v>43045</c:v>
                </c:pt>
                <c:pt idx="2831">
                  <c:v>43046</c:v>
                </c:pt>
                <c:pt idx="2832">
                  <c:v>43047</c:v>
                </c:pt>
                <c:pt idx="2833">
                  <c:v>43048</c:v>
                </c:pt>
                <c:pt idx="2834">
                  <c:v>43049</c:v>
                </c:pt>
                <c:pt idx="2835">
                  <c:v>43052</c:v>
                </c:pt>
                <c:pt idx="2836">
                  <c:v>43053</c:v>
                </c:pt>
                <c:pt idx="2837">
                  <c:v>43054</c:v>
                </c:pt>
                <c:pt idx="2838">
                  <c:v>43055</c:v>
                </c:pt>
                <c:pt idx="2839">
                  <c:v>43056</c:v>
                </c:pt>
                <c:pt idx="2840">
                  <c:v>43059</c:v>
                </c:pt>
                <c:pt idx="2841">
                  <c:v>43060</c:v>
                </c:pt>
                <c:pt idx="2842">
                  <c:v>43061</c:v>
                </c:pt>
                <c:pt idx="2843">
                  <c:v>43062</c:v>
                </c:pt>
                <c:pt idx="2844">
                  <c:v>43063</c:v>
                </c:pt>
                <c:pt idx="2845">
                  <c:v>43066</c:v>
                </c:pt>
                <c:pt idx="2846">
                  <c:v>43067</c:v>
                </c:pt>
                <c:pt idx="2847">
                  <c:v>43068</c:v>
                </c:pt>
                <c:pt idx="2848">
                  <c:v>43069</c:v>
                </c:pt>
                <c:pt idx="2849">
                  <c:v>43070</c:v>
                </c:pt>
                <c:pt idx="2850">
                  <c:v>43073</c:v>
                </c:pt>
                <c:pt idx="2851">
                  <c:v>43074</c:v>
                </c:pt>
                <c:pt idx="2852">
                  <c:v>43075</c:v>
                </c:pt>
                <c:pt idx="2853">
                  <c:v>43076</c:v>
                </c:pt>
                <c:pt idx="2854">
                  <c:v>43077</c:v>
                </c:pt>
                <c:pt idx="2855">
                  <c:v>43080</c:v>
                </c:pt>
                <c:pt idx="2856">
                  <c:v>43081</c:v>
                </c:pt>
                <c:pt idx="2857">
                  <c:v>43082</c:v>
                </c:pt>
                <c:pt idx="2858">
                  <c:v>43083</c:v>
                </c:pt>
                <c:pt idx="2859">
                  <c:v>43084</c:v>
                </c:pt>
                <c:pt idx="2860">
                  <c:v>43087</c:v>
                </c:pt>
                <c:pt idx="2861">
                  <c:v>43088</c:v>
                </c:pt>
                <c:pt idx="2862">
                  <c:v>43089</c:v>
                </c:pt>
                <c:pt idx="2863">
                  <c:v>43090</c:v>
                </c:pt>
                <c:pt idx="2864">
                  <c:v>43091</c:v>
                </c:pt>
                <c:pt idx="2865">
                  <c:v>43094</c:v>
                </c:pt>
                <c:pt idx="2866">
                  <c:v>43095</c:v>
                </c:pt>
                <c:pt idx="2867">
                  <c:v>43096</c:v>
                </c:pt>
                <c:pt idx="2868">
                  <c:v>43097</c:v>
                </c:pt>
                <c:pt idx="2869">
                  <c:v>43098</c:v>
                </c:pt>
                <c:pt idx="2870">
                  <c:v>43101</c:v>
                </c:pt>
                <c:pt idx="2871">
                  <c:v>43102</c:v>
                </c:pt>
                <c:pt idx="2872">
                  <c:v>43103</c:v>
                </c:pt>
                <c:pt idx="2873">
                  <c:v>43104</c:v>
                </c:pt>
                <c:pt idx="2874">
                  <c:v>43105</c:v>
                </c:pt>
                <c:pt idx="2875">
                  <c:v>43108</c:v>
                </c:pt>
                <c:pt idx="2876">
                  <c:v>43109</c:v>
                </c:pt>
                <c:pt idx="2877">
                  <c:v>43110</c:v>
                </c:pt>
                <c:pt idx="2878">
                  <c:v>43111</c:v>
                </c:pt>
                <c:pt idx="2879">
                  <c:v>43112</c:v>
                </c:pt>
                <c:pt idx="2880">
                  <c:v>43115</c:v>
                </c:pt>
                <c:pt idx="2881">
                  <c:v>43116</c:v>
                </c:pt>
                <c:pt idx="2882">
                  <c:v>43117</c:v>
                </c:pt>
                <c:pt idx="2883">
                  <c:v>43118</c:v>
                </c:pt>
                <c:pt idx="2884">
                  <c:v>43119</c:v>
                </c:pt>
                <c:pt idx="2885">
                  <c:v>43122</c:v>
                </c:pt>
                <c:pt idx="2886">
                  <c:v>43123</c:v>
                </c:pt>
                <c:pt idx="2887">
                  <c:v>43124</c:v>
                </c:pt>
                <c:pt idx="2888">
                  <c:v>43125</c:v>
                </c:pt>
                <c:pt idx="2889">
                  <c:v>43126</c:v>
                </c:pt>
                <c:pt idx="2890">
                  <c:v>43129</c:v>
                </c:pt>
                <c:pt idx="2891">
                  <c:v>43130</c:v>
                </c:pt>
                <c:pt idx="2892">
                  <c:v>43131</c:v>
                </c:pt>
                <c:pt idx="2893">
                  <c:v>43132</c:v>
                </c:pt>
                <c:pt idx="2894">
                  <c:v>43133</c:v>
                </c:pt>
                <c:pt idx="2895">
                  <c:v>43136</c:v>
                </c:pt>
                <c:pt idx="2896">
                  <c:v>43137</c:v>
                </c:pt>
                <c:pt idx="2897">
                  <c:v>43138</c:v>
                </c:pt>
                <c:pt idx="2898">
                  <c:v>43139</c:v>
                </c:pt>
                <c:pt idx="2899">
                  <c:v>43140</c:v>
                </c:pt>
                <c:pt idx="2900">
                  <c:v>43143</c:v>
                </c:pt>
                <c:pt idx="2901">
                  <c:v>43144</c:v>
                </c:pt>
                <c:pt idx="2902">
                  <c:v>43145</c:v>
                </c:pt>
                <c:pt idx="2903">
                  <c:v>43146</c:v>
                </c:pt>
                <c:pt idx="2904">
                  <c:v>43147</c:v>
                </c:pt>
                <c:pt idx="2905">
                  <c:v>43150</c:v>
                </c:pt>
                <c:pt idx="2906">
                  <c:v>43151</c:v>
                </c:pt>
                <c:pt idx="2907">
                  <c:v>43152</c:v>
                </c:pt>
                <c:pt idx="2908">
                  <c:v>43153</c:v>
                </c:pt>
                <c:pt idx="2909">
                  <c:v>43154</c:v>
                </c:pt>
                <c:pt idx="2910">
                  <c:v>43157</c:v>
                </c:pt>
                <c:pt idx="2911">
                  <c:v>43158</c:v>
                </c:pt>
                <c:pt idx="2912">
                  <c:v>43159</c:v>
                </c:pt>
                <c:pt idx="2913">
                  <c:v>43160</c:v>
                </c:pt>
                <c:pt idx="2914">
                  <c:v>43161</c:v>
                </c:pt>
                <c:pt idx="2915">
                  <c:v>43164</c:v>
                </c:pt>
                <c:pt idx="2916">
                  <c:v>43165</c:v>
                </c:pt>
                <c:pt idx="2917">
                  <c:v>43166</c:v>
                </c:pt>
                <c:pt idx="2918">
                  <c:v>43167</c:v>
                </c:pt>
                <c:pt idx="2919">
                  <c:v>43168</c:v>
                </c:pt>
                <c:pt idx="2920">
                  <c:v>43171</c:v>
                </c:pt>
                <c:pt idx="2921">
                  <c:v>43172</c:v>
                </c:pt>
                <c:pt idx="2922">
                  <c:v>43173</c:v>
                </c:pt>
                <c:pt idx="2923">
                  <c:v>43174</c:v>
                </c:pt>
                <c:pt idx="2924">
                  <c:v>43175</c:v>
                </c:pt>
                <c:pt idx="2925">
                  <c:v>43178</c:v>
                </c:pt>
                <c:pt idx="2926">
                  <c:v>43179</c:v>
                </c:pt>
                <c:pt idx="2927">
                  <c:v>43180</c:v>
                </c:pt>
                <c:pt idx="2928">
                  <c:v>43181</c:v>
                </c:pt>
                <c:pt idx="2929">
                  <c:v>43182</c:v>
                </c:pt>
                <c:pt idx="2930">
                  <c:v>43185</c:v>
                </c:pt>
                <c:pt idx="2931">
                  <c:v>43186</c:v>
                </c:pt>
                <c:pt idx="2932">
                  <c:v>43187</c:v>
                </c:pt>
                <c:pt idx="2933">
                  <c:v>43188</c:v>
                </c:pt>
                <c:pt idx="2934">
                  <c:v>43189</c:v>
                </c:pt>
                <c:pt idx="2935">
                  <c:v>43192</c:v>
                </c:pt>
                <c:pt idx="2936">
                  <c:v>43193</c:v>
                </c:pt>
                <c:pt idx="2937">
                  <c:v>43194</c:v>
                </c:pt>
                <c:pt idx="2938">
                  <c:v>43195</c:v>
                </c:pt>
                <c:pt idx="2939">
                  <c:v>43196</c:v>
                </c:pt>
                <c:pt idx="2940">
                  <c:v>43199</c:v>
                </c:pt>
                <c:pt idx="2941">
                  <c:v>43200</c:v>
                </c:pt>
                <c:pt idx="2942">
                  <c:v>43201</c:v>
                </c:pt>
                <c:pt idx="2943">
                  <c:v>43202</c:v>
                </c:pt>
                <c:pt idx="2944">
                  <c:v>43203</c:v>
                </c:pt>
                <c:pt idx="2945">
                  <c:v>43206</c:v>
                </c:pt>
                <c:pt idx="2946">
                  <c:v>43207</c:v>
                </c:pt>
                <c:pt idx="2947">
                  <c:v>43208</c:v>
                </c:pt>
                <c:pt idx="2948">
                  <c:v>43209</c:v>
                </c:pt>
                <c:pt idx="2949">
                  <c:v>43210</c:v>
                </c:pt>
                <c:pt idx="2950">
                  <c:v>43213</c:v>
                </c:pt>
                <c:pt idx="2951">
                  <c:v>43214</c:v>
                </c:pt>
                <c:pt idx="2952">
                  <c:v>43215</c:v>
                </c:pt>
                <c:pt idx="2953">
                  <c:v>43216</c:v>
                </c:pt>
                <c:pt idx="2954">
                  <c:v>43217</c:v>
                </c:pt>
                <c:pt idx="2955">
                  <c:v>43220</c:v>
                </c:pt>
                <c:pt idx="2956">
                  <c:v>43221</c:v>
                </c:pt>
                <c:pt idx="2957">
                  <c:v>43222</c:v>
                </c:pt>
                <c:pt idx="2958">
                  <c:v>43223</c:v>
                </c:pt>
                <c:pt idx="2959">
                  <c:v>43224</c:v>
                </c:pt>
                <c:pt idx="2960">
                  <c:v>43227</c:v>
                </c:pt>
                <c:pt idx="2961">
                  <c:v>43228</c:v>
                </c:pt>
                <c:pt idx="2962">
                  <c:v>43229</c:v>
                </c:pt>
                <c:pt idx="2963">
                  <c:v>43230</c:v>
                </c:pt>
                <c:pt idx="2964">
                  <c:v>43231</c:v>
                </c:pt>
                <c:pt idx="2965">
                  <c:v>43234</c:v>
                </c:pt>
                <c:pt idx="2966">
                  <c:v>43235</c:v>
                </c:pt>
                <c:pt idx="2967">
                  <c:v>43236</c:v>
                </c:pt>
                <c:pt idx="2968">
                  <c:v>43237</c:v>
                </c:pt>
                <c:pt idx="2969">
                  <c:v>43238</c:v>
                </c:pt>
                <c:pt idx="2970">
                  <c:v>43241</c:v>
                </c:pt>
                <c:pt idx="2971">
                  <c:v>43242</c:v>
                </c:pt>
                <c:pt idx="2972">
                  <c:v>43243</c:v>
                </c:pt>
                <c:pt idx="2973">
                  <c:v>43244</c:v>
                </c:pt>
                <c:pt idx="2974">
                  <c:v>43245</c:v>
                </c:pt>
                <c:pt idx="2975">
                  <c:v>43248</c:v>
                </c:pt>
                <c:pt idx="2976">
                  <c:v>43249</c:v>
                </c:pt>
                <c:pt idx="2977">
                  <c:v>43250</c:v>
                </c:pt>
                <c:pt idx="2978">
                  <c:v>43251</c:v>
                </c:pt>
                <c:pt idx="2979">
                  <c:v>43252</c:v>
                </c:pt>
                <c:pt idx="2980">
                  <c:v>43255</c:v>
                </c:pt>
                <c:pt idx="2981">
                  <c:v>43256</c:v>
                </c:pt>
                <c:pt idx="2982">
                  <c:v>43257</c:v>
                </c:pt>
                <c:pt idx="2983">
                  <c:v>43258</c:v>
                </c:pt>
                <c:pt idx="2984">
                  <c:v>43259</c:v>
                </c:pt>
                <c:pt idx="2985">
                  <c:v>43262</c:v>
                </c:pt>
                <c:pt idx="2986">
                  <c:v>43263</c:v>
                </c:pt>
                <c:pt idx="2987">
                  <c:v>43264</c:v>
                </c:pt>
                <c:pt idx="2988">
                  <c:v>43265</c:v>
                </c:pt>
                <c:pt idx="2989">
                  <c:v>43266</c:v>
                </c:pt>
                <c:pt idx="2990">
                  <c:v>43269</c:v>
                </c:pt>
                <c:pt idx="2991">
                  <c:v>43270</c:v>
                </c:pt>
                <c:pt idx="2992">
                  <c:v>43271</c:v>
                </c:pt>
                <c:pt idx="2993">
                  <c:v>43272</c:v>
                </c:pt>
                <c:pt idx="2994">
                  <c:v>43273</c:v>
                </c:pt>
                <c:pt idx="2995">
                  <c:v>43276</c:v>
                </c:pt>
                <c:pt idx="2996">
                  <c:v>43277</c:v>
                </c:pt>
                <c:pt idx="2997">
                  <c:v>43278</c:v>
                </c:pt>
                <c:pt idx="2998">
                  <c:v>43279</c:v>
                </c:pt>
                <c:pt idx="2999">
                  <c:v>43280</c:v>
                </c:pt>
                <c:pt idx="3000">
                  <c:v>43283</c:v>
                </c:pt>
                <c:pt idx="3001">
                  <c:v>43284</c:v>
                </c:pt>
                <c:pt idx="3002">
                  <c:v>43285</c:v>
                </c:pt>
                <c:pt idx="3003">
                  <c:v>43286</c:v>
                </c:pt>
                <c:pt idx="3004">
                  <c:v>43287</c:v>
                </c:pt>
                <c:pt idx="3005">
                  <c:v>43290</c:v>
                </c:pt>
                <c:pt idx="3006">
                  <c:v>43291</c:v>
                </c:pt>
                <c:pt idx="3007">
                  <c:v>43292</c:v>
                </c:pt>
                <c:pt idx="3008">
                  <c:v>43293</c:v>
                </c:pt>
                <c:pt idx="3009">
                  <c:v>43294</c:v>
                </c:pt>
                <c:pt idx="3010">
                  <c:v>43297</c:v>
                </c:pt>
                <c:pt idx="3011">
                  <c:v>43298</c:v>
                </c:pt>
                <c:pt idx="3012">
                  <c:v>43299</c:v>
                </c:pt>
                <c:pt idx="3013">
                  <c:v>43300</c:v>
                </c:pt>
                <c:pt idx="3014">
                  <c:v>43301</c:v>
                </c:pt>
                <c:pt idx="3015">
                  <c:v>43304</c:v>
                </c:pt>
                <c:pt idx="3016">
                  <c:v>43305</c:v>
                </c:pt>
                <c:pt idx="3017">
                  <c:v>43306</c:v>
                </c:pt>
                <c:pt idx="3018">
                  <c:v>43307</c:v>
                </c:pt>
                <c:pt idx="3019">
                  <c:v>43308</c:v>
                </c:pt>
                <c:pt idx="3020">
                  <c:v>43311</c:v>
                </c:pt>
                <c:pt idx="3021">
                  <c:v>43312</c:v>
                </c:pt>
                <c:pt idx="3022">
                  <c:v>43313</c:v>
                </c:pt>
                <c:pt idx="3023">
                  <c:v>43314</c:v>
                </c:pt>
                <c:pt idx="3024">
                  <c:v>43315</c:v>
                </c:pt>
                <c:pt idx="3025">
                  <c:v>43318</c:v>
                </c:pt>
                <c:pt idx="3026">
                  <c:v>43319</c:v>
                </c:pt>
                <c:pt idx="3027">
                  <c:v>43320</c:v>
                </c:pt>
                <c:pt idx="3028">
                  <c:v>43321</c:v>
                </c:pt>
                <c:pt idx="3029">
                  <c:v>43322</c:v>
                </c:pt>
                <c:pt idx="3030">
                  <c:v>43325</c:v>
                </c:pt>
                <c:pt idx="3031">
                  <c:v>43326</c:v>
                </c:pt>
                <c:pt idx="3032">
                  <c:v>43327</c:v>
                </c:pt>
                <c:pt idx="3033">
                  <c:v>43328</c:v>
                </c:pt>
                <c:pt idx="3034">
                  <c:v>43329</c:v>
                </c:pt>
                <c:pt idx="3035">
                  <c:v>43332</c:v>
                </c:pt>
                <c:pt idx="3036">
                  <c:v>43333</c:v>
                </c:pt>
                <c:pt idx="3037">
                  <c:v>43334</c:v>
                </c:pt>
                <c:pt idx="3038">
                  <c:v>43335</c:v>
                </c:pt>
                <c:pt idx="3039">
                  <c:v>43336</c:v>
                </c:pt>
                <c:pt idx="3040">
                  <c:v>43339</c:v>
                </c:pt>
                <c:pt idx="3041">
                  <c:v>43340</c:v>
                </c:pt>
                <c:pt idx="3042">
                  <c:v>43341</c:v>
                </c:pt>
                <c:pt idx="3043">
                  <c:v>43342</c:v>
                </c:pt>
                <c:pt idx="3044">
                  <c:v>43343</c:v>
                </c:pt>
                <c:pt idx="3045">
                  <c:v>43346</c:v>
                </c:pt>
                <c:pt idx="3046">
                  <c:v>43347</c:v>
                </c:pt>
                <c:pt idx="3047">
                  <c:v>43348</c:v>
                </c:pt>
                <c:pt idx="3048">
                  <c:v>43349</c:v>
                </c:pt>
                <c:pt idx="3049">
                  <c:v>43350</c:v>
                </c:pt>
                <c:pt idx="3050">
                  <c:v>43353</c:v>
                </c:pt>
                <c:pt idx="3051">
                  <c:v>43354</c:v>
                </c:pt>
                <c:pt idx="3052">
                  <c:v>43355</c:v>
                </c:pt>
                <c:pt idx="3053">
                  <c:v>43356</c:v>
                </c:pt>
                <c:pt idx="3054">
                  <c:v>43357</c:v>
                </c:pt>
                <c:pt idx="3055">
                  <c:v>43360</c:v>
                </c:pt>
                <c:pt idx="3056">
                  <c:v>43361</c:v>
                </c:pt>
                <c:pt idx="3057">
                  <c:v>43362</c:v>
                </c:pt>
                <c:pt idx="3058">
                  <c:v>43363</c:v>
                </c:pt>
                <c:pt idx="3059">
                  <c:v>43364</c:v>
                </c:pt>
                <c:pt idx="3060">
                  <c:v>43367</c:v>
                </c:pt>
                <c:pt idx="3061">
                  <c:v>43368</c:v>
                </c:pt>
                <c:pt idx="3062">
                  <c:v>43369</c:v>
                </c:pt>
                <c:pt idx="3063">
                  <c:v>43370</c:v>
                </c:pt>
                <c:pt idx="3064">
                  <c:v>43371</c:v>
                </c:pt>
                <c:pt idx="3065">
                  <c:v>43374</c:v>
                </c:pt>
                <c:pt idx="3066">
                  <c:v>43375</c:v>
                </c:pt>
                <c:pt idx="3067">
                  <c:v>43376</c:v>
                </c:pt>
                <c:pt idx="3068">
                  <c:v>43377</c:v>
                </c:pt>
                <c:pt idx="3069">
                  <c:v>43378</c:v>
                </c:pt>
                <c:pt idx="3070">
                  <c:v>43381</c:v>
                </c:pt>
                <c:pt idx="3071">
                  <c:v>43382</c:v>
                </c:pt>
                <c:pt idx="3072">
                  <c:v>43383</c:v>
                </c:pt>
                <c:pt idx="3073">
                  <c:v>43384</c:v>
                </c:pt>
                <c:pt idx="3074">
                  <c:v>43385</c:v>
                </c:pt>
                <c:pt idx="3075">
                  <c:v>43388</c:v>
                </c:pt>
                <c:pt idx="3076">
                  <c:v>43389</c:v>
                </c:pt>
                <c:pt idx="3077">
                  <c:v>43390</c:v>
                </c:pt>
                <c:pt idx="3078">
                  <c:v>43391</c:v>
                </c:pt>
                <c:pt idx="3079">
                  <c:v>43392</c:v>
                </c:pt>
                <c:pt idx="3080">
                  <c:v>43395</c:v>
                </c:pt>
                <c:pt idx="3081">
                  <c:v>43396</c:v>
                </c:pt>
                <c:pt idx="3082">
                  <c:v>43397</c:v>
                </c:pt>
                <c:pt idx="3083">
                  <c:v>43398</c:v>
                </c:pt>
                <c:pt idx="3084">
                  <c:v>43399</c:v>
                </c:pt>
                <c:pt idx="3085">
                  <c:v>43402</c:v>
                </c:pt>
                <c:pt idx="3086">
                  <c:v>43403</c:v>
                </c:pt>
                <c:pt idx="3087">
                  <c:v>43404</c:v>
                </c:pt>
                <c:pt idx="3088">
                  <c:v>43405</c:v>
                </c:pt>
                <c:pt idx="3089">
                  <c:v>43406</c:v>
                </c:pt>
                <c:pt idx="3090">
                  <c:v>43409</c:v>
                </c:pt>
                <c:pt idx="3091">
                  <c:v>43410</c:v>
                </c:pt>
                <c:pt idx="3092">
                  <c:v>43411</c:v>
                </c:pt>
                <c:pt idx="3093">
                  <c:v>43412</c:v>
                </c:pt>
                <c:pt idx="3094">
                  <c:v>43413</c:v>
                </c:pt>
                <c:pt idx="3095">
                  <c:v>43416</c:v>
                </c:pt>
                <c:pt idx="3096">
                  <c:v>43417</c:v>
                </c:pt>
                <c:pt idx="3097">
                  <c:v>43418</c:v>
                </c:pt>
                <c:pt idx="3098">
                  <c:v>43419</c:v>
                </c:pt>
                <c:pt idx="3099">
                  <c:v>43420</c:v>
                </c:pt>
                <c:pt idx="3100">
                  <c:v>43423</c:v>
                </c:pt>
                <c:pt idx="3101">
                  <c:v>43424</c:v>
                </c:pt>
                <c:pt idx="3102">
                  <c:v>43425</c:v>
                </c:pt>
                <c:pt idx="3103">
                  <c:v>43426</c:v>
                </c:pt>
                <c:pt idx="3104">
                  <c:v>43427</c:v>
                </c:pt>
                <c:pt idx="3105">
                  <c:v>43430</c:v>
                </c:pt>
                <c:pt idx="3106">
                  <c:v>43431</c:v>
                </c:pt>
                <c:pt idx="3107">
                  <c:v>43432</c:v>
                </c:pt>
                <c:pt idx="3108">
                  <c:v>43433</c:v>
                </c:pt>
                <c:pt idx="3109">
                  <c:v>43434</c:v>
                </c:pt>
                <c:pt idx="3110">
                  <c:v>43437</c:v>
                </c:pt>
                <c:pt idx="3111">
                  <c:v>43438</c:v>
                </c:pt>
                <c:pt idx="3112">
                  <c:v>43439</c:v>
                </c:pt>
                <c:pt idx="3113">
                  <c:v>43440</c:v>
                </c:pt>
                <c:pt idx="3114">
                  <c:v>43441</c:v>
                </c:pt>
                <c:pt idx="3115">
                  <c:v>43444</c:v>
                </c:pt>
                <c:pt idx="3116">
                  <c:v>43445</c:v>
                </c:pt>
                <c:pt idx="3117">
                  <c:v>43446</c:v>
                </c:pt>
                <c:pt idx="3118">
                  <c:v>43447</c:v>
                </c:pt>
                <c:pt idx="3119">
                  <c:v>43448</c:v>
                </c:pt>
                <c:pt idx="3120">
                  <c:v>43451</c:v>
                </c:pt>
                <c:pt idx="3121">
                  <c:v>43452</c:v>
                </c:pt>
                <c:pt idx="3122">
                  <c:v>43453</c:v>
                </c:pt>
                <c:pt idx="3123">
                  <c:v>43454</c:v>
                </c:pt>
                <c:pt idx="3124">
                  <c:v>43455</c:v>
                </c:pt>
                <c:pt idx="3125">
                  <c:v>43458</c:v>
                </c:pt>
                <c:pt idx="3126">
                  <c:v>43459</c:v>
                </c:pt>
                <c:pt idx="3127">
                  <c:v>43460</c:v>
                </c:pt>
                <c:pt idx="3128">
                  <c:v>43461</c:v>
                </c:pt>
                <c:pt idx="3129">
                  <c:v>43462</c:v>
                </c:pt>
                <c:pt idx="3130">
                  <c:v>43465</c:v>
                </c:pt>
                <c:pt idx="3131">
                  <c:v>43466</c:v>
                </c:pt>
                <c:pt idx="3132">
                  <c:v>43467</c:v>
                </c:pt>
                <c:pt idx="3133">
                  <c:v>43468</c:v>
                </c:pt>
                <c:pt idx="3134">
                  <c:v>43469</c:v>
                </c:pt>
                <c:pt idx="3135">
                  <c:v>43472</c:v>
                </c:pt>
                <c:pt idx="3136">
                  <c:v>43473</c:v>
                </c:pt>
                <c:pt idx="3137">
                  <c:v>43474</c:v>
                </c:pt>
                <c:pt idx="3138">
                  <c:v>43475</c:v>
                </c:pt>
                <c:pt idx="3139">
                  <c:v>43476</c:v>
                </c:pt>
                <c:pt idx="3140">
                  <c:v>43479</c:v>
                </c:pt>
                <c:pt idx="3141">
                  <c:v>43480</c:v>
                </c:pt>
                <c:pt idx="3142">
                  <c:v>43481</c:v>
                </c:pt>
                <c:pt idx="3143">
                  <c:v>43482</c:v>
                </c:pt>
                <c:pt idx="3144">
                  <c:v>43483</c:v>
                </c:pt>
                <c:pt idx="3145">
                  <c:v>43486</c:v>
                </c:pt>
                <c:pt idx="3146">
                  <c:v>43487</c:v>
                </c:pt>
                <c:pt idx="3147">
                  <c:v>43488</c:v>
                </c:pt>
                <c:pt idx="3148">
                  <c:v>43489</c:v>
                </c:pt>
                <c:pt idx="3149">
                  <c:v>43490</c:v>
                </c:pt>
                <c:pt idx="3150">
                  <c:v>43493</c:v>
                </c:pt>
                <c:pt idx="3151">
                  <c:v>43494</c:v>
                </c:pt>
                <c:pt idx="3152">
                  <c:v>43495</c:v>
                </c:pt>
                <c:pt idx="3153">
                  <c:v>43496</c:v>
                </c:pt>
                <c:pt idx="3154">
                  <c:v>43497</c:v>
                </c:pt>
                <c:pt idx="3155">
                  <c:v>43500</c:v>
                </c:pt>
                <c:pt idx="3156">
                  <c:v>43501</c:v>
                </c:pt>
                <c:pt idx="3157">
                  <c:v>43502</c:v>
                </c:pt>
                <c:pt idx="3158">
                  <c:v>43503</c:v>
                </c:pt>
                <c:pt idx="3159">
                  <c:v>43504</c:v>
                </c:pt>
                <c:pt idx="3160">
                  <c:v>43507</c:v>
                </c:pt>
                <c:pt idx="3161">
                  <c:v>43508</c:v>
                </c:pt>
                <c:pt idx="3162">
                  <c:v>43509</c:v>
                </c:pt>
                <c:pt idx="3163">
                  <c:v>43510</c:v>
                </c:pt>
                <c:pt idx="3164">
                  <c:v>43511</c:v>
                </c:pt>
                <c:pt idx="3165">
                  <c:v>43514</c:v>
                </c:pt>
                <c:pt idx="3166">
                  <c:v>43515</c:v>
                </c:pt>
                <c:pt idx="3167">
                  <c:v>43516</c:v>
                </c:pt>
                <c:pt idx="3168">
                  <c:v>43517</c:v>
                </c:pt>
                <c:pt idx="3169">
                  <c:v>43518</c:v>
                </c:pt>
                <c:pt idx="3170">
                  <c:v>43521</c:v>
                </c:pt>
                <c:pt idx="3171">
                  <c:v>43522</c:v>
                </c:pt>
                <c:pt idx="3172">
                  <c:v>43523</c:v>
                </c:pt>
                <c:pt idx="3173">
                  <c:v>43524</c:v>
                </c:pt>
                <c:pt idx="3174">
                  <c:v>43525</c:v>
                </c:pt>
                <c:pt idx="3175">
                  <c:v>43528</c:v>
                </c:pt>
                <c:pt idx="3176">
                  <c:v>43529</c:v>
                </c:pt>
                <c:pt idx="3177">
                  <c:v>43530</c:v>
                </c:pt>
                <c:pt idx="3178">
                  <c:v>43531</c:v>
                </c:pt>
                <c:pt idx="3179">
                  <c:v>43532</c:v>
                </c:pt>
                <c:pt idx="3180">
                  <c:v>43535</c:v>
                </c:pt>
                <c:pt idx="3181">
                  <c:v>43536</c:v>
                </c:pt>
                <c:pt idx="3182">
                  <c:v>43537</c:v>
                </c:pt>
                <c:pt idx="3183">
                  <c:v>43538</c:v>
                </c:pt>
                <c:pt idx="3184">
                  <c:v>43539</c:v>
                </c:pt>
                <c:pt idx="3185">
                  <c:v>43542</c:v>
                </c:pt>
                <c:pt idx="3186">
                  <c:v>43543</c:v>
                </c:pt>
                <c:pt idx="3187">
                  <c:v>43544</c:v>
                </c:pt>
                <c:pt idx="3188">
                  <c:v>43545</c:v>
                </c:pt>
                <c:pt idx="3189">
                  <c:v>43546</c:v>
                </c:pt>
                <c:pt idx="3190">
                  <c:v>43549</c:v>
                </c:pt>
                <c:pt idx="3191">
                  <c:v>43550</c:v>
                </c:pt>
                <c:pt idx="3192">
                  <c:v>43551</c:v>
                </c:pt>
                <c:pt idx="3193">
                  <c:v>43552</c:v>
                </c:pt>
                <c:pt idx="3194">
                  <c:v>43553</c:v>
                </c:pt>
                <c:pt idx="3195">
                  <c:v>43556</c:v>
                </c:pt>
                <c:pt idx="3196">
                  <c:v>43557</c:v>
                </c:pt>
                <c:pt idx="3197">
                  <c:v>43558</c:v>
                </c:pt>
                <c:pt idx="3198">
                  <c:v>43559</c:v>
                </c:pt>
                <c:pt idx="3199">
                  <c:v>43560</c:v>
                </c:pt>
                <c:pt idx="3200">
                  <c:v>43563</c:v>
                </c:pt>
                <c:pt idx="3201">
                  <c:v>43564</c:v>
                </c:pt>
                <c:pt idx="3202">
                  <c:v>43565</c:v>
                </c:pt>
                <c:pt idx="3203">
                  <c:v>43566</c:v>
                </c:pt>
                <c:pt idx="3204">
                  <c:v>43567</c:v>
                </c:pt>
                <c:pt idx="3205">
                  <c:v>43570</c:v>
                </c:pt>
                <c:pt idx="3206">
                  <c:v>43571</c:v>
                </c:pt>
                <c:pt idx="3207">
                  <c:v>43572</c:v>
                </c:pt>
                <c:pt idx="3208">
                  <c:v>43573</c:v>
                </c:pt>
                <c:pt idx="3209">
                  <c:v>43574</c:v>
                </c:pt>
                <c:pt idx="3210">
                  <c:v>43577</c:v>
                </c:pt>
                <c:pt idx="3211">
                  <c:v>43578</c:v>
                </c:pt>
                <c:pt idx="3212">
                  <c:v>43579</c:v>
                </c:pt>
                <c:pt idx="3213">
                  <c:v>43580</c:v>
                </c:pt>
                <c:pt idx="3214">
                  <c:v>43581</c:v>
                </c:pt>
                <c:pt idx="3215">
                  <c:v>43584</c:v>
                </c:pt>
                <c:pt idx="3216">
                  <c:v>43585</c:v>
                </c:pt>
                <c:pt idx="3217">
                  <c:v>43586</c:v>
                </c:pt>
                <c:pt idx="3218">
                  <c:v>43587</c:v>
                </c:pt>
                <c:pt idx="3219">
                  <c:v>43588</c:v>
                </c:pt>
                <c:pt idx="3220">
                  <c:v>43591</c:v>
                </c:pt>
                <c:pt idx="3221">
                  <c:v>43592</c:v>
                </c:pt>
                <c:pt idx="3222">
                  <c:v>43593</c:v>
                </c:pt>
                <c:pt idx="3223">
                  <c:v>43594</c:v>
                </c:pt>
                <c:pt idx="3224">
                  <c:v>43595</c:v>
                </c:pt>
                <c:pt idx="3225">
                  <c:v>43598</c:v>
                </c:pt>
                <c:pt idx="3226">
                  <c:v>43599</c:v>
                </c:pt>
                <c:pt idx="3227">
                  <c:v>43600</c:v>
                </c:pt>
                <c:pt idx="3228">
                  <c:v>43601</c:v>
                </c:pt>
                <c:pt idx="3229">
                  <c:v>43602</c:v>
                </c:pt>
                <c:pt idx="3230">
                  <c:v>43605</c:v>
                </c:pt>
                <c:pt idx="3231">
                  <c:v>43606</c:v>
                </c:pt>
                <c:pt idx="3232">
                  <c:v>43607</c:v>
                </c:pt>
                <c:pt idx="3233">
                  <c:v>43608</c:v>
                </c:pt>
                <c:pt idx="3234">
                  <c:v>43609</c:v>
                </c:pt>
                <c:pt idx="3235">
                  <c:v>43612</c:v>
                </c:pt>
                <c:pt idx="3236">
                  <c:v>43613</c:v>
                </c:pt>
                <c:pt idx="3237">
                  <c:v>43614</c:v>
                </c:pt>
                <c:pt idx="3238">
                  <c:v>43615</c:v>
                </c:pt>
                <c:pt idx="3239">
                  <c:v>43616</c:v>
                </c:pt>
                <c:pt idx="3240">
                  <c:v>43619</c:v>
                </c:pt>
                <c:pt idx="3241">
                  <c:v>43620</c:v>
                </c:pt>
                <c:pt idx="3242">
                  <c:v>43621</c:v>
                </c:pt>
                <c:pt idx="3243">
                  <c:v>43622</c:v>
                </c:pt>
                <c:pt idx="3244">
                  <c:v>43623</c:v>
                </c:pt>
                <c:pt idx="3245">
                  <c:v>43626</c:v>
                </c:pt>
                <c:pt idx="3246">
                  <c:v>43627</c:v>
                </c:pt>
                <c:pt idx="3247">
                  <c:v>43628</c:v>
                </c:pt>
                <c:pt idx="3248">
                  <c:v>43629</c:v>
                </c:pt>
                <c:pt idx="3249">
                  <c:v>43630</c:v>
                </c:pt>
                <c:pt idx="3250">
                  <c:v>43633</c:v>
                </c:pt>
                <c:pt idx="3251">
                  <c:v>43634</c:v>
                </c:pt>
                <c:pt idx="3252">
                  <c:v>43635</c:v>
                </c:pt>
                <c:pt idx="3253">
                  <c:v>43636</c:v>
                </c:pt>
                <c:pt idx="3254">
                  <c:v>43637</c:v>
                </c:pt>
                <c:pt idx="3255">
                  <c:v>43640</c:v>
                </c:pt>
                <c:pt idx="3256">
                  <c:v>43641</c:v>
                </c:pt>
                <c:pt idx="3257">
                  <c:v>43642</c:v>
                </c:pt>
                <c:pt idx="3258">
                  <c:v>43643</c:v>
                </c:pt>
                <c:pt idx="3259">
                  <c:v>43644</c:v>
                </c:pt>
                <c:pt idx="3260">
                  <c:v>43647</c:v>
                </c:pt>
                <c:pt idx="3261">
                  <c:v>43648</c:v>
                </c:pt>
                <c:pt idx="3262">
                  <c:v>43649</c:v>
                </c:pt>
                <c:pt idx="3263">
                  <c:v>43650</c:v>
                </c:pt>
                <c:pt idx="3264">
                  <c:v>43651</c:v>
                </c:pt>
                <c:pt idx="3265">
                  <c:v>43654</c:v>
                </c:pt>
                <c:pt idx="3266">
                  <c:v>43655</c:v>
                </c:pt>
                <c:pt idx="3267">
                  <c:v>43656</c:v>
                </c:pt>
                <c:pt idx="3268">
                  <c:v>43657</c:v>
                </c:pt>
                <c:pt idx="3269">
                  <c:v>43658</c:v>
                </c:pt>
                <c:pt idx="3270">
                  <c:v>43661</c:v>
                </c:pt>
                <c:pt idx="3271">
                  <c:v>43662</c:v>
                </c:pt>
                <c:pt idx="3272">
                  <c:v>43663</c:v>
                </c:pt>
                <c:pt idx="3273">
                  <c:v>43664</c:v>
                </c:pt>
                <c:pt idx="3274">
                  <c:v>43665</c:v>
                </c:pt>
                <c:pt idx="3275">
                  <c:v>43668</c:v>
                </c:pt>
                <c:pt idx="3276">
                  <c:v>43669</c:v>
                </c:pt>
                <c:pt idx="3277">
                  <c:v>43670</c:v>
                </c:pt>
                <c:pt idx="3278">
                  <c:v>43671</c:v>
                </c:pt>
                <c:pt idx="3279">
                  <c:v>43672</c:v>
                </c:pt>
                <c:pt idx="3280">
                  <c:v>43675</c:v>
                </c:pt>
                <c:pt idx="3281">
                  <c:v>43676</c:v>
                </c:pt>
                <c:pt idx="3282">
                  <c:v>43677</c:v>
                </c:pt>
                <c:pt idx="3283">
                  <c:v>43678</c:v>
                </c:pt>
                <c:pt idx="3284">
                  <c:v>43679</c:v>
                </c:pt>
                <c:pt idx="3285">
                  <c:v>43682</c:v>
                </c:pt>
                <c:pt idx="3286">
                  <c:v>43683</c:v>
                </c:pt>
                <c:pt idx="3287">
                  <c:v>43684</c:v>
                </c:pt>
                <c:pt idx="3288">
                  <c:v>43685</c:v>
                </c:pt>
                <c:pt idx="3289">
                  <c:v>43686</c:v>
                </c:pt>
                <c:pt idx="3290">
                  <c:v>43689</c:v>
                </c:pt>
                <c:pt idx="3291">
                  <c:v>43690</c:v>
                </c:pt>
                <c:pt idx="3292">
                  <c:v>43691</c:v>
                </c:pt>
                <c:pt idx="3293">
                  <c:v>43692</c:v>
                </c:pt>
                <c:pt idx="3294">
                  <c:v>43693</c:v>
                </c:pt>
                <c:pt idx="3295">
                  <c:v>43696</c:v>
                </c:pt>
                <c:pt idx="3296">
                  <c:v>43697</c:v>
                </c:pt>
                <c:pt idx="3297">
                  <c:v>43698</c:v>
                </c:pt>
                <c:pt idx="3298">
                  <c:v>43699</c:v>
                </c:pt>
                <c:pt idx="3299">
                  <c:v>43700</c:v>
                </c:pt>
                <c:pt idx="3300">
                  <c:v>43703</c:v>
                </c:pt>
                <c:pt idx="3301">
                  <c:v>43704</c:v>
                </c:pt>
                <c:pt idx="3302">
                  <c:v>43705</c:v>
                </c:pt>
                <c:pt idx="3303">
                  <c:v>43706</c:v>
                </c:pt>
                <c:pt idx="3304">
                  <c:v>43707</c:v>
                </c:pt>
                <c:pt idx="3305">
                  <c:v>43710</c:v>
                </c:pt>
                <c:pt idx="3306">
                  <c:v>43711</c:v>
                </c:pt>
                <c:pt idx="3307">
                  <c:v>43712</c:v>
                </c:pt>
                <c:pt idx="3308">
                  <c:v>43713</c:v>
                </c:pt>
                <c:pt idx="3309">
                  <c:v>43714</c:v>
                </c:pt>
                <c:pt idx="3310">
                  <c:v>43717</c:v>
                </c:pt>
                <c:pt idx="3311">
                  <c:v>43718</c:v>
                </c:pt>
                <c:pt idx="3312">
                  <c:v>43719</c:v>
                </c:pt>
                <c:pt idx="3313">
                  <c:v>43720</c:v>
                </c:pt>
                <c:pt idx="3314">
                  <c:v>43721</c:v>
                </c:pt>
                <c:pt idx="3315">
                  <c:v>43724</c:v>
                </c:pt>
                <c:pt idx="3316">
                  <c:v>43725</c:v>
                </c:pt>
                <c:pt idx="3317">
                  <c:v>43726</c:v>
                </c:pt>
                <c:pt idx="3318">
                  <c:v>43727</c:v>
                </c:pt>
                <c:pt idx="3319">
                  <c:v>43728</c:v>
                </c:pt>
                <c:pt idx="3320">
                  <c:v>43731</c:v>
                </c:pt>
                <c:pt idx="3321">
                  <c:v>43732</c:v>
                </c:pt>
                <c:pt idx="3322">
                  <c:v>43733</c:v>
                </c:pt>
                <c:pt idx="3323">
                  <c:v>43734</c:v>
                </c:pt>
                <c:pt idx="3324">
                  <c:v>43735</c:v>
                </c:pt>
                <c:pt idx="3325">
                  <c:v>43738</c:v>
                </c:pt>
                <c:pt idx="3326">
                  <c:v>43739</c:v>
                </c:pt>
                <c:pt idx="3327">
                  <c:v>43740</c:v>
                </c:pt>
                <c:pt idx="3328">
                  <c:v>43741</c:v>
                </c:pt>
                <c:pt idx="3329">
                  <c:v>43742</c:v>
                </c:pt>
                <c:pt idx="3330">
                  <c:v>43745</c:v>
                </c:pt>
                <c:pt idx="3331">
                  <c:v>43746</c:v>
                </c:pt>
                <c:pt idx="3332">
                  <c:v>43747</c:v>
                </c:pt>
                <c:pt idx="3333">
                  <c:v>43748</c:v>
                </c:pt>
                <c:pt idx="3334">
                  <c:v>43749</c:v>
                </c:pt>
                <c:pt idx="3335">
                  <c:v>43752</c:v>
                </c:pt>
                <c:pt idx="3336">
                  <c:v>43753</c:v>
                </c:pt>
                <c:pt idx="3337">
                  <c:v>43754</c:v>
                </c:pt>
                <c:pt idx="3338">
                  <c:v>43755</c:v>
                </c:pt>
                <c:pt idx="3339">
                  <c:v>43756</c:v>
                </c:pt>
                <c:pt idx="3340">
                  <c:v>43759</c:v>
                </c:pt>
                <c:pt idx="3341">
                  <c:v>43760</c:v>
                </c:pt>
                <c:pt idx="3342">
                  <c:v>43761</c:v>
                </c:pt>
                <c:pt idx="3343">
                  <c:v>43762</c:v>
                </c:pt>
                <c:pt idx="3344">
                  <c:v>43763</c:v>
                </c:pt>
                <c:pt idx="3345">
                  <c:v>43766</c:v>
                </c:pt>
                <c:pt idx="3346">
                  <c:v>43767</c:v>
                </c:pt>
                <c:pt idx="3347">
                  <c:v>43768</c:v>
                </c:pt>
                <c:pt idx="3348">
                  <c:v>43769</c:v>
                </c:pt>
                <c:pt idx="3349">
                  <c:v>43770</c:v>
                </c:pt>
                <c:pt idx="3350">
                  <c:v>43773</c:v>
                </c:pt>
                <c:pt idx="3351">
                  <c:v>43774</c:v>
                </c:pt>
                <c:pt idx="3352">
                  <c:v>43775</c:v>
                </c:pt>
                <c:pt idx="3353">
                  <c:v>43776</c:v>
                </c:pt>
                <c:pt idx="3354">
                  <c:v>43777</c:v>
                </c:pt>
                <c:pt idx="3355">
                  <c:v>43780</c:v>
                </c:pt>
                <c:pt idx="3356">
                  <c:v>43781</c:v>
                </c:pt>
                <c:pt idx="3357">
                  <c:v>43782</c:v>
                </c:pt>
                <c:pt idx="3358">
                  <c:v>43783</c:v>
                </c:pt>
                <c:pt idx="3359">
                  <c:v>43784</c:v>
                </c:pt>
                <c:pt idx="3360">
                  <c:v>43787</c:v>
                </c:pt>
                <c:pt idx="3361">
                  <c:v>43788</c:v>
                </c:pt>
                <c:pt idx="3362">
                  <c:v>43789</c:v>
                </c:pt>
                <c:pt idx="3363">
                  <c:v>43790</c:v>
                </c:pt>
                <c:pt idx="3364">
                  <c:v>43791</c:v>
                </c:pt>
                <c:pt idx="3365">
                  <c:v>43794</c:v>
                </c:pt>
                <c:pt idx="3366">
                  <c:v>43795</c:v>
                </c:pt>
                <c:pt idx="3367">
                  <c:v>43796</c:v>
                </c:pt>
                <c:pt idx="3368">
                  <c:v>43797</c:v>
                </c:pt>
                <c:pt idx="3369">
                  <c:v>43798</c:v>
                </c:pt>
                <c:pt idx="3370">
                  <c:v>43801</c:v>
                </c:pt>
                <c:pt idx="3371">
                  <c:v>43802</c:v>
                </c:pt>
                <c:pt idx="3372">
                  <c:v>43803</c:v>
                </c:pt>
                <c:pt idx="3373">
                  <c:v>43804</c:v>
                </c:pt>
                <c:pt idx="3374">
                  <c:v>43805</c:v>
                </c:pt>
                <c:pt idx="3375">
                  <c:v>43808</c:v>
                </c:pt>
                <c:pt idx="3376">
                  <c:v>43809</c:v>
                </c:pt>
                <c:pt idx="3377">
                  <c:v>43810</c:v>
                </c:pt>
                <c:pt idx="3378">
                  <c:v>43811</c:v>
                </c:pt>
                <c:pt idx="3379">
                  <c:v>43812</c:v>
                </c:pt>
                <c:pt idx="3380">
                  <c:v>43815</c:v>
                </c:pt>
                <c:pt idx="3381">
                  <c:v>43816</c:v>
                </c:pt>
                <c:pt idx="3382">
                  <c:v>43817</c:v>
                </c:pt>
                <c:pt idx="3383">
                  <c:v>43818</c:v>
                </c:pt>
                <c:pt idx="3384">
                  <c:v>43819</c:v>
                </c:pt>
                <c:pt idx="3385">
                  <c:v>43822</c:v>
                </c:pt>
                <c:pt idx="3386">
                  <c:v>43823</c:v>
                </c:pt>
                <c:pt idx="3387">
                  <c:v>43824</c:v>
                </c:pt>
                <c:pt idx="3388">
                  <c:v>43825</c:v>
                </c:pt>
                <c:pt idx="3389">
                  <c:v>43826</c:v>
                </c:pt>
                <c:pt idx="3390">
                  <c:v>43829</c:v>
                </c:pt>
                <c:pt idx="3391">
                  <c:v>43830</c:v>
                </c:pt>
                <c:pt idx="3392">
                  <c:v>43831</c:v>
                </c:pt>
                <c:pt idx="3393">
                  <c:v>43832</c:v>
                </c:pt>
                <c:pt idx="3394">
                  <c:v>43833</c:v>
                </c:pt>
                <c:pt idx="3395">
                  <c:v>43836</c:v>
                </c:pt>
                <c:pt idx="3396">
                  <c:v>43837</c:v>
                </c:pt>
                <c:pt idx="3397">
                  <c:v>43838</c:v>
                </c:pt>
                <c:pt idx="3398">
                  <c:v>43839</c:v>
                </c:pt>
                <c:pt idx="3399">
                  <c:v>43840</c:v>
                </c:pt>
                <c:pt idx="3400">
                  <c:v>43843</c:v>
                </c:pt>
                <c:pt idx="3401">
                  <c:v>43844</c:v>
                </c:pt>
                <c:pt idx="3402">
                  <c:v>43845</c:v>
                </c:pt>
                <c:pt idx="3403">
                  <c:v>43846</c:v>
                </c:pt>
                <c:pt idx="3404">
                  <c:v>43847</c:v>
                </c:pt>
                <c:pt idx="3405">
                  <c:v>43850</c:v>
                </c:pt>
                <c:pt idx="3406">
                  <c:v>43851</c:v>
                </c:pt>
                <c:pt idx="3407">
                  <c:v>43852</c:v>
                </c:pt>
                <c:pt idx="3408">
                  <c:v>43853</c:v>
                </c:pt>
                <c:pt idx="3409">
                  <c:v>43854</c:v>
                </c:pt>
                <c:pt idx="3410">
                  <c:v>43857</c:v>
                </c:pt>
                <c:pt idx="3411">
                  <c:v>43858</c:v>
                </c:pt>
                <c:pt idx="3412">
                  <c:v>43859</c:v>
                </c:pt>
                <c:pt idx="3413">
                  <c:v>43860</c:v>
                </c:pt>
                <c:pt idx="3414">
                  <c:v>43861</c:v>
                </c:pt>
                <c:pt idx="3415">
                  <c:v>43864</c:v>
                </c:pt>
                <c:pt idx="3416">
                  <c:v>43865</c:v>
                </c:pt>
                <c:pt idx="3417">
                  <c:v>43866</c:v>
                </c:pt>
                <c:pt idx="3418">
                  <c:v>43867</c:v>
                </c:pt>
                <c:pt idx="3419">
                  <c:v>43868</c:v>
                </c:pt>
                <c:pt idx="3420">
                  <c:v>43871</c:v>
                </c:pt>
                <c:pt idx="3421">
                  <c:v>43872</c:v>
                </c:pt>
                <c:pt idx="3422">
                  <c:v>43873</c:v>
                </c:pt>
                <c:pt idx="3423">
                  <c:v>43874</c:v>
                </c:pt>
                <c:pt idx="3424">
                  <c:v>43875</c:v>
                </c:pt>
                <c:pt idx="3425">
                  <c:v>43878</c:v>
                </c:pt>
                <c:pt idx="3426">
                  <c:v>43879</c:v>
                </c:pt>
                <c:pt idx="3427">
                  <c:v>43880</c:v>
                </c:pt>
                <c:pt idx="3428">
                  <c:v>43881</c:v>
                </c:pt>
                <c:pt idx="3429">
                  <c:v>43882</c:v>
                </c:pt>
                <c:pt idx="3430">
                  <c:v>43885</c:v>
                </c:pt>
                <c:pt idx="3431">
                  <c:v>43886</c:v>
                </c:pt>
                <c:pt idx="3432">
                  <c:v>43887</c:v>
                </c:pt>
                <c:pt idx="3433">
                  <c:v>43888</c:v>
                </c:pt>
                <c:pt idx="3434">
                  <c:v>43889</c:v>
                </c:pt>
                <c:pt idx="3435">
                  <c:v>43892</c:v>
                </c:pt>
                <c:pt idx="3436">
                  <c:v>43893</c:v>
                </c:pt>
                <c:pt idx="3437">
                  <c:v>43894</c:v>
                </c:pt>
                <c:pt idx="3438">
                  <c:v>43895</c:v>
                </c:pt>
                <c:pt idx="3439">
                  <c:v>43896</c:v>
                </c:pt>
                <c:pt idx="3440">
                  <c:v>43899</c:v>
                </c:pt>
                <c:pt idx="3441">
                  <c:v>43900</c:v>
                </c:pt>
                <c:pt idx="3442">
                  <c:v>43901</c:v>
                </c:pt>
                <c:pt idx="3443">
                  <c:v>43902</c:v>
                </c:pt>
                <c:pt idx="3444">
                  <c:v>43903</c:v>
                </c:pt>
                <c:pt idx="3445">
                  <c:v>43906</c:v>
                </c:pt>
                <c:pt idx="3446">
                  <c:v>43907</c:v>
                </c:pt>
                <c:pt idx="3447">
                  <c:v>43908</c:v>
                </c:pt>
                <c:pt idx="3448">
                  <c:v>43909</c:v>
                </c:pt>
                <c:pt idx="3449">
                  <c:v>43910</c:v>
                </c:pt>
                <c:pt idx="3450">
                  <c:v>43913</c:v>
                </c:pt>
                <c:pt idx="3451">
                  <c:v>43914</c:v>
                </c:pt>
                <c:pt idx="3452">
                  <c:v>43915</c:v>
                </c:pt>
                <c:pt idx="3453">
                  <c:v>43916</c:v>
                </c:pt>
                <c:pt idx="3454">
                  <c:v>43917</c:v>
                </c:pt>
                <c:pt idx="3455">
                  <c:v>43920</c:v>
                </c:pt>
                <c:pt idx="3456">
                  <c:v>43921</c:v>
                </c:pt>
                <c:pt idx="3457">
                  <c:v>43922</c:v>
                </c:pt>
                <c:pt idx="3458">
                  <c:v>43923</c:v>
                </c:pt>
                <c:pt idx="3459">
                  <c:v>43924</c:v>
                </c:pt>
                <c:pt idx="3460">
                  <c:v>43927</c:v>
                </c:pt>
                <c:pt idx="3461">
                  <c:v>43928</c:v>
                </c:pt>
                <c:pt idx="3462">
                  <c:v>43929</c:v>
                </c:pt>
                <c:pt idx="3463">
                  <c:v>43930</c:v>
                </c:pt>
                <c:pt idx="3464">
                  <c:v>43931</c:v>
                </c:pt>
                <c:pt idx="3465">
                  <c:v>43934</c:v>
                </c:pt>
                <c:pt idx="3466">
                  <c:v>43935</c:v>
                </c:pt>
                <c:pt idx="3467">
                  <c:v>43936</c:v>
                </c:pt>
                <c:pt idx="3468">
                  <c:v>43937</c:v>
                </c:pt>
                <c:pt idx="3469">
                  <c:v>43938</c:v>
                </c:pt>
                <c:pt idx="3470">
                  <c:v>43941</c:v>
                </c:pt>
                <c:pt idx="3471">
                  <c:v>43942</c:v>
                </c:pt>
                <c:pt idx="3472">
                  <c:v>43943</c:v>
                </c:pt>
                <c:pt idx="3473">
                  <c:v>43944</c:v>
                </c:pt>
                <c:pt idx="3474">
                  <c:v>43945</c:v>
                </c:pt>
                <c:pt idx="3475">
                  <c:v>43948</c:v>
                </c:pt>
                <c:pt idx="3476">
                  <c:v>43949</c:v>
                </c:pt>
                <c:pt idx="3477">
                  <c:v>43950</c:v>
                </c:pt>
                <c:pt idx="3478">
                  <c:v>43951</c:v>
                </c:pt>
                <c:pt idx="3479">
                  <c:v>43952</c:v>
                </c:pt>
                <c:pt idx="3480">
                  <c:v>43955</c:v>
                </c:pt>
                <c:pt idx="3481">
                  <c:v>43956</c:v>
                </c:pt>
                <c:pt idx="3482">
                  <c:v>43957</c:v>
                </c:pt>
                <c:pt idx="3483">
                  <c:v>43958</c:v>
                </c:pt>
                <c:pt idx="3484">
                  <c:v>43959</c:v>
                </c:pt>
                <c:pt idx="3485">
                  <c:v>43962</c:v>
                </c:pt>
                <c:pt idx="3486">
                  <c:v>43963</c:v>
                </c:pt>
                <c:pt idx="3487">
                  <c:v>43964</c:v>
                </c:pt>
                <c:pt idx="3488">
                  <c:v>43965</c:v>
                </c:pt>
                <c:pt idx="3489">
                  <c:v>43966</c:v>
                </c:pt>
                <c:pt idx="3490">
                  <c:v>43969</c:v>
                </c:pt>
                <c:pt idx="3491">
                  <c:v>43970</c:v>
                </c:pt>
                <c:pt idx="3492">
                  <c:v>43971</c:v>
                </c:pt>
                <c:pt idx="3493">
                  <c:v>43972</c:v>
                </c:pt>
                <c:pt idx="3494">
                  <c:v>43973</c:v>
                </c:pt>
                <c:pt idx="3495">
                  <c:v>43976</c:v>
                </c:pt>
                <c:pt idx="3496">
                  <c:v>43977</c:v>
                </c:pt>
                <c:pt idx="3497">
                  <c:v>43978</c:v>
                </c:pt>
                <c:pt idx="3498">
                  <c:v>43979</c:v>
                </c:pt>
                <c:pt idx="3499">
                  <c:v>43980</c:v>
                </c:pt>
                <c:pt idx="3500">
                  <c:v>43983</c:v>
                </c:pt>
                <c:pt idx="3501">
                  <c:v>43984</c:v>
                </c:pt>
                <c:pt idx="3502">
                  <c:v>43985</c:v>
                </c:pt>
                <c:pt idx="3503">
                  <c:v>43986</c:v>
                </c:pt>
                <c:pt idx="3504">
                  <c:v>43987</c:v>
                </c:pt>
                <c:pt idx="3505">
                  <c:v>43990</c:v>
                </c:pt>
                <c:pt idx="3506">
                  <c:v>43991</c:v>
                </c:pt>
                <c:pt idx="3507">
                  <c:v>43992</c:v>
                </c:pt>
                <c:pt idx="3508">
                  <c:v>43993</c:v>
                </c:pt>
                <c:pt idx="3509">
                  <c:v>43994</c:v>
                </c:pt>
                <c:pt idx="3510">
                  <c:v>43997</c:v>
                </c:pt>
                <c:pt idx="3511">
                  <c:v>43998</c:v>
                </c:pt>
                <c:pt idx="3512">
                  <c:v>43999</c:v>
                </c:pt>
                <c:pt idx="3513">
                  <c:v>44000</c:v>
                </c:pt>
                <c:pt idx="3514">
                  <c:v>44001</c:v>
                </c:pt>
                <c:pt idx="3515">
                  <c:v>44004</c:v>
                </c:pt>
                <c:pt idx="3516">
                  <c:v>44005</c:v>
                </c:pt>
                <c:pt idx="3517">
                  <c:v>44006</c:v>
                </c:pt>
                <c:pt idx="3518">
                  <c:v>44007</c:v>
                </c:pt>
                <c:pt idx="3519">
                  <c:v>44008</c:v>
                </c:pt>
                <c:pt idx="3520">
                  <c:v>44011</c:v>
                </c:pt>
                <c:pt idx="3521">
                  <c:v>44012</c:v>
                </c:pt>
                <c:pt idx="3522">
                  <c:v>44013</c:v>
                </c:pt>
                <c:pt idx="3523">
                  <c:v>44014</c:v>
                </c:pt>
                <c:pt idx="3524">
                  <c:v>44015</c:v>
                </c:pt>
                <c:pt idx="3525">
                  <c:v>44018</c:v>
                </c:pt>
                <c:pt idx="3526">
                  <c:v>44019</c:v>
                </c:pt>
                <c:pt idx="3527">
                  <c:v>44020</c:v>
                </c:pt>
                <c:pt idx="3528">
                  <c:v>44021</c:v>
                </c:pt>
                <c:pt idx="3529">
                  <c:v>44022</c:v>
                </c:pt>
                <c:pt idx="3530">
                  <c:v>44025</c:v>
                </c:pt>
                <c:pt idx="3531">
                  <c:v>44026</c:v>
                </c:pt>
                <c:pt idx="3532">
                  <c:v>44027</c:v>
                </c:pt>
                <c:pt idx="3533">
                  <c:v>44028</c:v>
                </c:pt>
                <c:pt idx="3534">
                  <c:v>44029</c:v>
                </c:pt>
                <c:pt idx="3535">
                  <c:v>44032</c:v>
                </c:pt>
                <c:pt idx="3536">
                  <c:v>44033</c:v>
                </c:pt>
                <c:pt idx="3537">
                  <c:v>44034</c:v>
                </c:pt>
                <c:pt idx="3538">
                  <c:v>44035</c:v>
                </c:pt>
                <c:pt idx="3539">
                  <c:v>44036</c:v>
                </c:pt>
                <c:pt idx="3540">
                  <c:v>44039</c:v>
                </c:pt>
                <c:pt idx="3541">
                  <c:v>44040</c:v>
                </c:pt>
                <c:pt idx="3542">
                  <c:v>44041</c:v>
                </c:pt>
                <c:pt idx="3543">
                  <c:v>44042</c:v>
                </c:pt>
                <c:pt idx="3544">
                  <c:v>44043</c:v>
                </c:pt>
                <c:pt idx="3545">
                  <c:v>44046</c:v>
                </c:pt>
                <c:pt idx="3546">
                  <c:v>44047</c:v>
                </c:pt>
                <c:pt idx="3547">
                  <c:v>44048</c:v>
                </c:pt>
                <c:pt idx="3548">
                  <c:v>44049</c:v>
                </c:pt>
                <c:pt idx="3549">
                  <c:v>44050</c:v>
                </c:pt>
                <c:pt idx="3550">
                  <c:v>44053</c:v>
                </c:pt>
                <c:pt idx="3551">
                  <c:v>44054</c:v>
                </c:pt>
                <c:pt idx="3552">
                  <c:v>44055</c:v>
                </c:pt>
                <c:pt idx="3553">
                  <c:v>44056</c:v>
                </c:pt>
                <c:pt idx="3554">
                  <c:v>44057</c:v>
                </c:pt>
                <c:pt idx="3555">
                  <c:v>44060</c:v>
                </c:pt>
                <c:pt idx="3556">
                  <c:v>44061</c:v>
                </c:pt>
                <c:pt idx="3557">
                  <c:v>44062</c:v>
                </c:pt>
                <c:pt idx="3558">
                  <c:v>44063</c:v>
                </c:pt>
                <c:pt idx="3559">
                  <c:v>44064</c:v>
                </c:pt>
                <c:pt idx="3560">
                  <c:v>44067</c:v>
                </c:pt>
                <c:pt idx="3561">
                  <c:v>44068</c:v>
                </c:pt>
                <c:pt idx="3562">
                  <c:v>44069</c:v>
                </c:pt>
                <c:pt idx="3563">
                  <c:v>44070</c:v>
                </c:pt>
                <c:pt idx="3564">
                  <c:v>44071</c:v>
                </c:pt>
                <c:pt idx="3565">
                  <c:v>44074</c:v>
                </c:pt>
                <c:pt idx="3566">
                  <c:v>44075</c:v>
                </c:pt>
                <c:pt idx="3567">
                  <c:v>44076</c:v>
                </c:pt>
                <c:pt idx="3568">
                  <c:v>44077</c:v>
                </c:pt>
                <c:pt idx="3569">
                  <c:v>44078</c:v>
                </c:pt>
                <c:pt idx="3570">
                  <c:v>44081</c:v>
                </c:pt>
                <c:pt idx="3571">
                  <c:v>44082</c:v>
                </c:pt>
                <c:pt idx="3572">
                  <c:v>44083</c:v>
                </c:pt>
                <c:pt idx="3573">
                  <c:v>44084</c:v>
                </c:pt>
                <c:pt idx="3574">
                  <c:v>44085</c:v>
                </c:pt>
                <c:pt idx="3575">
                  <c:v>44088</c:v>
                </c:pt>
                <c:pt idx="3576">
                  <c:v>44089</c:v>
                </c:pt>
                <c:pt idx="3577">
                  <c:v>44090</c:v>
                </c:pt>
                <c:pt idx="3578">
                  <c:v>44091</c:v>
                </c:pt>
                <c:pt idx="3579">
                  <c:v>44092</c:v>
                </c:pt>
                <c:pt idx="3580">
                  <c:v>44095</c:v>
                </c:pt>
                <c:pt idx="3581">
                  <c:v>44096</c:v>
                </c:pt>
                <c:pt idx="3582">
                  <c:v>44097</c:v>
                </c:pt>
                <c:pt idx="3583">
                  <c:v>44098</c:v>
                </c:pt>
                <c:pt idx="3584">
                  <c:v>44099</c:v>
                </c:pt>
                <c:pt idx="3585">
                  <c:v>44102</c:v>
                </c:pt>
                <c:pt idx="3586">
                  <c:v>44103</c:v>
                </c:pt>
                <c:pt idx="3587">
                  <c:v>44104</c:v>
                </c:pt>
                <c:pt idx="3588">
                  <c:v>44105</c:v>
                </c:pt>
                <c:pt idx="3589">
                  <c:v>44106</c:v>
                </c:pt>
                <c:pt idx="3590">
                  <c:v>44109</c:v>
                </c:pt>
                <c:pt idx="3591">
                  <c:v>44110</c:v>
                </c:pt>
                <c:pt idx="3592">
                  <c:v>44111</c:v>
                </c:pt>
                <c:pt idx="3593">
                  <c:v>44112</c:v>
                </c:pt>
                <c:pt idx="3594">
                  <c:v>44113</c:v>
                </c:pt>
                <c:pt idx="3595">
                  <c:v>44116</c:v>
                </c:pt>
                <c:pt idx="3596">
                  <c:v>44117</c:v>
                </c:pt>
                <c:pt idx="3597">
                  <c:v>44118</c:v>
                </c:pt>
                <c:pt idx="3598">
                  <c:v>44119</c:v>
                </c:pt>
                <c:pt idx="3599">
                  <c:v>44120</c:v>
                </c:pt>
                <c:pt idx="3600">
                  <c:v>44123</c:v>
                </c:pt>
                <c:pt idx="3601">
                  <c:v>44124</c:v>
                </c:pt>
                <c:pt idx="3602">
                  <c:v>44125</c:v>
                </c:pt>
                <c:pt idx="3603">
                  <c:v>44126</c:v>
                </c:pt>
                <c:pt idx="3604">
                  <c:v>44127</c:v>
                </c:pt>
                <c:pt idx="3605">
                  <c:v>44130</c:v>
                </c:pt>
                <c:pt idx="3606">
                  <c:v>44131</c:v>
                </c:pt>
                <c:pt idx="3607">
                  <c:v>44132</c:v>
                </c:pt>
                <c:pt idx="3608">
                  <c:v>44133</c:v>
                </c:pt>
                <c:pt idx="3609">
                  <c:v>44134</c:v>
                </c:pt>
                <c:pt idx="3610">
                  <c:v>44137</c:v>
                </c:pt>
                <c:pt idx="3611">
                  <c:v>44138</c:v>
                </c:pt>
                <c:pt idx="3612">
                  <c:v>44139</c:v>
                </c:pt>
                <c:pt idx="3613">
                  <c:v>44140</c:v>
                </c:pt>
                <c:pt idx="3614">
                  <c:v>44141</c:v>
                </c:pt>
                <c:pt idx="3615">
                  <c:v>44144</c:v>
                </c:pt>
                <c:pt idx="3616">
                  <c:v>44145</c:v>
                </c:pt>
                <c:pt idx="3617">
                  <c:v>44146</c:v>
                </c:pt>
                <c:pt idx="3618">
                  <c:v>44147</c:v>
                </c:pt>
                <c:pt idx="3619">
                  <c:v>44148</c:v>
                </c:pt>
                <c:pt idx="3620">
                  <c:v>44151</c:v>
                </c:pt>
                <c:pt idx="3621">
                  <c:v>44152</c:v>
                </c:pt>
                <c:pt idx="3622">
                  <c:v>44153</c:v>
                </c:pt>
                <c:pt idx="3623">
                  <c:v>44154</c:v>
                </c:pt>
                <c:pt idx="3624">
                  <c:v>44155</c:v>
                </c:pt>
                <c:pt idx="3625">
                  <c:v>44158</c:v>
                </c:pt>
                <c:pt idx="3626">
                  <c:v>44159</c:v>
                </c:pt>
                <c:pt idx="3627">
                  <c:v>44160</c:v>
                </c:pt>
                <c:pt idx="3628">
                  <c:v>44161</c:v>
                </c:pt>
                <c:pt idx="3629">
                  <c:v>44162</c:v>
                </c:pt>
                <c:pt idx="3630">
                  <c:v>44165</c:v>
                </c:pt>
                <c:pt idx="3631">
                  <c:v>44166</c:v>
                </c:pt>
                <c:pt idx="3632">
                  <c:v>44167</c:v>
                </c:pt>
                <c:pt idx="3633">
                  <c:v>44168</c:v>
                </c:pt>
                <c:pt idx="3634">
                  <c:v>44169</c:v>
                </c:pt>
                <c:pt idx="3635">
                  <c:v>44172</c:v>
                </c:pt>
                <c:pt idx="3636">
                  <c:v>44173</c:v>
                </c:pt>
                <c:pt idx="3637">
                  <c:v>44174</c:v>
                </c:pt>
                <c:pt idx="3638">
                  <c:v>44175</c:v>
                </c:pt>
                <c:pt idx="3639">
                  <c:v>44176</c:v>
                </c:pt>
                <c:pt idx="3640">
                  <c:v>44179</c:v>
                </c:pt>
                <c:pt idx="3641">
                  <c:v>44180</c:v>
                </c:pt>
                <c:pt idx="3642">
                  <c:v>44181</c:v>
                </c:pt>
                <c:pt idx="3643">
                  <c:v>44182</c:v>
                </c:pt>
                <c:pt idx="3644">
                  <c:v>44183</c:v>
                </c:pt>
                <c:pt idx="3645">
                  <c:v>44186</c:v>
                </c:pt>
                <c:pt idx="3646">
                  <c:v>44187</c:v>
                </c:pt>
                <c:pt idx="3647">
                  <c:v>44188</c:v>
                </c:pt>
                <c:pt idx="3648">
                  <c:v>44189</c:v>
                </c:pt>
                <c:pt idx="3649">
                  <c:v>44190</c:v>
                </c:pt>
                <c:pt idx="3650">
                  <c:v>44193</c:v>
                </c:pt>
                <c:pt idx="3651">
                  <c:v>44194</c:v>
                </c:pt>
                <c:pt idx="3652">
                  <c:v>44195</c:v>
                </c:pt>
                <c:pt idx="3653">
                  <c:v>44196</c:v>
                </c:pt>
                <c:pt idx="3654">
                  <c:v>44197</c:v>
                </c:pt>
                <c:pt idx="3655">
                  <c:v>44200</c:v>
                </c:pt>
                <c:pt idx="3656">
                  <c:v>44201</c:v>
                </c:pt>
                <c:pt idx="3657">
                  <c:v>44202</c:v>
                </c:pt>
                <c:pt idx="3658">
                  <c:v>44203</c:v>
                </c:pt>
                <c:pt idx="3659">
                  <c:v>44204</c:v>
                </c:pt>
                <c:pt idx="3660">
                  <c:v>44207</c:v>
                </c:pt>
                <c:pt idx="3661">
                  <c:v>44208</c:v>
                </c:pt>
                <c:pt idx="3662">
                  <c:v>44209</c:v>
                </c:pt>
                <c:pt idx="3663">
                  <c:v>44210</c:v>
                </c:pt>
                <c:pt idx="3664">
                  <c:v>44211</c:v>
                </c:pt>
                <c:pt idx="3665">
                  <c:v>44214</c:v>
                </c:pt>
                <c:pt idx="3666">
                  <c:v>44215</c:v>
                </c:pt>
                <c:pt idx="3667">
                  <c:v>44216</c:v>
                </c:pt>
                <c:pt idx="3668">
                  <c:v>44217</c:v>
                </c:pt>
                <c:pt idx="3669">
                  <c:v>44218</c:v>
                </c:pt>
                <c:pt idx="3670">
                  <c:v>44221</c:v>
                </c:pt>
                <c:pt idx="3671">
                  <c:v>44222</c:v>
                </c:pt>
                <c:pt idx="3672">
                  <c:v>44223</c:v>
                </c:pt>
                <c:pt idx="3673">
                  <c:v>44224</c:v>
                </c:pt>
                <c:pt idx="3674">
                  <c:v>44225</c:v>
                </c:pt>
                <c:pt idx="3675">
                  <c:v>44228</c:v>
                </c:pt>
                <c:pt idx="3676">
                  <c:v>44229</c:v>
                </c:pt>
                <c:pt idx="3677">
                  <c:v>44230</c:v>
                </c:pt>
                <c:pt idx="3678">
                  <c:v>44231</c:v>
                </c:pt>
                <c:pt idx="3679">
                  <c:v>44232</c:v>
                </c:pt>
                <c:pt idx="3680">
                  <c:v>44235</c:v>
                </c:pt>
                <c:pt idx="3681">
                  <c:v>44236</c:v>
                </c:pt>
                <c:pt idx="3682">
                  <c:v>44237</c:v>
                </c:pt>
                <c:pt idx="3683">
                  <c:v>44238</c:v>
                </c:pt>
                <c:pt idx="3684">
                  <c:v>44239</c:v>
                </c:pt>
                <c:pt idx="3685">
                  <c:v>44242</c:v>
                </c:pt>
                <c:pt idx="3686">
                  <c:v>44243</c:v>
                </c:pt>
                <c:pt idx="3687">
                  <c:v>44244</c:v>
                </c:pt>
                <c:pt idx="3688">
                  <c:v>44245</c:v>
                </c:pt>
                <c:pt idx="3689">
                  <c:v>44246</c:v>
                </c:pt>
                <c:pt idx="3690">
                  <c:v>44249</c:v>
                </c:pt>
                <c:pt idx="3691">
                  <c:v>44250</c:v>
                </c:pt>
                <c:pt idx="3692">
                  <c:v>44251</c:v>
                </c:pt>
                <c:pt idx="3693">
                  <c:v>44252</c:v>
                </c:pt>
                <c:pt idx="3694">
                  <c:v>44253</c:v>
                </c:pt>
                <c:pt idx="3695">
                  <c:v>44256</c:v>
                </c:pt>
                <c:pt idx="3696">
                  <c:v>44257</c:v>
                </c:pt>
                <c:pt idx="3697">
                  <c:v>44258</c:v>
                </c:pt>
                <c:pt idx="3698">
                  <c:v>44259</c:v>
                </c:pt>
                <c:pt idx="3699">
                  <c:v>44260</c:v>
                </c:pt>
                <c:pt idx="3700">
                  <c:v>44263</c:v>
                </c:pt>
                <c:pt idx="3701">
                  <c:v>44264</c:v>
                </c:pt>
                <c:pt idx="3702">
                  <c:v>44265</c:v>
                </c:pt>
                <c:pt idx="3703">
                  <c:v>44266</c:v>
                </c:pt>
                <c:pt idx="3704">
                  <c:v>44267</c:v>
                </c:pt>
                <c:pt idx="3705">
                  <c:v>44270</c:v>
                </c:pt>
                <c:pt idx="3706">
                  <c:v>44271</c:v>
                </c:pt>
                <c:pt idx="3707">
                  <c:v>44272</c:v>
                </c:pt>
                <c:pt idx="3708">
                  <c:v>44273</c:v>
                </c:pt>
                <c:pt idx="3709">
                  <c:v>44274</c:v>
                </c:pt>
                <c:pt idx="3710">
                  <c:v>44277</c:v>
                </c:pt>
                <c:pt idx="3711">
                  <c:v>44278</c:v>
                </c:pt>
                <c:pt idx="3712">
                  <c:v>44279</c:v>
                </c:pt>
                <c:pt idx="3713">
                  <c:v>44280</c:v>
                </c:pt>
                <c:pt idx="3714">
                  <c:v>44281</c:v>
                </c:pt>
                <c:pt idx="3715">
                  <c:v>44284</c:v>
                </c:pt>
                <c:pt idx="3716">
                  <c:v>44285</c:v>
                </c:pt>
                <c:pt idx="3717">
                  <c:v>44286</c:v>
                </c:pt>
                <c:pt idx="3718">
                  <c:v>44287</c:v>
                </c:pt>
                <c:pt idx="3719">
                  <c:v>44288</c:v>
                </c:pt>
                <c:pt idx="3720">
                  <c:v>44291</c:v>
                </c:pt>
                <c:pt idx="3721">
                  <c:v>44292</c:v>
                </c:pt>
                <c:pt idx="3722">
                  <c:v>44293</c:v>
                </c:pt>
                <c:pt idx="3723">
                  <c:v>44294</c:v>
                </c:pt>
                <c:pt idx="3724">
                  <c:v>44295</c:v>
                </c:pt>
                <c:pt idx="3725">
                  <c:v>44298</c:v>
                </c:pt>
                <c:pt idx="3726">
                  <c:v>44299</c:v>
                </c:pt>
                <c:pt idx="3727">
                  <c:v>44300</c:v>
                </c:pt>
                <c:pt idx="3728">
                  <c:v>44301</c:v>
                </c:pt>
                <c:pt idx="3729">
                  <c:v>44302</c:v>
                </c:pt>
                <c:pt idx="3730">
                  <c:v>44305</c:v>
                </c:pt>
                <c:pt idx="3731">
                  <c:v>44306</c:v>
                </c:pt>
                <c:pt idx="3732">
                  <c:v>44307</c:v>
                </c:pt>
                <c:pt idx="3733">
                  <c:v>44308</c:v>
                </c:pt>
                <c:pt idx="3734">
                  <c:v>44309</c:v>
                </c:pt>
                <c:pt idx="3735">
                  <c:v>44312</c:v>
                </c:pt>
                <c:pt idx="3736">
                  <c:v>44313</c:v>
                </c:pt>
                <c:pt idx="3737">
                  <c:v>44314</c:v>
                </c:pt>
                <c:pt idx="3738">
                  <c:v>44315</c:v>
                </c:pt>
                <c:pt idx="3739">
                  <c:v>44316</c:v>
                </c:pt>
                <c:pt idx="3740">
                  <c:v>44319</c:v>
                </c:pt>
                <c:pt idx="3741">
                  <c:v>44320</c:v>
                </c:pt>
                <c:pt idx="3742">
                  <c:v>44321</c:v>
                </c:pt>
                <c:pt idx="3743">
                  <c:v>44322</c:v>
                </c:pt>
                <c:pt idx="3744">
                  <c:v>44323</c:v>
                </c:pt>
                <c:pt idx="3745">
                  <c:v>44326</c:v>
                </c:pt>
                <c:pt idx="3746">
                  <c:v>44327</c:v>
                </c:pt>
                <c:pt idx="3747">
                  <c:v>44328</c:v>
                </c:pt>
                <c:pt idx="3748">
                  <c:v>44329</c:v>
                </c:pt>
                <c:pt idx="3749">
                  <c:v>44330</c:v>
                </c:pt>
                <c:pt idx="3750">
                  <c:v>44333</c:v>
                </c:pt>
                <c:pt idx="3751">
                  <c:v>44334</c:v>
                </c:pt>
                <c:pt idx="3752">
                  <c:v>44335</c:v>
                </c:pt>
                <c:pt idx="3753">
                  <c:v>44336</c:v>
                </c:pt>
                <c:pt idx="3754">
                  <c:v>44337</c:v>
                </c:pt>
                <c:pt idx="3755">
                  <c:v>44340</c:v>
                </c:pt>
                <c:pt idx="3756">
                  <c:v>44341</c:v>
                </c:pt>
                <c:pt idx="3757">
                  <c:v>44342</c:v>
                </c:pt>
                <c:pt idx="3758">
                  <c:v>44343</c:v>
                </c:pt>
                <c:pt idx="3759">
                  <c:v>44344</c:v>
                </c:pt>
                <c:pt idx="3760">
                  <c:v>44347</c:v>
                </c:pt>
                <c:pt idx="3761">
                  <c:v>44348</c:v>
                </c:pt>
                <c:pt idx="3762">
                  <c:v>44349</c:v>
                </c:pt>
                <c:pt idx="3763">
                  <c:v>44350</c:v>
                </c:pt>
                <c:pt idx="3764">
                  <c:v>44351</c:v>
                </c:pt>
                <c:pt idx="3765">
                  <c:v>44354</c:v>
                </c:pt>
                <c:pt idx="3766">
                  <c:v>44355</c:v>
                </c:pt>
                <c:pt idx="3767">
                  <c:v>44356</c:v>
                </c:pt>
                <c:pt idx="3768">
                  <c:v>44357</c:v>
                </c:pt>
                <c:pt idx="3769">
                  <c:v>44358</c:v>
                </c:pt>
                <c:pt idx="3770">
                  <c:v>44361</c:v>
                </c:pt>
                <c:pt idx="3771">
                  <c:v>44362</c:v>
                </c:pt>
                <c:pt idx="3772">
                  <c:v>44363</c:v>
                </c:pt>
                <c:pt idx="3773">
                  <c:v>44364</c:v>
                </c:pt>
                <c:pt idx="3774">
                  <c:v>44365</c:v>
                </c:pt>
                <c:pt idx="3775">
                  <c:v>44368</c:v>
                </c:pt>
                <c:pt idx="3776">
                  <c:v>44369</c:v>
                </c:pt>
                <c:pt idx="3777">
                  <c:v>44370</c:v>
                </c:pt>
                <c:pt idx="3778">
                  <c:v>44371</c:v>
                </c:pt>
                <c:pt idx="3779">
                  <c:v>44372</c:v>
                </c:pt>
                <c:pt idx="3780">
                  <c:v>44375</c:v>
                </c:pt>
                <c:pt idx="3781">
                  <c:v>44376</c:v>
                </c:pt>
                <c:pt idx="3782">
                  <c:v>44377</c:v>
                </c:pt>
                <c:pt idx="3783">
                  <c:v>44378</c:v>
                </c:pt>
                <c:pt idx="3784">
                  <c:v>44379</c:v>
                </c:pt>
                <c:pt idx="3785">
                  <c:v>44382</c:v>
                </c:pt>
                <c:pt idx="3786">
                  <c:v>44383</c:v>
                </c:pt>
                <c:pt idx="3787">
                  <c:v>44384</c:v>
                </c:pt>
                <c:pt idx="3788">
                  <c:v>44385</c:v>
                </c:pt>
                <c:pt idx="3789">
                  <c:v>44386</c:v>
                </c:pt>
                <c:pt idx="3790">
                  <c:v>44389</c:v>
                </c:pt>
                <c:pt idx="3791">
                  <c:v>44390</c:v>
                </c:pt>
                <c:pt idx="3792">
                  <c:v>44391</c:v>
                </c:pt>
                <c:pt idx="3793">
                  <c:v>44392</c:v>
                </c:pt>
                <c:pt idx="3794">
                  <c:v>44393</c:v>
                </c:pt>
                <c:pt idx="3795">
                  <c:v>44396</c:v>
                </c:pt>
                <c:pt idx="3796">
                  <c:v>44397</c:v>
                </c:pt>
                <c:pt idx="3797">
                  <c:v>44398</c:v>
                </c:pt>
                <c:pt idx="3798">
                  <c:v>44399</c:v>
                </c:pt>
                <c:pt idx="3799">
                  <c:v>44400</c:v>
                </c:pt>
                <c:pt idx="3800">
                  <c:v>44403</c:v>
                </c:pt>
                <c:pt idx="3801">
                  <c:v>44404</c:v>
                </c:pt>
                <c:pt idx="3802">
                  <c:v>44405</c:v>
                </c:pt>
                <c:pt idx="3803">
                  <c:v>44406</c:v>
                </c:pt>
                <c:pt idx="3804">
                  <c:v>44407</c:v>
                </c:pt>
                <c:pt idx="3805">
                  <c:v>44410</c:v>
                </c:pt>
                <c:pt idx="3806">
                  <c:v>44411</c:v>
                </c:pt>
                <c:pt idx="3807">
                  <c:v>44412</c:v>
                </c:pt>
                <c:pt idx="3808">
                  <c:v>44413</c:v>
                </c:pt>
                <c:pt idx="3809">
                  <c:v>44414</c:v>
                </c:pt>
                <c:pt idx="3810">
                  <c:v>44417</c:v>
                </c:pt>
                <c:pt idx="3811">
                  <c:v>44418</c:v>
                </c:pt>
                <c:pt idx="3812">
                  <c:v>44419</c:v>
                </c:pt>
                <c:pt idx="3813">
                  <c:v>44420</c:v>
                </c:pt>
                <c:pt idx="3814">
                  <c:v>44421</c:v>
                </c:pt>
                <c:pt idx="3815">
                  <c:v>44424</c:v>
                </c:pt>
                <c:pt idx="3816">
                  <c:v>44425</c:v>
                </c:pt>
                <c:pt idx="3817">
                  <c:v>44426</c:v>
                </c:pt>
                <c:pt idx="3818">
                  <c:v>44427</c:v>
                </c:pt>
                <c:pt idx="3819">
                  <c:v>44428</c:v>
                </c:pt>
                <c:pt idx="3820">
                  <c:v>44431</c:v>
                </c:pt>
                <c:pt idx="3821">
                  <c:v>44432</c:v>
                </c:pt>
                <c:pt idx="3822">
                  <c:v>44433</c:v>
                </c:pt>
                <c:pt idx="3823">
                  <c:v>44434</c:v>
                </c:pt>
                <c:pt idx="3824">
                  <c:v>44435</c:v>
                </c:pt>
                <c:pt idx="3825">
                  <c:v>44438</c:v>
                </c:pt>
                <c:pt idx="3826">
                  <c:v>44439</c:v>
                </c:pt>
                <c:pt idx="3827">
                  <c:v>44440</c:v>
                </c:pt>
                <c:pt idx="3828">
                  <c:v>44441</c:v>
                </c:pt>
                <c:pt idx="3829">
                  <c:v>44442</c:v>
                </c:pt>
                <c:pt idx="3830">
                  <c:v>44445</c:v>
                </c:pt>
                <c:pt idx="3831">
                  <c:v>44446</c:v>
                </c:pt>
                <c:pt idx="3832">
                  <c:v>44447</c:v>
                </c:pt>
                <c:pt idx="3833">
                  <c:v>44448</c:v>
                </c:pt>
                <c:pt idx="3834">
                  <c:v>44449</c:v>
                </c:pt>
                <c:pt idx="3835">
                  <c:v>44452</c:v>
                </c:pt>
                <c:pt idx="3836">
                  <c:v>44453</c:v>
                </c:pt>
                <c:pt idx="3837">
                  <c:v>44454</c:v>
                </c:pt>
                <c:pt idx="3838">
                  <c:v>44455</c:v>
                </c:pt>
                <c:pt idx="3839">
                  <c:v>44456</c:v>
                </c:pt>
                <c:pt idx="3840">
                  <c:v>44459</c:v>
                </c:pt>
                <c:pt idx="3841">
                  <c:v>44460</c:v>
                </c:pt>
                <c:pt idx="3842">
                  <c:v>44461</c:v>
                </c:pt>
                <c:pt idx="3843">
                  <c:v>44462</c:v>
                </c:pt>
                <c:pt idx="3844">
                  <c:v>44463</c:v>
                </c:pt>
                <c:pt idx="3845">
                  <c:v>44466</c:v>
                </c:pt>
                <c:pt idx="3846">
                  <c:v>44467</c:v>
                </c:pt>
                <c:pt idx="3847">
                  <c:v>44468</c:v>
                </c:pt>
                <c:pt idx="3848">
                  <c:v>44469</c:v>
                </c:pt>
                <c:pt idx="3849">
                  <c:v>44470</c:v>
                </c:pt>
                <c:pt idx="3850">
                  <c:v>44473</c:v>
                </c:pt>
                <c:pt idx="3851">
                  <c:v>44474</c:v>
                </c:pt>
                <c:pt idx="3852">
                  <c:v>44475</c:v>
                </c:pt>
                <c:pt idx="3853">
                  <c:v>44476</c:v>
                </c:pt>
                <c:pt idx="3854">
                  <c:v>44477</c:v>
                </c:pt>
                <c:pt idx="3855">
                  <c:v>44480</c:v>
                </c:pt>
                <c:pt idx="3856">
                  <c:v>44481</c:v>
                </c:pt>
                <c:pt idx="3857">
                  <c:v>44482</c:v>
                </c:pt>
                <c:pt idx="3858">
                  <c:v>44483</c:v>
                </c:pt>
                <c:pt idx="3859">
                  <c:v>44484</c:v>
                </c:pt>
                <c:pt idx="3860">
                  <c:v>44487</c:v>
                </c:pt>
                <c:pt idx="3861">
                  <c:v>44488</c:v>
                </c:pt>
                <c:pt idx="3862">
                  <c:v>44489</c:v>
                </c:pt>
                <c:pt idx="3863">
                  <c:v>44490</c:v>
                </c:pt>
                <c:pt idx="3864">
                  <c:v>44491</c:v>
                </c:pt>
                <c:pt idx="3865">
                  <c:v>44494</c:v>
                </c:pt>
                <c:pt idx="3866">
                  <c:v>44495</c:v>
                </c:pt>
                <c:pt idx="3867">
                  <c:v>44496</c:v>
                </c:pt>
                <c:pt idx="3868">
                  <c:v>44497</c:v>
                </c:pt>
                <c:pt idx="3869">
                  <c:v>44498</c:v>
                </c:pt>
                <c:pt idx="3870">
                  <c:v>44501</c:v>
                </c:pt>
                <c:pt idx="3871">
                  <c:v>44502</c:v>
                </c:pt>
                <c:pt idx="3872">
                  <c:v>44503</c:v>
                </c:pt>
                <c:pt idx="3873">
                  <c:v>44504</c:v>
                </c:pt>
                <c:pt idx="3874">
                  <c:v>44505</c:v>
                </c:pt>
                <c:pt idx="3875">
                  <c:v>44508</c:v>
                </c:pt>
                <c:pt idx="3876">
                  <c:v>44509</c:v>
                </c:pt>
                <c:pt idx="3877">
                  <c:v>44510</c:v>
                </c:pt>
                <c:pt idx="3878">
                  <c:v>44511</c:v>
                </c:pt>
                <c:pt idx="3879">
                  <c:v>44512</c:v>
                </c:pt>
                <c:pt idx="3880">
                  <c:v>44515</c:v>
                </c:pt>
                <c:pt idx="3881">
                  <c:v>44516</c:v>
                </c:pt>
                <c:pt idx="3882">
                  <c:v>44517</c:v>
                </c:pt>
                <c:pt idx="3883">
                  <c:v>44518</c:v>
                </c:pt>
                <c:pt idx="3884">
                  <c:v>44519</c:v>
                </c:pt>
                <c:pt idx="3885">
                  <c:v>44522</c:v>
                </c:pt>
                <c:pt idx="3886">
                  <c:v>44523</c:v>
                </c:pt>
                <c:pt idx="3887">
                  <c:v>44524</c:v>
                </c:pt>
                <c:pt idx="3888">
                  <c:v>44525</c:v>
                </c:pt>
                <c:pt idx="3889">
                  <c:v>44526</c:v>
                </c:pt>
                <c:pt idx="3890">
                  <c:v>44529</c:v>
                </c:pt>
                <c:pt idx="3891">
                  <c:v>44530</c:v>
                </c:pt>
                <c:pt idx="3892">
                  <c:v>44531</c:v>
                </c:pt>
                <c:pt idx="3893">
                  <c:v>44532</c:v>
                </c:pt>
                <c:pt idx="3894">
                  <c:v>44533</c:v>
                </c:pt>
                <c:pt idx="3895">
                  <c:v>44536</c:v>
                </c:pt>
                <c:pt idx="3896">
                  <c:v>44537</c:v>
                </c:pt>
                <c:pt idx="3897">
                  <c:v>44538</c:v>
                </c:pt>
                <c:pt idx="3898">
                  <c:v>44539</c:v>
                </c:pt>
                <c:pt idx="3899">
                  <c:v>44540</c:v>
                </c:pt>
                <c:pt idx="3900">
                  <c:v>44543</c:v>
                </c:pt>
                <c:pt idx="3901">
                  <c:v>44544</c:v>
                </c:pt>
                <c:pt idx="3902">
                  <c:v>44545</c:v>
                </c:pt>
                <c:pt idx="3903">
                  <c:v>44546</c:v>
                </c:pt>
                <c:pt idx="3904">
                  <c:v>44547</c:v>
                </c:pt>
                <c:pt idx="3905">
                  <c:v>44550</c:v>
                </c:pt>
                <c:pt idx="3906">
                  <c:v>44551</c:v>
                </c:pt>
                <c:pt idx="3907">
                  <c:v>44552</c:v>
                </c:pt>
                <c:pt idx="3908">
                  <c:v>44553</c:v>
                </c:pt>
                <c:pt idx="3909">
                  <c:v>44554</c:v>
                </c:pt>
                <c:pt idx="3910">
                  <c:v>44557</c:v>
                </c:pt>
                <c:pt idx="3911">
                  <c:v>44558</c:v>
                </c:pt>
                <c:pt idx="3912">
                  <c:v>44559</c:v>
                </c:pt>
                <c:pt idx="3913">
                  <c:v>44560</c:v>
                </c:pt>
                <c:pt idx="3914">
                  <c:v>44561</c:v>
                </c:pt>
                <c:pt idx="3915">
                  <c:v>44564</c:v>
                </c:pt>
                <c:pt idx="3916">
                  <c:v>44565</c:v>
                </c:pt>
                <c:pt idx="3917">
                  <c:v>44566</c:v>
                </c:pt>
                <c:pt idx="3918">
                  <c:v>44567</c:v>
                </c:pt>
                <c:pt idx="3919">
                  <c:v>44568</c:v>
                </c:pt>
                <c:pt idx="3920">
                  <c:v>44571</c:v>
                </c:pt>
                <c:pt idx="3921">
                  <c:v>44572</c:v>
                </c:pt>
                <c:pt idx="3922">
                  <c:v>44573</c:v>
                </c:pt>
                <c:pt idx="3923">
                  <c:v>44574</c:v>
                </c:pt>
                <c:pt idx="3924">
                  <c:v>44575</c:v>
                </c:pt>
                <c:pt idx="3925">
                  <c:v>44578</c:v>
                </c:pt>
                <c:pt idx="3926">
                  <c:v>44579</c:v>
                </c:pt>
                <c:pt idx="3927">
                  <c:v>44580</c:v>
                </c:pt>
                <c:pt idx="3928">
                  <c:v>44581</c:v>
                </c:pt>
                <c:pt idx="3929">
                  <c:v>44582</c:v>
                </c:pt>
                <c:pt idx="3930">
                  <c:v>44585</c:v>
                </c:pt>
                <c:pt idx="3931">
                  <c:v>44586</c:v>
                </c:pt>
                <c:pt idx="3932">
                  <c:v>44587</c:v>
                </c:pt>
                <c:pt idx="3933">
                  <c:v>44588</c:v>
                </c:pt>
                <c:pt idx="3934">
                  <c:v>44589</c:v>
                </c:pt>
                <c:pt idx="3935">
                  <c:v>44592</c:v>
                </c:pt>
                <c:pt idx="3936">
                  <c:v>44593</c:v>
                </c:pt>
                <c:pt idx="3937">
                  <c:v>44594</c:v>
                </c:pt>
                <c:pt idx="3938">
                  <c:v>44595</c:v>
                </c:pt>
                <c:pt idx="3939">
                  <c:v>44596</c:v>
                </c:pt>
                <c:pt idx="3940">
                  <c:v>44599</c:v>
                </c:pt>
                <c:pt idx="3941">
                  <c:v>44600</c:v>
                </c:pt>
                <c:pt idx="3942">
                  <c:v>44601</c:v>
                </c:pt>
                <c:pt idx="3943">
                  <c:v>44602</c:v>
                </c:pt>
                <c:pt idx="3944">
                  <c:v>44603</c:v>
                </c:pt>
                <c:pt idx="3945">
                  <c:v>44606</c:v>
                </c:pt>
                <c:pt idx="3946">
                  <c:v>44607</c:v>
                </c:pt>
                <c:pt idx="3947">
                  <c:v>44608</c:v>
                </c:pt>
                <c:pt idx="3948">
                  <c:v>44609</c:v>
                </c:pt>
                <c:pt idx="3949">
                  <c:v>44610</c:v>
                </c:pt>
                <c:pt idx="3950">
                  <c:v>44613</c:v>
                </c:pt>
                <c:pt idx="3951">
                  <c:v>44614</c:v>
                </c:pt>
                <c:pt idx="3952">
                  <c:v>44615</c:v>
                </c:pt>
                <c:pt idx="3953">
                  <c:v>44616</c:v>
                </c:pt>
                <c:pt idx="3954">
                  <c:v>44617</c:v>
                </c:pt>
                <c:pt idx="3955">
                  <c:v>44620</c:v>
                </c:pt>
                <c:pt idx="3956">
                  <c:v>44621</c:v>
                </c:pt>
                <c:pt idx="3957">
                  <c:v>44622</c:v>
                </c:pt>
                <c:pt idx="3958">
                  <c:v>44623</c:v>
                </c:pt>
                <c:pt idx="3959">
                  <c:v>44624</c:v>
                </c:pt>
                <c:pt idx="3960">
                  <c:v>44627</c:v>
                </c:pt>
                <c:pt idx="3961">
                  <c:v>44628</c:v>
                </c:pt>
                <c:pt idx="3962">
                  <c:v>44629</c:v>
                </c:pt>
                <c:pt idx="3963">
                  <c:v>44630</c:v>
                </c:pt>
                <c:pt idx="3964">
                  <c:v>44631</c:v>
                </c:pt>
                <c:pt idx="3965">
                  <c:v>44634</c:v>
                </c:pt>
                <c:pt idx="3966">
                  <c:v>44635</c:v>
                </c:pt>
                <c:pt idx="3967">
                  <c:v>44636</c:v>
                </c:pt>
                <c:pt idx="3968">
                  <c:v>44637</c:v>
                </c:pt>
                <c:pt idx="3969">
                  <c:v>44638</c:v>
                </c:pt>
                <c:pt idx="3970">
                  <c:v>44641</c:v>
                </c:pt>
                <c:pt idx="3971">
                  <c:v>44642</c:v>
                </c:pt>
                <c:pt idx="3972">
                  <c:v>44643</c:v>
                </c:pt>
                <c:pt idx="3973">
                  <c:v>44644</c:v>
                </c:pt>
                <c:pt idx="3974">
                  <c:v>44645</c:v>
                </c:pt>
                <c:pt idx="3975">
                  <c:v>44648</c:v>
                </c:pt>
                <c:pt idx="3976">
                  <c:v>44649</c:v>
                </c:pt>
                <c:pt idx="3977">
                  <c:v>44650</c:v>
                </c:pt>
                <c:pt idx="3978">
                  <c:v>44651</c:v>
                </c:pt>
                <c:pt idx="3979">
                  <c:v>44652</c:v>
                </c:pt>
                <c:pt idx="3980">
                  <c:v>44655</c:v>
                </c:pt>
                <c:pt idx="3981">
                  <c:v>44656</c:v>
                </c:pt>
                <c:pt idx="3982">
                  <c:v>44657</c:v>
                </c:pt>
                <c:pt idx="3983">
                  <c:v>44658</c:v>
                </c:pt>
                <c:pt idx="3984">
                  <c:v>44659</c:v>
                </c:pt>
                <c:pt idx="3985">
                  <c:v>44662</c:v>
                </c:pt>
                <c:pt idx="3986">
                  <c:v>44663</c:v>
                </c:pt>
                <c:pt idx="3987">
                  <c:v>44664</c:v>
                </c:pt>
                <c:pt idx="3988">
                  <c:v>44665</c:v>
                </c:pt>
                <c:pt idx="3989">
                  <c:v>44666</c:v>
                </c:pt>
                <c:pt idx="3990">
                  <c:v>44669</c:v>
                </c:pt>
                <c:pt idx="3991">
                  <c:v>44670</c:v>
                </c:pt>
                <c:pt idx="3992">
                  <c:v>44671</c:v>
                </c:pt>
                <c:pt idx="3993">
                  <c:v>44672</c:v>
                </c:pt>
                <c:pt idx="3994">
                  <c:v>44673</c:v>
                </c:pt>
                <c:pt idx="3995">
                  <c:v>44676</c:v>
                </c:pt>
                <c:pt idx="3996">
                  <c:v>44677</c:v>
                </c:pt>
                <c:pt idx="3997">
                  <c:v>44678</c:v>
                </c:pt>
                <c:pt idx="3998">
                  <c:v>44679</c:v>
                </c:pt>
                <c:pt idx="3999">
                  <c:v>44680</c:v>
                </c:pt>
                <c:pt idx="4000">
                  <c:v>44683</c:v>
                </c:pt>
                <c:pt idx="4001">
                  <c:v>44684</c:v>
                </c:pt>
                <c:pt idx="4002">
                  <c:v>44685</c:v>
                </c:pt>
                <c:pt idx="4003">
                  <c:v>44686</c:v>
                </c:pt>
                <c:pt idx="4004">
                  <c:v>44687</c:v>
                </c:pt>
                <c:pt idx="4005">
                  <c:v>44690</c:v>
                </c:pt>
                <c:pt idx="4006">
                  <c:v>44691</c:v>
                </c:pt>
                <c:pt idx="4007">
                  <c:v>44692</c:v>
                </c:pt>
                <c:pt idx="4008">
                  <c:v>44693</c:v>
                </c:pt>
                <c:pt idx="4009">
                  <c:v>44694</c:v>
                </c:pt>
                <c:pt idx="4010">
                  <c:v>44697</c:v>
                </c:pt>
                <c:pt idx="4011">
                  <c:v>44698</c:v>
                </c:pt>
                <c:pt idx="4012">
                  <c:v>44699</c:v>
                </c:pt>
                <c:pt idx="4013">
                  <c:v>44700</c:v>
                </c:pt>
                <c:pt idx="4014">
                  <c:v>44701</c:v>
                </c:pt>
                <c:pt idx="4015">
                  <c:v>44704</c:v>
                </c:pt>
                <c:pt idx="4016">
                  <c:v>44705</c:v>
                </c:pt>
                <c:pt idx="4017">
                  <c:v>44706</c:v>
                </c:pt>
                <c:pt idx="4018">
                  <c:v>44707</c:v>
                </c:pt>
                <c:pt idx="4019">
                  <c:v>44708</c:v>
                </c:pt>
                <c:pt idx="4020">
                  <c:v>44711</c:v>
                </c:pt>
                <c:pt idx="4021">
                  <c:v>44712</c:v>
                </c:pt>
                <c:pt idx="4022">
                  <c:v>44713</c:v>
                </c:pt>
                <c:pt idx="4023">
                  <c:v>44714</c:v>
                </c:pt>
                <c:pt idx="4024">
                  <c:v>44715</c:v>
                </c:pt>
                <c:pt idx="4025">
                  <c:v>44718</c:v>
                </c:pt>
                <c:pt idx="4026">
                  <c:v>44719</c:v>
                </c:pt>
                <c:pt idx="4027">
                  <c:v>44720</c:v>
                </c:pt>
                <c:pt idx="4028">
                  <c:v>44721</c:v>
                </c:pt>
                <c:pt idx="4029">
                  <c:v>44722</c:v>
                </c:pt>
                <c:pt idx="4030">
                  <c:v>44725</c:v>
                </c:pt>
                <c:pt idx="4031">
                  <c:v>44726</c:v>
                </c:pt>
                <c:pt idx="4032">
                  <c:v>44727</c:v>
                </c:pt>
                <c:pt idx="4033">
                  <c:v>44728</c:v>
                </c:pt>
                <c:pt idx="4034">
                  <c:v>44729</c:v>
                </c:pt>
                <c:pt idx="4035">
                  <c:v>44732</c:v>
                </c:pt>
                <c:pt idx="4036">
                  <c:v>44733</c:v>
                </c:pt>
                <c:pt idx="4037">
                  <c:v>44734</c:v>
                </c:pt>
                <c:pt idx="4038">
                  <c:v>44735</c:v>
                </c:pt>
                <c:pt idx="4039">
                  <c:v>44736</c:v>
                </c:pt>
                <c:pt idx="4040">
                  <c:v>44739</c:v>
                </c:pt>
                <c:pt idx="4041">
                  <c:v>44740</c:v>
                </c:pt>
                <c:pt idx="4042">
                  <c:v>44741</c:v>
                </c:pt>
                <c:pt idx="4043">
                  <c:v>44742</c:v>
                </c:pt>
                <c:pt idx="4044">
                  <c:v>44743</c:v>
                </c:pt>
                <c:pt idx="4045">
                  <c:v>44746</c:v>
                </c:pt>
                <c:pt idx="4046">
                  <c:v>44747</c:v>
                </c:pt>
                <c:pt idx="4047">
                  <c:v>44748</c:v>
                </c:pt>
                <c:pt idx="4048">
                  <c:v>44749</c:v>
                </c:pt>
                <c:pt idx="4049">
                  <c:v>44750</c:v>
                </c:pt>
                <c:pt idx="4050">
                  <c:v>44753</c:v>
                </c:pt>
                <c:pt idx="4051">
                  <c:v>44754</c:v>
                </c:pt>
                <c:pt idx="4052">
                  <c:v>44755</c:v>
                </c:pt>
                <c:pt idx="4053">
                  <c:v>44756</c:v>
                </c:pt>
                <c:pt idx="4054">
                  <c:v>44757</c:v>
                </c:pt>
                <c:pt idx="4055">
                  <c:v>44760</c:v>
                </c:pt>
                <c:pt idx="4056">
                  <c:v>44761</c:v>
                </c:pt>
                <c:pt idx="4057">
                  <c:v>44762</c:v>
                </c:pt>
                <c:pt idx="4058">
                  <c:v>44763</c:v>
                </c:pt>
                <c:pt idx="4059">
                  <c:v>44764</c:v>
                </c:pt>
                <c:pt idx="4060">
                  <c:v>44767</c:v>
                </c:pt>
                <c:pt idx="4061">
                  <c:v>44768</c:v>
                </c:pt>
                <c:pt idx="4062">
                  <c:v>44769</c:v>
                </c:pt>
                <c:pt idx="4063">
                  <c:v>44770</c:v>
                </c:pt>
                <c:pt idx="4064">
                  <c:v>44771</c:v>
                </c:pt>
                <c:pt idx="4065">
                  <c:v>44774</c:v>
                </c:pt>
                <c:pt idx="4066">
                  <c:v>44775</c:v>
                </c:pt>
                <c:pt idx="4067">
                  <c:v>44776</c:v>
                </c:pt>
                <c:pt idx="4068">
                  <c:v>44777</c:v>
                </c:pt>
                <c:pt idx="4069">
                  <c:v>44778</c:v>
                </c:pt>
                <c:pt idx="4070">
                  <c:v>44781</c:v>
                </c:pt>
                <c:pt idx="4071">
                  <c:v>44782</c:v>
                </c:pt>
                <c:pt idx="4072">
                  <c:v>44783</c:v>
                </c:pt>
                <c:pt idx="4073">
                  <c:v>44784</c:v>
                </c:pt>
                <c:pt idx="4074">
                  <c:v>44785</c:v>
                </c:pt>
                <c:pt idx="4075">
                  <c:v>44788</c:v>
                </c:pt>
                <c:pt idx="4076">
                  <c:v>44789</c:v>
                </c:pt>
                <c:pt idx="4077">
                  <c:v>44790</c:v>
                </c:pt>
                <c:pt idx="4078">
                  <c:v>44791</c:v>
                </c:pt>
                <c:pt idx="4079">
                  <c:v>44792</c:v>
                </c:pt>
                <c:pt idx="4080">
                  <c:v>44795</c:v>
                </c:pt>
                <c:pt idx="4081">
                  <c:v>44796</c:v>
                </c:pt>
                <c:pt idx="4082">
                  <c:v>44797</c:v>
                </c:pt>
                <c:pt idx="4083">
                  <c:v>44798</c:v>
                </c:pt>
                <c:pt idx="4084">
                  <c:v>44799</c:v>
                </c:pt>
                <c:pt idx="4085">
                  <c:v>44802</c:v>
                </c:pt>
                <c:pt idx="4086">
                  <c:v>44803</c:v>
                </c:pt>
                <c:pt idx="4087">
                  <c:v>44804</c:v>
                </c:pt>
                <c:pt idx="4088">
                  <c:v>44805</c:v>
                </c:pt>
                <c:pt idx="4089">
                  <c:v>44806</c:v>
                </c:pt>
                <c:pt idx="4090">
                  <c:v>44809</c:v>
                </c:pt>
                <c:pt idx="4091">
                  <c:v>44810</c:v>
                </c:pt>
                <c:pt idx="4092">
                  <c:v>44811</c:v>
                </c:pt>
                <c:pt idx="4093">
                  <c:v>44812</c:v>
                </c:pt>
                <c:pt idx="4094">
                  <c:v>44813</c:v>
                </c:pt>
                <c:pt idx="4095">
                  <c:v>44816</c:v>
                </c:pt>
                <c:pt idx="4096">
                  <c:v>44817</c:v>
                </c:pt>
                <c:pt idx="4097">
                  <c:v>44818</c:v>
                </c:pt>
                <c:pt idx="4098">
                  <c:v>44819</c:v>
                </c:pt>
                <c:pt idx="4099">
                  <c:v>44820</c:v>
                </c:pt>
                <c:pt idx="4100">
                  <c:v>44823</c:v>
                </c:pt>
                <c:pt idx="4101">
                  <c:v>44824</c:v>
                </c:pt>
                <c:pt idx="4102">
                  <c:v>44825</c:v>
                </c:pt>
                <c:pt idx="4103">
                  <c:v>44826</c:v>
                </c:pt>
                <c:pt idx="4104">
                  <c:v>44827</c:v>
                </c:pt>
                <c:pt idx="4105">
                  <c:v>44830</c:v>
                </c:pt>
                <c:pt idx="4106">
                  <c:v>44831</c:v>
                </c:pt>
                <c:pt idx="4107">
                  <c:v>44832</c:v>
                </c:pt>
                <c:pt idx="4108">
                  <c:v>44833</c:v>
                </c:pt>
                <c:pt idx="4109">
                  <c:v>44834</c:v>
                </c:pt>
                <c:pt idx="4110">
                  <c:v>44837</c:v>
                </c:pt>
                <c:pt idx="4111">
                  <c:v>44838</c:v>
                </c:pt>
                <c:pt idx="4112">
                  <c:v>44839</c:v>
                </c:pt>
                <c:pt idx="4113">
                  <c:v>44840</c:v>
                </c:pt>
                <c:pt idx="4114">
                  <c:v>44841</c:v>
                </c:pt>
                <c:pt idx="4115">
                  <c:v>44844</c:v>
                </c:pt>
                <c:pt idx="4116">
                  <c:v>44845</c:v>
                </c:pt>
                <c:pt idx="4117">
                  <c:v>44846</c:v>
                </c:pt>
                <c:pt idx="4118">
                  <c:v>44847</c:v>
                </c:pt>
                <c:pt idx="4119">
                  <c:v>44848</c:v>
                </c:pt>
                <c:pt idx="4120">
                  <c:v>44851</c:v>
                </c:pt>
                <c:pt idx="4121">
                  <c:v>44852</c:v>
                </c:pt>
                <c:pt idx="4122">
                  <c:v>44853</c:v>
                </c:pt>
                <c:pt idx="4123">
                  <c:v>44854</c:v>
                </c:pt>
                <c:pt idx="4124">
                  <c:v>44855</c:v>
                </c:pt>
                <c:pt idx="4125">
                  <c:v>44858</c:v>
                </c:pt>
                <c:pt idx="4126">
                  <c:v>44859</c:v>
                </c:pt>
                <c:pt idx="4127">
                  <c:v>44860</c:v>
                </c:pt>
                <c:pt idx="4128">
                  <c:v>44861</c:v>
                </c:pt>
                <c:pt idx="4129">
                  <c:v>44862</c:v>
                </c:pt>
                <c:pt idx="4130">
                  <c:v>44865</c:v>
                </c:pt>
                <c:pt idx="4131">
                  <c:v>44866</c:v>
                </c:pt>
                <c:pt idx="4132">
                  <c:v>44867</c:v>
                </c:pt>
                <c:pt idx="4133">
                  <c:v>44868</c:v>
                </c:pt>
                <c:pt idx="4134">
                  <c:v>44869</c:v>
                </c:pt>
                <c:pt idx="4135">
                  <c:v>44872</c:v>
                </c:pt>
                <c:pt idx="4136">
                  <c:v>44873</c:v>
                </c:pt>
                <c:pt idx="4137">
                  <c:v>44874</c:v>
                </c:pt>
                <c:pt idx="4138">
                  <c:v>44875</c:v>
                </c:pt>
                <c:pt idx="4139">
                  <c:v>44876</c:v>
                </c:pt>
                <c:pt idx="4140">
                  <c:v>44879</c:v>
                </c:pt>
                <c:pt idx="4141">
                  <c:v>44880</c:v>
                </c:pt>
                <c:pt idx="4142">
                  <c:v>44881</c:v>
                </c:pt>
                <c:pt idx="4143">
                  <c:v>44882</c:v>
                </c:pt>
                <c:pt idx="4144">
                  <c:v>44883</c:v>
                </c:pt>
                <c:pt idx="4145">
                  <c:v>44886</c:v>
                </c:pt>
                <c:pt idx="4146">
                  <c:v>44887</c:v>
                </c:pt>
                <c:pt idx="4147">
                  <c:v>44888</c:v>
                </c:pt>
                <c:pt idx="4148">
                  <c:v>44889</c:v>
                </c:pt>
                <c:pt idx="4149">
                  <c:v>44890</c:v>
                </c:pt>
                <c:pt idx="4150">
                  <c:v>44893</c:v>
                </c:pt>
                <c:pt idx="4151">
                  <c:v>44894</c:v>
                </c:pt>
                <c:pt idx="4152">
                  <c:v>44895</c:v>
                </c:pt>
                <c:pt idx="4153">
                  <c:v>44896</c:v>
                </c:pt>
                <c:pt idx="4154">
                  <c:v>44897</c:v>
                </c:pt>
                <c:pt idx="4155">
                  <c:v>44900</c:v>
                </c:pt>
                <c:pt idx="4156">
                  <c:v>44901</c:v>
                </c:pt>
                <c:pt idx="4157">
                  <c:v>44902</c:v>
                </c:pt>
                <c:pt idx="4158">
                  <c:v>44903</c:v>
                </c:pt>
                <c:pt idx="4159">
                  <c:v>44904</c:v>
                </c:pt>
                <c:pt idx="4160">
                  <c:v>44907</c:v>
                </c:pt>
                <c:pt idx="4161">
                  <c:v>44908</c:v>
                </c:pt>
                <c:pt idx="4162">
                  <c:v>44909</c:v>
                </c:pt>
                <c:pt idx="4163">
                  <c:v>44910</c:v>
                </c:pt>
                <c:pt idx="4164">
                  <c:v>44911</c:v>
                </c:pt>
                <c:pt idx="4165">
                  <c:v>44914</c:v>
                </c:pt>
                <c:pt idx="4166">
                  <c:v>44915</c:v>
                </c:pt>
                <c:pt idx="4167">
                  <c:v>44916</c:v>
                </c:pt>
                <c:pt idx="4168">
                  <c:v>44917</c:v>
                </c:pt>
                <c:pt idx="4169">
                  <c:v>44918</c:v>
                </c:pt>
                <c:pt idx="4170">
                  <c:v>44921</c:v>
                </c:pt>
                <c:pt idx="4171">
                  <c:v>44922</c:v>
                </c:pt>
                <c:pt idx="4172">
                  <c:v>44923</c:v>
                </c:pt>
                <c:pt idx="4173">
                  <c:v>44924</c:v>
                </c:pt>
                <c:pt idx="4174">
                  <c:v>44925</c:v>
                </c:pt>
                <c:pt idx="4175">
                  <c:v>44928</c:v>
                </c:pt>
                <c:pt idx="4176">
                  <c:v>44929</c:v>
                </c:pt>
                <c:pt idx="4177">
                  <c:v>44930</c:v>
                </c:pt>
                <c:pt idx="4178">
                  <c:v>44931</c:v>
                </c:pt>
                <c:pt idx="4179">
                  <c:v>44932</c:v>
                </c:pt>
                <c:pt idx="4180">
                  <c:v>44935</c:v>
                </c:pt>
                <c:pt idx="4181">
                  <c:v>44936</c:v>
                </c:pt>
                <c:pt idx="4182">
                  <c:v>44937</c:v>
                </c:pt>
                <c:pt idx="4183">
                  <c:v>44938</c:v>
                </c:pt>
                <c:pt idx="4184">
                  <c:v>44939</c:v>
                </c:pt>
                <c:pt idx="4185">
                  <c:v>44942</c:v>
                </c:pt>
                <c:pt idx="4186">
                  <c:v>44943</c:v>
                </c:pt>
                <c:pt idx="4187">
                  <c:v>44944</c:v>
                </c:pt>
                <c:pt idx="4188">
                  <c:v>44945</c:v>
                </c:pt>
                <c:pt idx="4189">
                  <c:v>44946</c:v>
                </c:pt>
                <c:pt idx="4190">
                  <c:v>44949</c:v>
                </c:pt>
                <c:pt idx="4191">
                  <c:v>44950</c:v>
                </c:pt>
                <c:pt idx="4192">
                  <c:v>44951</c:v>
                </c:pt>
                <c:pt idx="4193">
                  <c:v>44952</c:v>
                </c:pt>
                <c:pt idx="4194">
                  <c:v>44953</c:v>
                </c:pt>
                <c:pt idx="4195">
                  <c:v>44956</c:v>
                </c:pt>
                <c:pt idx="4196">
                  <c:v>44957</c:v>
                </c:pt>
                <c:pt idx="4197">
                  <c:v>44958</c:v>
                </c:pt>
                <c:pt idx="4198">
                  <c:v>44959</c:v>
                </c:pt>
                <c:pt idx="4199">
                  <c:v>44960</c:v>
                </c:pt>
                <c:pt idx="4200">
                  <c:v>44963</c:v>
                </c:pt>
                <c:pt idx="4201">
                  <c:v>44964</c:v>
                </c:pt>
                <c:pt idx="4202">
                  <c:v>44965</c:v>
                </c:pt>
                <c:pt idx="4203">
                  <c:v>44966</c:v>
                </c:pt>
                <c:pt idx="4204">
                  <c:v>44967</c:v>
                </c:pt>
                <c:pt idx="4205">
                  <c:v>44970</c:v>
                </c:pt>
                <c:pt idx="4206">
                  <c:v>44971</c:v>
                </c:pt>
                <c:pt idx="4207">
                  <c:v>44972</c:v>
                </c:pt>
                <c:pt idx="4208">
                  <c:v>44973</c:v>
                </c:pt>
                <c:pt idx="4209">
                  <c:v>44974</c:v>
                </c:pt>
                <c:pt idx="4210">
                  <c:v>44977</c:v>
                </c:pt>
                <c:pt idx="4211">
                  <c:v>44978</c:v>
                </c:pt>
                <c:pt idx="4212">
                  <c:v>44979</c:v>
                </c:pt>
                <c:pt idx="4213">
                  <c:v>44980</c:v>
                </c:pt>
                <c:pt idx="4214">
                  <c:v>44981</c:v>
                </c:pt>
                <c:pt idx="4215">
                  <c:v>44984</c:v>
                </c:pt>
                <c:pt idx="4216">
                  <c:v>44985</c:v>
                </c:pt>
                <c:pt idx="4217">
                  <c:v>44986</c:v>
                </c:pt>
                <c:pt idx="4218">
                  <c:v>44987</c:v>
                </c:pt>
                <c:pt idx="4219">
                  <c:v>44988</c:v>
                </c:pt>
                <c:pt idx="4220">
                  <c:v>44991</c:v>
                </c:pt>
                <c:pt idx="4221">
                  <c:v>44992</c:v>
                </c:pt>
                <c:pt idx="4222">
                  <c:v>44993</c:v>
                </c:pt>
                <c:pt idx="4223">
                  <c:v>44994</c:v>
                </c:pt>
                <c:pt idx="4224">
                  <c:v>44995</c:v>
                </c:pt>
                <c:pt idx="4225">
                  <c:v>44998</c:v>
                </c:pt>
                <c:pt idx="4226">
                  <c:v>44999</c:v>
                </c:pt>
                <c:pt idx="4227">
                  <c:v>45000</c:v>
                </c:pt>
                <c:pt idx="4228">
                  <c:v>45001</c:v>
                </c:pt>
                <c:pt idx="4229">
                  <c:v>45002</c:v>
                </c:pt>
                <c:pt idx="4230">
                  <c:v>45005</c:v>
                </c:pt>
                <c:pt idx="4231">
                  <c:v>45006</c:v>
                </c:pt>
                <c:pt idx="4232">
                  <c:v>45007</c:v>
                </c:pt>
                <c:pt idx="4233">
                  <c:v>45008</c:v>
                </c:pt>
                <c:pt idx="4234">
                  <c:v>45009</c:v>
                </c:pt>
                <c:pt idx="4235">
                  <c:v>45012</c:v>
                </c:pt>
                <c:pt idx="4236">
                  <c:v>45013</c:v>
                </c:pt>
                <c:pt idx="4237">
                  <c:v>45014</c:v>
                </c:pt>
                <c:pt idx="4238">
                  <c:v>45015</c:v>
                </c:pt>
                <c:pt idx="4239">
                  <c:v>45016</c:v>
                </c:pt>
                <c:pt idx="4240">
                  <c:v>45019</c:v>
                </c:pt>
                <c:pt idx="4241">
                  <c:v>45020</c:v>
                </c:pt>
                <c:pt idx="4242">
                  <c:v>45021</c:v>
                </c:pt>
                <c:pt idx="4243">
                  <c:v>45022</c:v>
                </c:pt>
                <c:pt idx="4244">
                  <c:v>45023</c:v>
                </c:pt>
                <c:pt idx="4245">
                  <c:v>45026</c:v>
                </c:pt>
                <c:pt idx="4246">
                  <c:v>45027</c:v>
                </c:pt>
                <c:pt idx="4247">
                  <c:v>45028</c:v>
                </c:pt>
                <c:pt idx="4248">
                  <c:v>45029</c:v>
                </c:pt>
                <c:pt idx="4249">
                  <c:v>45030</c:v>
                </c:pt>
                <c:pt idx="4250">
                  <c:v>45033</c:v>
                </c:pt>
                <c:pt idx="4251">
                  <c:v>45034</c:v>
                </c:pt>
                <c:pt idx="4252">
                  <c:v>45035</c:v>
                </c:pt>
                <c:pt idx="4253">
                  <c:v>45036</c:v>
                </c:pt>
                <c:pt idx="4254">
                  <c:v>45037</c:v>
                </c:pt>
                <c:pt idx="4255">
                  <c:v>45040</c:v>
                </c:pt>
                <c:pt idx="4256">
                  <c:v>45041</c:v>
                </c:pt>
                <c:pt idx="4257">
                  <c:v>45042</c:v>
                </c:pt>
                <c:pt idx="4258">
                  <c:v>45043</c:v>
                </c:pt>
                <c:pt idx="4259">
                  <c:v>45044</c:v>
                </c:pt>
                <c:pt idx="4260">
                  <c:v>45047</c:v>
                </c:pt>
                <c:pt idx="4261">
                  <c:v>45048</c:v>
                </c:pt>
                <c:pt idx="4262">
                  <c:v>45049</c:v>
                </c:pt>
                <c:pt idx="4263">
                  <c:v>45050</c:v>
                </c:pt>
                <c:pt idx="4264">
                  <c:v>45051</c:v>
                </c:pt>
                <c:pt idx="4265">
                  <c:v>45054</c:v>
                </c:pt>
                <c:pt idx="4266">
                  <c:v>45055</c:v>
                </c:pt>
                <c:pt idx="4267">
                  <c:v>45056</c:v>
                </c:pt>
                <c:pt idx="4268">
                  <c:v>45057</c:v>
                </c:pt>
                <c:pt idx="4269">
                  <c:v>45058</c:v>
                </c:pt>
                <c:pt idx="4270">
                  <c:v>45061</c:v>
                </c:pt>
                <c:pt idx="4271">
                  <c:v>45062</c:v>
                </c:pt>
                <c:pt idx="4272">
                  <c:v>45063</c:v>
                </c:pt>
                <c:pt idx="4273">
                  <c:v>45064</c:v>
                </c:pt>
                <c:pt idx="4274">
                  <c:v>45065</c:v>
                </c:pt>
                <c:pt idx="4275">
                  <c:v>45068</c:v>
                </c:pt>
                <c:pt idx="4276">
                  <c:v>45069</c:v>
                </c:pt>
                <c:pt idx="4277">
                  <c:v>45070</c:v>
                </c:pt>
                <c:pt idx="4278">
                  <c:v>45071</c:v>
                </c:pt>
                <c:pt idx="4279">
                  <c:v>45072</c:v>
                </c:pt>
                <c:pt idx="4280">
                  <c:v>45075</c:v>
                </c:pt>
                <c:pt idx="4281">
                  <c:v>45076</c:v>
                </c:pt>
                <c:pt idx="4282">
                  <c:v>45077</c:v>
                </c:pt>
                <c:pt idx="4283">
                  <c:v>45078</c:v>
                </c:pt>
                <c:pt idx="4284">
                  <c:v>45079</c:v>
                </c:pt>
                <c:pt idx="4285">
                  <c:v>45082</c:v>
                </c:pt>
                <c:pt idx="4286">
                  <c:v>45083</c:v>
                </c:pt>
                <c:pt idx="4287">
                  <c:v>45084</c:v>
                </c:pt>
                <c:pt idx="4288">
                  <c:v>45085</c:v>
                </c:pt>
                <c:pt idx="4289">
                  <c:v>45086</c:v>
                </c:pt>
                <c:pt idx="4290">
                  <c:v>45089</c:v>
                </c:pt>
                <c:pt idx="4291">
                  <c:v>45090</c:v>
                </c:pt>
                <c:pt idx="4292">
                  <c:v>45091</c:v>
                </c:pt>
                <c:pt idx="4293">
                  <c:v>45092</c:v>
                </c:pt>
                <c:pt idx="4294">
                  <c:v>45093</c:v>
                </c:pt>
                <c:pt idx="4295">
                  <c:v>45096</c:v>
                </c:pt>
                <c:pt idx="4296">
                  <c:v>45097</c:v>
                </c:pt>
                <c:pt idx="4297">
                  <c:v>45098</c:v>
                </c:pt>
                <c:pt idx="4298">
                  <c:v>45099</c:v>
                </c:pt>
                <c:pt idx="4299">
                  <c:v>45100</c:v>
                </c:pt>
                <c:pt idx="4300">
                  <c:v>45103</c:v>
                </c:pt>
                <c:pt idx="4301">
                  <c:v>45104</c:v>
                </c:pt>
                <c:pt idx="4302">
                  <c:v>45105</c:v>
                </c:pt>
                <c:pt idx="4303">
                  <c:v>45106</c:v>
                </c:pt>
                <c:pt idx="4304">
                  <c:v>45107</c:v>
                </c:pt>
                <c:pt idx="4305">
                  <c:v>45110</c:v>
                </c:pt>
                <c:pt idx="4306">
                  <c:v>45111</c:v>
                </c:pt>
                <c:pt idx="4307">
                  <c:v>45112</c:v>
                </c:pt>
                <c:pt idx="4308">
                  <c:v>45113</c:v>
                </c:pt>
                <c:pt idx="4309">
                  <c:v>45114</c:v>
                </c:pt>
                <c:pt idx="4310">
                  <c:v>45117</c:v>
                </c:pt>
                <c:pt idx="4311">
                  <c:v>45118</c:v>
                </c:pt>
                <c:pt idx="4312">
                  <c:v>45119</c:v>
                </c:pt>
                <c:pt idx="4313">
                  <c:v>45120</c:v>
                </c:pt>
                <c:pt idx="4314">
                  <c:v>45121</c:v>
                </c:pt>
                <c:pt idx="4315">
                  <c:v>45124</c:v>
                </c:pt>
                <c:pt idx="4316">
                  <c:v>45125</c:v>
                </c:pt>
                <c:pt idx="4317">
                  <c:v>45126</c:v>
                </c:pt>
                <c:pt idx="4318">
                  <c:v>45127</c:v>
                </c:pt>
                <c:pt idx="4319">
                  <c:v>45128</c:v>
                </c:pt>
                <c:pt idx="4320">
                  <c:v>45131</c:v>
                </c:pt>
                <c:pt idx="4321">
                  <c:v>45132</c:v>
                </c:pt>
                <c:pt idx="4322">
                  <c:v>45133</c:v>
                </c:pt>
                <c:pt idx="4323">
                  <c:v>45134</c:v>
                </c:pt>
                <c:pt idx="4324">
                  <c:v>45135</c:v>
                </c:pt>
                <c:pt idx="4325">
                  <c:v>45138</c:v>
                </c:pt>
                <c:pt idx="4326">
                  <c:v>45139</c:v>
                </c:pt>
                <c:pt idx="4327">
                  <c:v>45140</c:v>
                </c:pt>
                <c:pt idx="4328">
                  <c:v>45141</c:v>
                </c:pt>
                <c:pt idx="4329">
                  <c:v>45142</c:v>
                </c:pt>
                <c:pt idx="4330">
                  <c:v>45145</c:v>
                </c:pt>
                <c:pt idx="4331">
                  <c:v>45146</c:v>
                </c:pt>
                <c:pt idx="4332">
                  <c:v>45147</c:v>
                </c:pt>
                <c:pt idx="4333">
                  <c:v>45148</c:v>
                </c:pt>
                <c:pt idx="4334">
                  <c:v>45149</c:v>
                </c:pt>
                <c:pt idx="4335">
                  <c:v>45152</c:v>
                </c:pt>
                <c:pt idx="4336">
                  <c:v>45153</c:v>
                </c:pt>
                <c:pt idx="4337">
                  <c:v>45154</c:v>
                </c:pt>
                <c:pt idx="4338">
                  <c:v>45155</c:v>
                </c:pt>
                <c:pt idx="4339">
                  <c:v>45156</c:v>
                </c:pt>
                <c:pt idx="4340">
                  <c:v>45159</c:v>
                </c:pt>
                <c:pt idx="4341">
                  <c:v>45160</c:v>
                </c:pt>
                <c:pt idx="4342">
                  <c:v>45161</c:v>
                </c:pt>
                <c:pt idx="4343">
                  <c:v>45162</c:v>
                </c:pt>
                <c:pt idx="4344">
                  <c:v>45163</c:v>
                </c:pt>
                <c:pt idx="4345">
                  <c:v>45166</c:v>
                </c:pt>
                <c:pt idx="4346">
                  <c:v>45167</c:v>
                </c:pt>
                <c:pt idx="4347">
                  <c:v>45168</c:v>
                </c:pt>
                <c:pt idx="4348">
                  <c:v>45169</c:v>
                </c:pt>
                <c:pt idx="4349">
                  <c:v>45170</c:v>
                </c:pt>
                <c:pt idx="4350">
                  <c:v>45173</c:v>
                </c:pt>
                <c:pt idx="4351">
                  <c:v>45174</c:v>
                </c:pt>
                <c:pt idx="4352">
                  <c:v>45175</c:v>
                </c:pt>
                <c:pt idx="4353">
                  <c:v>45176</c:v>
                </c:pt>
                <c:pt idx="4354">
                  <c:v>45177</c:v>
                </c:pt>
                <c:pt idx="4355">
                  <c:v>45180</c:v>
                </c:pt>
                <c:pt idx="4356">
                  <c:v>45181</c:v>
                </c:pt>
                <c:pt idx="4357">
                  <c:v>45182</c:v>
                </c:pt>
                <c:pt idx="4358">
                  <c:v>45183</c:v>
                </c:pt>
                <c:pt idx="4359">
                  <c:v>45184</c:v>
                </c:pt>
                <c:pt idx="4360">
                  <c:v>45187</c:v>
                </c:pt>
                <c:pt idx="4361">
                  <c:v>45188</c:v>
                </c:pt>
                <c:pt idx="4362">
                  <c:v>45189</c:v>
                </c:pt>
                <c:pt idx="4363">
                  <c:v>45190</c:v>
                </c:pt>
                <c:pt idx="4364">
                  <c:v>45191</c:v>
                </c:pt>
                <c:pt idx="4365">
                  <c:v>45194</c:v>
                </c:pt>
                <c:pt idx="4366">
                  <c:v>45195</c:v>
                </c:pt>
                <c:pt idx="4367">
                  <c:v>45196</c:v>
                </c:pt>
                <c:pt idx="4368">
                  <c:v>45197</c:v>
                </c:pt>
                <c:pt idx="4369">
                  <c:v>45198</c:v>
                </c:pt>
                <c:pt idx="4370">
                  <c:v>45201</c:v>
                </c:pt>
                <c:pt idx="4371">
                  <c:v>45202</c:v>
                </c:pt>
                <c:pt idx="4372">
                  <c:v>45203</c:v>
                </c:pt>
                <c:pt idx="4373">
                  <c:v>45204</c:v>
                </c:pt>
                <c:pt idx="4374">
                  <c:v>45205</c:v>
                </c:pt>
                <c:pt idx="4375">
                  <c:v>45208</c:v>
                </c:pt>
                <c:pt idx="4376">
                  <c:v>45209</c:v>
                </c:pt>
                <c:pt idx="4377">
                  <c:v>45210</c:v>
                </c:pt>
                <c:pt idx="4378">
                  <c:v>45211</c:v>
                </c:pt>
                <c:pt idx="4379">
                  <c:v>45212</c:v>
                </c:pt>
                <c:pt idx="4380">
                  <c:v>45215</c:v>
                </c:pt>
                <c:pt idx="4381">
                  <c:v>45216</c:v>
                </c:pt>
                <c:pt idx="4382">
                  <c:v>45217</c:v>
                </c:pt>
                <c:pt idx="4383">
                  <c:v>45218</c:v>
                </c:pt>
                <c:pt idx="4384">
                  <c:v>45219</c:v>
                </c:pt>
                <c:pt idx="4385">
                  <c:v>45222</c:v>
                </c:pt>
                <c:pt idx="4386">
                  <c:v>45223</c:v>
                </c:pt>
                <c:pt idx="4387">
                  <c:v>45224</c:v>
                </c:pt>
                <c:pt idx="4388">
                  <c:v>45225</c:v>
                </c:pt>
                <c:pt idx="4389">
                  <c:v>45226</c:v>
                </c:pt>
                <c:pt idx="4390">
                  <c:v>45229</c:v>
                </c:pt>
                <c:pt idx="4391">
                  <c:v>45230</c:v>
                </c:pt>
                <c:pt idx="4392">
                  <c:v>45231</c:v>
                </c:pt>
                <c:pt idx="4393">
                  <c:v>45232</c:v>
                </c:pt>
                <c:pt idx="4394">
                  <c:v>45233</c:v>
                </c:pt>
                <c:pt idx="4395">
                  <c:v>45236</c:v>
                </c:pt>
                <c:pt idx="4396">
                  <c:v>45237</c:v>
                </c:pt>
                <c:pt idx="4397">
                  <c:v>45238</c:v>
                </c:pt>
                <c:pt idx="4398">
                  <c:v>45239</c:v>
                </c:pt>
                <c:pt idx="4399">
                  <c:v>45240</c:v>
                </c:pt>
                <c:pt idx="4400">
                  <c:v>45243</c:v>
                </c:pt>
                <c:pt idx="4401">
                  <c:v>45244</c:v>
                </c:pt>
                <c:pt idx="4402">
                  <c:v>45245</c:v>
                </c:pt>
                <c:pt idx="4403">
                  <c:v>45246</c:v>
                </c:pt>
                <c:pt idx="4404">
                  <c:v>45247</c:v>
                </c:pt>
                <c:pt idx="4405">
                  <c:v>45250</c:v>
                </c:pt>
                <c:pt idx="4406">
                  <c:v>45251</c:v>
                </c:pt>
                <c:pt idx="4407">
                  <c:v>45252</c:v>
                </c:pt>
                <c:pt idx="4408">
                  <c:v>45253</c:v>
                </c:pt>
                <c:pt idx="4409">
                  <c:v>45254</c:v>
                </c:pt>
                <c:pt idx="4410">
                  <c:v>45257</c:v>
                </c:pt>
                <c:pt idx="4411">
                  <c:v>45258</c:v>
                </c:pt>
                <c:pt idx="4412">
                  <c:v>45259</c:v>
                </c:pt>
                <c:pt idx="4413">
                  <c:v>45260</c:v>
                </c:pt>
                <c:pt idx="4414">
                  <c:v>45261</c:v>
                </c:pt>
                <c:pt idx="4415">
                  <c:v>45264</c:v>
                </c:pt>
                <c:pt idx="4416">
                  <c:v>45265</c:v>
                </c:pt>
                <c:pt idx="4417">
                  <c:v>45266</c:v>
                </c:pt>
                <c:pt idx="4418">
                  <c:v>45267</c:v>
                </c:pt>
                <c:pt idx="4419">
                  <c:v>45268</c:v>
                </c:pt>
                <c:pt idx="4420">
                  <c:v>45271</c:v>
                </c:pt>
                <c:pt idx="4421">
                  <c:v>45272</c:v>
                </c:pt>
                <c:pt idx="4422">
                  <c:v>45273</c:v>
                </c:pt>
                <c:pt idx="4423">
                  <c:v>45274</c:v>
                </c:pt>
                <c:pt idx="4424">
                  <c:v>45275</c:v>
                </c:pt>
                <c:pt idx="4425">
                  <c:v>45278</c:v>
                </c:pt>
                <c:pt idx="4426">
                  <c:v>45279</c:v>
                </c:pt>
                <c:pt idx="4427">
                  <c:v>45280</c:v>
                </c:pt>
                <c:pt idx="4428">
                  <c:v>45281</c:v>
                </c:pt>
                <c:pt idx="4429">
                  <c:v>45282</c:v>
                </c:pt>
                <c:pt idx="4430">
                  <c:v>45285</c:v>
                </c:pt>
                <c:pt idx="4431">
                  <c:v>45286</c:v>
                </c:pt>
                <c:pt idx="4432">
                  <c:v>45287</c:v>
                </c:pt>
                <c:pt idx="4433">
                  <c:v>45288</c:v>
                </c:pt>
                <c:pt idx="4434">
                  <c:v>45289</c:v>
                </c:pt>
                <c:pt idx="4435">
                  <c:v>45292</c:v>
                </c:pt>
                <c:pt idx="4436">
                  <c:v>45293</c:v>
                </c:pt>
                <c:pt idx="4437">
                  <c:v>45294</c:v>
                </c:pt>
                <c:pt idx="4438">
                  <c:v>45295</c:v>
                </c:pt>
                <c:pt idx="4439">
                  <c:v>45296</c:v>
                </c:pt>
                <c:pt idx="4440">
                  <c:v>45299</c:v>
                </c:pt>
                <c:pt idx="4441">
                  <c:v>45300</c:v>
                </c:pt>
                <c:pt idx="4442">
                  <c:v>45301</c:v>
                </c:pt>
                <c:pt idx="4443">
                  <c:v>45302</c:v>
                </c:pt>
                <c:pt idx="4444">
                  <c:v>45303</c:v>
                </c:pt>
                <c:pt idx="4445">
                  <c:v>45306</c:v>
                </c:pt>
                <c:pt idx="4446">
                  <c:v>45307</c:v>
                </c:pt>
                <c:pt idx="4447">
                  <c:v>45308</c:v>
                </c:pt>
                <c:pt idx="4448">
                  <c:v>45309</c:v>
                </c:pt>
                <c:pt idx="4449">
                  <c:v>45310</c:v>
                </c:pt>
                <c:pt idx="4450">
                  <c:v>45313</c:v>
                </c:pt>
                <c:pt idx="4451">
                  <c:v>45314</c:v>
                </c:pt>
                <c:pt idx="4452">
                  <c:v>45315</c:v>
                </c:pt>
                <c:pt idx="4453">
                  <c:v>45316</c:v>
                </c:pt>
                <c:pt idx="4454">
                  <c:v>45317</c:v>
                </c:pt>
                <c:pt idx="4455">
                  <c:v>45320</c:v>
                </c:pt>
                <c:pt idx="4456">
                  <c:v>45321</c:v>
                </c:pt>
                <c:pt idx="4457">
                  <c:v>45322</c:v>
                </c:pt>
                <c:pt idx="4458">
                  <c:v>45323</c:v>
                </c:pt>
                <c:pt idx="4459">
                  <c:v>45324</c:v>
                </c:pt>
                <c:pt idx="4460">
                  <c:v>45327</c:v>
                </c:pt>
                <c:pt idx="4461">
                  <c:v>45328</c:v>
                </c:pt>
                <c:pt idx="4462">
                  <c:v>45329</c:v>
                </c:pt>
                <c:pt idx="4463">
                  <c:v>45330</c:v>
                </c:pt>
                <c:pt idx="4464">
                  <c:v>45331</c:v>
                </c:pt>
                <c:pt idx="4465">
                  <c:v>45334</c:v>
                </c:pt>
                <c:pt idx="4466">
                  <c:v>45335</c:v>
                </c:pt>
                <c:pt idx="4467">
                  <c:v>45336</c:v>
                </c:pt>
                <c:pt idx="4468">
                  <c:v>45337</c:v>
                </c:pt>
                <c:pt idx="4469">
                  <c:v>45338</c:v>
                </c:pt>
                <c:pt idx="4470">
                  <c:v>45341</c:v>
                </c:pt>
                <c:pt idx="4471">
                  <c:v>45342</c:v>
                </c:pt>
                <c:pt idx="4472">
                  <c:v>45343</c:v>
                </c:pt>
                <c:pt idx="4473">
                  <c:v>45344</c:v>
                </c:pt>
                <c:pt idx="4474">
                  <c:v>45345</c:v>
                </c:pt>
                <c:pt idx="4475">
                  <c:v>45348</c:v>
                </c:pt>
                <c:pt idx="4476">
                  <c:v>45349</c:v>
                </c:pt>
                <c:pt idx="4477">
                  <c:v>45350</c:v>
                </c:pt>
                <c:pt idx="4478">
                  <c:v>45351</c:v>
                </c:pt>
                <c:pt idx="4479">
                  <c:v>45352</c:v>
                </c:pt>
                <c:pt idx="4480">
                  <c:v>45355</c:v>
                </c:pt>
                <c:pt idx="4481">
                  <c:v>45356</c:v>
                </c:pt>
                <c:pt idx="4482">
                  <c:v>45357</c:v>
                </c:pt>
                <c:pt idx="4483">
                  <c:v>45358</c:v>
                </c:pt>
                <c:pt idx="4484">
                  <c:v>45359</c:v>
                </c:pt>
                <c:pt idx="4485">
                  <c:v>45362</c:v>
                </c:pt>
                <c:pt idx="4486">
                  <c:v>45363</c:v>
                </c:pt>
                <c:pt idx="4487">
                  <c:v>45364</c:v>
                </c:pt>
                <c:pt idx="4488">
                  <c:v>45365</c:v>
                </c:pt>
                <c:pt idx="4489">
                  <c:v>45366</c:v>
                </c:pt>
                <c:pt idx="4490">
                  <c:v>45369</c:v>
                </c:pt>
                <c:pt idx="4491">
                  <c:v>45370</c:v>
                </c:pt>
                <c:pt idx="4492">
                  <c:v>45371</c:v>
                </c:pt>
                <c:pt idx="4493">
                  <c:v>45372</c:v>
                </c:pt>
                <c:pt idx="4494">
                  <c:v>45373</c:v>
                </c:pt>
                <c:pt idx="4495">
                  <c:v>45376</c:v>
                </c:pt>
                <c:pt idx="4496">
                  <c:v>45377</c:v>
                </c:pt>
                <c:pt idx="4497">
                  <c:v>45378</c:v>
                </c:pt>
                <c:pt idx="4498">
                  <c:v>45379</c:v>
                </c:pt>
                <c:pt idx="4499">
                  <c:v>45380</c:v>
                </c:pt>
                <c:pt idx="4500">
                  <c:v>45383</c:v>
                </c:pt>
                <c:pt idx="4501">
                  <c:v>45384</c:v>
                </c:pt>
                <c:pt idx="4502">
                  <c:v>45385</c:v>
                </c:pt>
                <c:pt idx="4503">
                  <c:v>45386</c:v>
                </c:pt>
                <c:pt idx="4504">
                  <c:v>45387</c:v>
                </c:pt>
                <c:pt idx="4505">
                  <c:v>45390</c:v>
                </c:pt>
                <c:pt idx="4506">
                  <c:v>45391</c:v>
                </c:pt>
                <c:pt idx="4507">
                  <c:v>45392</c:v>
                </c:pt>
                <c:pt idx="4508">
                  <c:v>45393</c:v>
                </c:pt>
                <c:pt idx="4509">
                  <c:v>45394</c:v>
                </c:pt>
                <c:pt idx="4510">
                  <c:v>45397</c:v>
                </c:pt>
                <c:pt idx="4511">
                  <c:v>45398</c:v>
                </c:pt>
                <c:pt idx="4512">
                  <c:v>45399</c:v>
                </c:pt>
                <c:pt idx="4513">
                  <c:v>45400</c:v>
                </c:pt>
                <c:pt idx="4514">
                  <c:v>45401</c:v>
                </c:pt>
                <c:pt idx="4515">
                  <c:v>45404</c:v>
                </c:pt>
                <c:pt idx="4516">
                  <c:v>45405</c:v>
                </c:pt>
                <c:pt idx="4517">
                  <c:v>45406</c:v>
                </c:pt>
                <c:pt idx="4518">
                  <c:v>45407</c:v>
                </c:pt>
                <c:pt idx="4519">
                  <c:v>45408</c:v>
                </c:pt>
                <c:pt idx="4520">
                  <c:v>45411</c:v>
                </c:pt>
                <c:pt idx="4521">
                  <c:v>45412</c:v>
                </c:pt>
                <c:pt idx="4522">
                  <c:v>45413</c:v>
                </c:pt>
                <c:pt idx="4523">
                  <c:v>45414</c:v>
                </c:pt>
                <c:pt idx="4524">
                  <c:v>45415</c:v>
                </c:pt>
                <c:pt idx="4525">
                  <c:v>45418</c:v>
                </c:pt>
                <c:pt idx="4526">
                  <c:v>45419</c:v>
                </c:pt>
                <c:pt idx="4527">
                  <c:v>45420</c:v>
                </c:pt>
                <c:pt idx="4528">
                  <c:v>45421</c:v>
                </c:pt>
                <c:pt idx="4529">
                  <c:v>45422</c:v>
                </c:pt>
                <c:pt idx="4530">
                  <c:v>45425</c:v>
                </c:pt>
                <c:pt idx="4531">
                  <c:v>45426</c:v>
                </c:pt>
                <c:pt idx="4532">
                  <c:v>45427</c:v>
                </c:pt>
                <c:pt idx="4533">
                  <c:v>45428</c:v>
                </c:pt>
                <c:pt idx="4534">
                  <c:v>45429</c:v>
                </c:pt>
                <c:pt idx="4535">
                  <c:v>45432</c:v>
                </c:pt>
                <c:pt idx="4536">
                  <c:v>45433</c:v>
                </c:pt>
                <c:pt idx="4537">
                  <c:v>45434</c:v>
                </c:pt>
                <c:pt idx="4538">
                  <c:v>45435</c:v>
                </c:pt>
                <c:pt idx="4539">
                  <c:v>45436</c:v>
                </c:pt>
                <c:pt idx="4540">
                  <c:v>45439</c:v>
                </c:pt>
                <c:pt idx="4541">
                  <c:v>45440</c:v>
                </c:pt>
                <c:pt idx="4542">
                  <c:v>45441</c:v>
                </c:pt>
                <c:pt idx="4543">
                  <c:v>45442</c:v>
                </c:pt>
                <c:pt idx="4544">
                  <c:v>45443</c:v>
                </c:pt>
                <c:pt idx="4545">
                  <c:v>45446</c:v>
                </c:pt>
                <c:pt idx="4546">
                  <c:v>45447</c:v>
                </c:pt>
                <c:pt idx="4547">
                  <c:v>45448</c:v>
                </c:pt>
                <c:pt idx="4548">
                  <c:v>45449</c:v>
                </c:pt>
                <c:pt idx="4549">
                  <c:v>45450</c:v>
                </c:pt>
                <c:pt idx="4550">
                  <c:v>45453</c:v>
                </c:pt>
                <c:pt idx="4551">
                  <c:v>45454</c:v>
                </c:pt>
                <c:pt idx="4552">
                  <c:v>45455</c:v>
                </c:pt>
                <c:pt idx="4553">
                  <c:v>45456</c:v>
                </c:pt>
                <c:pt idx="4554">
                  <c:v>45457</c:v>
                </c:pt>
                <c:pt idx="4555">
                  <c:v>45460</c:v>
                </c:pt>
                <c:pt idx="4556">
                  <c:v>45461</c:v>
                </c:pt>
                <c:pt idx="4557">
                  <c:v>45462</c:v>
                </c:pt>
                <c:pt idx="4558">
                  <c:v>45463</c:v>
                </c:pt>
                <c:pt idx="4559">
                  <c:v>45464</c:v>
                </c:pt>
                <c:pt idx="4560">
                  <c:v>45467</c:v>
                </c:pt>
                <c:pt idx="4561">
                  <c:v>45468</c:v>
                </c:pt>
                <c:pt idx="4562">
                  <c:v>45469</c:v>
                </c:pt>
                <c:pt idx="4563">
                  <c:v>45470</c:v>
                </c:pt>
                <c:pt idx="4564">
                  <c:v>45471</c:v>
                </c:pt>
                <c:pt idx="4565">
                  <c:v>45474</c:v>
                </c:pt>
                <c:pt idx="4566">
                  <c:v>45475</c:v>
                </c:pt>
                <c:pt idx="4567">
                  <c:v>45476</c:v>
                </c:pt>
                <c:pt idx="4568">
                  <c:v>45477</c:v>
                </c:pt>
                <c:pt idx="4569">
                  <c:v>45478</c:v>
                </c:pt>
                <c:pt idx="4570">
                  <c:v>45481</c:v>
                </c:pt>
                <c:pt idx="4571">
                  <c:v>45482</c:v>
                </c:pt>
                <c:pt idx="4572">
                  <c:v>45483</c:v>
                </c:pt>
                <c:pt idx="4573">
                  <c:v>45484</c:v>
                </c:pt>
                <c:pt idx="4574">
                  <c:v>45485</c:v>
                </c:pt>
                <c:pt idx="4575">
                  <c:v>45488</c:v>
                </c:pt>
                <c:pt idx="4576">
                  <c:v>45489</c:v>
                </c:pt>
                <c:pt idx="4577">
                  <c:v>45490</c:v>
                </c:pt>
                <c:pt idx="4578">
                  <c:v>45491</c:v>
                </c:pt>
                <c:pt idx="4579">
                  <c:v>45492</c:v>
                </c:pt>
                <c:pt idx="4580">
                  <c:v>45495</c:v>
                </c:pt>
                <c:pt idx="4581">
                  <c:v>45496</c:v>
                </c:pt>
                <c:pt idx="4582">
                  <c:v>45497</c:v>
                </c:pt>
                <c:pt idx="4583">
                  <c:v>45498</c:v>
                </c:pt>
                <c:pt idx="4584">
                  <c:v>45499</c:v>
                </c:pt>
                <c:pt idx="4585">
                  <c:v>45502</c:v>
                </c:pt>
                <c:pt idx="4586">
                  <c:v>45503</c:v>
                </c:pt>
                <c:pt idx="4587">
                  <c:v>45504</c:v>
                </c:pt>
              </c:numCache>
            </c:numRef>
          </c:cat>
          <c:val>
            <c:numRef>
              <c:f>Worksheet!$F$8:$F$6089</c:f>
              <c:numCache>
                <c:formatCode>General</c:formatCode>
                <c:ptCount val="6082"/>
                <c:pt idx="0">
                  <c:v>14.420868243243241</c:v>
                </c:pt>
                <c:pt idx="1">
                  <c:v>14.420868243243241</c:v>
                </c:pt>
                <c:pt idx="2">
                  <c:v>14.420868243243241</c:v>
                </c:pt>
                <c:pt idx="3">
                  <c:v>14.420868243243241</c:v>
                </c:pt>
                <c:pt idx="4">
                  <c:v>14.420868243243241</c:v>
                </c:pt>
                <c:pt idx="5">
                  <c:v>14.420868243243241</c:v>
                </c:pt>
                <c:pt idx="6">
                  <c:v>14.420868243243241</c:v>
                </c:pt>
                <c:pt idx="7">
                  <c:v>14.420868243243241</c:v>
                </c:pt>
                <c:pt idx="8">
                  <c:v>14.420868243243241</c:v>
                </c:pt>
                <c:pt idx="9">
                  <c:v>14.420868243243241</c:v>
                </c:pt>
                <c:pt idx="10">
                  <c:v>14.420868243243241</c:v>
                </c:pt>
                <c:pt idx="11">
                  <c:v>14.420868243243241</c:v>
                </c:pt>
                <c:pt idx="12">
                  <c:v>14.420868243243241</c:v>
                </c:pt>
                <c:pt idx="13">
                  <c:v>14.420868243243241</c:v>
                </c:pt>
                <c:pt idx="14">
                  <c:v>14.420868243243241</c:v>
                </c:pt>
                <c:pt idx="15">
                  <c:v>14.420868243243241</c:v>
                </c:pt>
                <c:pt idx="16">
                  <c:v>14.420868243243241</c:v>
                </c:pt>
                <c:pt idx="17">
                  <c:v>14.420868243243241</c:v>
                </c:pt>
                <c:pt idx="18">
                  <c:v>14.420868243243241</c:v>
                </c:pt>
                <c:pt idx="19">
                  <c:v>14.420868243243241</c:v>
                </c:pt>
                <c:pt idx="20">
                  <c:v>14.420868243243241</c:v>
                </c:pt>
                <c:pt idx="21">
                  <c:v>14.420868243243241</c:v>
                </c:pt>
                <c:pt idx="22">
                  <c:v>14.420868243243241</c:v>
                </c:pt>
                <c:pt idx="23">
                  <c:v>14.420868243243241</c:v>
                </c:pt>
                <c:pt idx="24">
                  <c:v>14.420868243243241</c:v>
                </c:pt>
                <c:pt idx="25">
                  <c:v>14.420868243243241</c:v>
                </c:pt>
                <c:pt idx="26">
                  <c:v>14.420868243243241</c:v>
                </c:pt>
                <c:pt idx="27">
                  <c:v>14.420868243243241</c:v>
                </c:pt>
                <c:pt idx="28">
                  <c:v>14.420868243243241</c:v>
                </c:pt>
                <c:pt idx="29">
                  <c:v>14.420868243243241</c:v>
                </c:pt>
                <c:pt idx="30">
                  <c:v>14.420868243243241</c:v>
                </c:pt>
                <c:pt idx="31">
                  <c:v>14.420868243243241</c:v>
                </c:pt>
                <c:pt idx="32">
                  <c:v>14.420868243243241</c:v>
                </c:pt>
                <c:pt idx="33">
                  <c:v>14.420868243243241</c:v>
                </c:pt>
                <c:pt idx="34">
                  <c:v>14.420868243243241</c:v>
                </c:pt>
                <c:pt idx="35">
                  <c:v>14.420868243243241</c:v>
                </c:pt>
                <c:pt idx="36">
                  <c:v>14.420868243243241</c:v>
                </c:pt>
                <c:pt idx="37">
                  <c:v>14.420868243243241</c:v>
                </c:pt>
                <c:pt idx="38">
                  <c:v>14.420868243243241</c:v>
                </c:pt>
                <c:pt idx="39">
                  <c:v>14.420868243243241</c:v>
                </c:pt>
                <c:pt idx="40">
                  <c:v>14.420868243243241</c:v>
                </c:pt>
                <c:pt idx="41">
                  <c:v>14.420868243243241</c:v>
                </c:pt>
                <c:pt idx="42">
                  <c:v>14.420868243243241</c:v>
                </c:pt>
                <c:pt idx="43">
                  <c:v>14.420868243243241</c:v>
                </c:pt>
                <c:pt idx="44">
                  <c:v>14.420868243243241</c:v>
                </c:pt>
                <c:pt idx="45">
                  <c:v>14.420868243243241</c:v>
                </c:pt>
                <c:pt idx="46">
                  <c:v>14.420868243243241</c:v>
                </c:pt>
                <c:pt idx="47">
                  <c:v>14.420868243243241</c:v>
                </c:pt>
                <c:pt idx="48">
                  <c:v>14.420868243243241</c:v>
                </c:pt>
                <c:pt idx="49">
                  <c:v>14.420868243243241</c:v>
                </c:pt>
                <c:pt idx="50">
                  <c:v>14.420868243243241</c:v>
                </c:pt>
                <c:pt idx="51">
                  <c:v>14.420868243243241</c:v>
                </c:pt>
                <c:pt idx="52">
                  <c:v>14.420868243243241</c:v>
                </c:pt>
                <c:pt idx="53">
                  <c:v>14.420868243243241</c:v>
                </c:pt>
                <c:pt idx="54">
                  <c:v>14.420868243243241</c:v>
                </c:pt>
                <c:pt idx="55">
                  <c:v>14.420868243243241</c:v>
                </c:pt>
                <c:pt idx="56">
                  <c:v>14.420868243243241</c:v>
                </c:pt>
                <c:pt idx="57">
                  <c:v>14.420868243243241</c:v>
                </c:pt>
                <c:pt idx="58">
                  <c:v>14.420868243243241</c:v>
                </c:pt>
                <c:pt idx="59">
                  <c:v>14.420868243243241</c:v>
                </c:pt>
                <c:pt idx="60">
                  <c:v>14.420868243243241</c:v>
                </c:pt>
                <c:pt idx="61">
                  <c:v>14.420868243243241</c:v>
                </c:pt>
                <c:pt idx="62">
                  <c:v>14.420868243243241</c:v>
                </c:pt>
                <c:pt idx="63">
                  <c:v>14.420868243243241</c:v>
                </c:pt>
                <c:pt idx="64">
                  <c:v>14.420868243243241</c:v>
                </c:pt>
                <c:pt idx="65">
                  <c:v>14.420868243243241</c:v>
                </c:pt>
                <c:pt idx="66">
                  <c:v>14.420868243243241</c:v>
                </c:pt>
                <c:pt idx="67">
                  <c:v>14.420868243243241</c:v>
                </c:pt>
                <c:pt idx="68">
                  <c:v>14.420868243243241</c:v>
                </c:pt>
                <c:pt idx="69">
                  <c:v>14.420868243243241</c:v>
                </c:pt>
                <c:pt idx="70">
                  <c:v>14.420868243243241</c:v>
                </c:pt>
                <c:pt idx="71">
                  <c:v>14.420868243243241</c:v>
                </c:pt>
                <c:pt idx="72">
                  <c:v>14.420868243243241</c:v>
                </c:pt>
                <c:pt idx="73">
                  <c:v>14.420868243243241</c:v>
                </c:pt>
                <c:pt idx="74">
                  <c:v>14.420868243243241</c:v>
                </c:pt>
                <c:pt idx="75">
                  <c:v>14.420868243243241</c:v>
                </c:pt>
                <c:pt idx="76">
                  <c:v>14.420868243243241</c:v>
                </c:pt>
                <c:pt idx="77">
                  <c:v>14.420868243243241</c:v>
                </c:pt>
                <c:pt idx="78">
                  <c:v>14.420868243243241</c:v>
                </c:pt>
                <c:pt idx="79">
                  <c:v>14.420868243243241</c:v>
                </c:pt>
                <c:pt idx="80">
                  <c:v>14.420868243243241</c:v>
                </c:pt>
                <c:pt idx="81">
                  <c:v>14.420868243243241</c:v>
                </c:pt>
                <c:pt idx="82">
                  <c:v>14.420868243243241</c:v>
                </c:pt>
                <c:pt idx="83">
                  <c:v>14.420868243243241</c:v>
                </c:pt>
                <c:pt idx="84">
                  <c:v>14.420868243243241</c:v>
                </c:pt>
                <c:pt idx="85">
                  <c:v>14.420868243243241</c:v>
                </c:pt>
                <c:pt idx="86">
                  <c:v>14.420868243243241</c:v>
                </c:pt>
                <c:pt idx="87">
                  <c:v>14.420868243243241</c:v>
                </c:pt>
                <c:pt idx="88">
                  <c:v>14.420868243243241</c:v>
                </c:pt>
                <c:pt idx="89">
                  <c:v>14.420868243243241</c:v>
                </c:pt>
                <c:pt idx="90">
                  <c:v>14.420868243243241</c:v>
                </c:pt>
                <c:pt idx="91">
                  <c:v>14.420868243243241</c:v>
                </c:pt>
                <c:pt idx="92">
                  <c:v>14.420868243243241</c:v>
                </c:pt>
                <c:pt idx="93">
                  <c:v>14.420868243243241</c:v>
                </c:pt>
                <c:pt idx="94">
                  <c:v>14.420868243243241</c:v>
                </c:pt>
                <c:pt idx="95">
                  <c:v>14.420868243243241</c:v>
                </c:pt>
                <c:pt idx="96">
                  <c:v>14.420868243243241</c:v>
                </c:pt>
                <c:pt idx="97">
                  <c:v>14.420868243243241</c:v>
                </c:pt>
                <c:pt idx="98">
                  <c:v>14.420868243243241</c:v>
                </c:pt>
                <c:pt idx="99">
                  <c:v>14.420868243243241</c:v>
                </c:pt>
                <c:pt idx="100">
                  <c:v>14.420868243243241</c:v>
                </c:pt>
                <c:pt idx="101">
                  <c:v>14.420868243243241</c:v>
                </c:pt>
                <c:pt idx="102">
                  <c:v>14.420868243243241</c:v>
                </c:pt>
                <c:pt idx="103">
                  <c:v>14.420868243243241</c:v>
                </c:pt>
                <c:pt idx="104">
                  <c:v>14.420868243243241</c:v>
                </c:pt>
                <c:pt idx="105">
                  <c:v>14.420868243243241</c:v>
                </c:pt>
                <c:pt idx="106">
                  <c:v>14.420868243243241</c:v>
                </c:pt>
                <c:pt idx="107">
                  <c:v>14.420868243243241</c:v>
                </c:pt>
                <c:pt idx="108">
                  <c:v>14.420868243243241</c:v>
                </c:pt>
                <c:pt idx="109">
                  <c:v>14.420868243243241</c:v>
                </c:pt>
                <c:pt idx="110">
                  <c:v>14.420868243243241</c:v>
                </c:pt>
                <c:pt idx="111">
                  <c:v>14.420868243243241</c:v>
                </c:pt>
                <c:pt idx="112">
                  <c:v>14.420868243243241</c:v>
                </c:pt>
                <c:pt idx="113">
                  <c:v>14.420868243243241</c:v>
                </c:pt>
                <c:pt idx="114">
                  <c:v>14.420868243243241</c:v>
                </c:pt>
                <c:pt idx="115">
                  <c:v>14.420868243243241</c:v>
                </c:pt>
                <c:pt idx="116">
                  <c:v>14.420868243243241</c:v>
                </c:pt>
                <c:pt idx="117">
                  <c:v>14.420868243243241</c:v>
                </c:pt>
                <c:pt idx="118">
                  <c:v>14.420868243243241</c:v>
                </c:pt>
                <c:pt idx="119">
                  <c:v>14.420868243243241</c:v>
                </c:pt>
                <c:pt idx="120">
                  <c:v>14.420868243243241</c:v>
                </c:pt>
                <c:pt idx="121">
                  <c:v>14.420868243243241</c:v>
                </c:pt>
                <c:pt idx="122">
                  <c:v>14.420868243243241</c:v>
                </c:pt>
                <c:pt idx="123">
                  <c:v>14.420868243243241</c:v>
                </c:pt>
                <c:pt idx="124">
                  <c:v>14.420868243243241</c:v>
                </c:pt>
                <c:pt idx="125">
                  <c:v>14.420868243243241</c:v>
                </c:pt>
                <c:pt idx="126">
                  <c:v>14.420868243243241</c:v>
                </c:pt>
                <c:pt idx="127">
                  <c:v>14.420868243243241</c:v>
                </c:pt>
                <c:pt idx="128">
                  <c:v>14.420868243243241</c:v>
                </c:pt>
                <c:pt idx="129">
                  <c:v>14.420868243243241</c:v>
                </c:pt>
                <c:pt idx="130">
                  <c:v>14.420868243243241</c:v>
                </c:pt>
                <c:pt idx="131">
                  <c:v>14.420868243243241</c:v>
                </c:pt>
                <c:pt idx="132">
                  <c:v>14.420868243243241</c:v>
                </c:pt>
                <c:pt idx="133">
                  <c:v>14.420868243243241</c:v>
                </c:pt>
                <c:pt idx="134">
                  <c:v>14.420868243243241</c:v>
                </c:pt>
                <c:pt idx="135">
                  <c:v>14.420868243243241</c:v>
                </c:pt>
                <c:pt idx="136">
                  <c:v>14.420868243243241</c:v>
                </c:pt>
                <c:pt idx="137">
                  <c:v>14.420868243243241</c:v>
                </c:pt>
                <c:pt idx="138">
                  <c:v>14.420868243243241</c:v>
                </c:pt>
                <c:pt idx="139">
                  <c:v>14.420868243243241</c:v>
                </c:pt>
                <c:pt idx="140">
                  <c:v>14.420868243243241</c:v>
                </c:pt>
                <c:pt idx="141">
                  <c:v>14.420868243243241</c:v>
                </c:pt>
                <c:pt idx="142">
                  <c:v>14.420868243243241</c:v>
                </c:pt>
                <c:pt idx="143">
                  <c:v>14.420868243243241</c:v>
                </c:pt>
                <c:pt idx="144">
                  <c:v>14.420868243243241</c:v>
                </c:pt>
                <c:pt idx="145">
                  <c:v>14.420868243243241</c:v>
                </c:pt>
                <c:pt idx="146">
                  <c:v>14.420868243243241</c:v>
                </c:pt>
                <c:pt idx="147">
                  <c:v>14.420868243243241</c:v>
                </c:pt>
                <c:pt idx="148">
                  <c:v>14.420868243243241</c:v>
                </c:pt>
                <c:pt idx="149">
                  <c:v>14.420868243243241</c:v>
                </c:pt>
                <c:pt idx="150">
                  <c:v>14.420868243243241</c:v>
                </c:pt>
                <c:pt idx="151">
                  <c:v>14.420868243243241</c:v>
                </c:pt>
                <c:pt idx="152">
                  <c:v>14.420868243243241</c:v>
                </c:pt>
                <c:pt idx="153">
                  <c:v>14.420868243243241</c:v>
                </c:pt>
                <c:pt idx="154">
                  <c:v>14.420868243243241</c:v>
                </c:pt>
                <c:pt idx="155">
                  <c:v>14.420868243243241</c:v>
                </c:pt>
                <c:pt idx="156">
                  <c:v>14.420868243243241</c:v>
                </c:pt>
                <c:pt idx="157">
                  <c:v>14.420868243243241</c:v>
                </c:pt>
                <c:pt idx="158">
                  <c:v>14.420868243243241</c:v>
                </c:pt>
                <c:pt idx="159">
                  <c:v>14.420868243243241</c:v>
                </c:pt>
                <c:pt idx="160">
                  <c:v>14.420868243243241</c:v>
                </c:pt>
                <c:pt idx="161">
                  <c:v>14.420868243243241</c:v>
                </c:pt>
                <c:pt idx="162">
                  <c:v>14.420868243243241</c:v>
                </c:pt>
                <c:pt idx="163">
                  <c:v>14.420868243243241</c:v>
                </c:pt>
                <c:pt idx="164">
                  <c:v>14.420868243243241</c:v>
                </c:pt>
                <c:pt idx="165">
                  <c:v>14.420868243243241</c:v>
                </c:pt>
                <c:pt idx="166">
                  <c:v>14.420868243243241</c:v>
                </c:pt>
                <c:pt idx="167">
                  <c:v>14.420868243243241</c:v>
                </c:pt>
                <c:pt idx="168">
                  <c:v>14.420868243243241</c:v>
                </c:pt>
                <c:pt idx="169">
                  <c:v>14.420868243243241</c:v>
                </c:pt>
                <c:pt idx="170">
                  <c:v>14.420868243243241</c:v>
                </c:pt>
                <c:pt idx="171">
                  <c:v>14.420868243243241</c:v>
                </c:pt>
                <c:pt idx="172">
                  <c:v>14.420868243243241</c:v>
                </c:pt>
                <c:pt idx="173">
                  <c:v>14.420868243243241</c:v>
                </c:pt>
                <c:pt idx="174">
                  <c:v>14.420868243243241</c:v>
                </c:pt>
                <c:pt idx="175">
                  <c:v>14.420868243243241</c:v>
                </c:pt>
                <c:pt idx="176">
                  <c:v>14.420868243243241</c:v>
                </c:pt>
                <c:pt idx="177">
                  <c:v>14.420868243243241</c:v>
                </c:pt>
                <c:pt idx="178">
                  <c:v>14.420868243243241</c:v>
                </c:pt>
                <c:pt idx="179">
                  <c:v>14.420868243243241</c:v>
                </c:pt>
                <c:pt idx="180">
                  <c:v>14.420868243243241</c:v>
                </c:pt>
                <c:pt idx="181">
                  <c:v>14.420868243243241</c:v>
                </c:pt>
                <c:pt idx="182">
                  <c:v>14.420868243243241</c:v>
                </c:pt>
                <c:pt idx="183">
                  <c:v>14.420868243243241</c:v>
                </c:pt>
                <c:pt idx="184">
                  <c:v>14.420868243243241</c:v>
                </c:pt>
                <c:pt idx="185">
                  <c:v>14.420868243243241</c:v>
                </c:pt>
                <c:pt idx="186">
                  <c:v>14.420868243243241</c:v>
                </c:pt>
                <c:pt idx="187">
                  <c:v>14.420868243243241</c:v>
                </c:pt>
                <c:pt idx="188">
                  <c:v>14.420868243243241</c:v>
                </c:pt>
                <c:pt idx="189">
                  <c:v>14.420868243243241</c:v>
                </c:pt>
                <c:pt idx="190">
                  <c:v>14.420868243243241</c:v>
                </c:pt>
                <c:pt idx="191">
                  <c:v>14.420868243243241</c:v>
                </c:pt>
                <c:pt idx="192">
                  <c:v>14.420868243243241</c:v>
                </c:pt>
                <c:pt idx="193">
                  <c:v>14.420868243243241</c:v>
                </c:pt>
                <c:pt idx="194">
                  <c:v>14.420868243243241</c:v>
                </c:pt>
                <c:pt idx="195">
                  <c:v>14.420868243243241</c:v>
                </c:pt>
                <c:pt idx="196">
                  <c:v>14.420868243243241</c:v>
                </c:pt>
                <c:pt idx="197">
                  <c:v>14.420868243243241</c:v>
                </c:pt>
                <c:pt idx="198">
                  <c:v>14.420868243243241</c:v>
                </c:pt>
                <c:pt idx="199">
                  <c:v>14.420868243243241</c:v>
                </c:pt>
                <c:pt idx="200">
                  <c:v>14.420868243243241</c:v>
                </c:pt>
                <c:pt idx="201">
                  <c:v>14.420868243243241</c:v>
                </c:pt>
                <c:pt idx="202">
                  <c:v>14.420868243243241</c:v>
                </c:pt>
                <c:pt idx="203">
                  <c:v>14.420868243243241</c:v>
                </c:pt>
                <c:pt idx="204">
                  <c:v>14.420868243243241</c:v>
                </c:pt>
                <c:pt idx="205">
                  <c:v>14.420868243243241</c:v>
                </c:pt>
                <c:pt idx="206">
                  <c:v>14.420868243243241</c:v>
                </c:pt>
                <c:pt idx="207">
                  <c:v>14.420868243243241</c:v>
                </c:pt>
                <c:pt idx="208">
                  <c:v>14.420868243243241</c:v>
                </c:pt>
                <c:pt idx="209">
                  <c:v>14.420868243243241</c:v>
                </c:pt>
                <c:pt idx="210">
                  <c:v>14.420868243243241</c:v>
                </c:pt>
                <c:pt idx="211">
                  <c:v>14.420868243243241</c:v>
                </c:pt>
                <c:pt idx="212">
                  <c:v>14.420868243243241</c:v>
                </c:pt>
                <c:pt idx="213">
                  <c:v>14.420868243243241</c:v>
                </c:pt>
                <c:pt idx="214">
                  <c:v>14.420868243243241</c:v>
                </c:pt>
                <c:pt idx="215">
                  <c:v>14.420868243243241</c:v>
                </c:pt>
                <c:pt idx="216">
                  <c:v>14.420868243243241</c:v>
                </c:pt>
                <c:pt idx="217">
                  <c:v>14.420868243243241</c:v>
                </c:pt>
                <c:pt idx="218">
                  <c:v>14.420868243243241</c:v>
                </c:pt>
                <c:pt idx="219">
                  <c:v>14.420868243243241</c:v>
                </c:pt>
                <c:pt idx="220">
                  <c:v>14.420868243243241</c:v>
                </c:pt>
                <c:pt idx="221">
                  <c:v>14.420868243243241</c:v>
                </c:pt>
                <c:pt idx="222">
                  <c:v>14.420868243243241</c:v>
                </c:pt>
                <c:pt idx="223">
                  <c:v>14.420868243243241</c:v>
                </c:pt>
                <c:pt idx="224">
                  <c:v>14.420868243243241</c:v>
                </c:pt>
                <c:pt idx="225">
                  <c:v>14.420868243243241</c:v>
                </c:pt>
                <c:pt idx="226">
                  <c:v>14.420868243243241</c:v>
                </c:pt>
                <c:pt idx="227">
                  <c:v>14.420868243243241</c:v>
                </c:pt>
                <c:pt idx="228">
                  <c:v>14.420868243243241</c:v>
                </c:pt>
                <c:pt idx="229">
                  <c:v>14.420868243243241</c:v>
                </c:pt>
                <c:pt idx="230">
                  <c:v>14.420868243243241</c:v>
                </c:pt>
                <c:pt idx="231">
                  <c:v>14.420868243243241</c:v>
                </c:pt>
                <c:pt idx="232">
                  <c:v>14.420868243243241</c:v>
                </c:pt>
                <c:pt idx="233">
                  <c:v>14.420868243243241</c:v>
                </c:pt>
                <c:pt idx="234">
                  <c:v>14.420868243243241</c:v>
                </c:pt>
                <c:pt idx="235">
                  <c:v>14.420868243243241</c:v>
                </c:pt>
                <c:pt idx="236">
                  <c:v>14.420868243243241</c:v>
                </c:pt>
                <c:pt idx="237">
                  <c:v>14.420868243243241</c:v>
                </c:pt>
                <c:pt idx="238">
                  <c:v>14.420868243243241</c:v>
                </c:pt>
                <c:pt idx="239">
                  <c:v>14.420868243243241</c:v>
                </c:pt>
                <c:pt idx="240">
                  <c:v>14.420868243243241</c:v>
                </c:pt>
                <c:pt idx="241">
                  <c:v>14.420868243243241</c:v>
                </c:pt>
                <c:pt idx="242">
                  <c:v>14.420868243243241</c:v>
                </c:pt>
                <c:pt idx="243">
                  <c:v>14.420868243243241</c:v>
                </c:pt>
                <c:pt idx="244">
                  <c:v>14.420868243243241</c:v>
                </c:pt>
                <c:pt idx="245">
                  <c:v>14.420868243243241</c:v>
                </c:pt>
                <c:pt idx="246">
                  <c:v>14.420868243243241</c:v>
                </c:pt>
                <c:pt idx="247">
                  <c:v>14.420868243243241</c:v>
                </c:pt>
                <c:pt idx="248">
                  <c:v>14.420868243243241</c:v>
                </c:pt>
                <c:pt idx="249">
                  <c:v>14.420868243243241</c:v>
                </c:pt>
                <c:pt idx="250">
                  <c:v>14.420868243243241</c:v>
                </c:pt>
                <c:pt idx="251">
                  <c:v>14.420868243243241</c:v>
                </c:pt>
                <c:pt idx="252">
                  <c:v>14.420868243243241</c:v>
                </c:pt>
                <c:pt idx="253">
                  <c:v>14.420868243243241</c:v>
                </c:pt>
                <c:pt idx="254">
                  <c:v>14.420868243243241</c:v>
                </c:pt>
                <c:pt idx="255">
                  <c:v>14.420868243243241</c:v>
                </c:pt>
                <c:pt idx="256">
                  <c:v>14.420868243243241</c:v>
                </c:pt>
                <c:pt idx="257">
                  <c:v>14.420868243243241</c:v>
                </c:pt>
                <c:pt idx="258">
                  <c:v>14.420868243243241</c:v>
                </c:pt>
                <c:pt idx="259">
                  <c:v>14.420868243243241</c:v>
                </c:pt>
                <c:pt idx="260">
                  <c:v>14.420868243243241</c:v>
                </c:pt>
                <c:pt idx="261">
                  <c:v>14.420868243243241</c:v>
                </c:pt>
                <c:pt idx="262">
                  <c:v>14.420868243243241</c:v>
                </c:pt>
                <c:pt idx="263">
                  <c:v>14.420868243243241</c:v>
                </c:pt>
                <c:pt idx="264">
                  <c:v>14.420868243243241</c:v>
                </c:pt>
                <c:pt idx="265">
                  <c:v>14.420868243243241</c:v>
                </c:pt>
                <c:pt idx="266">
                  <c:v>14.420868243243241</c:v>
                </c:pt>
                <c:pt idx="267">
                  <c:v>14.420868243243241</c:v>
                </c:pt>
                <c:pt idx="268">
                  <c:v>14.420868243243241</c:v>
                </c:pt>
                <c:pt idx="269">
                  <c:v>14.420868243243241</c:v>
                </c:pt>
                <c:pt idx="270">
                  <c:v>14.420868243243241</c:v>
                </c:pt>
                <c:pt idx="271">
                  <c:v>14.420868243243241</c:v>
                </c:pt>
                <c:pt idx="272">
                  <c:v>14.420868243243241</c:v>
                </c:pt>
                <c:pt idx="273">
                  <c:v>14.420868243243241</c:v>
                </c:pt>
                <c:pt idx="274">
                  <c:v>14.420868243243241</c:v>
                </c:pt>
                <c:pt idx="275">
                  <c:v>14.420868243243241</c:v>
                </c:pt>
                <c:pt idx="276">
                  <c:v>14.420868243243241</c:v>
                </c:pt>
                <c:pt idx="277">
                  <c:v>14.420868243243241</c:v>
                </c:pt>
                <c:pt idx="278">
                  <c:v>14.420868243243241</c:v>
                </c:pt>
                <c:pt idx="279">
                  <c:v>14.420868243243241</c:v>
                </c:pt>
                <c:pt idx="280">
                  <c:v>14.420868243243241</c:v>
                </c:pt>
                <c:pt idx="281">
                  <c:v>14.420868243243241</c:v>
                </c:pt>
                <c:pt idx="282">
                  <c:v>14.420868243243241</c:v>
                </c:pt>
                <c:pt idx="283">
                  <c:v>14.420868243243241</c:v>
                </c:pt>
                <c:pt idx="284">
                  <c:v>14.420868243243241</c:v>
                </c:pt>
                <c:pt idx="285">
                  <c:v>14.420868243243241</c:v>
                </c:pt>
                <c:pt idx="286">
                  <c:v>14.420868243243241</c:v>
                </c:pt>
                <c:pt idx="287">
                  <c:v>14.420868243243241</c:v>
                </c:pt>
                <c:pt idx="288">
                  <c:v>14.420868243243241</c:v>
                </c:pt>
                <c:pt idx="289">
                  <c:v>14.420868243243241</c:v>
                </c:pt>
                <c:pt idx="290">
                  <c:v>14.420868243243241</c:v>
                </c:pt>
                <c:pt idx="291">
                  <c:v>14.420868243243241</c:v>
                </c:pt>
                <c:pt idx="292">
                  <c:v>14.420868243243241</c:v>
                </c:pt>
                <c:pt idx="293">
                  <c:v>14.420868243243241</c:v>
                </c:pt>
                <c:pt idx="294">
                  <c:v>14.420868243243241</c:v>
                </c:pt>
                <c:pt idx="295">
                  <c:v>14.420868243243241</c:v>
                </c:pt>
                <c:pt idx="296">
                  <c:v>14.420868243243241</c:v>
                </c:pt>
                <c:pt idx="297">
                  <c:v>14.420868243243241</c:v>
                </c:pt>
                <c:pt idx="298">
                  <c:v>14.420868243243241</c:v>
                </c:pt>
                <c:pt idx="299">
                  <c:v>14.420868243243241</c:v>
                </c:pt>
                <c:pt idx="300">
                  <c:v>14.420868243243241</c:v>
                </c:pt>
                <c:pt idx="301">
                  <c:v>14.420868243243241</c:v>
                </c:pt>
                <c:pt idx="302">
                  <c:v>14.420868243243241</c:v>
                </c:pt>
                <c:pt idx="303">
                  <c:v>14.420868243243241</c:v>
                </c:pt>
                <c:pt idx="304">
                  <c:v>14.420868243243241</c:v>
                </c:pt>
                <c:pt idx="305">
                  <c:v>14.420868243243241</c:v>
                </c:pt>
                <c:pt idx="306">
                  <c:v>14.420868243243241</c:v>
                </c:pt>
                <c:pt idx="307">
                  <c:v>14.420868243243241</c:v>
                </c:pt>
                <c:pt idx="308">
                  <c:v>14.420868243243241</c:v>
                </c:pt>
                <c:pt idx="309">
                  <c:v>14.420868243243241</c:v>
                </c:pt>
                <c:pt idx="310">
                  <c:v>14.420868243243241</c:v>
                </c:pt>
                <c:pt idx="311">
                  <c:v>14.420868243243241</c:v>
                </c:pt>
                <c:pt idx="312">
                  <c:v>14.420868243243241</c:v>
                </c:pt>
                <c:pt idx="313">
                  <c:v>14.420868243243241</c:v>
                </c:pt>
                <c:pt idx="314">
                  <c:v>14.420868243243241</c:v>
                </c:pt>
                <c:pt idx="315">
                  <c:v>14.420868243243241</c:v>
                </c:pt>
                <c:pt idx="316">
                  <c:v>14.420868243243241</c:v>
                </c:pt>
                <c:pt idx="317">
                  <c:v>14.420868243243241</c:v>
                </c:pt>
                <c:pt idx="318">
                  <c:v>14.420868243243241</c:v>
                </c:pt>
                <c:pt idx="319">
                  <c:v>14.420868243243241</c:v>
                </c:pt>
                <c:pt idx="320">
                  <c:v>14.420868243243241</c:v>
                </c:pt>
                <c:pt idx="321">
                  <c:v>14.420868243243241</c:v>
                </c:pt>
                <c:pt idx="322">
                  <c:v>14.420868243243241</c:v>
                </c:pt>
                <c:pt idx="323">
                  <c:v>14.420868243243241</c:v>
                </c:pt>
                <c:pt idx="324">
                  <c:v>14.420868243243241</c:v>
                </c:pt>
                <c:pt idx="325">
                  <c:v>14.420868243243241</c:v>
                </c:pt>
                <c:pt idx="326">
                  <c:v>14.420868243243241</c:v>
                </c:pt>
                <c:pt idx="327">
                  <c:v>14.420868243243241</c:v>
                </c:pt>
                <c:pt idx="328">
                  <c:v>14.420868243243241</c:v>
                </c:pt>
                <c:pt idx="329">
                  <c:v>14.420868243243241</c:v>
                </c:pt>
                <c:pt idx="330">
                  <c:v>14.420868243243241</c:v>
                </c:pt>
                <c:pt idx="331">
                  <c:v>14.420868243243241</c:v>
                </c:pt>
                <c:pt idx="332">
                  <c:v>14.420868243243241</c:v>
                </c:pt>
                <c:pt idx="333">
                  <c:v>14.420868243243241</c:v>
                </c:pt>
                <c:pt idx="334">
                  <c:v>14.420868243243241</c:v>
                </c:pt>
                <c:pt idx="335">
                  <c:v>14.420868243243241</c:v>
                </c:pt>
                <c:pt idx="336">
                  <c:v>14.420868243243241</c:v>
                </c:pt>
                <c:pt idx="337">
                  <c:v>14.420868243243241</c:v>
                </c:pt>
                <c:pt idx="338">
                  <c:v>14.420868243243241</c:v>
                </c:pt>
                <c:pt idx="339">
                  <c:v>14.420868243243241</c:v>
                </c:pt>
                <c:pt idx="340">
                  <c:v>14.420868243243241</c:v>
                </c:pt>
                <c:pt idx="341">
                  <c:v>14.420868243243241</c:v>
                </c:pt>
                <c:pt idx="342">
                  <c:v>14.420868243243241</c:v>
                </c:pt>
                <c:pt idx="343">
                  <c:v>14.420868243243241</c:v>
                </c:pt>
                <c:pt idx="344">
                  <c:v>14.420868243243241</c:v>
                </c:pt>
                <c:pt idx="345">
                  <c:v>14.420868243243241</c:v>
                </c:pt>
                <c:pt idx="346">
                  <c:v>14.420868243243241</c:v>
                </c:pt>
                <c:pt idx="347">
                  <c:v>14.420868243243241</c:v>
                </c:pt>
                <c:pt idx="348">
                  <c:v>14.420868243243241</c:v>
                </c:pt>
                <c:pt idx="349">
                  <c:v>14.420868243243241</c:v>
                </c:pt>
                <c:pt idx="350">
                  <c:v>14.420868243243241</c:v>
                </c:pt>
                <c:pt idx="351">
                  <c:v>14.420868243243241</c:v>
                </c:pt>
                <c:pt idx="352">
                  <c:v>14.420868243243241</c:v>
                </c:pt>
                <c:pt idx="353">
                  <c:v>14.420868243243241</c:v>
                </c:pt>
                <c:pt idx="354">
                  <c:v>14.420868243243241</c:v>
                </c:pt>
                <c:pt idx="355">
                  <c:v>14.420868243243241</c:v>
                </c:pt>
                <c:pt idx="356">
                  <c:v>14.420868243243241</c:v>
                </c:pt>
                <c:pt idx="357">
                  <c:v>14.420868243243241</c:v>
                </c:pt>
                <c:pt idx="358">
                  <c:v>14.420868243243241</c:v>
                </c:pt>
                <c:pt idx="359">
                  <c:v>14.420868243243241</c:v>
                </c:pt>
                <c:pt idx="360">
                  <c:v>14.420868243243241</c:v>
                </c:pt>
                <c:pt idx="361">
                  <c:v>14.420868243243241</c:v>
                </c:pt>
                <c:pt idx="362">
                  <c:v>14.420868243243241</c:v>
                </c:pt>
                <c:pt idx="363">
                  <c:v>14.420868243243241</c:v>
                </c:pt>
                <c:pt idx="364">
                  <c:v>14.420868243243241</c:v>
                </c:pt>
                <c:pt idx="365">
                  <c:v>14.420868243243241</c:v>
                </c:pt>
                <c:pt idx="366">
                  <c:v>14.420868243243241</c:v>
                </c:pt>
                <c:pt idx="367">
                  <c:v>14.420868243243241</c:v>
                </c:pt>
                <c:pt idx="368">
                  <c:v>14.420868243243241</c:v>
                </c:pt>
                <c:pt idx="369">
                  <c:v>14.420868243243241</c:v>
                </c:pt>
                <c:pt idx="370">
                  <c:v>14.420868243243241</c:v>
                </c:pt>
                <c:pt idx="371">
                  <c:v>14.420868243243241</c:v>
                </c:pt>
                <c:pt idx="372">
                  <c:v>14.420868243243241</c:v>
                </c:pt>
                <c:pt idx="373">
                  <c:v>14.420868243243241</c:v>
                </c:pt>
                <c:pt idx="374">
                  <c:v>14.420868243243241</c:v>
                </c:pt>
                <c:pt idx="375">
                  <c:v>14.420868243243241</c:v>
                </c:pt>
                <c:pt idx="376">
                  <c:v>14.420868243243241</c:v>
                </c:pt>
                <c:pt idx="377">
                  <c:v>14.420868243243241</c:v>
                </c:pt>
                <c:pt idx="378">
                  <c:v>14.420868243243241</c:v>
                </c:pt>
                <c:pt idx="379">
                  <c:v>14.420868243243241</c:v>
                </c:pt>
                <c:pt idx="380">
                  <c:v>14.420868243243241</c:v>
                </c:pt>
                <c:pt idx="381">
                  <c:v>14.420868243243241</c:v>
                </c:pt>
                <c:pt idx="382">
                  <c:v>14.420868243243241</c:v>
                </c:pt>
                <c:pt idx="383">
                  <c:v>14.420868243243241</c:v>
                </c:pt>
                <c:pt idx="384">
                  <c:v>14.420868243243241</c:v>
                </c:pt>
                <c:pt idx="385">
                  <c:v>14.420868243243241</c:v>
                </c:pt>
                <c:pt idx="386">
                  <c:v>14.420868243243241</c:v>
                </c:pt>
                <c:pt idx="387">
                  <c:v>14.420868243243241</c:v>
                </c:pt>
                <c:pt idx="388">
                  <c:v>14.420868243243241</c:v>
                </c:pt>
                <c:pt idx="389">
                  <c:v>14.420868243243241</c:v>
                </c:pt>
                <c:pt idx="390">
                  <c:v>14.420868243243241</c:v>
                </c:pt>
                <c:pt idx="391">
                  <c:v>14.420868243243241</c:v>
                </c:pt>
                <c:pt idx="392">
                  <c:v>14.420868243243241</c:v>
                </c:pt>
                <c:pt idx="393">
                  <c:v>14.420868243243241</c:v>
                </c:pt>
                <c:pt idx="394">
                  <c:v>14.420868243243241</c:v>
                </c:pt>
                <c:pt idx="395">
                  <c:v>14.420868243243241</c:v>
                </c:pt>
                <c:pt idx="396">
                  <c:v>14.420868243243241</c:v>
                </c:pt>
                <c:pt idx="397">
                  <c:v>14.420868243243241</c:v>
                </c:pt>
                <c:pt idx="398">
                  <c:v>14.420868243243241</c:v>
                </c:pt>
                <c:pt idx="399">
                  <c:v>14.420868243243241</c:v>
                </c:pt>
                <c:pt idx="400">
                  <c:v>14.420868243243241</c:v>
                </c:pt>
                <c:pt idx="401">
                  <c:v>14.420868243243241</c:v>
                </c:pt>
                <c:pt idx="402">
                  <c:v>14.420868243243241</c:v>
                </c:pt>
                <c:pt idx="403">
                  <c:v>14.420868243243241</c:v>
                </c:pt>
                <c:pt idx="404">
                  <c:v>14.420868243243241</c:v>
                </c:pt>
                <c:pt idx="405">
                  <c:v>14.420868243243241</c:v>
                </c:pt>
                <c:pt idx="406">
                  <c:v>14.420868243243241</c:v>
                </c:pt>
                <c:pt idx="407">
                  <c:v>14.420868243243241</c:v>
                </c:pt>
                <c:pt idx="408">
                  <c:v>14.420868243243241</c:v>
                </c:pt>
                <c:pt idx="409">
                  <c:v>14.420868243243241</c:v>
                </c:pt>
                <c:pt idx="410">
                  <c:v>14.420868243243241</c:v>
                </c:pt>
                <c:pt idx="411">
                  <c:v>14.420868243243241</c:v>
                </c:pt>
                <c:pt idx="412">
                  <c:v>14.420868243243241</c:v>
                </c:pt>
                <c:pt idx="413">
                  <c:v>14.420868243243241</c:v>
                </c:pt>
                <c:pt idx="414">
                  <c:v>14.420868243243241</c:v>
                </c:pt>
                <c:pt idx="415">
                  <c:v>14.420868243243241</c:v>
                </c:pt>
                <c:pt idx="416">
                  <c:v>14.420868243243241</c:v>
                </c:pt>
                <c:pt idx="417">
                  <c:v>14.420868243243241</c:v>
                </c:pt>
                <c:pt idx="418">
                  <c:v>14.420868243243241</c:v>
                </c:pt>
                <c:pt idx="419">
                  <c:v>14.420868243243241</c:v>
                </c:pt>
                <c:pt idx="420">
                  <c:v>14.420868243243241</c:v>
                </c:pt>
                <c:pt idx="421">
                  <c:v>14.420868243243241</c:v>
                </c:pt>
                <c:pt idx="422">
                  <c:v>14.420868243243241</c:v>
                </c:pt>
                <c:pt idx="423">
                  <c:v>14.420868243243241</c:v>
                </c:pt>
                <c:pt idx="424">
                  <c:v>14.420868243243241</c:v>
                </c:pt>
                <c:pt idx="425">
                  <c:v>14.420868243243241</c:v>
                </c:pt>
                <c:pt idx="426">
                  <c:v>14.420868243243241</c:v>
                </c:pt>
                <c:pt idx="427">
                  <c:v>14.420868243243241</c:v>
                </c:pt>
                <c:pt idx="428">
                  <c:v>14.420868243243241</c:v>
                </c:pt>
                <c:pt idx="429">
                  <c:v>14.420868243243241</c:v>
                </c:pt>
                <c:pt idx="430">
                  <c:v>14.420868243243241</c:v>
                </c:pt>
                <c:pt idx="431">
                  <c:v>14.420868243243241</c:v>
                </c:pt>
                <c:pt idx="432">
                  <c:v>14.420868243243241</c:v>
                </c:pt>
                <c:pt idx="433">
                  <c:v>14.420868243243241</c:v>
                </c:pt>
                <c:pt idx="434">
                  <c:v>14.420868243243241</c:v>
                </c:pt>
                <c:pt idx="435">
                  <c:v>14.420868243243241</c:v>
                </c:pt>
                <c:pt idx="436">
                  <c:v>14.420868243243241</c:v>
                </c:pt>
                <c:pt idx="437">
                  <c:v>14.420868243243241</c:v>
                </c:pt>
                <c:pt idx="438">
                  <c:v>14.420868243243241</c:v>
                </c:pt>
                <c:pt idx="439">
                  <c:v>14.420868243243241</c:v>
                </c:pt>
                <c:pt idx="440">
                  <c:v>14.420868243243241</c:v>
                </c:pt>
                <c:pt idx="441">
                  <c:v>14.420868243243241</c:v>
                </c:pt>
                <c:pt idx="442">
                  <c:v>14.420868243243241</c:v>
                </c:pt>
                <c:pt idx="443">
                  <c:v>14.420868243243241</c:v>
                </c:pt>
                <c:pt idx="444">
                  <c:v>14.420868243243241</c:v>
                </c:pt>
                <c:pt idx="445">
                  <c:v>14.420868243243241</c:v>
                </c:pt>
                <c:pt idx="446">
                  <c:v>14.420868243243241</c:v>
                </c:pt>
                <c:pt idx="447">
                  <c:v>14.420868243243241</c:v>
                </c:pt>
                <c:pt idx="448">
                  <c:v>14.420868243243241</c:v>
                </c:pt>
                <c:pt idx="449">
                  <c:v>14.420868243243241</c:v>
                </c:pt>
                <c:pt idx="450">
                  <c:v>14.420868243243241</c:v>
                </c:pt>
                <c:pt idx="451">
                  <c:v>14.420868243243241</c:v>
                </c:pt>
                <c:pt idx="452">
                  <c:v>14.420868243243241</c:v>
                </c:pt>
                <c:pt idx="453">
                  <c:v>14.420868243243241</c:v>
                </c:pt>
                <c:pt idx="454">
                  <c:v>14.420868243243241</c:v>
                </c:pt>
                <c:pt idx="455">
                  <c:v>14.420868243243241</c:v>
                </c:pt>
                <c:pt idx="456">
                  <c:v>14.420868243243241</c:v>
                </c:pt>
                <c:pt idx="457">
                  <c:v>14.420868243243241</c:v>
                </c:pt>
                <c:pt idx="458">
                  <c:v>14.420868243243241</c:v>
                </c:pt>
                <c:pt idx="459">
                  <c:v>14.420868243243241</c:v>
                </c:pt>
                <c:pt idx="460">
                  <c:v>14.420868243243241</c:v>
                </c:pt>
                <c:pt idx="461">
                  <c:v>14.420868243243241</c:v>
                </c:pt>
                <c:pt idx="462">
                  <c:v>14.420868243243241</c:v>
                </c:pt>
                <c:pt idx="463">
                  <c:v>14.420868243243241</c:v>
                </c:pt>
                <c:pt idx="464">
                  <c:v>14.420868243243241</c:v>
                </c:pt>
                <c:pt idx="465">
                  <c:v>14.420868243243241</c:v>
                </c:pt>
                <c:pt idx="466">
                  <c:v>14.420868243243241</c:v>
                </c:pt>
                <c:pt idx="467">
                  <c:v>14.420868243243241</c:v>
                </c:pt>
                <c:pt idx="468">
                  <c:v>14.420868243243241</c:v>
                </c:pt>
                <c:pt idx="469">
                  <c:v>14.420868243243241</c:v>
                </c:pt>
                <c:pt idx="470">
                  <c:v>14.420868243243241</c:v>
                </c:pt>
                <c:pt idx="471">
                  <c:v>14.420868243243241</c:v>
                </c:pt>
                <c:pt idx="472">
                  <c:v>14.420868243243241</c:v>
                </c:pt>
                <c:pt idx="473">
                  <c:v>14.420868243243241</c:v>
                </c:pt>
                <c:pt idx="474">
                  <c:v>14.420868243243241</c:v>
                </c:pt>
                <c:pt idx="475">
                  <c:v>14.420868243243241</c:v>
                </c:pt>
                <c:pt idx="476">
                  <c:v>14.420868243243241</c:v>
                </c:pt>
                <c:pt idx="477">
                  <c:v>14.420868243243241</c:v>
                </c:pt>
                <c:pt idx="478">
                  <c:v>14.420868243243241</c:v>
                </c:pt>
                <c:pt idx="479">
                  <c:v>14.420868243243241</c:v>
                </c:pt>
                <c:pt idx="480">
                  <c:v>14.420868243243241</c:v>
                </c:pt>
                <c:pt idx="481">
                  <c:v>14.420868243243241</c:v>
                </c:pt>
                <c:pt idx="482">
                  <c:v>14.420868243243241</c:v>
                </c:pt>
                <c:pt idx="483">
                  <c:v>14.420868243243241</c:v>
                </c:pt>
                <c:pt idx="484">
                  <c:v>14.420868243243241</c:v>
                </c:pt>
                <c:pt idx="485">
                  <c:v>14.420868243243241</c:v>
                </c:pt>
                <c:pt idx="486">
                  <c:v>14.420868243243241</c:v>
                </c:pt>
                <c:pt idx="487">
                  <c:v>14.420868243243241</c:v>
                </c:pt>
                <c:pt idx="488">
                  <c:v>14.420868243243241</c:v>
                </c:pt>
                <c:pt idx="489">
                  <c:v>14.420868243243241</c:v>
                </c:pt>
                <c:pt idx="490">
                  <c:v>14.420868243243241</c:v>
                </c:pt>
                <c:pt idx="491">
                  <c:v>14.420868243243241</c:v>
                </c:pt>
                <c:pt idx="492">
                  <c:v>14.420868243243241</c:v>
                </c:pt>
                <c:pt idx="493">
                  <c:v>14.420868243243241</c:v>
                </c:pt>
                <c:pt idx="494">
                  <c:v>14.420868243243241</c:v>
                </c:pt>
                <c:pt idx="495">
                  <c:v>14.420868243243241</c:v>
                </c:pt>
                <c:pt idx="496">
                  <c:v>14.420868243243241</c:v>
                </c:pt>
                <c:pt idx="497">
                  <c:v>14.420868243243241</c:v>
                </c:pt>
                <c:pt idx="498">
                  <c:v>14.420868243243241</c:v>
                </c:pt>
                <c:pt idx="499">
                  <c:v>14.420868243243241</c:v>
                </c:pt>
                <c:pt idx="500">
                  <c:v>14.420868243243241</c:v>
                </c:pt>
                <c:pt idx="501">
                  <c:v>14.420868243243241</c:v>
                </c:pt>
                <c:pt idx="502">
                  <c:v>14.420868243243241</c:v>
                </c:pt>
                <c:pt idx="503">
                  <c:v>14.420868243243241</c:v>
                </c:pt>
                <c:pt idx="504">
                  <c:v>14.420868243243241</c:v>
                </c:pt>
                <c:pt idx="505">
                  <c:v>14.420868243243241</c:v>
                </c:pt>
                <c:pt idx="506">
                  <c:v>14.420868243243241</c:v>
                </c:pt>
                <c:pt idx="507">
                  <c:v>14.420868243243241</c:v>
                </c:pt>
                <c:pt idx="508">
                  <c:v>14.420868243243241</c:v>
                </c:pt>
                <c:pt idx="509">
                  <c:v>14.420868243243241</c:v>
                </c:pt>
                <c:pt idx="510">
                  <c:v>14.420868243243241</c:v>
                </c:pt>
                <c:pt idx="511">
                  <c:v>14.420868243243241</c:v>
                </c:pt>
                <c:pt idx="512">
                  <c:v>14.420868243243241</c:v>
                </c:pt>
                <c:pt idx="513">
                  <c:v>14.420868243243241</c:v>
                </c:pt>
                <c:pt idx="514">
                  <c:v>14.420868243243241</c:v>
                </c:pt>
                <c:pt idx="515">
                  <c:v>14.420868243243241</c:v>
                </c:pt>
                <c:pt idx="516">
                  <c:v>14.420868243243241</c:v>
                </c:pt>
                <c:pt idx="517">
                  <c:v>14.420868243243241</c:v>
                </c:pt>
                <c:pt idx="518">
                  <c:v>14.420868243243241</c:v>
                </c:pt>
                <c:pt idx="519">
                  <c:v>14.420868243243241</c:v>
                </c:pt>
                <c:pt idx="520">
                  <c:v>14.420868243243241</c:v>
                </c:pt>
                <c:pt idx="521">
                  <c:v>14.420868243243241</c:v>
                </c:pt>
                <c:pt idx="522">
                  <c:v>14.420868243243241</c:v>
                </c:pt>
                <c:pt idx="523">
                  <c:v>14.420868243243241</c:v>
                </c:pt>
                <c:pt idx="524">
                  <c:v>14.420868243243241</c:v>
                </c:pt>
                <c:pt idx="525">
                  <c:v>14.420868243243241</c:v>
                </c:pt>
                <c:pt idx="526">
                  <c:v>14.420868243243241</c:v>
                </c:pt>
                <c:pt idx="527">
                  <c:v>14.420868243243241</c:v>
                </c:pt>
                <c:pt idx="528">
                  <c:v>14.420868243243241</c:v>
                </c:pt>
                <c:pt idx="529">
                  <c:v>14.420868243243241</c:v>
                </c:pt>
                <c:pt idx="530">
                  <c:v>14.420868243243241</c:v>
                </c:pt>
                <c:pt idx="531">
                  <c:v>14.420868243243241</c:v>
                </c:pt>
                <c:pt idx="532">
                  <c:v>14.420868243243241</c:v>
                </c:pt>
                <c:pt idx="533">
                  <c:v>14.420868243243241</c:v>
                </c:pt>
                <c:pt idx="534">
                  <c:v>14.420868243243241</c:v>
                </c:pt>
                <c:pt idx="535">
                  <c:v>14.420868243243241</c:v>
                </c:pt>
                <c:pt idx="536">
                  <c:v>14.420868243243241</c:v>
                </c:pt>
                <c:pt idx="537">
                  <c:v>14.420868243243241</c:v>
                </c:pt>
                <c:pt idx="538">
                  <c:v>14.420868243243241</c:v>
                </c:pt>
                <c:pt idx="539">
                  <c:v>14.420868243243241</c:v>
                </c:pt>
                <c:pt idx="540">
                  <c:v>14.420868243243241</c:v>
                </c:pt>
                <c:pt idx="541">
                  <c:v>14.420868243243241</c:v>
                </c:pt>
                <c:pt idx="542">
                  <c:v>14.420868243243241</c:v>
                </c:pt>
                <c:pt idx="543">
                  <c:v>14.420868243243241</c:v>
                </c:pt>
                <c:pt idx="544">
                  <c:v>14.420868243243241</c:v>
                </c:pt>
                <c:pt idx="545">
                  <c:v>14.420868243243241</c:v>
                </c:pt>
                <c:pt idx="546">
                  <c:v>14.420868243243241</c:v>
                </c:pt>
                <c:pt idx="547">
                  <c:v>14.420868243243241</c:v>
                </c:pt>
                <c:pt idx="548">
                  <c:v>14.420868243243241</c:v>
                </c:pt>
                <c:pt idx="549">
                  <c:v>14.420868243243241</c:v>
                </c:pt>
                <c:pt idx="550">
                  <c:v>14.420868243243241</c:v>
                </c:pt>
                <c:pt idx="551">
                  <c:v>14.420868243243241</c:v>
                </c:pt>
                <c:pt idx="552">
                  <c:v>14.420868243243241</c:v>
                </c:pt>
                <c:pt idx="553">
                  <c:v>14.420868243243241</c:v>
                </c:pt>
                <c:pt idx="554">
                  <c:v>14.420868243243241</c:v>
                </c:pt>
                <c:pt idx="555">
                  <c:v>14.420868243243241</c:v>
                </c:pt>
                <c:pt idx="556">
                  <c:v>14.420868243243241</c:v>
                </c:pt>
                <c:pt idx="557">
                  <c:v>14.420868243243241</c:v>
                </c:pt>
                <c:pt idx="558">
                  <c:v>14.420868243243241</c:v>
                </c:pt>
                <c:pt idx="559">
                  <c:v>14.420868243243241</c:v>
                </c:pt>
                <c:pt idx="560">
                  <c:v>14.420868243243241</c:v>
                </c:pt>
                <c:pt idx="561">
                  <c:v>14.420868243243241</c:v>
                </c:pt>
                <c:pt idx="562">
                  <c:v>14.420868243243241</c:v>
                </c:pt>
                <c:pt idx="563">
                  <c:v>14.420868243243241</c:v>
                </c:pt>
                <c:pt idx="564">
                  <c:v>14.420868243243241</c:v>
                </c:pt>
                <c:pt idx="565">
                  <c:v>14.420868243243241</c:v>
                </c:pt>
                <c:pt idx="566">
                  <c:v>14.420868243243241</c:v>
                </c:pt>
                <c:pt idx="567">
                  <c:v>14.420868243243241</c:v>
                </c:pt>
                <c:pt idx="568">
                  <c:v>14.420868243243241</c:v>
                </c:pt>
                <c:pt idx="569">
                  <c:v>14.420868243243241</c:v>
                </c:pt>
                <c:pt idx="570">
                  <c:v>14.420868243243241</c:v>
                </c:pt>
                <c:pt idx="571">
                  <c:v>14.420868243243241</c:v>
                </c:pt>
                <c:pt idx="572">
                  <c:v>14.420868243243241</c:v>
                </c:pt>
                <c:pt idx="573">
                  <c:v>14.420868243243241</c:v>
                </c:pt>
                <c:pt idx="574">
                  <c:v>14.420868243243241</c:v>
                </c:pt>
                <c:pt idx="575">
                  <c:v>14.420868243243241</c:v>
                </c:pt>
                <c:pt idx="576">
                  <c:v>14.420868243243241</c:v>
                </c:pt>
                <c:pt idx="577">
                  <c:v>14.420868243243241</c:v>
                </c:pt>
                <c:pt idx="578">
                  <c:v>14.420868243243241</c:v>
                </c:pt>
                <c:pt idx="579">
                  <c:v>14.420868243243241</c:v>
                </c:pt>
                <c:pt idx="580">
                  <c:v>14.420868243243241</c:v>
                </c:pt>
                <c:pt idx="581">
                  <c:v>14.420868243243241</c:v>
                </c:pt>
                <c:pt idx="582">
                  <c:v>14.420868243243241</c:v>
                </c:pt>
                <c:pt idx="583">
                  <c:v>14.420868243243241</c:v>
                </c:pt>
                <c:pt idx="584">
                  <c:v>14.420868243243241</c:v>
                </c:pt>
                <c:pt idx="585">
                  <c:v>14.420868243243241</c:v>
                </c:pt>
                <c:pt idx="586">
                  <c:v>14.420868243243241</c:v>
                </c:pt>
                <c:pt idx="587">
                  <c:v>14.420868243243241</c:v>
                </c:pt>
                <c:pt idx="588">
                  <c:v>14.420868243243241</c:v>
                </c:pt>
                <c:pt idx="589">
                  <c:v>14.420868243243241</c:v>
                </c:pt>
                <c:pt idx="590">
                  <c:v>14.420868243243241</c:v>
                </c:pt>
                <c:pt idx="591">
                  <c:v>14.420868243243241</c:v>
                </c:pt>
                <c:pt idx="592">
                  <c:v>14.420868243243241</c:v>
                </c:pt>
                <c:pt idx="593">
                  <c:v>14.420868243243241</c:v>
                </c:pt>
                <c:pt idx="594">
                  <c:v>14.420868243243241</c:v>
                </c:pt>
                <c:pt idx="595">
                  <c:v>14.420868243243241</c:v>
                </c:pt>
                <c:pt idx="596">
                  <c:v>14.420868243243241</c:v>
                </c:pt>
                <c:pt idx="597">
                  <c:v>14.420868243243241</c:v>
                </c:pt>
                <c:pt idx="598">
                  <c:v>14.420868243243241</c:v>
                </c:pt>
                <c:pt idx="599">
                  <c:v>14.420868243243241</c:v>
                </c:pt>
                <c:pt idx="600">
                  <c:v>14.420868243243241</c:v>
                </c:pt>
                <c:pt idx="601">
                  <c:v>14.420868243243241</c:v>
                </c:pt>
                <c:pt idx="602">
                  <c:v>14.420868243243241</c:v>
                </c:pt>
                <c:pt idx="603">
                  <c:v>14.420868243243241</c:v>
                </c:pt>
                <c:pt idx="604">
                  <c:v>14.420868243243241</c:v>
                </c:pt>
                <c:pt idx="605">
                  <c:v>14.420868243243241</c:v>
                </c:pt>
                <c:pt idx="606">
                  <c:v>14.420868243243241</c:v>
                </c:pt>
                <c:pt idx="607">
                  <c:v>14.420868243243241</c:v>
                </c:pt>
                <c:pt idx="608">
                  <c:v>14.420868243243241</c:v>
                </c:pt>
                <c:pt idx="609">
                  <c:v>14.420868243243241</c:v>
                </c:pt>
                <c:pt idx="610">
                  <c:v>14.420868243243241</c:v>
                </c:pt>
                <c:pt idx="611">
                  <c:v>14.420868243243241</c:v>
                </c:pt>
                <c:pt idx="612">
                  <c:v>14.420868243243241</c:v>
                </c:pt>
                <c:pt idx="613">
                  <c:v>14.420868243243241</c:v>
                </c:pt>
                <c:pt idx="614">
                  <c:v>14.420868243243241</c:v>
                </c:pt>
                <c:pt idx="615">
                  <c:v>14.420868243243241</c:v>
                </c:pt>
                <c:pt idx="616">
                  <c:v>14.420868243243241</c:v>
                </c:pt>
                <c:pt idx="617">
                  <c:v>14.420868243243241</c:v>
                </c:pt>
                <c:pt idx="618">
                  <c:v>14.420868243243241</c:v>
                </c:pt>
                <c:pt idx="619">
                  <c:v>14.420868243243241</c:v>
                </c:pt>
                <c:pt idx="620">
                  <c:v>14.420868243243241</c:v>
                </c:pt>
                <c:pt idx="621">
                  <c:v>14.420868243243241</c:v>
                </c:pt>
                <c:pt idx="622">
                  <c:v>14.420868243243241</c:v>
                </c:pt>
                <c:pt idx="623">
                  <c:v>14.420868243243241</c:v>
                </c:pt>
                <c:pt idx="624">
                  <c:v>14.420868243243241</c:v>
                </c:pt>
                <c:pt idx="625">
                  <c:v>14.420868243243241</c:v>
                </c:pt>
                <c:pt idx="626">
                  <c:v>14.420868243243241</c:v>
                </c:pt>
                <c:pt idx="627">
                  <c:v>14.420868243243241</c:v>
                </c:pt>
                <c:pt idx="628">
                  <c:v>14.420868243243241</c:v>
                </c:pt>
                <c:pt idx="629">
                  <c:v>14.420868243243241</c:v>
                </c:pt>
                <c:pt idx="630">
                  <c:v>14.420868243243241</c:v>
                </c:pt>
                <c:pt idx="631">
                  <c:v>14.420868243243241</c:v>
                </c:pt>
                <c:pt idx="632">
                  <c:v>14.420868243243241</c:v>
                </c:pt>
                <c:pt idx="633">
                  <c:v>14.420868243243241</c:v>
                </c:pt>
                <c:pt idx="634">
                  <c:v>14.420868243243241</c:v>
                </c:pt>
                <c:pt idx="635">
                  <c:v>14.420868243243241</c:v>
                </c:pt>
                <c:pt idx="636">
                  <c:v>14.420868243243241</c:v>
                </c:pt>
                <c:pt idx="637">
                  <c:v>14.420868243243241</c:v>
                </c:pt>
                <c:pt idx="638">
                  <c:v>14.420868243243241</c:v>
                </c:pt>
                <c:pt idx="639">
                  <c:v>14.420868243243241</c:v>
                </c:pt>
                <c:pt idx="640">
                  <c:v>14.420868243243241</c:v>
                </c:pt>
                <c:pt idx="641">
                  <c:v>14.420868243243241</c:v>
                </c:pt>
                <c:pt idx="642">
                  <c:v>14.420868243243241</c:v>
                </c:pt>
                <c:pt idx="643">
                  <c:v>14.420868243243241</c:v>
                </c:pt>
                <c:pt idx="644">
                  <c:v>14.420868243243241</c:v>
                </c:pt>
                <c:pt idx="645">
                  <c:v>14.420868243243241</c:v>
                </c:pt>
                <c:pt idx="646">
                  <c:v>14.420868243243241</c:v>
                </c:pt>
                <c:pt idx="647">
                  <c:v>14.420868243243241</c:v>
                </c:pt>
                <c:pt idx="648">
                  <c:v>14.420868243243241</c:v>
                </c:pt>
                <c:pt idx="649">
                  <c:v>14.420868243243241</c:v>
                </c:pt>
                <c:pt idx="650">
                  <c:v>14.420868243243241</c:v>
                </c:pt>
                <c:pt idx="651">
                  <c:v>14.420868243243241</c:v>
                </c:pt>
                <c:pt idx="652">
                  <c:v>14.420868243243241</c:v>
                </c:pt>
                <c:pt idx="653">
                  <c:v>14.420868243243241</c:v>
                </c:pt>
                <c:pt idx="654">
                  <c:v>14.420868243243241</c:v>
                </c:pt>
                <c:pt idx="655">
                  <c:v>14.420868243243241</c:v>
                </c:pt>
                <c:pt idx="656">
                  <c:v>14.420868243243241</c:v>
                </c:pt>
                <c:pt idx="657">
                  <c:v>14.420868243243241</c:v>
                </c:pt>
                <c:pt idx="658">
                  <c:v>14.420868243243241</c:v>
                </c:pt>
                <c:pt idx="659">
                  <c:v>14.420868243243241</c:v>
                </c:pt>
                <c:pt idx="660">
                  <c:v>14.420868243243241</c:v>
                </c:pt>
                <c:pt idx="661">
                  <c:v>14.420868243243241</c:v>
                </c:pt>
                <c:pt idx="662">
                  <c:v>14.420868243243241</c:v>
                </c:pt>
                <c:pt idx="663">
                  <c:v>14.420868243243241</c:v>
                </c:pt>
                <c:pt idx="664">
                  <c:v>14.420868243243241</c:v>
                </c:pt>
                <c:pt idx="665">
                  <c:v>14.420868243243241</c:v>
                </c:pt>
                <c:pt idx="666">
                  <c:v>14.420868243243241</c:v>
                </c:pt>
                <c:pt idx="667">
                  <c:v>14.420868243243241</c:v>
                </c:pt>
                <c:pt idx="668">
                  <c:v>14.420868243243241</c:v>
                </c:pt>
                <c:pt idx="669">
                  <c:v>14.420868243243241</c:v>
                </c:pt>
                <c:pt idx="670">
                  <c:v>14.420868243243241</c:v>
                </c:pt>
                <c:pt idx="671">
                  <c:v>14.420868243243241</c:v>
                </c:pt>
                <c:pt idx="672">
                  <c:v>14.420868243243241</c:v>
                </c:pt>
                <c:pt idx="673">
                  <c:v>14.420868243243241</c:v>
                </c:pt>
                <c:pt idx="674">
                  <c:v>14.420868243243241</c:v>
                </c:pt>
                <c:pt idx="675">
                  <c:v>14.420868243243241</c:v>
                </c:pt>
                <c:pt idx="676">
                  <c:v>14.420868243243241</c:v>
                </c:pt>
                <c:pt idx="677">
                  <c:v>14.420868243243241</c:v>
                </c:pt>
                <c:pt idx="678">
                  <c:v>14.420868243243241</c:v>
                </c:pt>
                <c:pt idx="679">
                  <c:v>14.420868243243241</c:v>
                </c:pt>
                <c:pt idx="680">
                  <c:v>14.420868243243241</c:v>
                </c:pt>
                <c:pt idx="681">
                  <c:v>14.420868243243241</c:v>
                </c:pt>
                <c:pt idx="682">
                  <c:v>14.420868243243241</c:v>
                </c:pt>
                <c:pt idx="683">
                  <c:v>14.420868243243241</c:v>
                </c:pt>
                <c:pt idx="684">
                  <c:v>14.420868243243241</c:v>
                </c:pt>
                <c:pt idx="685">
                  <c:v>14.420868243243241</c:v>
                </c:pt>
                <c:pt idx="686">
                  <c:v>14.420868243243241</c:v>
                </c:pt>
                <c:pt idx="687">
                  <c:v>14.420868243243241</c:v>
                </c:pt>
                <c:pt idx="688">
                  <c:v>14.420868243243241</c:v>
                </c:pt>
                <c:pt idx="689">
                  <c:v>14.420868243243241</c:v>
                </c:pt>
                <c:pt idx="690">
                  <c:v>14.420868243243241</c:v>
                </c:pt>
                <c:pt idx="691">
                  <c:v>14.420868243243241</c:v>
                </c:pt>
                <c:pt idx="692">
                  <c:v>14.420868243243241</c:v>
                </c:pt>
                <c:pt idx="693">
                  <c:v>14.420868243243241</c:v>
                </c:pt>
                <c:pt idx="694">
                  <c:v>14.420868243243241</c:v>
                </c:pt>
                <c:pt idx="695">
                  <c:v>14.420868243243241</c:v>
                </c:pt>
                <c:pt idx="696">
                  <c:v>14.420868243243241</c:v>
                </c:pt>
                <c:pt idx="697">
                  <c:v>14.420868243243241</c:v>
                </c:pt>
                <c:pt idx="698">
                  <c:v>14.420868243243241</c:v>
                </c:pt>
                <c:pt idx="699">
                  <c:v>14.420868243243241</c:v>
                </c:pt>
                <c:pt idx="700">
                  <c:v>14.420868243243241</c:v>
                </c:pt>
                <c:pt idx="701">
                  <c:v>14.420868243243241</c:v>
                </c:pt>
                <c:pt idx="702">
                  <c:v>14.420868243243241</c:v>
                </c:pt>
                <c:pt idx="703">
                  <c:v>14.420868243243241</c:v>
                </c:pt>
                <c:pt idx="704">
                  <c:v>14.420868243243241</c:v>
                </c:pt>
                <c:pt idx="705">
                  <c:v>14.420868243243241</c:v>
                </c:pt>
                <c:pt idx="706">
                  <c:v>14.420868243243241</c:v>
                </c:pt>
                <c:pt idx="707">
                  <c:v>14.420868243243241</c:v>
                </c:pt>
                <c:pt idx="708">
                  <c:v>14.420868243243241</c:v>
                </c:pt>
                <c:pt idx="709">
                  <c:v>14.420868243243241</c:v>
                </c:pt>
                <c:pt idx="710">
                  <c:v>14.420868243243241</c:v>
                </c:pt>
                <c:pt idx="711">
                  <c:v>14.420868243243241</c:v>
                </c:pt>
                <c:pt idx="712">
                  <c:v>14.420868243243241</c:v>
                </c:pt>
                <c:pt idx="713">
                  <c:v>14.420868243243241</c:v>
                </c:pt>
                <c:pt idx="714">
                  <c:v>14.420868243243241</c:v>
                </c:pt>
                <c:pt idx="715">
                  <c:v>14.420868243243241</c:v>
                </c:pt>
                <c:pt idx="716">
                  <c:v>14.420868243243241</c:v>
                </c:pt>
                <c:pt idx="717">
                  <c:v>14.420868243243241</c:v>
                </c:pt>
                <c:pt idx="718">
                  <c:v>14.420868243243241</c:v>
                </c:pt>
                <c:pt idx="719">
                  <c:v>14.420868243243241</c:v>
                </c:pt>
                <c:pt idx="720">
                  <c:v>14.420868243243241</c:v>
                </c:pt>
                <c:pt idx="721">
                  <c:v>14.420868243243241</c:v>
                </c:pt>
                <c:pt idx="722">
                  <c:v>14.420868243243241</c:v>
                </c:pt>
                <c:pt idx="723">
                  <c:v>14.420868243243241</c:v>
                </c:pt>
                <c:pt idx="724">
                  <c:v>14.420868243243241</c:v>
                </c:pt>
                <c:pt idx="725">
                  <c:v>14.420868243243241</c:v>
                </c:pt>
                <c:pt idx="726">
                  <c:v>14.420868243243241</c:v>
                </c:pt>
                <c:pt idx="727">
                  <c:v>14.420868243243241</c:v>
                </c:pt>
                <c:pt idx="728">
                  <c:v>14.420868243243241</c:v>
                </c:pt>
                <c:pt idx="729">
                  <c:v>14.420868243243241</c:v>
                </c:pt>
                <c:pt idx="730">
                  <c:v>14.420868243243241</c:v>
                </c:pt>
                <c:pt idx="731">
                  <c:v>14.420868243243241</c:v>
                </c:pt>
                <c:pt idx="732">
                  <c:v>14.420868243243241</c:v>
                </c:pt>
                <c:pt idx="733">
                  <c:v>14.420868243243241</c:v>
                </c:pt>
                <c:pt idx="734">
                  <c:v>14.420868243243241</c:v>
                </c:pt>
                <c:pt idx="735">
                  <c:v>14.420868243243241</c:v>
                </c:pt>
                <c:pt idx="736">
                  <c:v>14.420868243243241</c:v>
                </c:pt>
                <c:pt idx="737">
                  <c:v>14.420868243243241</c:v>
                </c:pt>
                <c:pt idx="738">
                  <c:v>14.420868243243241</c:v>
                </c:pt>
                <c:pt idx="739">
                  <c:v>14.420868243243241</c:v>
                </c:pt>
                <c:pt idx="740">
                  <c:v>14.420868243243241</c:v>
                </c:pt>
                <c:pt idx="741">
                  <c:v>14.420868243243241</c:v>
                </c:pt>
                <c:pt idx="742">
                  <c:v>14.420868243243241</c:v>
                </c:pt>
                <c:pt idx="743">
                  <c:v>14.420868243243241</c:v>
                </c:pt>
                <c:pt idx="744">
                  <c:v>14.420868243243241</c:v>
                </c:pt>
                <c:pt idx="745">
                  <c:v>14.420868243243241</c:v>
                </c:pt>
                <c:pt idx="746">
                  <c:v>14.420868243243241</c:v>
                </c:pt>
                <c:pt idx="747">
                  <c:v>14.420868243243241</c:v>
                </c:pt>
                <c:pt idx="748">
                  <c:v>14.420868243243241</c:v>
                </c:pt>
                <c:pt idx="749">
                  <c:v>14.420868243243241</c:v>
                </c:pt>
                <c:pt idx="750">
                  <c:v>14.420868243243241</c:v>
                </c:pt>
                <c:pt idx="751">
                  <c:v>14.420868243243241</c:v>
                </c:pt>
                <c:pt idx="752">
                  <c:v>14.420868243243241</c:v>
                </c:pt>
                <c:pt idx="753">
                  <c:v>14.420868243243241</c:v>
                </c:pt>
                <c:pt idx="754">
                  <c:v>14.420868243243241</c:v>
                </c:pt>
                <c:pt idx="755">
                  <c:v>14.420868243243241</c:v>
                </c:pt>
                <c:pt idx="756">
                  <c:v>14.420868243243241</c:v>
                </c:pt>
                <c:pt idx="757">
                  <c:v>14.420868243243241</c:v>
                </c:pt>
                <c:pt idx="758">
                  <c:v>14.420868243243241</c:v>
                </c:pt>
                <c:pt idx="759">
                  <c:v>14.420868243243241</c:v>
                </c:pt>
                <c:pt idx="760">
                  <c:v>14.420868243243241</c:v>
                </c:pt>
                <c:pt idx="761">
                  <c:v>14.420868243243241</c:v>
                </c:pt>
                <c:pt idx="762">
                  <c:v>14.420868243243241</c:v>
                </c:pt>
                <c:pt idx="763">
                  <c:v>14.420868243243241</c:v>
                </c:pt>
                <c:pt idx="764">
                  <c:v>14.420868243243241</c:v>
                </c:pt>
                <c:pt idx="765">
                  <c:v>14.420868243243241</c:v>
                </c:pt>
                <c:pt idx="766">
                  <c:v>14.420868243243241</c:v>
                </c:pt>
                <c:pt idx="767">
                  <c:v>14.420868243243241</c:v>
                </c:pt>
                <c:pt idx="768">
                  <c:v>14.420868243243241</c:v>
                </c:pt>
                <c:pt idx="769">
                  <c:v>14.420868243243241</c:v>
                </c:pt>
                <c:pt idx="770">
                  <c:v>14.420868243243241</c:v>
                </c:pt>
                <c:pt idx="771">
                  <c:v>14.420868243243241</c:v>
                </c:pt>
                <c:pt idx="772">
                  <c:v>14.420868243243241</c:v>
                </c:pt>
                <c:pt idx="773">
                  <c:v>14.420868243243241</c:v>
                </c:pt>
                <c:pt idx="774">
                  <c:v>14.420868243243241</c:v>
                </c:pt>
                <c:pt idx="775">
                  <c:v>14.420868243243241</c:v>
                </c:pt>
                <c:pt idx="776">
                  <c:v>14.420868243243241</c:v>
                </c:pt>
                <c:pt idx="777">
                  <c:v>14.420868243243241</c:v>
                </c:pt>
                <c:pt idx="778">
                  <c:v>14.420868243243241</c:v>
                </c:pt>
                <c:pt idx="779">
                  <c:v>14.420868243243241</c:v>
                </c:pt>
                <c:pt idx="780">
                  <c:v>14.420868243243241</c:v>
                </c:pt>
                <c:pt idx="781">
                  <c:v>14.420868243243241</c:v>
                </c:pt>
                <c:pt idx="782">
                  <c:v>14.420868243243241</c:v>
                </c:pt>
                <c:pt idx="783">
                  <c:v>14.420868243243241</c:v>
                </c:pt>
                <c:pt idx="784">
                  <c:v>14.420868243243241</c:v>
                </c:pt>
                <c:pt idx="785">
                  <c:v>14.420868243243241</c:v>
                </c:pt>
                <c:pt idx="786">
                  <c:v>14.420868243243241</c:v>
                </c:pt>
                <c:pt idx="787">
                  <c:v>14.420868243243241</c:v>
                </c:pt>
                <c:pt idx="788">
                  <c:v>14.420868243243241</c:v>
                </c:pt>
                <c:pt idx="789">
                  <c:v>14.420868243243241</c:v>
                </c:pt>
                <c:pt idx="790">
                  <c:v>14.420868243243241</c:v>
                </c:pt>
                <c:pt idx="791">
                  <c:v>14.420868243243241</c:v>
                </c:pt>
                <c:pt idx="792">
                  <c:v>14.420868243243241</c:v>
                </c:pt>
                <c:pt idx="793">
                  <c:v>14.420868243243241</c:v>
                </c:pt>
                <c:pt idx="794">
                  <c:v>14.420868243243241</c:v>
                </c:pt>
                <c:pt idx="795">
                  <c:v>14.420868243243241</c:v>
                </c:pt>
                <c:pt idx="796">
                  <c:v>14.420868243243241</c:v>
                </c:pt>
                <c:pt idx="797">
                  <c:v>14.420868243243241</c:v>
                </c:pt>
                <c:pt idx="798">
                  <c:v>14.420868243243241</c:v>
                </c:pt>
                <c:pt idx="799">
                  <c:v>14.420868243243241</c:v>
                </c:pt>
                <c:pt idx="800">
                  <c:v>14.420868243243241</c:v>
                </c:pt>
                <c:pt idx="801">
                  <c:v>14.420868243243241</c:v>
                </c:pt>
                <c:pt idx="802">
                  <c:v>14.420868243243241</c:v>
                </c:pt>
                <c:pt idx="803">
                  <c:v>14.420868243243241</c:v>
                </c:pt>
                <c:pt idx="804">
                  <c:v>14.420868243243241</c:v>
                </c:pt>
                <c:pt idx="805">
                  <c:v>14.420868243243241</c:v>
                </c:pt>
                <c:pt idx="806">
                  <c:v>14.420868243243241</c:v>
                </c:pt>
                <c:pt idx="807">
                  <c:v>14.420868243243241</c:v>
                </c:pt>
                <c:pt idx="808">
                  <c:v>14.420868243243241</c:v>
                </c:pt>
                <c:pt idx="809">
                  <c:v>14.420868243243241</c:v>
                </c:pt>
                <c:pt idx="810">
                  <c:v>14.420868243243241</c:v>
                </c:pt>
                <c:pt idx="811">
                  <c:v>14.420868243243241</c:v>
                </c:pt>
                <c:pt idx="812">
                  <c:v>14.420868243243241</c:v>
                </c:pt>
                <c:pt idx="813">
                  <c:v>14.420868243243241</c:v>
                </c:pt>
                <c:pt idx="814">
                  <c:v>14.420868243243241</c:v>
                </c:pt>
                <c:pt idx="815">
                  <c:v>14.420868243243241</c:v>
                </c:pt>
                <c:pt idx="816">
                  <c:v>14.420868243243241</c:v>
                </c:pt>
                <c:pt idx="817">
                  <c:v>14.420868243243241</c:v>
                </c:pt>
                <c:pt idx="818">
                  <c:v>14.420868243243241</c:v>
                </c:pt>
                <c:pt idx="819">
                  <c:v>14.420868243243241</c:v>
                </c:pt>
                <c:pt idx="820">
                  <c:v>14.420868243243241</c:v>
                </c:pt>
                <c:pt idx="821">
                  <c:v>14.420868243243241</c:v>
                </c:pt>
                <c:pt idx="822">
                  <c:v>14.420868243243241</c:v>
                </c:pt>
                <c:pt idx="823">
                  <c:v>14.420868243243241</c:v>
                </c:pt>
                <c:pt idx="824">
                  <c:v>14.420868243243241</c:v>
                </c:pt>
                <c:pt idx="825">
                  <c:v>14.420868243243241</c:v>
                </c:pt>
                <c:pt idx="826">
                  <c:v>14.420868243243241</c:v>
                </c:pt>
                <c:pt idx="827">
                  <c:v>14.420868243243241</c:v>
                </c:pt>
                <c:pt idx="828">
                  <c:v>14.420868243243241</c:v>
                </c:pt>
                <c:pt idx="829">
                  <c:v>14.420868243243241</c:v>
                </c:pt>
                <c:pt idx="830">
                  <c:v>14.420868243243241</c:v>
                </c:pt>
                <c:pt idx="831">
                  <c:v>14.420868243243241</c:v>
                </c:pt>
                <c:pt idx="832">
                  <c:v>14.420868243243241</c:v>
                </c:pt>
                <c:pt idx="833">
                  <c:v>14.420868243243241</c:v>
                </c:pt>
                <c:pt idx="834">
                  <c:v>14.420868243243241</c:v>
                </c:pt>
                <c:pt idx="835">
                  <c:v>14.420868243243241</c:v>
                </c:pt>
                <c:pt idx="836">
                  <c:v>14.420868243243241</c:v>
                </c:pt>
                <c:pt idx="837">
                  <c:v>14.420868243243241</c:v>
                </c:pt>
                <c:pt idx="838">
                  <c:v>14.420868243243241</c:v>
                </c:pt>
                <c:pt idx="839">
                  <c:v>14.420868243243241</c:v>
                </c:pt>
                <c:pt idx="840">
                  <c:v>14.420868243243241</c:v>
                </c:pt>
                <c:pt idx="841">
                  <c:v>14.420868243243241</c:v>
                </c:pt>
                <c:pt idx="842">
                  <c:v>14.420868243243241</c:v>
                </c:pt>
                <c:pt idx="843">
                  <c:v>14.420868243243241</c:v>
                </c:pt>
                <c:pt idx="844">
                  <c:v>14.420868243243241</c:v>
                </c:pt>
                <c:pt idx="845">
                  <c:v>14.420868243243241</c:v>
                </c:pt>
                <c:pt idx="846">
                  <c:v>14.420868243243241</c:v>
                </c:pt>
                <c:pt idx="847">
                  <c:v>14.420868243243241</c:v>
                </c:pt>
                <c:pt idx="848">
                  <c:v>14.420868243243241</c:v>
                </c:pt>
                <c:pt idx="849">
                  <c:v>14.420868243243241</c:v>
                </c:pt>
                <c:pt idx="850">
                  <c:v>14.420868243243241</c:v>
                </c:pt>
                <c:pt idx="851">
                  <c:v>14.420868243243241</c:v>
                </c:pt>
                <c:pt idx="852">
                  <c:v>14.420868243243241</c:v>
                </c:pt>
                <c:pt idx="853">
                  <c:v>14.420868243243241</c:v>
                </c:pt>
                <c:pt idx="854">
                  <c:v>14.420868243243241</c:v>
                </c:pt>
                <c:pt idx="855">
                  <c:v>14.420868243243241</c:v>
                </c:pt>
                <c:pt idx="856">
                  <c:v>14.420868243243241</c:v>
                </c:pt>
                <c:pt idx="857">
                  <c:v>14.420868243243241</c:v>
                </c:pt>
                <c:pt idx="858">
                  <c:v>14.420868243243241</c:v>
                </c:pt>
                <c:pt idx="859">
                  <c:v>14.420868243243241</c:v>
                </c:pt>
                <c:pt idx="860">
                  <c:v>14.420868243243241</c:v>
                </c:pt>
                <c:pt idx="861">
                  <c:v>14.420868243243241</c:v>
                </c:pt>
                <c:pt idx="862">
                  <c:v>14.420868243243241</c:v>
                </c:pt>
                <c:pt idx="863">
                  <c:v>14.420868243243241</c:v>
                </c:pt>
                <c:pt idx="864">
                  <c:v>14.420868243243241</c:v>
                </c:pt>
                <c:pt idx="865">
                  <c:v>14.420868243243241</c:v>
                </c:pt>
                <c:pt idx="866">
                  <c:v>14.420868243243241</c:v>
                </c:pt>
                <c:pt idx="867">
                  <c:v>14.420868243243241</c:v>
                </c:pt>
                <c:pt idx="868">
                  <c:v>14.420868243243241</c:v>
                </c:pt>
                <c:pt idx="869">
                  <c:v>14.420868243243241</c:v>
                </c:pt>
                <c:pt idx="870">
                  <c:v>14.420868243243241</c:v>
                </c:pt>
                <c:pt idx="871">
                  <c:v>14.420868243243241</c:v>
                </c:pt>
                <c:pt idx="872">
                  <c:v>14.420868243243241</c:v>
                </c:pt>
                <c:pt idx="873">
                  <c:v>14.420868243243241</c:v>
                </c:pt>
                <c:pt idx="874">
                  <c:v>14.420868243243241</c:v>
                </c:pt>
                <c:pt idx="875">
                  <c:v>14.420868243243241</c:v>
                </c:pt>
                <c:pt idx="876">
                  <c:v>14.420868243243241</c:v>
                </c:pt>
                <c:pt idx="877">
                  <c:v>14.420868243243241</c:v>
                </c:pt>
                <c:pt idx="878">
                  <c:v>14.420868243243241</c:v>
                </c:pt>
                <c:pt idx="879">
                  <c:v>14.420868243243241</c:v>
                </c:pt>
                <c:pt idx="880">
                  <c:v>14.420868243243241</c:v>
                </c:pt>
                <c:pt idx="881">
                  <c:v>14.420868243243241</c:v>
                </c:pt>
                <c:pt idx="882">
                  <c:v>14.420868243243241</c:v>
                </c:pt>
                <c:pt idx="883">
                  <c:v>14.420868243243241</c:v>
                </c:pt>
                <c:pt idx="884">
                  <c:v>14.420868243243241</c:v>
                </c:pt>
                <c:pt idx="885">
                  <c:v>14.420868243243241</c:v>
                </c:pt>
                <c:pt idx="886">
                  <c:v>14.420868243243241</c:v>
                </c:pt>
                <c:pt idx="887">
                  <c:v>14.420868243243241</c:v>
                </c:pt>
                <c:pt idx="888">
                  <c:v>14.420868243243241</c:v>
                </c:pt>
                <c:pt idx="889">
                  <c:v>14.420868243243241</c:v>
                </c:pt>
                <c:pt idx="890">
                  <c:v>14.420868243243241</c:v>
                </c:pt>
                <c:pt idx="891">
                  <c:v>14.420868243243241</c:v>
                </c:pt>
                <c:pt idx="892">
                  <c:v>14.420868243243241</c:v>
                </c:pt>
                <c:pt idx="893">
                  <c:v>14.420868243243241</c:v>
                </c:pt>
                <c:pt idx="894">
                  <c:v>14.420868243243241</c:v>
                </c:pt>
                <c:pt idx="895">
                  <c:v>14.420868243243241</c:v>
                </c:pt>
                <c:pt idx="896">
                  <c:v>14.420868243243241</c:v>
                </c:pt>
                <c:pt idx="897">
                  <c:v>14.420868243243241</c:v>
                </c:pt>
                <c:pt idx="898">
                  <c:v>14.420868243243241</c:v>
                </c:pt>
                <c:pt idx="899">
                  <c:v>14.420868243243241</c:v>
                </c:pt>
                <c:pt idx="900">
                  <c:v>14.420868243243241</c:v>
                </c:pt>
                <c:pt idx="901">
                  <c:v>14.420868243243241</c:v>
                </c:pt>
                <c:pt idx="902">
                  <c:v>14.420868243243241</c:v>
                </c:pt>
                <c:pt idx="903">
                  <c:v>14.420868243243241</c:v>
                </c:pt>
                <c:pt idx="904">
                  <c:v>14.420868243243241</c:v>
                </c:pt>
                <c:pt idx="905">
                  <c:v>14.420868243243241</c:v>
                </c:pt>
                <c:pt idx="906">
                  <c:v>14.420868243243241</c:v>
                </c:pt>
                <c:pt idx="907">
                  <c:v>14.420868243243241</c:v>
                </c:pt>
                <c:pt idx="908">
                  <c:v>14.420868243243241</c:v>
                </c:pt>
                <c:pt idx="909">
                  <c:v>14.420868243243241</c:v>
                </c:pt>
                <c:pt idx="910">
                  <c:v>14.420868243243241</c:v>
                </c:pt>
                <c:pt idx="911">
                  <c:v>14.420868243243241</c:v>
                </c:pt>
                <c:pt idx="912">
                  <c:v>14.420868243243241</c:v>
                </c:pt>
                <c:pt idx="913">
                  <c:v>14.420868243243241</c:v>
                </c:pt>
                <c:pt idx="914">
                  <c:v>14.420868243243241</c:v>
                </c:pt>
                <c:pt idx="915">
                  <c:v>14.420868243243241</c:v>
                </c:pt>
                <c:pt idx="916">
                  <c:v>14.420868243243241</c:v>
                </c:pt>
                <c:pt idx="917">
                  <c:v>14.420868243243241</c:v>
                </c:pt>
                <c:pt idx="918">
                  <c:v>14.420868243243241</c:v>
                </c:pt>
                <c:pt idx="919">
                  <c:v>14.420868243243241</c:v>
                </c:pt>
                <c:pt idx="920">
                  <c:v>14.420868243243241</c:v>
                </c:pt>
                <c:pt idx="921">
                  <c:v>14.420868243243241</c:v>
                </c:pt>
                <c:pt idx="922">
                  <c:v>14.420868243243241</c:v>
                </c:pt>
                <c:pt idx="923">
                  <c:v>14.420868243243241</c:v>
                </c:pt>
                <c:pt idx="924">
                  <c:v>14.420868243243241</c:v>
                </c:pt>
                <c:pt idx="925">
                  <c:v>14.420868243243241</c:v>
                </c:pt>
                <c:pt idx="926">
                  <c:v>14.420868243243241</c:v>
                </c:pt>
                <c:pt idx="927">
                  <c:v>14.420868243243241</c:v>
                </c:pt>
                <c:pt idx="928">
                  <c:v>14.420868243243241</c:v>
                </c:pt>
                <c:pt idx="929">
                  <c:v>14.420868243243241</c:v>
                </c:pt>
                <c:pt idx="930">
                  <c:v>14.420868243243241</c:v>
                </c:pt>
                <c:pt idx="931">
                  <c:v>14.420868243243241</c:v>
                </c:pt>
                <c:pt idx="932">
                  <c:v>14.420868243243241</c:v>
                </c:pt>
                <c:pt idx="933">
                  <c:v>14.420868243243241</c:v>
                </c:pt>
                <c:pt idx="934">
                  <c:v>14.420868243243241</c:v>
                </c:pt>
                <c:pt idx="935">
                  <c:v>14.420868243243241</c:v>
                </c:pt>
                <c:pt idx="936">
                  <c:v>14.420868243243241</c:v>
                </c:pt>
                <c:pt idx="937">
                  <c:v>14.420868243243241</c:v>
                </c:pt>
                <c:pt idx="938">
                  <c:v>14.420868243243241</c:v>
                </c:pt>
                <c:pt idx="939">
                  <c:v>14.420868243243241</c:v>
                </c:pt>
                <c:pt idx="940">
                  <c:v>14.420868243243241</c:v>
                </c:pt>
                <c:pt idx="941">
                  <c:v>14.420868243243241</c:v>
                </c:pt>
                <c:pt idx="942">
                  <c:v>14.420868243243241</c:v>
                </c:pt>
                <c:pt idx="943">
                  <c:v>14.420868243243241</c:v>
                </c:pt>
                <c:pt idx="944">
                  <c:v>14.420868243243241</c:v>
                </c:pt>
                <c:pt idx="945">
                  <c:v>14.420868243243241</c:v>
                </c:pt>
                <c:pt idx="946">
                  <c:v>14.420868243243241</c:v>
                </c:pt>
                <c:pt idx="947">
                  <c:v>14.420868243243241</c:v>
                </c:pt>
                <c:pt idx="948">
                  <c:v>14.420868243243241</c:v>
                </c:pt>
                <c:pt idx="949">
                  <c:v>14.420868243243241</c:v>
                </c:pt>
                <c:pt idx="950">
                  <c:v>14.420868243243241</c:v>
                </c:pt>
                <c:pt idx="951">
                  <c:v>14.420868243243241</c:v>
                </c:pt>
                <c:pt idx="952">
                  <c:v>14.420868243243241</c:v>
                </c:pt>
                <c:pt idx="953">
                  <c:v>14.420868243243241</c:v>
                </c:pt>
                <c:pt idx="954">
                  <c:v>14.420868243243241</c:v>
                </c:pt>
                <c:pt idx="955">
                  <c:v>14.420868243243241</c:v>
                </c:pt>
                <c:pt idx="956">
                  <c:v>14.420868243243241</c:v>
                </c:pt>
                <c:pt idx="957">
                  <c:v>14.420868243243241</c:v>
                </c:pt>
                <c:pt idx="958">
                  <c:v>14.420868243243241</c:v>
                </c:pt>
                <c:pt idx="959">
                  <c:v>14.420868243243241</c:v>
                </c:pt>
                <c:pt idx="960">
                  <c:v>14.420868243243241</c:v>
                </c:pt>
                <c:pt idx="961">
                  <c:v>14.420868243243241</c:v>
                </c:pt>
                <c:pt idx="962">
                  <c:v>14.420868243243241</c:v>
                </c:pt>
                <c:pt idx="963">
                  <c:v>14.420868243243241</c:v>
                </c:pt>
                <c:pt idx="964">
                  <c:v>14.420868243243241</c:v>
                </c:pt>
                <c:pt idx="965">
                  <c:v>14.420868243243241</c:v>
                </c:pt>
                <c:pt idx="966">
                  <c:v>14.420868243243241</c:v>
                </c:pt>
                <c:pt idx="967">
                  <c:v>14.420868243243241</c:v>
                </c:pt>
                <c:pt idx="968">
                  <c:v>14.420868243243241</c:v>
                </c:pt>
                <c:pt idx="969">
                  <c:v>14.420868243243241</c:v>
                </c:pt>
                <c:pt idx="970">
                  <c:v>14.420868243243241</c:v>
                </c:pt>
                <c:pt idx="971">
                  <c:v>14.420868243243241</c:v>
                </c:pt>
                <c:pt idx="972">
                  <c:v>14.420868243243241</c:v>
                </c:pt>
                <c:pt idx="973">
                  <c:v>14.420868243243241</c:v>
                </c:pt>
                <c:pt idx="974">
                  <c:v>14.420868243243241</c:v>
                </c:pt>
                <c:pt idx="975">
                  <c:v>14.420868243243241</c:v>
                </c:pt>
                <c:pt idx="976">
                  <c:v>14.420868243243241</c:v>
                </c:pt>
                <c:pt idx="977">
                  <c:v>14.420868243243241</c:v>
                </c:pt>
                <c:pt idx="978">
                  <c:v>14.420868243243241</c:v>
                </c:pt>
                <c:pt idx="979">
                  <c:v>14.420868243243241</c:v>
                </c:pt>
                <c:pt idx="980">
                  <c:v>14.420868243243241</c:v>
                </c:pt>
                <c:pt idx="981">
                  <c:v>14.420868243243241</c:v>
                </c:pt>
                <c:pt idx="982">
                  <c:v>14.420868243243241</c:v>
                </c:pt>
                <c:pt idx="983">
                  <c:v>14.420868243243241</c:v>
                </c:pt>
                <c:pt idx="984">
                  <c:v>14.420868243243241</c:v>
                </c:pt>
                <c:pt idx="985">
                  <c:v>14.420868243243241</c:v>
                </c:pt>
                <c:pt idx="986">
                  <c:v>14.420868243243241</c:v>
                </c:pt>
                <c:pt idx="987">
                  <c:v>14.420868243243241</c:v>
                </c:pt>
                <c:pt idx="988">
                  <c:v>14.420868243243241</c:v>
                </c:pt>
                <c:pt idx="989">
                  <c:v>14.420868243243241</c:v>
                </c:pt>
                <c:pt idx="990">
                  <c:v>14.420868243243241</c:v>
                </c:pt>
                <c:pt idx="991">
                  <c:v>14.420868243243241</c:v>
                </c:pt>
                <c:pt idx="992">
                  <c:v>14.420868243243241</c:v>
                </c:pt>
                <c:pt idx="993">
                  <c:v>14.420868243243241</c:v>
                </c:pt>
                <c:pt idx="994">
                  <c:v>14.420868243243241</c:v>
                </c:pt>
                <c:pt idx="995">
                  <c:v>14.420868243243241</c:v>
                </c:pt>
                <c:pt idx="996">
                  <c:v>14.420868243243241</c:v>
                </c:pt>
                <c:pt idx="997">
                  <c:v>14.420868243243241</c:v>
                </c:pt>
                <c:pt idx="998">
                  <c:v>14.420868243243241</c:v>
                </c:pt>
                <c:pt idx="999">
                  <c:v>14.420868243243241</c:v>
                </c:pt>
                <c:pt idx="1000">
                  <c:v>14.420868243243241</c:v>
                </c:pt>
                <c:pt idx="1001">
                  <c:v>14.420868243243241</c:v>
                </c:pt>
                <c:pt idx="1002">
                  <c:v>14.420868243243241</c:v>
                </c:pt>
                <c:pt idx="1003">
                  <c:v>14.420868243243241</c:v>
                </c:pt>
                <c:pt idx="1004">
                  <c:v>14.420868243243241</c:v>
                </c:pt>
                <c:pt idx="1005">
                  <c:v>14.420868243243241</c:v>
                </c:pt>
                <c:pt idx="1006">
                  <c:v>14.420868243243241</c:v>
                </c:pt>
                <c:pt idx="1007">
                  <c:v>14.420868243243241</c:v>
                </c:pt>
                <c:pt idx="1008">
                  <c:v>14.420868243243241</c:v>
                </c:pt>
                <c:pt idx="1009">
                  <c:v>14.420868243243241</c:v>
                </c:pt>
                <c:pt idx="1010">
                  <c:v>14.420868243243241</c:v>
                </c:pt>
                <c:pt idx="1011">
                  <c:v>14.420868243243241</c:v>
                </c:pt>
                <c:pt idx="1012">
                  <c:v>14.420868243243241</c:v>
                </c:pt>
                <c:pt idx="1013">
                  <c:v>14.420868243243241</c:v>
                </c:pt>
                <c:pt idx="1014">
                  <c:v>14.420868243243241</c:v>
                </c:pt>
                <c:pt idx="1015">
                  <c:v>14.420868243243241</c:v>
                </c:pt>
                <c:pt idx="1016">
                  <c:v>14.420868243243241</c:v>
                </c:pt>
                <c:pt idx="1017">
                  <c:v>14.420868243243241</c:v>
                </c:pt>
                <c:pt idx="1018">
                  <c:v>14.420868243243241</c:v>
                </c:pt>
                <c:pt idx="1019">
                  <c:v>14.420868243243241</c:v>
                </c:pt>
                <c:pt idx="1020">
                  <c:v>14.420868243243241</c:v>
                </c:pt>
                <c:pt idx="1021">
                  <c:v>14.420868243243241</c:v>
                </c:pt>
                <c:pt idx="1022">
                  <c:v>14.420868243243241</c:v>
                </c:pt>
                <c:pt idx="1023">
                  <c:v>14.420868243243241</c:v>
                </c:pt>
                <c:pt idx="1024">
                  <c:v>14.420868243243241</c:v>
                </c:pt>
                <c:pt idx="1025">
                  <c:v>14.420868243243241</c:v>
                </c:pt>
                <c:pt idx="1026">
                  <c:v>14.420868243243241</c:v>
                </c:pt>
                <c:pt idx="1027">
                  <c:v>14.420868243243241</c:v>
                </c:pt>
                <c:pt idx="1028">
                  <c:v>14.420868243243241</c:v>
                </c:pt>
                <c:pt idx="1029">
                  <c:v>14.420868243243241</c:v>
                </c:pt>
                <c:pt idx="1030">
                  <c:v>14.420868243243241</c:v>
                </c:pt>
                <c:pt idx="1031">
                  <c:v>14.420868243243241</c:v>
                </c:pt>
                <c:pt idx="1032">
                  <c:v>14.420868243243241</c:v>
                </c:pt>
                <c:pt idx="1033">
                  <c:v>14.420868243243241</c:v>
                </c:pt>
                <c:pt idx="1034">
                  <c:v>14.420868243243241</c:v>
                </c:pt>
                <c:pt idx="1035">
                  <c:v>14.420868243243241</c:v>
                </c:pt>
                <c:pt idx="1036">
                  <c:v>14.420868243243241</c:v>
                </c:pt>
                <c:pt idx="1037">
                  <c:v>14.420868243243241</c:v>
                </c:pt>
                <c:pt idx="1038">
                  <c:v>14.420868243243241</c:v>
                </c:pt>
                <c:pt idx="1039">
                  <c:v>14.420868243243241</c:v>
                </c:pt>
                <c:pt idx="1040">
                  <c:v>14.420868243243241</c:v>
                </c:pt>
                <c:pt idx="1041">
                  <c:v>14.420868243243241</c:v>
                </c:pt>
                <c:pt idx="1042">
                  <c:v>14.420868243243241</c:v>
                </c:pt>
                <c:pt idx="1043">
                  <c:v>14.420868243243241</c:v>
                </c:pt>
                <c:pt idx="1044">
                  <c:v>14.420868243243241</c:v>
                </c:pt>
                <c:pt idx="1045">
                  <c:v>14.420868243243241</c:v>
                </c:pt>
                <c:pt idx="1046">
                  <c:v>14.420868243243241</c:v>
                </c:pt>
                <c:pt idx="1047">
                  <c:v>14.420868243243241</c:v>
                </c:pt>
                <c:pt idx="1048">
                  <c:v>14.420868243243241</c:v>
                </c:pt>
                <c:pt idx="1049">
                  <c:v>14.420868243243241</c:v>
                </c:pt>
                <c:pt idx="1050">
                  <c:v>14.420868243243241</c:v>
                </c:pt>
                <c:pt idx="1051">
                  <c:v>14.420868243243241</c:v>
                </c:pt>
                <c:pt idx="1052">
                  <c:v>14.420868243243241</c:v>
                </c:pt>
                <c:pt idx="1053">
                  <c:v>14.420868243243241</c:v>
                </c:pt>
                <c:pt idx="1054">
                  <c:v>14.420868243243241</c:v>
                </c:pt>
                <c:pt idx="1055">
                  <c:v>14.420868243243241</c:v>
                </c:pt>
                <c:pt idx="1056">
                  <c:v>14.420868243243241</c:v>
                </c:pt>
                <c:pt idx="1057">
                  <c:v>14.420868243243241</c:v>
                </c:pt>
                <c:pt idx="1058">
                  <c:v>14.420868243243241</c:v>
                </c:pt>
                <c:pt idx="1059">
                  <c:v>14.420868243243241</c:v>
                </c:pt>
                <c:pt idx="1060">
                  <c:v>14.420868243243241</c:v>
                </c:pt>
                <c:pt idx="1061">
                  <c:v>14.420868243243241</c:v>
                </c:pt>
                <c:pt idx="1062">
                  <c:v>14.420868243243241</c:v>
                </c:pt>
                <c:pt idx="1063">
                  <c:v>14.420868243243241</c:v>
                </c:pt>
                <c:pt idx="1064">
                  <c:v>14.420868243243241</c:v>
                </c:pt>
                <c:pt idx="1065">
                  <c:v>14.420868243243241</c:v>
                </c:pt>
                <c:pt idx="1066">
                  <c:v>14.420868243243241</c:v>
                </c:pt>
                <c:pt idx="1067">
                  <c:v>14.420868243243241</c:v>
                </c:pt>
                <c:pt idx="1068">
                  <c:v>14.420868243243241</c:v>
                </c:pt>
                <c:pt idx="1069">
                  <c:v>14.420868243243241</c:v>
                </c:pt>
                <c:pt idx="1070">
                  <c:v>14.420868243243241</c:v>
                </c:pt>
                <c:pt idx="1071">
                  <c:v>14.420868243243241</c:v>
                </c:pt>
                <c:pt idx="1072">
                  <c:v>14.420868243243241</c:v>
                </c:pt>
                <c:pt idx="1073">
                  <c:v>14.420868243243241</c:v>
                </c:pt>
                <c:pt idx="1074">
                  <c:v>14.420868243243241</c:v>
                </c:pt>
                <c:pt idx="1075">
                  <c:v>14.420868243243241</c:v>
                </c:pt>
                <c:pt idx="1076">
                  <c:v>14.420868243243241</c:v>
                </c:pt>
                <c:pt idx="1077">
                  <c:v>14.420868243243241</c:v>
                </c:pt>
                <c:pt idx="1078">
                  <c:v>14.420868243243241</c:v>
                </c:pt>
                <c:pt idx="1079">
                  <c:v>14.420868243243241</c:v>
                </c:pt>
                <c:pt idx="1080">
                  <c:v>14.420868243243241</c:v>
                </c:pt>
                <c:pt idx="1081">
                  <c:v>14.420868243243241</c:v>
                </c:pt>
                <c:pt idx="1082">
                  <c:v>14.420868243243241</c:v>
                </c:pt>
                <c:pt idx="1083">
                  <c:v>14.420868243243241</c:v>
                </c:pt>
                <c:pt idx="1084">
                  <c:v>14.420868243243241</c:v>
                </c:pt>
                <c:pt idx="1085">
                  <c:v>14.420868243243241</c:v>
                </c:pt>
                <c:pt idx="1086">
                  <c:v>14.420868243243241</c:v>
                </c:pt>
                <c:pt idx="1087">
                  <c:v>14.420868243243241</c:v>
                </c:pt>
                <c:pt idx="1088">
                  <c:v>14.420868243243241</c:v>
                </c:pt>
                <c:pt idx="1089">
                  <c:v>14.420868243243241</c:v>
                </c:pt>
                <c:pt idx="1090">
                  <c:v>14.420868243243241</c:v>
                </c:pt>
                <c:pt idx="1091">
                  <c:v>14.420868243243241</c:v>
                </c:pt>
                <c:pt idx="1092">
                  <c:v>14.420868243243241</c:v>
                </c:pt>
                <c:pt idx="1093">
                  <c:v>14.420868243243241</c:v>
                </c:pt>
                <c:pt idx="1094">
                  <c:v>14.420868243243241</c:v>
                </c:pt>
                <c:pt idx="1095">
                  <c:v>14.420868243243241</c:v>
                </c:pt>
                <c:pt idx="1096">
                  <c:v>14.420868243243241</c:v>
                </c:pt>
                <c:pt idx="1097">
                  <c:v>14.420868243243241</c:v>
                </c:pt>
                <c:pt idx="1098">
                  <c:v>14.420868243243241</c:v>
                </c:pt>
                <c:pt idx="1099">
                  <c:v>14.420868243243241</c:v>
                </c:pt>
                <c:pt idx="1100">
                  <c:v>14.420868243243241</c:v>
                </c:pt>
                <c:pt idx="1101">
                  <c:v>14.420868243243241</c:v>
                </c:pt>
                <c:pt idx="1102">
                  <c:v>14.420868243243241</c:v>
                </c:pt>
                <c:pt idx="1103">
                  <c:v>14.420868243243241</c:v>
                </c:pt>
                <c:pt idx="1104">
                  <c:v>14.420868243243241</c:v>
                </c:pt>
                <c:pt idx="1105">
                  <c:v>14.420868243243241</c:v>
                </c:pt>
                <c:pt idx="1106">
                  <c:v>14.420868243243241</c:v>
                </c:pt>
                <c:pt idx="1107">
                  <c:v>14.420868243243241</c:v>
                </c:pt>
                <c:pt idx="1108">
                  <c:v>14.420868243243241</c:v>
                </c:pt>
                <c:pt idx="1109">
                  <c:v>14.420868243243241</c:v>
                </c:pt>
                <c:pt idx="1110">
                  <c:v>14.420868243243241</c:v>
                </c:pt>
                <c:pt idx="1111">
                  <c:v>14.420868243243241</c:v>
                </c:pt>
                <c:pt idx="1112">
                  <c:v>14.420868243243241</c:v>
                </c:pt>
                <c:pt idx="1113">
                  <c:v>14.420868243243241</c:v>
                </c:pt>
                <c:pt idx="1114">
                  <c:v>14.420868243243241</c:v>
                </c:pt>
                <c:pt idx="1115">
                  <c:v>14.420868243243241</c:v>
                </c:pt>
                <c:pt idx="1116">
                  <c:v>14.420868243243241</c:v>
                </c:pt>
                <c:pt idx="1117">
                  <c:v>14.420868243243241</c:v>
                </c:pt>
                <c:pt idx="1118">
                  <c:v>14.420868243243241</c:v>
                </c:pt>
                <c:pt idx="1119">
                  <c:v>14.420868243243241</c:v>
                </c:pt>
                <c:pt idx="1120">
                  <c:v>14.420868243243241</c:v>
                </c:pt>
                <c:pt idx="1121">
                  <c:v>14.420868243243241</c:v>
                </c:pt>
                <c:pt idx="1122">
                  <c:v>14.420868243243241</c:v>
                </c:pt>
                <c:pt idx="1123">
                  <c:v>14.420868243243241</c:v>
                </c:pt>
                <c:pt idx="1124">
                  <c:v>14.420868243243241</c:v>
                </c:pt>
                <c:pt idx="1125">
                  <c:v>14.420868243243241</c:v>
                </c:pt>
                <c:pt idx="1126">
                  <c:v>14.420868243243241</c:v>
                </c:pt>
                <c:pt idx="1127">
                  <c:v>14.420868243243241</c:v>
                </c:pt>
                <c:pt idx="1128">
                  <c:v>14.420868243243241</c:v>
                </c:pt>
                <c:pt idx="1129">
                  <c:v>14.420868243243241</c:v>
                </c:pt>
                <c:pt idx="1130">
                  <c:v>14.420868243243241</c:v>
                </c:pt>
                <c:pt idx="1131">
                  <c:v>14.420868243243241</c:v>
                </c:pt>
                <c:pt idx="1132">
                  <c:v>14.420868243243241</c:v>
                </c:pt>
                <c:pt idx="1133">
                  <c:v>14.420868243243241</c:v>
                </c:pt>
                <c:pt idx="1134">
                  <c:v>14.420868243243241</c:v>
                </c:pt>
                <c:pt idx="1135">
                  <c:v>14.420868243243241</c:v>
                </c:pt>
                <c:pt idx="1136">
                  <c:v>14.420868243243241</c:v>
                </c:pt>
                <c:pt idx="1137">
                  <c:v>14.420868243243241</c:v>
                </c:pt>
                <c:pt idx="1138">
                  <c:v>14.420868243243241</c:v>
                </c:pt>
                <c:pt idx="1139">
                  <c:v>14.420868243243241</c:v>
                </c:pt>
                <c:pt idx="1140">
                  <c:v>14.420868243243241</c:v>
                </c:pt>
                <c:pt idx="1141">
                  <c:v>14.420868243243241</c:v>
                </c:pt>
                <c:pt idx="1142">
                  <c:v>14.420868243243241</c:v>
                </c:pt>
                <c:pt idx="1143">
                  <c:v>14.420868243243241</c:v>
                </c:pt>
                <c:pt idx="1144">
                  <c:v>14.420868243243241</c:v>
                </c:pt>
                <c:pt idx="1145">
                  <c:v>14.420868243243241</c:v>
                </c:pt>
                <c:pt idx="1146">
                  <c:v>14.420868243243241</c:v>
                </c:pt>
                <c:pt idx="1147">
                  <c:v>14.420868243243241</c:v>
                </c:pt>
                <c:pt idx="1148">
                  <c:v>14.420868243243241</c:v>
                </c:pt>
                <c:pt idx="1149">
                  <c:v>14.420868243243241</c:v>
                </c:pt>
                <c:pt idx="1150">
                  <c:v>14.420868243243241</c:v>
                </c:pt>
                <c:pt idx="1151">
                  <c:v>14.420868243243241</c:v>
                </c:pt>
                <c:pt idx="1152">
                  <c:v>14.420868243243241</c:v>
                </c:pt>
                <c:pt idx="1153">
                  <c:v>14.420868243243241</c:v>
                </c:pt>
                <c:pt idx="1154">
                  <c:v>14.420868243243241</c:v>
                </c:pt>
                <c:pt idx="1155">
                  <c:v>14.420868243243241</c:v>
                </c:pt>
                <c:pt idx="1156">
                  <c:v>14.420868243243241</c:v>
                </c:pt>
                <c:pt idx="1157">
                  <c:v>14.420868243243241</c:v>
                </c:pt>
                <c:pt idx="1158">
                  <c:v>14.420868243243241</c:v>
                </c:pt>
                <c:pt idx="1159">
                  <c:v>14.420868243243241</c:v>
                </c:pt>
                <c:pt idx="1160">
                  <c:v>14.420868243243241</c:v>
                </c:pt>
                <c:pt idx="1161">
                  <c:v>14.420868243243241</c:v>
                </c:pt>
                <c:pt idx="1162">
                  <c:v>14.420868243243241</c:v>
                </c:pt>
                <c:pt idx="1163">
                  <c:v>14.420868243243241</c:v>
                </c:pt>
                <c:pt idx="1164">
                  <c:v>14.420868243243241</c:v>
                </c:pt>
                <c:pt idx="1165">
                  <c:v>14.420868243243241</c:v>
                </c:pt>
                <c:pt idx="1166">
                  <c:v>14.420868243243241</c:v>
                </c:pt>
                <c:pt idx="1167">
                  <c:v>14.420868243243241</c:v>
                </c:pt>
                <c:pt idx="1168">
                  <c:v>14.420868243243241</c:v>
                </c:pt>
                <c:pt idx="1169">
                  <c:v>14.420868243243241</c:v>
                </c:pt>
                <c:pt idx="1170">
                  <c:v>14.420868243243241</c:v>
                </c:pt>
                <c:pt idx="1171">
                  <c:v>14.420868243243241</c:v>
                </c:pt>
                <c:pt idx="1172">
                  <c:v>14.420868243243241</c:v>
                </c:pt>
                <c:pt idx="1173">
                  <c:v>14.420868243243241</c:v>
                </c:pt>
                <c:pt idx="1174">
                  <c:v>14.420868243243241</c:v>
                </c:pt>
                <c:pt idx="1175">
                  <c:v>14.420868243243241</c:v>
                </c:pt>
                <c:pt idx="1176">
                  <c:v>14.420868243243241</c:v>
                </c:pt>
                <c:pt idx="1177">
                  <c:v>14.420868243243241</c:v>
                </c:pt>
                <c:pt idx="1178">
                  <c:v>14.420868243243241</c:v>
                </c:pt>
                <c:pt idx="1179">
                  <c:v>14.420868243243241</c:v>
                </c:pt>
                <c:pt idx="1180">
                  <c:v>14.420868243243241</c:v>
                </c:pt>
                <c:pt idx="1181">
                  <c:v>14.420868243243241</c:v>
                </c:pt>
                <c:pt idx="1182">
                  <c:v>14.420868243243241</c:v>
                </c:pt>
                <c:pt idx="1183">
                  <c:v>14.420868243243241</c:v>
                </c:pt>
                <c:pt idx="1184">
                  <c:v>14.420868243243241</c:v>
                </c:pt>
                <c:pt idx="1185">
                  <c:v>14.420868243243241</c:v>
                </c:pt>
                <c:pt idx="1186">
                  <c:v>14.420868243243241</c:v>
                </c:pt>
                <c:pt idx="1187">
                  <c:v>14.420868243243241</c:v>
                </c:pt>
                <c:pt idx="1188">
                  <c:v>14.420868243243241</c:v>
                </c:pt>
                <c:pt idx="1189">
                  <c:v>14.420868243243241</c:v>
                </c:pt>
                <c:pt idx="1190">
                  <c:v>14.420868243243241</c:v>
                </c:pt>
                <c:pt idx="1191">
                  <c:v>14.420868243243241</c:v>
                </c:pt>
                <c:pt idx="1192">
                  <c:v>14.420868243243241</c:v>
                </c:pt>
                <c:pt idx="1193">
                  <c:v>14.420868243243241</c:v>
                </c:pt>
                <c:pt idx="1194">
                  <c:v>14.420868243243241</c:v>
                </c:pt>
                <c:pt idx="1195">
                  <c:v>14.420868243243241</c:v>
                </c:pt>
                <c:pt idx="1196">
                  <c:v>14.420868243243241</c:v>
                </c:pt>
                <c:pt idx="1197">
                  <c:v>14.420868243243241</c:v>
                </c:pt>
                <c:pt idx="1198">
                  <c:v>14.420868243243241</c:v>
                </c:pt>
                <c:pt idx="1199">
                  <c:v>14.420868243243241</c:v>
                </c:pt>
                <c:pt idx="1200">
                  <c:v>14.420868243243241</c:v>
                </c:pt>
                <c:pt idx="1201">
                  <c:v>14.420868243243241</c:v>
                </c:pt>
                <c:pt idx="1202">
                  <c:v>14.420868243243241</c:v>
                </c:pt>
                <c:pt idx="1203">
                  <c:v>14.420868243243241</c:v>
                </c:pt>
                <c:pt idx="1204">
                  <c:v>14.420868243243241</c:v>
                </c:pt>
                <c:pt idx="1205">
                  <c:v>14.420868243243241</c:v>
                </c:pt>
                <c:pt idx="1206">
                  <c:v>14.420868243243241</c:v>
                </c:pt>
                <c:pt idx="1207">
                  <c:v>14.420868243243241</c:v>
                </c:pt>
                <c:pt idx="1208">
                  <c:v>14.420868243243241</c:v>
                </c:pt>
                <c:pt idx="1209">
                  <c:v>14.420868243243241</c:v>
                </c:pt>
                <c:pt idx="1210">
                  <c:v>14.420868243243241</c:v>
                </c:pt>
                <c:pt idx="1211">
                  <c:v>14.420868243243241</c:v>
                </c:pt>
                <c:pt idx="1212">
                  <c:v>14.420868243243241</c:v>
                </c:pt>
                <c:pt idx="1213">
                  <c:v>14.420868243243241</c:v>
                </c:pt>
                <c:pt idx="1214">
                  <c:v>14.420868243243241</c:v>
                </c:pt>
                <c:pt idx="1215">
                  <c:v>14.420868243243241</c:v>
                </c:pt>
                <c:pt idx="1216">
                  <c:v>14.420868243243241</c:v>
                </c:pt>
                <c:pt idx="1217">
                  <c:v>14.420868243243241</c:v>
                </c:pt>
                <c:pt idx="1218">
                  <c:v>14.420868243243241</c:v>
                </c:pt>
                <c:pt idx="1219">
                  <c:v>14.420868243243241</c:v>
                </c:pt>
                <c:pt idx="1220">
                  <c:v>14.420868243243241</c:v>
                </c:pt>
                <c:pt idx="1221">
                  <c:v>14.420868243243241</c:v>
                </c:pt>
                <c:pt idx="1222">
                  <c:v>14.420868243243241</c:v>
                </c:pt>
                <c:pt idx="1223">
                  <c:v>14.420868243243241</c:v>
                </c:pt>
                <c:pt idx="1224">
                  <c:v>14.420868243243241</c:v>
                </c:pt>
                <c:pt idx="1225">
                  <c:v>14.420868243243241</c:v>
                </c:pt>
                <c:pt idx="1226">
                  <c:v>14.420868243243241</c:v>
                </c:pt>
                <c:pt idx="1227">
                  <c:v>14.420868243243241</c:v>
                </c:pt>
                <c:pt idx="1228">
                  <c:v>14.420868243243241</c:v>
                </c:pt>
                <c:pt idx="1229">
                  <c:v>14.420868243243241</c:v>
                </c:pt>
                <c:pt idx="1230">
                  <c:v>14.420868243243241</c:v>
                </c:pt>
                <c:pt idx="1231">
                  <c:v>14.420868243243241</c:v>
                </c:pt>
                <c:pt idx="1232">
                  <c:v>14.420868243243241</c:v>
                </c:pt>
                <c:pt idx="1233">
                  <c:v>14.420868243243241</c:v>
                </c:pt>
                <c:pt idx="1234">
                  <c:v>14.420868243243241</c:v>
                </c:pt>
                <c:pt idx="1235">
                  <c:v>14.420868243243241</c:v>
                </c:pt>
                <c:pt idx="1236">
                  <c:v>14.420868243243241</c:v>
                </c:pt>
                <c:pt idx="1237">
                  <c:v>14.420868243243241</c:v>
                </c:pt>
                <c:pt idx="1238">
                  <c:v>14.420868243243241</c:v>
                </c:pt>
                <c:pt idx="1239">
                  <c:v>14.420868243243241</c:v>
                </c:pt>
                <c:pt idx="1240">
                  <c:v>14.420868243243241</c:v>
                </c:pt>
                <c:pt idx="1241">
                  <c:v>14.420868243243241</c:v>
                </c:pt>
                <c:pt idx="1242">
                  <c:v>14.420868243243241</c:v>
                </c:pt>
                <c:pt idx="1243">
                  <c:v>14.420868243243241</c:v>
                </c:pt>
                <c:pt idx="1244">
                  <c:v>14.420868243243241</c:v>
                </c:pt>
                <c:pt idx="1245">
                  <c:v>14.420868243243241</c:v>
                </c:pt>
                <c:pt idx="1246">
                  <c:v>14.420868243243241</c:v>
                </c:pt>
                <c:pt idx="1247">
                  <c:v>14.420868243243241</c:v>
                </c:pt>
                <c:pt idx="1248">
                  <c:v>14.420868243243241</c:v>
                </c:pt>
                <c:pt idx="1249">
                  <c:v>14.420868243243241</c:v>
                </c:pt>
                <c:pt idx="1250">
                  <c:v>14.420868243243241</c:v>
                </c:pt>
                <c:pt idx="1251">
                  <c:v>14.420868243243241</c:v>
                </c:pt>
                <c:pt idx="1252">
                  <c:v>14.420868243243241</c:v>
                </c:pt>
                <c:pt idx="1253">
                  <c:v>14.420868243243241</c:v>
                </c:pt>
                <c:pt idx="1254">
                  <c:v>14.420868243243241</c:v>
                </c:pt>
                <c:pt idx="1255">
                  <c:v>14.420868243243241</c:v>
                </c:pt>
                <c:pt idx="1256">
                  <c:v>14.420868243243241</c:v>
                </c:pt>
                <c:pt idx="1257">
                  <c:v>14.420868243243241</c:v>
                </c:pt>
                <c:pt idx="1258">
                  <c:v>14.420868243243241</c:v>
                </c:pt>
                <c:pt idx="1259">
                  <c:v>14.420868243243241</c:v>
                </c:pt>
                <c:pt idx="1260">
                  <c:v>14.420868243243241</c:v>
                </c:pt>
                <c:pt idx="1261">
                  <c:v>14.420868243243241</c:v>
                </c:pt>
                <c:pt idx="1262">
                  <c:v>14.420868243243241</c:v>
                </c:pt>
                <c:pt idx="1263">
                  <c:v>14.420868243243241</c:v>
                </c:pt>
                <c:pt idx="1264">
                  <c:v>14.420868243243241</c:v>
                </c:pt>
                <c:pt idx="1265">
                  <c:v>14.420868243243241</c:v>
                </c:pt>
                <c:pt idx="1266">
                  <c:v>14.420868243243241</c:v>
                </c:pt>
                <c:pt idx="1267">
                  <c:v>14.420868243243241</c:v>
                </c:pt>
                <c:pt idx="1268">
                  <c:v>14.420868243243241</c:v>
                </c:pt>
                <c:pt idx="1269">
                  <c:v>14.420868243243241</c:v>
                </c:pt>
                <c:pt idx="1270">
                  <c:v>14.420868243243241</c:v>
                </c:pt>
                <c:pt idx="1271">
                  <c:v>14.420868243243241</c:v>
                </c:pt>
                <c:pt idx="1272">
                  <c:v>14.420868243243241</c:v>
                </c:pt>
                <c:pt idx="1273">
                  <c:v>14.420868243243241</c:v>
                </c:pt>
                <c:pt idx="1274">
                  <c:v>14.420868243243241</c:v>
                </c:pt>
                <c:pt idx="1275">
                  <c:v>14.420868243243241</c:v>
                </c:pt>
                <c:pt idx="1276">
                  <c:v>14.420868243243241</c:v>
                </c:pt>
                <c:pt idx="1277">
                  <c:v>14.420868243243241</c:v>
                </c:pt>
                <c:pt idx="1278">
                  <c:v>14.420868243243241</c:v>
                </c:pt>
                <c:pt idx="1279">
                  <c:v>14.420868243243241</c:v>
                </c:pt>
                <c:pt idx="1280">
                  <c:v>14.420868243243241</c:v>
                </c:pt>
                <c:pt idx="1281">
                  <c:v>14.420868243243241</c:v>
                </c:pt>
                <c:pt idx="1282">
                  <c:v>14.420868243243241</c:v>
                </c:pt>
                <c:pt idx="1283">
                  <c:v>14.420868243243241</c:v>
                </c:pt>
                <c:pt idx="1284">
                  <c:v>14.420868243243241</c:v>
                </c:pt>
                <c:pt idx="1285">
                  <c:v>14.420868243243241</c:v>
                </c:pt>
                <c:pt idx="1286">
                  <c:v>14.420868243243241</c:v>
                </c:pt>
                <c:pt idx="1287">
                  <c:v>14.420868243243241</c:v>
                </c:pt>
                <c:pt idx="1288">
                  <c:v>14.420868243243241</c:v>
                </c:pt>
                <c:pt idx="1289">
                  <c:v>14.420868243243241</c:v>
                </c:pt>
                <c:pt idx="1290">
                  <c:v>14.420868243243241</c:v>
                </c:pt>
                <c:pt idx="1291">
                  <c:v>14.420868243243241</c:v>
                </c:pt>
                <c:pt idx="1292">
                  <c:v>14.420868243243241</c:v>
                </c:pt>
                <c:pt idx="1293">
                  <c:v>14.420868243243241</c:v>
                </c:pt>
                <c:pt idx="1294">
                  <c:v>14.420868243243241</c:v>
                </c:pt>
                <c:pt idx="1295">
                  <c:v>14.420868243243241</c:v>
                </c:pt>
                <c:pt idx="1296">
                  <c:v>14.420868243243241</c:v>
                </c:pt>
                <c:pt idx="1297">
                  <c:v>14.420868243243241</c:v>
                </c:pt>
                <c:pt idx="1298">
                  <c:v>14.420868243243241</c:v>
                </c:pt>
                <c:pt idx="1299">
                  <c:v>14.420868243243241</c:v>
                </c:pt>
                <c:pt idx="1300">
                  <c:v>14.420868243243241</c:v>
                </c:pt>
                <c:pt idx="1301">
                  <c:v>14.420868243243241</c:v>
                </c:pt>
                <c:pt idx="1302">
                  <c:v>14.420868243243241</c:v>
                </c:pt>
                <c:pt idx="1303">
                  <c:v>14.420868243243241</c:v>
                </c:pt>
                <c:pt idx="1304">
                  <c:v>14.420868243243241</c:v>
                </c:pt>
                <c:pt idx="1305">
                  <c:v>14.420868243243241</c:v>
                </c:pt>
                <c:pt idx="1306">
                  <c:v>14.420868243243241</c:v>
                </c:pt>
                <c:pt idx="1307">
                  <c:v>14.420868243243241</c:v>
                </c:pt>
                <c:pt idx="1308">
                  <c:v>14.420868243243241</c:v>
                </c:pt>
                <c:pt idx="1309">
                  <c:v>14.420868243243241</c:v>
                </c:pt>
                <c:pt idx="1310">
                  <c:v>14.420868243243241</c:v>
                </c:pt>
                <c:pt idx="1311">
                  <c:v>14.420868243243241</c:v>
                </c:pt>
                <c:pt idx="1312">
                  <c:v>14.420868243243241</c:v>
                </c:pt>
                <c:pt idx="1313">
                  <c:v>14.420868243243241</c:v>
                </c:pt>
                <c:pt idx="1314">
                  <c:v>14.420868243243241</c:v>
                </c:pt>
                <c:pt idx="1315">
                  <c:v>14.420868243243241</c:v>
                </c:pt>
                <c:pt idx="1316">
                  <c:v>14.420868243243241</c:v>
                </c:pt>
                <c:pt idx="1317">
                  <c:v>14.420868243243241</c:v>
                </c:pt>
                <c:pt idx="1318">
                  <c:v>14.420868243243241</c:v>
                </c:pt>
                <c:pt idx="1319">
                  <c:v>14.420868243243241</c:v>
                </c:pt>
                <c:pt idx="1320">
                  <c:v>14.420868243243241</c:v>
                </c:pt>
                <c:pt idx="1321">
                  <c:v>14.420868243243241</c:v>
                </c:pt>
                <c:pt idx="1322">
                  <c:v>14.420868243243241</c:v>
                </c:pt>
                <c:pt idx="1323">
                  <c:v>14.420868243243241</c:v>
                </c:pt>
                <c:pt idx="1324">
                  <c:v>14.420868243243241</c:v>
                </c:pt>
                <c:pt idx="1325">
                  <c:v>14.420868243243241</c:v>
                </c:pt>
                <c:pt idx="1326">
                  <c:v>14.420868243243241</c:v>
                </c:pt>
                <c:pt idx="1327">
                  <c:v>14.420868243243241</c:v>
                </c:pt>
                <c:pt idx="1328">
                  <c:v>14.420868243243241</c:v>
                </c:pt>
                <c:pt idx="1329">
                  <c:v>14.420868243243241</c:v>
                </c:pt>
                <c:pt idx="1330">
                  <c:v>14.420868243243241</c:v>
                </c:pt>
                <c:pt idx="1331">
                  <c:v>14.420868243243241</c:v>
                </c:pt>
                <c:pt idx="1332">
                  <c:v>14.420868243243241</c:v>
                </c:pt>
                <c:pt idx="1333">
                  <c:v>14.420868243243241</c:v>
                </c:pt>
                <c:pt idx="1334">
                  <c:v>14.420868243243241</c:v>
                </c:pt>
                <c:pt idx="1335">
                  <c:v>14.420868243243241</c:v>
                </c:pt>
                <c:pt idx="1336">
                  <c:v>14.420868243243241</c:v>
                </c:pt>
                <c:pt idx="1337">
                  <c:v>14.420868243243241</c:v>
                </c:pt>
                <c:pt idx="1338">
                  <c:v>14.420868243243241</c:v>
                </c:pt>
                <c:pt idx="1339">
                  <c:v>14.420868243243241</c:v>
                </c:pt>
                <c:pt idx="1340">
                  <c:v>14.420868243243241</c:v>
                </c:pt>
                <c:pt idx="1341">
                  <c:v>14.420868243243241</c:v>
                </c:pt>
                <c:pt idx="1342">
                  <c:v>14.420868243243241</c:v>
                </c:pt>
                <c:pt idx="1343">
                  <c:v>14.420868243243241</c:v>
                </c:pt>
                <c:pt idx="1344">
                  <c:v>14.420868243243241</c:v>
                </c:pt>
                <c:pt idx="1345">
                  <c:v>14.420868243243241</c:v>
                </c:pt>
                <c:pt idx="1346">
                  <c:v>14.420868243243241</c:v>
                </c:pt>
                <c:pt idx="1347">
                  <c:v>14.420868243243241</c:v>
                </c:pt>
                <c:pt idx="1348">
                  <c:v>14.420868243243241</c:v>
                </c:pt>
                <c:pt idx="1349">
                  <c:v>14.420868243243241</c:v>
                </c:pt>
                <c:pt idx="1350">
                  <c:v>14.420868243243241</c:v>
                </c:pt>
                <c:pt idx="1351">
                  <c:v>14.420868243243241</c:v>
                </c:pt>
                <c:pt idx="1352">
                  <c:v>14.420868243243241</c:v>
                </c:pt>
                <c:pt idx="1353">
                  <c:v>14.420868243243241</c:v>
                </c:pt>
                <c:pt idx="1354">
                  <c:v>14.420868243243241</c:v>
                </c:pt>
                <c:pt idx="1355">
                  <c:v>14.420868243243241</c:v>
                </c:pt>
                <c:pt idx="1356">
                  <c:v>14.420868243243241</c:v>
                </c:pt>
                <c:pt idx="1357">
                  <c:v>14.420868243243241</c:v>
                </c:pt>
                <c:pt idx="1358">
                  <c:v>14.420868243243241</c:v>
                </c:pt>
                <c:pt idx="1359">
                  <c:v>14.420868243243241</c:v>
                </c:pt>
                <c:pt idx="1360">
                  <c:v>14.420868243243241</c:v>
                </c:pt>
                <c:pt idx="1361">
                  <c:v>14.420868243243241</c:v>
                </c:pt>
                <c:pt idx="1362">
                  <c:v>14.420868243243241</c:v>
                </c:pt>
                <c:pt idx="1363">
                  <c:v>14.420868243243241</c:v>
                </c:pt>
                <c:pt idx="1364">
                  <c:v>14.420868243243241</c:v>
                </c:pt>
                <c:pt idx="1365">
                  <c:v>14.420868243243241</c:v>
                </c:pt>
                <c:pt idx="1366">
                  <c:v>14.420868243243241</c:v>
                </c:pt>
                <c:pt idx="1367">
                  <c:v>14.420868243243241</c:v>
                </c:pt>
                <c:pt idx="1368">
                  <c:v>14.420868243243241</c:v>
                </c:pt>
                <c:pt idx="1369">
                  <c:v>14.420868243243241</c:v>
                </c:pt>
                <c:pt idx="1370">
                  <c:v>14.420868243243241</c:v>
                </c:pt>
                <c:pt idx="1371">
                  <c:v>14.420868243243241</c:v>
                </c:pt>
                <c:pt idx="1372">
                  <c:v>14.420868243243241</c:v>
                </c:pt>
                <c:pt idx="1373">
                  <c:v>14.420868243243241</c:v>
                </c:pt>
                <c:pt idx="1374">
                  <c:v>14.420868243243241</c:v>
                </c:pt>
                <c:pt idx="1375">
                  <c:v>14.420868243243241</c:v>
                </c:pt>
                <c:pt idx="1376">
                  <c:v>14.420868243243241</c:v>
                </c:pt>
                <c:pt idx="1377">
                  <c:v>14.420868243243241</c:v>
                </c:pt>
                <c:pt idx="1378">
                  <c:v>14.420868243243241</c:v>
                </c:pt>
                <c:pt idx="1379">
                  <c:v>14.420868243243241</c:v>
                </c:pt>
                <c:pt idx="1380">
                  <c:v>14.420868243243241</c:v>
                </c:pt>
                <c:pt idx="1381">
                  <c:v>14.420868243243241</c:v>
                </c:pt>
                <c:pt idx="1382">
                  <c:v>14.420868243243241</c:v>
                </c:pt>
                <c:pt idx="1383">
                  <c:v>14.420868243243241</c:v>
                </c:pt>
                <c:pt idx="1384">
                  <c:v>14.420868243243241</c:v>
                </c:pt>
                <c:pt idx="1385">
                  <c:v>14.420868243243241</c:v>
                </c:pt>
                <c:pt idx="1386">
                  <c:v>14.420868243243241</c:v>
                </c:pt>
                <c:pt idx="1387">
                  <c:v>14.420868243243241</c:v>
                </c:pt>
                <c:pt idx="1388">
                  <c:v>14.420868243243241</c:v>
                </c:pt>
                <c:pt idx="1389">
                  <c:v>14.420868243243241</c:v>
                </c:pt>
                <c:pt idx="1390">
                  <c:v>14.420868243243241</c:v>
                </c:pt>
                <c:pt idx="1391">
                  <c:v>14.420868243243241</c:v>
                </c:pt>
                <c:pt idx="1392">
                  <c:v>14.420868243243241</c:v>
                </c:pt>
                <c:pt idx="1393">
                  <c:v>14.420868243243241</c:v>
                </c:pt>
                <c:pt idx="1394">
                  <c:v>14.420868243243241</c:v>
                </c:pt>
                <c:pt idx="1395">
                  <c:v>14.420868243243241</c:v>
                </c:pt>
                <c:pt idx="1396">
                  <c:v>14.420868243243241</c:v>
                </c:pt>
                <c:pt idx="1397">
                  <c:v>14.420868243243241</c:v>
                </c:pt>
                <c:pt idx="1398">
                  <c:v>14.420868243243241</c:v>
                </c:pt>
                <c:pt idx="1399">
                  <c:v>14.420868243243241</c:v>
                </c:pt>
                <c:pt idx="1400">
                  <c:v>14.420868243243241</c:v>
                </c:pt>
                <c:pt idx="1401">
                  <c:v>14.420868243243241</c:v>
                </c:pt>
                <c:pt idx="1402">
                  <c:v>14.420868243243241</c:v>
                </c:pt>
                <c:pt idx="1403">
                  <c:v>14.420868243243241</c:v>
                </c:pt>
                <c:pt idx="1404">
                  <c:v>14.420868243243241</c:v>
                </c:pt>
                <c:pt idx="1405">
                  <c:v>14.420868243243241</c:v>
                </c:pt>
                <c:pt idx="1406">
                  <c:v>14.420868243243241</c:v>
                </c:pt>
                <c:pt idx="1407">
                  <c:v>14.420868243243241</c:v>
                </c:pt>
                <c:pt idx="1408">
                  <c:v>14.420868243243241</c:v>
                </c:pt>
                <c:pt idx="1409">
                  <c:v>14.420868243243241</c:v>
                </c:pt>
                <c:pt idx="1410">
                  <c:v>14.420868243243241</c:v>
                </c:pt>
                <c:pt idx="1411">
                  <c:v>14.420868243243241</c:v>
                </c:pt>
                <c:pt idx="1412">
                  <c:v>14.420868243243241</c:v>
                </c:pt>
                <c:pt idx="1413">
                  <c:v>14.420868243243241</c:v>
                </c:pt>
                <c:pt idx="1414">
                  <c:v>14.420868243243241</c:v>
                </c:pt>
                <c:pt idx="1415">
                  <c:v>14.420868243243241</c:v>
                </c:pt>
                <c:pt idx="1416">
                  <c:v>14.420868243243241</c:v>
                </c:pt>
                <c:pt idx="1417">
                  <c:v>14.420868243243241</c:v>
                </c:pt>
                <c:pt idx="1418">
                  <c:v>14.420868243243241</c:v>
                </c:pt>
                <c:pt idx="1419">
                  <c:v>14.420868243243241</c:v>
                </c:pt>
                <c:pt idx="1420">
                  <c:v>14.420868243243241</c:v>
                </c:pt>
                <c:pt idx="1421">
                  <c:v>14.420868243243241</c:v>
                </c:pt>
                <c:pt idx="1422">
                  <c:v>14.420868243243241</c:v>
                </c:pt>
                <c:pt idx="1423">
                  <c:v>14.420868243243241</c:v>
                </c:pt>
                <c:pt idx="1424">
                  <c:v>14.420868243243241</c:v>
                </c:pt>
                <c:pt idx="1425">
                  <c:v>14.420868243243241</c:v>
                </c:pt>
                <c:pt idx="1426">
                  <c:v>14.420868243243241</c:v>
                </c:pt>
                <c:pt idx="1427">
                  <c:v>14.420868243243241</c:v>
                </c:pt>
                <c:pt idx="1428">
                  <c:v>14.420868243243241</c:v>
                </c:pt>
                <c:pt idx="1429">
                  <c:v>14.420868243243241</c:v>
                </c:pt>
                <c:pt idx="1430">
                  <c:v>14.420868243243241</c:v>
                </c:pt>
                <c:pt idx="1431">
                  <c:v>14.420868243243241</c:v>
                </c:pt>
                <c:pt idx="1432">
                  <c:v>14.420868243243241</c:v>
                </c:pt>
                <c:pt idx="1433">
                  <c:v>14.420868243243241</c:v>
                </c:pt>
                <c:pt idx="1434">
                  <c:v>14.420868243243241</c:v>
                </c:pt>
                <c:pt idx="1435">
                  <c:v>14.420868243243241</c:v>
                </c:pt>
                <c:pt idx="1436">
                  <c:v>14.420868243243241</c:v>
                </c:pt>
                <c:pt idx="1437">
                  <c:v>14.420868243243241</c:v>
                </c:pt>
                <c:pt idx="1438">
                  <c:v>14.420868243243241</c:v>
                </c:pt>
                <c:pt idx="1439">
                  <c:v>14.420868243243241</c:v>
                </c:pt>
                <c:pt idx="1440">
                  <c:v>14.420868243243241</c:v>
                </c:pt>
                <c:pt idx="1441">
                  <c:v>14.420868243243241</c:v>
                </c:pt>
                <c:pt idx="1442">
                  <c:v>14.420868243243241</c:v>
                </c:pt>
                <c:pt idx="1443">
                  <c:v>14.420868243243241</c:v>
                </c:pt>
                <c:pt idx="1444">
                  <c:v>14.420868243243241</c:v>
                </c:pt>
                <c:pt idx="1445">
                  <c:v>14.420868243243241</c:v>
                </c:pt>
                <c:pt idx="1446">
                  <c:v>14.420868243243241</c:v>
                </c:pt>
                <c:pt idx="1447">
                  <c:v>14.420868243243241</c:v>
                </c:pt>
                <c:pt idx="1448">
                  <c:v>14.420868243243241</c:v>
                </c:pt>
                <c:pt idx="1449">
                  <c:v>14.420868243243241</c:v>
                </c:pt>
                <c:pt idx="1450">
                  <c:v>14.420868243243241</c:v>
                </c:pt>
                <c:pt idx="1451">
                  <c:v>14.420868243243241</c:v>
                </c:pt>
                <c:pt idx="1452">
                  <c:v>14.420868243243241</c:v>
                </c:pt>
                <c:pt idx="1453">
                  <c:v>14.420868243243241</c:v>
                </c:pt>
                <c:pt idx="1454">
                  <c:v>14.420868243243241</c:v>
                </c:pt>
                <c:pt idx="1455">
                  <c:v>14.420868243243241</c:v>
                </c:pt>
                <c:pt idx="1456">
                  <c:v>14.420868243243241</c:v>
                </c:pt>
                <c:pt idx="1457">
                  <c:v>14.420868243243241</c:v>
                </c:pt>
                <c:pt idx="1458">
                  <c:v>14.420868243243241</c:v>
                </c:pt>
                <c:pt idx="1459">
                  <c:v>14.420868243243241</c:v>
                </c:pt>
                <c:pt idx="1460">
                  <c:v>14.420868243243241</c:v>
                </c:pt>
                <c:pt idx="1461">
                  <c:v>14.420868243243241</c:v>
                </c:pt>
                <c:pt idx="1462">
                  <c:v>14.420868243243241</c:v>
                </c:pt>
                <c:pt idx="1463">
                  <c:v>14.420868243243241</c:v>
                </c:pt>
                <c:pt idx="1464">
                  <c:v>14.420868243243241</c:v>
                </c:pt>
                <c:pt idx="1465">
                  <c:v>14.420868243243241</c:v>
                </c:pt>
                <c:pt idx="1466">
                  <c:v>14.420868243243241</c:v>
                </c:pt>
                <c:pt idx="1467">
                  <c:v>14.420868243243241</c:v>
                </c:pt>
                <c:pt idx="1468">
                  <c:v>14.420868243243241</c:v>
                </c:pt>
                <c:pt idx="1469">
                  <c:v>14.420868243243241</c:v>
                </c:pt>
                <c:pt idx="1470">
                  <c:v>14.420868243243241</c:v>
                </c:pt>
                <c:pt idx="1471">
                  <c:v>14.420868243243241</c:v>
                </c:pt>
                <c:pt idx="1472">
                  <c:v>14.420868243243241</c:v>
                </c:pt>
                <c:pt idx="1473">
                  <c:v>14.420868243243241</c:v>
                </c:pt>
                <c:pt idx="1474">
                  <c:v>14.420868243243241</c:v>
                </c:pt>
                <c:pt idx="1475">
                  <c:v>14.420868243243241</c:v>
                </c:pt>
                <c:pt idx="1476">
                  <c:v>14.420868243243241</c:v>
                </c:pt>
                <c:pt idx="1477">
                  <c:v>14.420868243243241</c:v>
                </c:pt>
                <c:pt idx="1478">
                  <c:v>14.420868243243241</c:v>
                </c:pt>
                <c:pt idx="1479">
                  <c:v>14.420868243243241</c:v>
                </c:pt>
                <c:pt idx="1480">
                  <c:v>14.420868243243241</c:v>
                </c:pt>
                <c:pt idx="1481">
                  <c:v>14.420868243243241</c:v>
                </c:pt>
                <c:pt idx="1482">
                  <c:v>14.420868243243241</c:v>
                </c:pt>
                <c:pt idx="1483">
                  <c:v>14.420868243243241</c:v>
                </c:pt>
                <c:pt idx="1484">
                  <c:v>14.420868243243241</c:v>
                </c:pt>
                <c:pt idx="1485">
                  <c:v>14.420868243243241</c:v>
                </c:pt>
                <c:pt idx="1486">
                  <c:v>14.420868243243241</c:v>
                </c:pt>
                <c:pt idx="1487">
                  <c:v>14.420868243243241</c:v>
                </c:pt>
                <c:pt idx="1488">
                  <c:v>14.420868243243241</c:v>
                </c:pt>
                <c:pt idx="1489">
                  <c:v>14.420868243243241</c:v>
                </c:pt>
                <c:pt idx="1490">
                  <c:v>14.420868243243241</c:v>
                </c:pt>
                <c:pt idx="1491">
                  <c:v>14.420868243243241</c:v>
                </c:pt>
                <c:pt idx="1492">
                  <c:v>14.420868243243241</c:v>
                </c:pt>
                <c:pt idx="1493">
                  <c:v>14.420868243243241</c:v>
                </c:pt>
                <c:pt idx="1494">
                  <c:v>14.420868243243241</c:v>
                </c:pt>
                <c:pt idx="1495">
                  <c:v>14.420868243243241</c:v>
                </c:pt>
                <c:pt idx="1496">
                  <c:v>14.420868243243241</c:v>
                </c:pt>
                <c:pt idx="1497">
                  <c:v>14.420868243243241</c:v>
                </c:pt>
                <c:pt idx="1498">
                  <c:v>14.420868243243241</c:v>
                </c:pt>
                <c:pt idx="1499">
                  <c:v>14.420868243243241</c:v>
                </c:pt>
                <c:pt idx="1500">
                  <c:v>14.420868243243241</c:v>
                </c:pt>
                <c:pt idx="1501">
                  <c:v>14.420868243243241</c:v>
                </c:pt>
                <c:pt idx="1502">
                  <c:v>14.420868243243241</c:v>
                </c:pt>
                <c:pt idx="1503">
                  <c:v>14.420868243243241</c:v>
                </c:pt>
                <c:pt idx="1504">
                  <c:v>14.420868243243241</c:v>
                </c:pt>
                <c:pt idx="1505">
                  <c:v>14.420868243243241</c:v>
                </c:pt>
                <c:pt idx="1506">
                  <c:v>14.420868243243241</c:v>
                </c:pt>
                <c:pt idx="1507">
                  <c:v>14.420868243243241</c:v>
                </c:pt>
                <c:pt idx="1508">
                  <c:v>14.420868243243241</c:v>
                </c:pt>
                <c:pt idx="1509">
                  <c:v>14.420868243243241</c:v>
                </c:pt>
                <c:pt idx="1510">
                  <c:v>14.420868243243241</c:v>
                </c:pt>
                <c:pt idx="1511">
                  <c:v>14.420868243243241</c:v>
                </c:pt>
                <c:pt idx="1512">
                  <c:v>14.420868243243241</c:v>
                </c:pt>
                <c:pt idx="1513">
                  <c:v>14.420868243243241</c:v>
                </c:pt>
                <c:pt idx="1514">
                  <c:v>14.420868243243241</c:v>
                </c:pt>
                <c:pt idx="1515">
                  <c:v>14.420868243243241</c:v>
                </c:pt>
                <c:pt idx="1516">
                  <c:v>14.420868243243241</c:v>
                </c:pt>
                <c:pt idx="1517">
                  <c:v>14.420868243243241</c:v>
                </c:pt>
                <c:pt idx="1518">
                  <c:v>14.420868243243241</c:v>
                </c:pt>
                <c:pt idx="1519">
                  <c:v>14.420868243243241</c:v>
                </c:pt>
                <c:pt idx="1520">
                  <c:v>14.420868243243241</c:v>
                </c:pt>
                <c:pt idx="1521">
                  <c:v>14.420868243243241</c:v>
                </c:pt>
                <c:pt idx="1522">
                  <c:v>14.420868243243241</c:v>
                </c:pt>
                <c:pt idx="1523">
                  <c:v>14.420868243243241</c:v>
                </c:pt>
                <c:pt idx="1524">
                  <c:v>14.420868243243241</c:v>
                </c:pt>
                <c:pt idx="1525">
                  <c:v>14.420868243243241</c:v>
                </c:pt>
                <c:pt idx="1526">
                  <c:v>14.420868243243241</c:v>
                </c:pt>
                <c:pt idx="1527">
                  <c:v>14.420868243243241</c:v>
                </c:pt>
                <c:pt idx="1528">
                  <c:v>14.420868243243241</c:v>
                </c:pt>
                <c:pt idx="1529">
                  <c:v>14.420868243243241</c:v>
                </c:pt>
                <c:pt idx="1530">
                  <c:v>14.420868243243241</c:v>
                </c:pt>
                <c:pt idx="1531">
                  <c:v>14.420868243243241</c:v>
                </c:pt>
                <c:pt idx="1532">
                  <c:v>14.420868243243241</c:v>
                </c:pt>
                <c:pt idx="1533">
                  <c:v>14.420868243243241</c:v>
                </c:pt>
                <c:pt idx="1534">
                  <c:v>14.420868243243241</c:v>
                </c:pt>
                <c:pt idx="1535">
                  <c:v>14.420868243243241</c:v>
                </c:pt>
                <c:pt idx="1536">
                  <c:v>14.420868243243241</c:v>
                </c:pt>
                <c:pt idx="1537">
                  <c:v>14.420868243243241</c:v>
                </c:pt>
                <c:pt idx="1538">
                  <c:v>14.420868243243241</c:v>
                </c:pt>
                <c:pt idx="1539">
                  <c:v>14.420868243243241</c:v>
                </c:pt>
                <c:pt idx="1540">
                  <c:v>14.420868243243241</c:v>
                </c:pt>
                <c:pt idx="1541">
                  <c:v>14.420868243243241</c:v>
                </c:pt>
                <c:pt idx="1542">
                  <c:v>14.420868243243241</c:v>
                </c:pt>
                <c:pt idx="1543">
                  <c:v>14.420868243243241</c:v>
                </c:pt>
                <c:pt idx="1544">
                  <c:v>14.420868243243241</c:v>
                </c:pt>
                <c:pt idx="1545">
                  <c:v>14.420868243243241</c:v>
                </c:pt>
                <c:pt idx="1546">
                  <c:v>14.420868243243241</c:v>
                </c:pt>
                <c:pt idx="1547">
                  <c:v>14.420868243243241</c:v>
                </c:pt>
                <c:pt idx="1548">
                  <c:v>14.420868243243241</c:v>
                </c:pt>
                <c:pt idx="1549">
                  <c:v>14.420868243243241</c:v>
                </c:pt>
                <c:pt idx="1550">
                  <c:v>14.420868243243241</c:v>
                </c:pt>
                <c:pt idx="1551">
                  <c:v>14.420868243243241</c:v>
                </c:pt>
                <c:pt idx="1552">
                  <c:v>14.420868243243241</c:v>
                </c:pt>
                <c:pt idx="1553">
                  <c:v>14.420868243243241</c:v>
                </c:pt>
                <c:pt idx="1554">
                  <c:v>14.420868243243241</c:v>
                </c:pt>
                <c:pt idx="1555">
                  <c:v>14.420868243243241</c:v>
                </c:pt>
                <c:pt idx="1556">
                  <c:v>14.420868243243241</c:v>
                </c:pt>
                <c:pt idx="1557">
                  <c:v>14.420868243243241</c:v>
                </c:pt>
                <c:pt idx="1558">
                  <c:v>14.420868243243241</c:v>
                </c:pt>
                <c:pt idx="1559">
                  <c:v>14.420868243243241</c:v>
                </c:pt>
                <c:pt idx="1560">
                  <c:v>14.420868243243241</c:v>
                </c:pt>
                <c:pt idx="1561">
                  <c:v>14.420868243243241</c:v>
                </c:pt>
                <c:pt idx="1562">
                  <c:v>14.420868243243241</c:v>
                </c:pt>
                <c:pt idx="1563">
                  <c:v>14.420868243243241</c:v>
                </c:pt>
                <c:pt idx="1564">
                  <c:v>14.420868243243241</c:v>
                </c:pt>
                <c:pt idx="1565">
                  <c:v>14.420868243243241</c:v>
                </c:pt>
                <c:pt idx="1566">
                  <c:v>14.420868243243241</c:v>
                </c:pt>
                <c:pt idx="1567">
                  <c:v>14.420868243243241</c:v>
                </c:pt>
                <c:pt idx="1568">
                  <c:v>14.420868243243241</c:v>
                </c:pt>
                <c:pt idx="1569">
                  <c:v>14.420868243243241</c:v>
                </c:pt>
                <c:pt idx="1570">
                  <c:v>14.420868243243241</c:v>
                </c:pt>
                <c:pt idx="1571">
                  <c:v>14.420868243243241</c:v>
                </c:pt>
                <c:pt idx="1572">
                  <c:v>14.420868243243241</c:v>
                </c:pt>
                <c:pt idx="1573">
                  <c:v>14.420868243243241</c:v>
                </c:pt>
                <c:pt idx="1574">
                  <c:v>14.420868243243241</c:v>
                </c:pt>
                <c:pt idx="1575">
                  <c:v>14.420868243243241</c:v>
                </c:pt>
                <c:pt idx="1576">
                  <c:v>14.420868243243241</c:v>
                </c:pt>
                <c:pt idx="1577">
                  <c:v>14.420868243243241</c:v>
                </c:pt>
                <c:pt idx="1578">
                  <c:v>14.420868243243241</c:v>
                </c:pt>
                <c:pt idx="1579">
                  <c:v>14.420868243243241</c:v>
                </c:pt>
                <c:pt idx="1580">
                  <c:v>14.420868243243241</c:v>
                </c:pt>
                <c:pt idx="1581">
                  <c:v>14.420868243243241</c:v>
                </c:pt>
                <c:pt idx="1582">
                  <c:v>14.420868243243241</c:v>
                </c:pt>
                <c:pt idx="1583">
                  <c:v>14.420868243243241</c:v>
                </c:pt>
                <c:pt idx="1584">
                  <c:v>14.420868243243241</c:v>
                </c:pt>
                <c:pt idx="1585">
                  <c:v>14.420868243243241</c:v>
                </c:pt>
                <c:pt idx="1586">
                  <c:v>14.420868243243241</c:v>
                </c:pt>
                <c:pt idx="1587">
                  <c:v>14.420868243243241</c:v>
                </c:pt>
                <c:pt idx="1588">
                  <c:v>14.420868243243241</c:v>
                </c:pt>
                <c:pt idx="1589">
                  <c:v>14.420868243243241</c:v>
                </c:pt>
                <c:pt idx="1590">
                  <c:v>14.420868243243241</c:v>
                </c:pt>
                <c:pt idx="1591">
                  <c:v>14.420868243243241</c:v>
                </c:pt>
                <c:pt idx="1592">
                  <c:v>14.420868243243241</c:v>
                </c:pt>
                <c:pt idx="1593">
                  <c:v>14.420868243243241</c:v>
                </c:pt>
                <c:pt idx="1594">
                  <c:v>14.420868243243241</c:v>
                </c:pt>
                <c:pt idx="1595">
                  <c:v>14.420868243243241</c:v>
                </c:pt>
                <c:pt idx="1596">
                  <c:v>14.420868243243241</c:v>
                </c:pt>
                <c:pt idx="1597">
                  <c:v>14.420868243243241</c:v>
                </c:pt>
                <c:pt idx="1598">
                  <c:v>14.420868243243241</c:v>
                </c:pt>
                <c:pt idx="1599">
                  <c:v>14.420868243243241</c:v>
                </c:pt>
                <c:pt idx="1600">
                  <c:v>14.420868243243241</c:v>
                </c:pt>
                <c:pt idx="1601">
                  <c:v>14.420868243243241</c:v>
                </c:pt>
                <c:pt idx="1602">
                  <c:v>14.420868243243241</c:v>
                </c:pt>
                <c:pt idx="1603">
                  <c:v>14.420868243243241</c:v>
                </c:pt>
                <c:pt idx="1604">
                  <c:v>14.420868243243241</c:v>
                </c:pt>
                <c:pt idx="1605">
                  <c:v>14.420868243243241</c:v>
                </c:pt>
                <c:pt idx="1606">
                  <c:v>14.420868243243241</c:v>
                </c:pt>
                <c:pt idx="1607">
                  <c:v>14.420868243243241</c:v>
                </c:pt>
                <c:pt idx="1608">
                  <c:v>14.420868243243241</c:v>
                </c:pt>
                <c:pt idx="1609">
                  <c:v>14.420868243243241</c:v>
                </c:pt>
                <c:pt idx="1610">
                  <c:v>14.420868243243241</c:v>
                </c:pt>
                <c:pt idx="1611">
                  <c:v>14.420868243243241</c:v>
                </c:pt>
                <c:pt idx="1612">
                  <c:v>14.420868243243241</c:v>
                </c:pt>
                <c:pt idx="1613">
                  <c:v>14.420868243243241</c:v>
                </c:pt>
                <c:pt idx="1614">
                  <c:v>14.420868243243241</c:v>
                </c:pt>
                <c:pt idx="1615">
                  <c:v>14.420868243243241</c:v>
                </c:pt>
                <c:pt idx="1616">
                  <c:v>14.420868243243241</c:v>
                </c:pt>
                <c:pt idx="1617">
                  <c:v>14.420868243243241</c:v>
                </c:pt>
                <c:pt idx="1618">
                  <c:v>14.420868243243241</c:v>
                </c:pt>
                <c:pt idx="1619">
                  <c:v>14.420868243243241</c:v>
                </c:pt>
                <c:pt idx="1620">
                  <c:v>14.420868243243241</c:v>
                </c:pt>
                <c:pt idx="1621">
                  <c:v>14.420868243243241</c:v>
                </c:pt>
                <c:pt idx="1622">
                  <c:v>14.420868243243241</c:v>
                </c:pt>
                <c:pt idx="1623">
                  <c:v>14.420868243243241</c:v>
                </c:pt>
                <c:pt idx="1624">
                  <c:v>14.420868243243241</c:v>
                </c:pt>
                <c:pt idx="1625">
                  <c:v>14.420868243243241</c:v>
                </c:pt>
                <c:pt idx="1626">
                  <c:v>14.420868243243241</c:v>
                </c:pt>
                <c:pt idx="1627">
                  <c:v>14.420868243243241</c:v>
                </c:pt>
                <c:pt idx="1628">
                  <c:v>14.420868243243241</c:v>
                </c:pt>
                <c:pt idx="1629">
                  <c:v>14.420868243243241</c:v>
                </c:pt>
                <c:pt idx="1630">
                  <c:v>14.420868243243241</c:v>
                </c:pt>
                <c:pt idx="1631">
                  <c:v>14.420868243243241</c:v>
                </c:pt>
                <c:pt idx="1632">
                  <c:v>14.420868243243241</c:v>
                </c:pt>
                <c:pt idx="1633">
                  <c:v>14.420868243243241</c:v>
                </c:pt>
                <c:pt idx="1634">
                  <c:v>14.420868243243241</c:v>
                </c:pt>
                <c:pt idx="1635">
                  <c:v>14.420868243243241</c:v>
                </c:pt>
                <c:pt idx="1636">
                  <c:v>14.420868243243241</c:v>
                </c:pt>
                <c:pt idx="1637">
                  <c:v>14.420868243243241</c:v>
                </c:pt>
                <c:pt idx="1638">
                  <c:v>14.420868243243241</c:v>
                </c:pt>
                <c:pt idx="1639">
                  <c:v>14.420868243243241</c:v>
                </c:pt>
                <c:pt idx="1640">
                  <c:v>14.420868243243241</c:v>
                </c:pt>
                <c:pt idx="1641">
                  <c:v>14.420868243243241</c:v>
                </c:pt>
                <c:pt idx="1642">
                  <c:v>14.420868243243241</c:v>
                </c:pt>
                <c:pt idx="1643">
                  <c:v>14.420868243243241</c:v>
                </c:pt>
                <c:pt idx="1644">
                  <c:v>14.420868243243241</c:v>
                </c:pt>
                <c:pt idx="1645">
                  <c:v>14.420868243243241</c:v>
                </c:pt>
                <c:pt idx="1646">
                  <c:v>14.420868243243241</c:v>
                </c:pt>
                <c:pt idx="1647">
                  <c:v>14.420868243243241</c:v>
                </c:pt>
                <c:pt idx="1648">
                  <c:v>14.420868243243241</c:v>
                </c:pt>
                <c:pt idx="1649">
                  <c:v>14.420868243243241</c:v>
                </c:pt>
                <c:pt idx="1650">
                  <c:v>14.420868243243241</c:v>
                </c:pt>
                <c:pt idx="1651">
                  <c:v>14.420868243243241</c:v>
                </c:pt>
                <c:pt idx="1652">
                  <c:v>14.420868243243241</c:v>
                </c:pt>
                <c:pt idx="1653">
                  <c:v>14.420868243243241</c:v>
                </c:pt>
                <c:pt idx="1654">
                  <c:v>14.420868243243241</c:v>
                </c:pt>
                <c:pt idx="1655">
                  <c:v>14.420868243243241</c:v>
                </c:pt>
                <c:pt idx="1656">
                  <c:v>14.420868243243241</c:v>
                </c:pt>
                <c:pt idx="1657">
                  <c:v>14.420868243243241</c:v>
                </c:pt>
                <c:pt idx="1658">
                  <c:v>14.420868243243241</c:v>
                </c:pt>
                <c:pt idx="1659">
                  <c:v>14.420868243243241</c:v>
                </c:pt>
                <c:pt idx="1660">
                  <c:v>14.420868243243241</c:v>
                </c:pt>
                <c:pt idx="1661">
                  <c:v>14.420868243243241</c:v>
                </c:pt>
                <c:pt idx="1662">
                  <c:v>14.420868243243241</c:v>
                </c:pt>
                <c:pt idx="1663">
                  <c:v>14.420868243243241</c:v>
                </c:pt>
                <c:pt idx="1664">
                  <c:v>14.420868243243241</c:v>
                </c:pt>
                <c:pt idx="1665">
                  <c:v>14.420868243243241</c:v>
                </c:pt>
                <c:pt idx="1666">
                  <c:v>14.420868243243241</c:v>
                </c:pt>
                <c:pt idx="1667">
                  <c:v>14.420868243243241</c:v>
                </c:pt>
                <c:pt idx="1668">
                  <c:v>14.420868243243241</c:v>
                </c:pt>
                <c:pt idx="1669">
                  <c:v>14.420868243243241</c:v>
                </c:pt>
                <c:pt idx="1670">
                  <c:v>14.420868243243241</c:v>
                </c:pt>
                <c:pt idx="1671">
                  <c:v>14.420868243243241</c:v>
                </c:pt>
                <c:pt idx="1672">
                  <c:v>14.420868243243241</c:v>
                </c:pt>
                <c:pt idx="1673">
                  <c:v>14.420868243243241</c:v>
                </c:pt>
                <c:pt idx="1674">
                  <c:v>14.420868243243241</c:v>
                </c:pt>
                <c:pt idx="1675">
                  <c:v>14.420868243243241</c:v>
                </c:pt>
                <c:pt idx="1676">
                  <c:v>14.420868243243241</c:v>
                </c:pt>
                <c:pt idx="1677">
                  <c:v>14.420868243243241</c:v>
                </c:pt>
                <c:pt idx="1678">
                  <c:v>14.420868243243241</c:v>
                </c:pt>
                <c:pt idx="1679">
                  <c:v>14.420868243243241</c:v>
                </c:pt>
                <c:pt idx="1680">
                  <c:v>14.420868243243241</c:v>
                </c:pt>
                <c:pt idx="1681">
                  <c:v>14.420868243243241</c:v>
                </c:pt>
                <c:pt idx="1682">
                  <c:v>14.420868243243241</c:v>
                </c:pt>
                <c:pt idx="1683">
                  <c:v>14.420868243243241</c:v>
                </c:pt>
                <c:pt idx="1684">
                  <c:v>14.420868243243241</c:v>
                </c:pt>
                <c:pt idx="1685">
                  <c:v>14.420868243243241</c:v>
                </c:pt>
                <c:pt idx="1686">
                  <c:v>14.420868243243241</c:v>
                </c:pt>
                <c:pt idx="1687">
                  <c:v>14.420868243243241</c:v>
                </c:pt>
                <c:pt idx="1688">
                  <c:v>14.420868243243241</c:v>
                </c:pt>
                <c:pt idx="1689">
                  <c:v>14.420868243243241</c:v>
                </c:pt>
                <c:pt idx="1690">
                  <c:v>14.420868243243241</c:v>
                </c:pt>
                <c:pt idx="1691">
                  <c:v>14.420868243243241</c:v>
                </c:pt>
                <c:pt idx="1692">
                  <c:v>14.420868243243241</c:v>
                </c:pt>
                <c:pt idx="1693">
                  <c:v>14.420868243243241</c:v>
                </c:pt>
                <c:pt idx="1694">
                  <c:v>14.420868243243241</c:v>
                </c:pt>
                <c:pt idx="1695">
                  <c:v>14.420868243243241</c:v>
                </c:pt>
                <c:pt idx="1696">
                  <c:v>14.420868243243241</c:v>
                </c:pt>
                <c:pt idx="1697">
                  <c:v>14.420868243243241</c:v>
                </c:pt>
                <c:pt idx="1698">
                  <c:v>14.420868243243241</c:v>
                </c:pt>
                <c:pt idx="1699">
                  <c:v>14.420868243243241</c:v>
                </c:pt>
                <c:pt idx="1700">
                  <c:v>14.420868243243241</c:v>
                </c:pt>
                <c:pt idx="1701">
                  <c:v>14.420868243243241</c:v>
                </c:pt>
                <c:pt idx="1702">
                  <c:v>14.420868243243241</c:v>
                </c:pt>
                <c:pt idx="1703">
                  <c:v>14.420868243243241</c:v>
                </c:pt>
                <c:pt idx="1704">
                  <c:v>14.420868243243241</c:v>
                </c:pt>
                <c:pt idx="1705">
                  <c:v>14.420868243243241</c:v>
                </c:pt>
                <c:pt idx="1706">
                  <c:v>14.420868243243241</c:v>
                </c:pt>
                <c:pt idx="1707">
                  <c:v>14.420868243243241</c:v>
                </c:pt>
                <c:pt idx="1708">
                  <c:v>14.420868243243241</c:v>
                </c:pt>
                <c:pt idx="1709">
                  <c:v>14.420868243243241</c:v>
                </c:pt>
                <c:pt idx="1710">
                  <c:v>14.420868243243241</c:v>
                </c:pt>
                <c:pt idx="1711">
                  <c:v>14.420868243243241</c:v>
                </c:pt>
                <c:pt idx="1712">
                  <c:v>14.420868243243241</c:v>
                </c:pt>
                <c:pt idx="1713">
                  <c:v>14.420868243243241</c:v>
                </c:pt>
                <c:pt idx="1714">
                  <c:v>14.420868243243241</c:v>
                </c:pt>
                <c:pt idx="1715">
                  <c:v>14.420868243243241</c:v>
                </c:pt>
                <c:pt idx="1716">
                  <c:v>14.420868243243241</c:v>
                </c:pt>
                <c:pt idx="1717">
                  <c:v>14.420868243243241</c:v>
                </c:pt>
                <c:pt idx="1718">
                  <c:v>14.420868243243241</c:v>
                </c:pt>
                <c:pt idx="1719">
                  <c:v>14.420868243243241</c:v>
                </c:pt>
                <c:pt idx="1720">
                  <c:v>14.420868243243241</c:v>
                </c:pt>
                <c:pt idx="1721">
                  <c:v>14.420868243243241</c:v>
                </c:pt>
                <c:pt idx="1722">
                  <c:v>14.420868243243241</c:v>
                </c:pt>
                <c:pt idx="1723">
                  <c:v>14.420868243243241</c:v>
                </c:pt>
                <c:pt idx="1724">
                  <c:v>14.420868243243241</c:v>
                </c:pt>
                <c:pt idx="1725">
                  <c:v>14.420868243243241</c:v>
                </c:pt>
                <c:pt idx="1726">
                  <c:v>14.420868243243241</c:v>
                </c:pt>
                <c:pt idx="1727">
                  <c:v>14.420868243243241</c:v>
                </c:pt>
                <c:pt idx="1728">
                  <c:v>14.420868243243241</c:v>
                </c:pt>
                <c:pt idx="1729">
                  <c:v>14.420868243243241</c:v>
                </c:pt>
                <c:pt idx="1730">
                  <c:v>14.420868243243241</c:v>
                </c:pt>
                <c:pt idx="1731">
                  <c:v>14.420868243243241</c:v>
                </c:pt>
                <c:pt idx="1732">
                  <c:v>14.420868243243241</c:v>
                </c:pt>
                <c:pt idx="1733">
                  <c:v>14.420868243243241</c:v>
                </c:pt>
                <c:pt idx="1734">
                  <c:v>14.420868243243241</c:v>
                </c:pt>
                <c:pt idx="1735">
                  <c:v>14.420868243243241</c:v>
                </c:pt>
                <c:pt idx="1736">
                  <c:v>14.420868243243241</c:v>
                </c:pt>
                <c:pt idx="1737">
                  <c:v>14.420868243243241</c:v>
                </c:pt>
                <c:pt idx="1738">
                  <c:v>14.420868243243241</c:v>
                </c:pt>
                <c:pt idx="1739">
                  <c:v>14.420868243243241</c:v>
                </c:pt>
                <c:pt idx="1740">
                  <c:v>14.420868243243241</c:v>
                </c:pt>
                <c:pt idx="1741">
                  <c:v>14.420868243243241</c:v>
                </c:pt>
                <c:pt idx="1742">
                  <c:v>14.420868243243241</c:v>
                </c:pt>
                <c:pt idx="1743">
                  <c:v>14.420868243243241</c:v>
                </c:pt>
                <c:pt idx="1744">
                  <c:v>14.420868243243241</c:v>
                </c:pt>
                <c:pt idx="1745">
                  <c:v>14.420868243243241</c:v>
                </c:pt>
                <c:pt idx="1746">
                  <c:v>14.420868243243241</c:v>
                </c:pt>
                <c:pt idx="1747">
                  <c:v>14.420868243243241</c:v>
                </c:pt>
                <c:pt idx="1748">
                  <c:v>14.420868243243241</c:v>
                </c:pt>
                <c:pt idx="1749">
                  <c:v>14.420868243243241</c:v>
                </c:pt>
                <c:pt idx="1750">
                  <c:v>14.420868243243241</c:v>
                </c:pt>
                <c:pt idx="1751">
                  <c:v>14.420868243243241</c:v>
                </c:pt>
                <c:pt idx="1752">
                  <c:v>14.420868243243241</c:v>
                </c:pt>
                <c:pt idx="1753">
                  <c:v>14.420868243243241</c:v>
                </c:pt>
                <c:pt idx="1754">
                  <c:v>14.420868243243241</c:v>
                </c:pt>
                <c:pt idx="1755">
                  <c:v>14.420868243243241</c:v>
                </c:pt>
                <c:pt idx="1756">
                  <c:v>14.420868243243241</c:v>
                </c:pt>
                <c:pt idx="1757">
                  <c:v>14.420868243243241</c:v>
                </c:pt>
                <c:pt idx="1758">
                  <c:v>14.420868243243241</c:v>
                </c:pt>
                <c:pt idx="1759">
                  <c:v>14.420868243243241</c:v>
                </c:pt>
                <c:pt idx="1760">
                  <c:v>14.420868243243241</c:v>
                </c:pt>
                <c:pt idx="1761">
                  <c:v>14.420868243243241</c:v>
                </c:pt>
                <c:pt idx="1762">
                  <c:v>14.420868243243241</c:v>
                </c:pt>
                <c:pt idx="1763">
                  <c:v>14.420868243243241</c:v>
                </c:pt>
                <c:pt idx="1764">
                  <c:v>14.420868243243241</c:v>
                </c:pt>
                <c:pt idx="1765">
                  <c:v>14.420868243243241</c:v>
                </c:pt>
                <c:pt idx="1766">
                  <c:v>14.420868243243241</c:v>
                </c:pt>
                <c:pt idx="1767">
                  <c:v>14.420868243243241</c:v>
                </c:pt>
                <c:pt idx="1768">
                  <c:v>14.420868243243241</c:v>
                </c:pt>
                <c:pt idx="1769">
                  <c:v>14.420868243243241</c:v>
                </c:pt>
                <c:pt idx="1770">
                  <c:v>14.420868243243241</c:v>
                </c:pt>
                <c:pt idx="1771">
                  <c:v>14.420868243243241</c:v>
                </c:pt>
                <c:pt idx="1772">
                  <c:v>14.420868243243241</c:v>
                </c:pt>
                <c:pt idx="1773">
                  <c:v>14.420868243243241</c:v>
                </c:pt>
                <c:pt idx="1774">
                  <c:v>14.420868243243241</c:v>
                </c:pt>
                <c:pt idx="1775">
                  <c:v>14.420868243243241</c:v>
                </c:pt>
                <c:pt idx="1776">
                  <c:v>14.420868243243241</c:v>
                </c:pt>
                <c:pt idx="1777">
                  <c:v>14.420868243243241</c:v>
                </c:pt>
                <c:pt idx="1778">
                  <c:v>14.420868243243241</c:v>
                </c:pt>
                <c:pt idx="1779">
                  <c:v>14.420868243243241</c:v>
                </c:pt>
                <c:pt idx="1780">
                  <c:v>14.420868243243241</c:v>
                </c:pt>
                <c:pt idx="1781">
                  <c:v>14.420868243243241</c:v>
                </c:pt>
                <c:pt idx="1782">
                  <c:v>14.420868243243241</c:v>
                </c:pt>
                <c:pt idx="1783">
                  <c:v>14.420868243243241</c:v>
                </c:pt>
                <c:pt idx="1784">
                  <c:v>14.420868243243241</c:v>
                </c:pt>
                <c:pt idx="1785">
                  <c:v>14.420868243243241</c:v>
                </c:pt>
                <c:pt idx="1786">
                  <c:v>14.420868243243241</c:v>
                </c:pt>
                <c:pt idx="1787">
                  <c:v>14.420868243243241</c:v>
                </c:pt>
                <c:pt idx="1788">
                  <c:v>14.420868243243241</c:v>
                </c:pt>
                <c:pt idx="1789">
                  <c:v>14.420868243243241</c:v>
                </c:pt>
                <c:pt idx="1790">
                  <c:v>14.420868243243241</c:v>
                </c:pt>
                <c:pt idx="1791">
                  <c:v>14.420868243243241</c:v>
                </c:pt>
                <c:pt idx="1792">
                  <c:v>14.420868243243241</c:v>
                </c:pt>
                <c:pt idx="1793">
                  <c:v>14.420868243243241</c:v>
                </c:pt>
                <c:pt idx="1794">
                  <c:v>14.420868243243241</c:v>
                </c:pt>
                <c:pt idx="1795">
                  <c:v>14.420868243243241</c:v>
                </c:pt>
                <c:pt idx="1796">
                  <c:v>14.420868243243241</c:v>
                </c:pt>
                <c:pt idx="1797">
                  <c:v>14.420868243243241</c:v>
                </c:pt>
                <c:pt idx="1798">
                  <c:v>14.420868243243241</c:v>
                </c:pt>
                <c:pt idx="1799">
                  <c:v>14.420868243243241</c:v>
                </c:pt>
                <c:pt idx="1800">
                  <c:v>14.420868243243241</c:v>
                </c:pt>
                <c:pt idx="1801">
                  <c:v>14.420868243243241</c:v>
                </c:pt>
                <c:pt idx="1802">
                  <c:v>14.420868243243241</c:v>
                </c:pt>
                <c:pt idx="1803">
                  <c:v>14.420868243243241</c:v>
                </c:pt>
                <c:pt idx="1804">
                  <c:v>14.420868243243241</c:v>
                </c:pt>
                <c:pt idx="1805">
                  <c:v>14.420868243243241</c:v>
                </c:pt>
                <c:pt idx="1806">
                  <c:v>14.420868243243241</c:v>
                </c:pt>
                <c:pt idx="1807">
                  <c:v>14.420868243243241</c:v>
                </c:pt>
                <c:pt idx="1808">
                  <c:v>14.420868243243241</c:v>
                </c:pt>
                <c:pt idx="1809">
                  <c:v>14.420868243243241</c:v>
                </c:pt>
                <c:pt idx="1810">
                  <c:v>14.420868243243241</c:v>
                </c:pt>
                <c:pt idx="1811">
                  <c:v>14.420868243243241</c:v>
                </c:pt>
                <c:pt idx="1812">
                  <c:v>14.420868243243241</c:v>
                </c:pt>
                <c:pt idx="1813">
                  <c:v>14.420868243243241</c:v>
                </c:pt>
                <c:pt idx="1814">
                  <c:v>14.420868243243241</c:v>
                </c:pt>
                <c:pt idx="1815">
                  <c:v>14.420868243243241</c:v>
                </c:pt>
                <c:pt idx="1816">
                  <c:v>14.420868243243241</c:v>
                </c:pt>
                <c:pt idx="1817">
                  <c:v>14.420868243243241</c:v>
                </c:pt>
                <c:pt idx="1818">
                  <c:v>14.420868243243241</c:v>
                </c:pt>
                <c:pt idx="1819">
                  <c:v>14.420868243243241</c:v>
                </c:pt>
                <c:pt idx="1820">
                  <c:v>14.420868243243241</c:v>
                </c:pt>
                <c:pt idx="1821">
                  <c:v>14.420868243243241</c:v>
                </c:pt>
                <c:pt idx="1822">
                  <c:v>14.420868243243241</c:v>
                </c:pt>
                <c:pt idx="1823">
                  <c:v>14.420868243243241</c:v>
                </c:pt>
                <c:pt idx="1824">
                  <c:v>14.420868243243241</c:v>
                </c:pt>
                <c:pt idx="1825">
                  <c:v>14.420868243243241</c:v>
                </c:pt>
                <c:pt idx="1826">
                  <c:v>14.420868243243241</c:v>
                </c:pt>
                <c:pt idx="1827">
                  <c:v>14.420868243243241</c:v>
                </c:pt>
                <c:pt idx="1828">
                  <c:v>14.420868243243241</c:v>
                </c:pt>
                <c:pt idx="1829">
                  <c:v>14.420868243243241</c:v>
                </c:pt>
                <c:pt idx="1830">
                  <c:v>14.420868243243241</c:v>
                </c:pt>
                <c:pt idx="1831">
                  <c:v>14.420868243243241</c:v>
                </c:pt>
                <c:pt idx="1832">
                  <c:v>14.420868243243241</c:v>
                </c:pt>
                <c:pt idx="1833">
                  <c:v>14.420868243243241</c:v>
                </c:pt>
                <c:pt idx="1834">
                  <c:v>14.420868243243241</c:v>
                </c:pt>
                <c:pt idx="1835">
                  <c:v>14.420868243243241</c:v>
                </c:pt>
                <c:pt idx="1836">
                  <c:v>14.420868243243241</c:v>
                </c:pt>
                <c:pt idx="1837">
                  <c:v>14.420868243243241</c:v>
                </c:pt>
                <c:pt idx="1838">
                  <c:v>14.420868243243241</c:v>
                </c:pt>
                <c:pt idx="1839">
                  <c:v>14.420868243243241</c:v>
                </c:pt>
                <c:pt idx="1840">
                  <c:v>14.420868243243241</c:v>
                </c:pt>
                <c:pt idx="1841">
                  <c:v>14.420868243243241</c:v>
                </c:pt>
                <c:pt idx="1842">
                  <c:v>14.420868243243241</c:v>
                </c:pt>
                <c:pt idx="1843">
                  <c:v>14.420868243243241</c:v>
                </c:pt>
                <c:pt idx="1844">
                  <c:v>14.420868243243241</c:v>
                </c:pt>
                <c:pt idx="1845">
                  <c:v>14.420868243243241</c:v>
                </c:pt>
                <c:pt idx="1846">
                  <c:v>14.420868243243241</c:v>
                </c:pt>
                <c:pt idx="1847">
                  <c:v>14.420868243243241</c:v>
                </c:pt>
                <c:pt idx="1848">
                  <c:v>14.420868243243241</c:v>
                </c:pt>
                <c:pt idx="1849">
                  <c:v>14.420868243243241</c:v>
                </c:pt>
                <c:pt idx="1850">
                  <c:v>14.420868243243241</c:v>
                </c:pt>
                <c:pt idx="1851">
                  <c:v>14.420868243243241</c:v>
                </c:pt>
                <c:pt idx="1852">
                  <c:v>14.420868243243241</c:v>
                </c:pt>
                <c:pt idx="1853">
                  <c:v>14.420868243243241</c:v>
                </c:pt>
                <c:pt idx="1854">
                  <c:v>14.420868243243241</c:v>
                </c:pt>
                <c:pt idx="1855">
                  <c:v>14.420868243243241</c:v>
                </c:pt>
                <c:pt idx="1856">
                  <c:v>14.420868243243241</c:v>
                </c:pt>
                <c:pt idx="1857">
                  <c:v>14.420868243243241</c:v>
                </c:pt>
                <c:pt idx="1858">
                  <c:v>14.420868243243241</c:v>
                </c:pt>
                <c:pt idx="1859">
                  <c:v>14.420868243243241</c:v>
                </c:pt>
                <c:pt idx="1860">
                  <c:v>14.420868243243241</c:v>
                </c:pt>
                <c:pt idx="1861">
                  <c:v>14.420868243243241</c:v>
                </c:pt>
                <c:pt idx="1862">
                  <c:v>14.420868243243241</c:v>
                </c:pt>
                <c:pt idx="1863">
                  <c:v>14.420868243243241</c:v>
                </c:pt>
                <c:pt idx="1864">
                  <c:v>14.420868243243241</c:v>
                </c:pt>
                <c:pt idx="1865">
                  <c:v>14.420868243243241</c:v>
                </c:pt>
                <c:pt idx="1866">
                  <c:v>14.420868243243241</c:v>
                </c:pt>
                <c:pt idx="1867">
                  <c:v>14.420868243243241</c:v>
                </c:pt>
                <c:pt idx="1868">
                  <c:v>14.420868243243241</c:v>
                </c:pt>
                <c:pt idx="1869">
                  <c:v>14.420868243243241</c:v>
                </c:pt>
                <c:pt idx="1870">
                  <c:v>14.420868243243241</c:v>
                </c:pt>
                <c:pt idx="1871">
                  <c:v>14.420868243243241</c:v>
                </c:pt>
                <c:pt idx="1872">
                  <c:v>14.420868243243241</c:v>
                </c:pt>
                <c:pt idx="1873">
                  <c:v>14.420868243243241</c:v>
                </c:pt>
                <c:pt idx="1874">
                  <c:v>14.420868243243241</c:v>
                </c:pt>
                <c:pt idx="1875">
                  <c:v>14.420868243243241</c:v>
                </c:pt>
                <c:pt idx="1876">
                  <c:v>14.420868243243241</c:v>
                </c:pt>
                <c:pt idx="1877">
                  <c:v>14.420868243243241</c:v>
                </c:pt>
                <c:pt idx="1878">
                  <c:v>14.420868243243241</c:v>
                </c:pt>
                <c:pt idx="1879">
                  <c:v>14.420868243243241</c:v>
                </c:pt>
                <c:pt idx="1880">
                  <c:v>14.420868243243241</c:v>
                </c:pt>
                <c:pt idx="1881">
                  <c:v>14.420868243243241</c:v>
                </c:pt>
                <c:pt idx="1882">
                  <c:v>14.420868243243241</c:v>
                </c:pt>
                <c:pt idx="1883">
                  <c:v>14.420868243243241</c:v>
                </c:pt>
                <c:pt idx="1884">
                  <c:v>14.420868243243241</c:v>
                </c:pt>
                <c:pt idx="1885">
                  <c:v>14.420868243243241</c:v>
                </c:pt>
                <c:pt idx="1886">
                  <c:v>14.420868243243241</c:v>
                </c:pt>
                <c:pt idx="1887">
                  <c:v>14.420868243243241</c:v>
                </c:pt>
                <c:pt idx="1888">
                  <c:v>14.420868243243241</c:v>
                </c:pt>
                <c:pt idx="1889">
                  <c:v>14.420868243243241</c:v>
                </c:pt>
                <c:pt idx="1890">
                  <c:v>14.420868243243241</c:v>
                </c:pt>
                <c:pt idx="1891">
                  <c:v>14.420868243243241</c:v>
                </c:pt>
                <c:pt idx="1892">
                  <c:v>14.420868243243241</c:v>
                </c:pt>
                <c:pt idx="1893">
                  <c:v>14.420868243243241</c:v>
                </c:pt>
                <c:pt idx="1894">
                  <c:v>14.420868243243241</c:v>
                </c:pt>
                <c:pt idx="1895">
                  <c:v>14.420868243243241</c:v>
                </c:pt>
                <c:pt idx="1896">
                  <c:v>14.420868243243241</c:v>
                </c:pt>
                <c:pt idx="1897">
                  <c:v>14.420868243243241</c:v>
                </c:pt>
                <c:pt idx="1898">
                  <c:v>14.420868243243241</c:v>
                </c:pt>
                <c:pt idx="1899">
                  <c:v>14.420868243243241</c:v>
                </c:pt>
                <c:pt idx="1900">
                  <c:v>14.420868243243241</c:v>
                </c:pt>
                <c:pt idx="1901">
                  <c:v>14.420868243243241</c:v>
                </c:pt>
                <c:pt idx="1902">
                  <c:v>14.420868243243241</c:v>
                </c:pt>
                <c:pt idx="1903">
                  <c:v>14.420868243243241</c:v>
                </c:pt>
                <c:pt idx="1904">
                  <c:v>14.420868243243241</c:v>
                </c:pt>
                <c:pt idx="1905">
                  <c:v>14.420868243243241</c:v>
                </c:pt>
                <c:pt idx="1906">
                  <c:v>14.420868243243241</c:v>
                </c:pt>
                <c:pt idx="1907">
                  <c:v>14.420868243243241</c:v>
                </c:pt>
                <c:pt idx="1908">
                  <c:v>14.420868243243241</c:v>
                </c:pt>
                <c:pt idx="1909">
                  <c:v>14.420868243243241</c:v>
                </c:pt>
                <c:pt idx="1910">
                  <c:v>14.420868243243241</c:v>
                </c:pt>
                <c:pt idx="1911">
                  <c:v>14.420868243243241</c:v>
                </c:pt>
                <c:pt idx="1912">
                  <c:v>14.420868243243241</c:v>
                </c:pt>
                <c:pt idx="1913">
                  <c:v>14.420868243243241</c:v>
                </c:pt>
                <c:pt idx="1914">
                  <c:v>14.420868243243241</c:v>
                </c:pt>
                <c:pt idx="1915">
                  <c:v>14.420868243243241</c:v>
                </c:pt>
                <c:pt idx="1916">
                  <c:v>14.420868243243241</c:v>
                </c:pt>
                <c:pt idx="1917">
                  <c:v>14.420868243243241</c:v>
                </c:pt>
                <c:pt idx="1918">
                  <c:v>14.420868243243241</c:v>
                </c:pt>
                <c:pt idx="1919">
                  <c:v>14.420868243243241</c:v>
                </c:pt>
                <c:pt idx="1920">
                  <c:v>14.420868243243241</c:v>
                </c:pt>
                <c:pt idx="1921">
                  <c:v>14.420868243243241</c:v>
                </c:pt>
                <c:pt idx="1922">
                  <c:v>14.420868243243241</c:v>
                </c:pt>
                <c:pt idx="1923">
                  <c:v>14.420868243243241</c:v>
                </c:pt>
                <c:pt idx="1924">
                  <c:v>14.420868243243241</c:v>
                </c:pt>
                <c:pt idx="1925">
                  <c:v>14.420868243243241</c:v>
                </c:pt>
                <c:pt idx="1926">
                  <c:v>14.420868243243241</c:v>
                </c:pt>
                <c:pt idx="1927">
                  <c:v>14.420868243243241</c:v>
                </c:pt>
                <c:pt idx="1928">
                  <c:v>14.420868243243241</c:v>
                </c:pt>
                <c:pt idx="1929">
                  <c:v>14.420868243243241</c:v>
                </c:pt>
                <c:pt idx="1930">
                  <c:v>14.420868243243241</c:v>
                </c:pt>
                <c:pt idx="1931">
                  <c:v>14.420868243243241</c:v>
                </c:pt>
                <c:pt idx="1932">
                  <c:v>14.420868243243241</c:v>
                </c:pt>
                <c:pt idx="1933">
                  <c:v>14.420868243243241</c:v>
                </c:pt>
                <c:pt idx="1934">
                  <c:v>14.420868243243241</c:v>
                </c:pt>
                <c:pt idx="1935">
                  <c:v>14.420868243243241</c:v>
                </c:pt>
                <c:pt idx="1936">
                  <c:v>14.420868243243241</c:v>
                </c:pt>
                <c:pt idx="1937">
                  <c:v>14.420868243243241</c:v>
                </c:pt>
                <c:pt idx="1938">
                  <c:v>14.420868243243241</c:v>
                </c:pt>
                <c:pt idx="1939">
                  <c:v>14.420868243243241</c:v>
                </c:pt>
                <c:pt idx="1940">
                  <c:v>14.420868243243241</c:v>
                </c:pt>
                <c:pt idx="1941">
                  <c:v>14.420868243243241</c:v>
                </c:pt>
                <c:pt idx="1942">
                  <c:v>14.420868243243241</c:v>
                </c:pt>
                <c:pt idx="1943">
                  <c:v>14.420868243243241</c:v>
                </c:pt>
                <c:pt idx="1944">
                  <c:v>14.420868243243241</c:v>
                </c:pt>
                <c:pt idx="1945">
                  <c:v>14.420868243243241</c:v>
                </c:pt>
                <c:pt idx="1946">
                  <c:v>14.420868243243241</c:v>
                </c:pt>
                <c:pt idx="1947">
                  <c:v>14.420868243243241</c:v>
                </c:pt>
                <c:pt idx="1948">
                  <c:v>14.420868243243241</c:v>
                </c:pt>
                <c:pt idx="1949">
                  <c:v>14.420868243243241</c:v>
                </c:pt>
                <c:pt idx="1950">
                  <c:v>14.420868243243241</c:v>
                </c:pt>
                <c:pt idx="1951">
                  <c:v>14.420868243243241</c:v>
                </c:pt>
                <c:pt idx="1952">
                  <c:v>14.420868243243241</c:v>
                </c:pt>
                <c:pt idx="1953">
                  <c:v>14.420868243243241</c:v>
                </c:pt>
                <c:pt idx="1954">
                  <c:v>14.420868243243241</c:v>
                </c:pt>
                <c:pt idx="1955">
                  <c:v>14.420868243243241</c:v>
                </c:pt>
                <c:pt idx="1956">
                  <c:v>14.420868243243241</c:v>
                </c:pt>
                <c:pt idx="1957">
                  <c:v>14.420868243243241</c:v>
                </c:pt>
                <c:pt idx="1958">
                  <c:v>14.420868243243241</c:v>
                </c:pt>
                <c:pt idx="1959">
                  <c:v>14.420868243243241</c:v>
                </c:pt>
                <c:pt idx="1960">
                  <c:v>14.420868243243241</c:v>
                </c:pt>
                <c:pt idx="1961">
                  <c:v>14.420868243243241</c:v>
                </c:pt>
                <c:pt idx="1962">
                  <c:v>14.420868243243241</c:v>
                </c:pt>
                <c:pt idx="1963">
                  <c:v>14.420868243243241</c:v>
                </c:pt>
                <c:pt idx="1964">
                  <c:v>14.420868243243241</c:v>
                </c:pt>
                <c:pt idx="1965">
                  <c:v>14.420868243243241</c:v>
                </c:pt>
                <c:pt idx="1966">
                  <c:v>14.420868243243241</c:v>
                </c:pt>
                <c:pt idx="1967">
                  <c:v>14.420868243243241</c:v>
                </c:pt>
                <c:pt idx="1968">
                  <c:v>14.420868243243241</c:v>
                </c:pt>
                <c:pt idx="1969">
                  <c:v>14.420868243243241</c:v>
                </c:pt>
                <c:pt idx="1970">
                  <c:v>14.420868243243241</c:v>
                </c:pt>
                <c:pt idx="1971">
                  <c:v>14.420868243243241</c:v>
                </c:pt>
                <c:pt idx="1972">
                  <c:v>14.420868243243241</c:v>
                </c:pt>
                <c:pt idx="1973">
                  <c:v>14.420868243243241</c:v>
                </c:pt>
                <c:pt idx="1974">
                  <c:v>14.420868243243241</c:v>
                </c:pt>
                <c:pt idx="1975">
                  <c:v>14.420868243243241</c:v>
                </c:pt>
                <c:pt idx="1976">
                  <c:v>14.420868243243241</c:v>
                </c:pt>
                <c:pt idx="1977">
                  <c:v>14.420868243243241</c:v>
                </c:pt>
                <c:pt idx="1978">
                  <c:v>14.420868243243241</c:v>
                </c:pt>
                <c:pt idx="1979">
                  <c:v>14.420868243243241</c:v>
                </c:pt>
                <c:pt idx="1980">
                  <c:v>14.420868243243241</c:v>
                </c:pt>
                <c:pt idx="1981">
                  <c:v>14.420868243243241</c:v>
                </c:pt>
                <c:pt idx="1982">
                  <c:v>14.420868243243241</c:v>
                </c:pt>
                <c:pt idx="1983">
                  <c:v>14.420868243243241</c:v>
                </c:pt>
                <c:pt idx="1984">
                  <c:v>14.420868243243241</c:v>
                </c:pt>
                <c:pt idx="1985">
                  <c:v>14.420868243243241</c:v>
                </c:pt>
                <c:pt idx="1986">
                  <c:v>14.420868243243241</c:v>
                </c:pt>
                <c:pt idx="1987">
                  <c:v>14.420868243243241</c:v>
                </c:pt>
                <c:pt idx="1988">
                  <c:v>14.420868243243241</c:v>
                </c:pt>
                <c:pt idx="1989">
                  <c:v>14.420868243243241</c:v>
                </c:pt>
                <c:pt idx="1990">
                  <c:v>14.420868243243241</c:v>
                </c:pt>
                <c:pt idx="1991">
                  <c:v>14.420868243243241</c:v>
                </c:pt>
                <c:pt idx="1992">
                  <c:v>14.420868243243241</c:v>
                </c:pt>
                <c:pt idx="1993">
                  <c:v>14.420868243243241</c:v>
                </c:pt>
                <c:pt idx="1994">
                  <c:v>14.420868243243241</c:v>
                </c:pt>
                <c:pt idx="1995">
                  <c:v>14.420868243243241</c:v>
                </c:pt>
                <c:pt idx="1996">
                  <c:v>14.420868243243241</c:v>
                </c:pt>
                <c:pt idx="1997">
                  <c:v>14.420868243243241</c:v>
                </c:pt>
                <c:pt idx="1998">
                  <c:v>14.420868243243241</c:v>
                </c:pt>
                <c:pt idx="1999">
                  <c:v>14.420868243243241</c:v>
                </c:pt>
                <c:pt idx="2000">
                  <c:v>14.420868243243241</c:v>
                </c:pt>
                <c:pt idx="2001">
                  <c:v>14.420868243243241</c:v>
                </c:pt>
                <c:pt idx="2002">
                  <c:v>14.420868243243241</c:v>
                </c:pt>
                <c:pt idx="2003">
                  <c:v>14.420868243243241</c:v>
                </c:pt>
                <c:pt idx="2004">
                  <c:v>14.420868243243241</c:v>
                </c:pt>
                <c:pt idx="2005">
                  <c:v>14.420868243243241</c:v>
                </c:pt>
                <c:pt idx="2006">
                  <c:v>14.420868243243241</c:v>
                </c:pt>
                <c:pt idx="2007">
                  <c:v>14.420868243243241</c:v>
                </c:pt>
                <c:pt idx="2008">
                  <c:v>14.420868243243241</c:v>
                </c:pt>
                <c:pt idx="2009">
                  <c:v>14.420868243243241</c:v>
                </c:pt>
                <c:pt idx="2010">
                  <c:v>14.420868243243241</c:v>
                </c:pt>
                <c:pt idx="2011">
                  <c:v>14.420868243243241</c:v>
                </c:pt>
                <c:pt idx="2012">
                  <c:v>14.420868243243241</c:v>
                </c:pt>
                <c:pt idx="2013">
                  <c:v>14.420868243243241</c:v>
                </c:pt>
                <c:pt idx="2014">
                  <c:v>14.420868243243241</c:v>
                </c:pt>
                <c:pt idx="2015">
                  <c:v>14.420868243243241</c:v>
                </c:pt>
                <c:pt idx="2016">
                  <c:v>14.420868243243241</c:v>
                </c:pt>
                <c:pt idx="2017">
                  <c:v>14.420868243243241</c:v>
                </c:pt>
                <c:pt idx="2018">
                  <c:v>14.420868243243241</c:v>
                </c:pt>
                <c:pt idx="2019">
                  <c:v>14.420868243243241</c:v>
                </c:pt>
                <c:pt idx="2020">
                  <c:v>14.420868243243241</c:v>
                </c:pt>
                <c:pt idx="2021">
                  <c:v>14.420868243243241</c:v>
                </c:pt>
                <c:pt idx="2022">
                  <c:v>14.420868243243241</c:v>
                </c:pt>
                <c:pt idx="2023">
                  <c:v>14.420868243243241</c:v>
                </c:pt>
                <c:pt idx="2024">
                  <c:v>14.420868243243241</c:v>
                </c:pt>
                <c:pt idx="2025">
                  <c:v>14.420868243243241</c:v>
                </c:pt>
                <c:pt idx="2026">
                  <c:v>14.420868243243241</c:v>
                </c:pt>
                <c:pt idx="2027">
                  <c:v>14.420868243243241</c:v>
                </c:pt>
                <c:pt idx="2028">
                  <c:v>14.420868243243241</c:v>
                </c:pt>
                <c:pt idx="2029">
                  <c:v>14.420868243243241</c:v>
                </c:pt>
                <c:pt idx="2030">
                  <c:v>14.420868243243241</c:v>
                </c:pt>
                <c:pt idx="2031">
                  <c:v>14.420868243243241</c:v>
                </c:pt>
                <c:pt idx="2032">
                  <c:v>14.420868243243241</c:v>
                </c:pt>
                <c:pt idx="2033">
                  <c:v>14.420868243243241</c:v>
                </c:pt>
                <c:pt idx="2034">
                  <c:v>14.420868243243241</c:v>
                </c:pt>
                <c:pt idx="2035">
                  <c:v>14.420868243243241</c:v>
                </c:pt>
                <c:pt idx="2036">
                  <c:v>14.420868243243241</c:v>
                </c:pt>
                <c:pt idx="2037">
                  <c:v>14.420868243243241</c:v>
                </c:pt>
                <c:pt idx="2038">
                  <c:v>14.420868243243241</c:v>
                </c:pt>
                <c:pt idx="2039">
                  <c:v>14.420868243243241</c:v>
                </c:pt>
                <c:pt idx="2040">
                  <c:v>14.420868243243241</c:v>
                </c:pt>
                <c:pt idx="2041">
                  <c:v>14.420868243243241</c:v>
                </c:pt>
                <c:pt idx="2042">
                  <c:v>14.420868243243241</c:v>
                </c:pt>
                <c:pt idx="2043">
                  <c:v>14.420868243243241</c:v>
                </c:pt>
                <c:pt idx="2044">
                  <c:v>14.420868243243241</c:v>
                </c:pt>
                <c:pt idx="2045">
                  <c:v>14.420868243243241</c:v>
                </c:pt>
                <c:pt idx="2046">
                  <c:v>14.420868243243241</c:v>
                </c:pt>
                <c:pt idx="2047">
                  <c:v>14.420868243243241</c:v>
                </c:pt>
                <c:pt idx="2048">
                  <c:v>14.420868243243241</c:v>
                </c:pt>
                <c:pt idx="2049">
                  <c:v>14.420868243243241</c:v>
                </c:pt>
                <c:pt idx="2050">
                  <c:v>14.420868243243241</c:v>
                </c:pt>
                <c:pt idx="2051">
                  <c:v>14.420868243243241</c:v>
                </c:pt>
                <c:pt idx="2052">
                  <c:v>14.420868243243241</c:v>
                </c:pt>
                <c:pt idx="2053">
                  <c:v>14.420868243243241</c:v>
                </c:pt>
                <c:pt idx="2054">
                  <c:v>14.420868243243241</c:v>
                </c:pt>
                <c:pt idx="2055">
                  <c:v>14.420868243243241</c:v>
                </c:pt>
                <c:pt idx="2056">
                  <c:v>14.420868243243241</c:v>
                </c:pt>
                <c:pt idx="2057">
                  <c:v>14.420868243243241</c:v>
                </c:pt>
                <c:pt idx="2058">
                  <c:v>14.420868243243241</c:v>
                </c:pt>
                <c:pt idx="2059">
                  <c:v>14.420868243243241</c:v>
                </c:pt>
                <c:pt idx="2060">
                  <c:v>14.420868243243241</c:v>
                </c:pt>
                <c:pt idx="2061">
                  <c:v>14.420868243243241</c:v>
                </c:pt>
                <c:pt idx="2062">
                  <c:v>14.420868243243241</c:v>
                </c:pt>
                <c:pt idx="2063">
                  <c:v>14.420868243243241</c:v>
                </c:pt>
                <c:pt idx="2064">
                  <c:v>14.420868243243241</c:v>
                </c:pt>
                <c:pt idx="2065">
                  <c:v>14.420868243243241</c:v>
                </c:pt>
                <c:pt idx="2066">
                  <c:v>14.420868243243241</c:v>
                </c:pt>
                <c:pt idx="2067">
                  <c:v>14.420868243243241</c:v>
                </c:pt>
                <c:pt idx="2068">
                  <c:v>14.420868243243241</c:v>
                </c:pt>
                <c:pt idx="2069">
                  <c:v>14.420868243243241</c:v>
                </c:pt>
                <c:pt idx="2070">
                  <c:v>14.420868243243241</c:v>
                </c:pt>
                <c:pt idx="2071">
                  <c:v>14.420868243243241</c:v>
                </c:pt>
                <c:pt idx="2072">
                  <c:v>14.420868243243241</c:v>
                </c:pt>
                <c:pt idx="2073">
                  <c:v>14.420868243243241</c:v>
                </c:pt>
                <c:pt idx="2074">
                  <c:v>14.420868243243241</c:v>
                </c:pt>
                <c:pt idx="2075">
                  <c:v>14.420868243243241</c:v>
                </c:pt>
                <c:pt idx="2076">
                  <c:v>14.420868243243241</c:v>
                </c:pt>
                <c:pt idx="2077">
                  <c:v>14.420868243243241</c:v>
                </c:pt>
                <c:pt idx="2078">
                  <c:v>14.420868243243241</c:v>
                </c:pt>
                <c:pt idx="2079">
                  <c:v>14.420868243243241</c:v>
                </c:pt>
                <c:pt idx="2080">
                  <c:v>14.420868243243241</c:v>
                </c:pt>
                <c:pt idx="2081">
                  <c:v>14.420868243243241</c:v>
                </c:pt>
                <c:pt idx="2082">
                  <c:v>14.420868243243241</c:v>
                </c:pt>
                <c:pt idx="2083">
                  <c:v>14.420868243243241</c:v>
                </c:pt>
                <c:pt idx="2084">
                  <c:v>14.420868243243241</c:v>
                </c:pt>
                <c:pt idx="2085">
                  <c:v>14.420868243243241</c:v>
                </c:pt>
                <c:pt idx="2086">
                  <c:v>14.420868243243241</c:v>
                </c:pt>
                <c:pt idx="2087">
                  <c:v>14.420868243243241</c:v>
                </c:pt>
                <c:pt idx="2088">
                  <c:v>14.420868243243241</c:v>
                </c:pt>
                <c:pt idx="2089">
                  <c:v>14.420868243243241</c:v>
                </c:pt>
                <c:pt idx="2090">
                  <c:v>14.420868243243241</c:v>
                </c:pt>
                <c:pt idx="2091">
                  <c:v>14.420868243243241</c:v>
                </c:pt>
                <c:pt idx="2092">
                  <c:v>14.420868243243241</c:v>
                </c:pt>
                <c:pt idx="2093">
                  <c:v>14.420868243243241</c:v>
                </c:pt>
                <c:pt idx="2094">
                  <c:v>14.420868243243241</c:v>
                </c:pt>
                <c:pt idx="2095">
                  <c:v>14.420868243243241</c:v>
                </c:pt>
                <c:pt idx="2096">
                  <c:v>14.420868243243241</c:v>
                </c:pt>
                <c:pt idx="2097">
                  <c:v>14.420868243243241</c:v>
                </c:pt>
                <c:pt idx="2098">
                  <c:v>14.420868243243241</c:v>
                </c:pt>
                <c:pt idx="2099">
                  <c:v>14.420868243243241</c:v>
                </c:pt>
                <c:pt idx="2100">
                  <c:v>14.420868243243241</c:v>
                </c:pt>
                <c:pt idx="2101">
                  <c:v>14.420868243243241</c:v>
                </c:pt>
                <c:pt idx="2102">
                  <c:v>14.420868243243241</c:v>
                </c:pt>
                <c:pt idx="2103">
                  <c:v>14.420868243243241</c:v>
                </c:pt>
                <c:pt idx="2104">
                  <c:v>14.420868243243241</c:v>
                </c:pt>
                <c:pt idx="2105">
                  <c:v>14.420868243243241</c:v>
                </c:pt>
                <c:pt idx="2106">
                  <c:v>14.420868243243241</c:v>
                </c:pt>
                <c:pt idx="2107">
                  <c:v>14.420868243243241</c:v>
                </c:pt>
                <c:pt idx="2108">
                  <c:v>14.420868243243241</c:v>
                </c:pt>
                <c:pt idx="2109">
                  <c:v>14.420868243243241</c:v>
                </c:pt>
                <c:pt idx="2110">
                  <c:v>14.420868243243241</c:v>
                </c:pt>
                <c:pt idx="2111">
                  <c:v>14.420868243243241</c:v>
                </c:pt>
                <c:pt idx="2112">
                  <c:v>14.420868243243241</c:v>
                </c:pt>
                <c:pt idx="2113">
                  <c:v>14.420868243243241</c:v>
                </c:pt>
                <c:pt idx="2114">
                  <c:v>14.420868243243241</c:v>
                </c:pt>
                <c:pt idx="2115">
                  <c:v>14.420868243243241</c:v>
                </c:pt>
                <c:pt idx="2116">
                  <c:v>14.420868243243241</c:v>
                </c:pt>
                <c:pt idx="2117">
                  <c:v>14.420868243243241</c:v>
                </c:pt>
                <c:pt idx="2118">
                  <c:v>14.420868243243241</c:v>
                </c:pt>
                <c:pt idx="2119">
                  <c:v>14.420868243243241</c:v>
                </c:pt>
                <c:pt idx="2120">
                  <c:v>14.420868243243241</c:v>
                </c:pt>
                <c:pt idx="2121">
                  <c:v>14.420868243243241</c:v>
                </c:pt>
                <c:pt idx="2122">
                  <c:v>14.420868243243241</c:v>
                </c:pt>
                <c:pt idx="2123">
                  <c:v>14.420868243243241</c:v>
                </c:pt>
                <c:pt idx="2124">
                  <c:v>14.420868243243241</c:v>
                </c:pt>
                <c:pt idx="2125">
                  <c:v>14.420868243243241</c:v>
                </c:pt>
                <c:pt idx="2126">
                  <c:v>14.420868243243241</c:v>
                </c:pt>
                <c:pt idx="2127">
                  <c:v>14.420868243243241</c:v>
                </c:pt>
                <c:pt idx="2128">
                  <c:v>14.420868243243241</c:v>
                </c:pt>
                <c:pt idx="2129">
                  <c:v>14.420868243243241</c:v>
                </c:pt>
                <c:pt idx="2130">
                  <c:v>14.420868243243241</c:v>
                </c:pt>
                <c:pt idx="2131">
                  <c:v>14.420868243243241</c:v>
                </c:pt>
                <c:pt idx="2132">
                  <c:v>14.420868243243241</c:v>
                </c:pt>
                <c:pt idx="2133">
                  <c:v>14.420868243243241</c:v>
                </c:pt>
                <c:pt idx="2134">
                  <c:v>14.420868243243241</c:v>
                </c:pt>
                <c:pt idx="2135">
                  <c:v>14.420868243243241</c:v>
                </c:pt>
                <c:pt idx="2136">
                  <c:v>14.420868243243241</c:v>
                </c:pt>
                <c:pt idx="2137">
                  <c:v>14.420868243243241</c:v>
                </c:pt>
                <c:pt idx="2138">
                  <c:v>14.420868243243241</c:v>
                </c:pt>
                <c:pt idx="2139">
                  <c:v>14.420868243243241</c:v>
                </c:pt>
                <c:pt idx="2140">
                  <c:v>14.420868243243241</c:v>
                </c:pt>
                <c:pt idx="2141">
                  <c:v>14.420868243243241</c:v>
                </c:pt>
                <c:pt idx="2142">
                  <c:v>14.420868243243241</c:v>
                </c:pt>
                <c:pt idx="2143">
                  <c:v>14.420868243243241</c:v>
                </c:pt>
                <c:pt idx="2144">
                  <c:v>14.420868243243241</c:v>
                </c:pt>
                <c:pt idx="2145">
                  <c:v>14.420868243243241</c:v>
                </c:pt>
                <c:pt idx="2146">
                  <c:v>14.420868243243241</c:v>
                </c:pt>
                <c:pt idx="2147">
                  <c:v>14.420868243243241</c:v>
                </c:pt>
                <c:pt idx="2148">
                  <c:v>14.420868243243241</c:v>
                </c:pt>
                <c:pt idx="2149">
                  <c:v>14.420868243243241</c:v>
                </c:pt>
                <c:pt idx="2150">
                  <c:v>14.420868243243241</c:v>
                </c:pt>
                <c:pt idx="2151">
                  <c:v>14.420868243243241</c:v>
                </c:pt>
                <c:pt idx="2152">
                  <c:v>14.420868243243241</c:v>
                </c:pt>
                <c:pt idx="2153">
                  <c:v>14.420868243243241</c:v>
                </c:pt>
                <c:pt idx="2154">
                  <c:v>14.420868243243241</c:v>
                </c:pt>
                <c:pt idx="2155">
                  <c:v>14.420868243243241</c:v>
                </c:pt>
                <c:pt idx="2156">
                  <c:v>14.420868243243241</c:v>
                </c:pt>
                <c:pt idx="2157">
                  <c:v>14.420868243243241</c:v>
                </c:pt>
                <c:pt idx="2158">
                  <c:v>14.420868243243241</c:v>
                </c:pt>
                <c:pt idx="2159">
                  <c:v>14.420868243243241</c:v>
                </c:pt>
                <c:pt idx="2160">
                  <c:v>14.420868243243241</c:v>
                </c:pt>
                <c:pt idx="2161">
                  <c:v>14.420868243243241</c:v>
                </c:pt>
                <c:pt idx="2162">
                  <c:v>14.420868243243241</c:v>
                </c:pt>
                <c:pt idx="2163">
                  <c:v>14.420868243243241</c:v>
                </c:pt>
                <c:pt idx="2164">
                  <c:v>14.420868243243241</c:v>
                </c:pt>
                <c:pt idx="2165">
                  <c:v>14.420868243243241</c:v>
                </c:pt>
                <c:pt idx="2166">
                  <c:v>14.420868243243241</c:v>
                </c:pt>
                <c:pt idx="2167">
                  <c:v>14.420868243243241</c:v>
                </c:pt>
                <c:pt idx="2168">
                  <c:v>14.420868243243241</c:v>
                </c:pt>
                <c:pt idx="2169">
                  <c:v>14.420868243243241</c:v>
                </c:pt>
                <c:pt idx="2170">
                  <c:v>14.420868243243241</c:v>
                </c:pt>
                <c:pt idx="2171">
                  <c:v>14.420868243243241</c:v>
                </c:pt>
                <c:pt idx="2172">
                  <c:v>14.420868243243241</c:v>
                </c:pt>
                <c:pt idx="2173">
                  <c:v>14.420868243243241</c:v>
                </c:pt>
                <c:pt idx="2174">
                  <c:v>14.420868243243241</c:v>
                </c:pt>
                <c:pt idx="2175">
                  <c:v>14.420868243243241</c:v>
                </c:pt>
                <c:pt idx="2176">
                  <c:v>14.420868243243241</c:v>
                </c:pt>
                <c:pt idx="2177">
                  <c:v>14.420868243243241</c:v>
                </c:pt>
                <c:pt idx="2178">
                  <c:v>14.420868243243241</c:v>
                </c:pt>
                <c:pt idx="2179">
                  <c:v>14.420868243243241</c:v>
                </c:pt>
                <c:pt idx="2180">
                  <c:v>14.420868243243241</c:v>
                </c:pt>
                <c:pt idx="2181">
                  <c:v>14.420868243243241</c:v>
                </c:pt>
                <c:pt idx="2182">
                  <c:v>14.420868243243241</c:v>
                </c:pt>
                <c:pt idx="2183">
                  <c:v>14.420868243243241</c:v>
                </c:pt>
                <c:pt idx="2184">
                  <c:v>14.420868243243241</c:v>
                </c:pt>
                <c:pt idx="2185">
                  <c:v>14.420868243243241</c:v>
                </c:pt>
                <c:pt idx="2186">
                  <c:v>14.420868243243241</c:v>
                </c:pt>
                <c:pt idx="2187">
                  <c:v>14.420868243243241</c:v>
                </c:pt>
                <c:pt idx="2188">
                  <c:v>14.420868243243241</c:v>
                </c:pt>
                <c:pt idx="2189">
                  <c:v>14.420868243243241</c:v>
                </c:pt>
                <c:pt idx="2190">
                  <c:v>14.420868243243241</c:v>
                </c:pt>
                <c:pt idx="2191">
                  <c:v>14.420868243243241</c:v>
                </c:pt>
                <c:pt idx="2192">
                  <c:v>14.420868243243241</c:v>
                </c:pt>
                <c:pt idx="2193">
                  <c:v>14.420868243243241</c:v>
                </c:pt>
                <c:pt idx="2194">
                  <c:v>14.420868243243241</c:v>
                </c:pt>
                <c:pt idx="2195">
                  <c:v>14.420868243243241</c:v>
                </c:pt>
                <c:pt idx="2196">
                  <c:v>14.420868243243241</c:v>
                </c:pt>
                <c:pt idx="2197">
                  <c:v>14.420868243243241</c:v>
                </c:pt>
                <c:pt idx="2198">
                  <c:v>14.420868243243241</c:v>
                </c:pt>
                <c:pt idx="2199">
                  <c:v>14.420868243243241</c:v>
                </c:pt>
                <c:pt idx="2200">
                  <c:v>14.420868243243241</c:v>
                </c:pt>
                <c:pt idx="2201">
                  <c:v>14.420868243243241</c:v>
                </c:pt>
                <c:pt idx="2202">
                  <c:v>14.420868243243241</c:v>
                </c:pt>
                <c:pt idx="2203">
                  <c:v>14.420868243243241</c:v>
                </c:pt>
                <c:pt idx="2204">
                  <c:v>14.420868243243241</c:v>
                </c:pt>
                <c:pt idx="2205">
                  <c:v>14.420868243243241</c:v>
                </c:pt>
                <c:pt idx="2206">
                  <c:v>14.420868243243241</c:v>
                </c:pt>
                <c:pt idx="2207">
                  <c:v>14.420868243243241</c:v>
                </c:pt>
                <c:pt idx="2208">
                  <c:v>14.420868243243241</c:v>
                </c:pt>
                <c:pt idx="2209">
                  <c:v>14.420868243243241</c:v>
                </c:pt>
                <c:pt idx="2210">
                  <c:v>14.420868243243241</c:v>
                </c:pt>
                <c:pt idx="2211">
                  <c:v>14.420868243243241</c:v>
                </c:pt>
                <c:pt idx="2212">
                  <c:v>14.420868243243241</c:v>
                </c:pt>
                <c:pt idx="2213">
                  <c:v>14.420868243243241</c:v>
                </c:pt>
                <c:pt idx="2214">
                  <c:v>14.420868243243241</c:v>
                </c:pt>
                <c:pt idx="2215">
                  <c:v>14.420868243243241</c:v>
                </c:pt>
                <c:pt idx="2216">
                  <c:v>14.420868243243241</c:v>
                </c:pt>
                <c:pt idx="2217">
                  <c:v>14.420868243243241</c:v>
                </c:pt>
                <c:pt idx="2218">
                  <c:v>14.420868243243241</c:v>
                </c:pt>
                <c:pt idx="2219">
                  <c:v>14.420868243243241</c:v>
                </c:pt>
                <c:pt idx="2220">
                  <c:v>14.420868243243241</c:v>
                </c:pt>
                <c:pt idx="2221">
                  <c:v>14.420868243243241</c:v>
                </c:pt>
                <c:pt idx="2222">
                  <c:v>14.420868243243241</c:v>
                </c:pt>
                <c:pt idx="2223">
                  <c:v>14.420868243243241</c:v>
                </c:pt>
                <c:pt idx="2224">
                  <c:v>14.420868243243241</c:v>
                </c:pt>
                <c:pt idx="2225">
                  <c:v>14.420868243243241</c:v>
                </c:pt>
                <c:pt idx="2226">
                  <c:v>14.420868243243241</c:v>
                </c:pt>
                <c:pt idx="2227">
                  <c:v>14.420868243243241</c:v>
                </c:pt>
                <c:pt idx="2228">
                  <c:v>14.420868243243241</c:v>
                </c:pt>
                <c:pt idx="2229">
                  <c:v>14.420868243243241</c:v>
                </c:pt>
                <c:pt idx="2230">
                  <c:v>14.420868243243241</c:v>
                </c:pt>
                <c:pt idx="2231">
                  <c:v>14.420868243243241</c:v>
                </c:pt>
                <c:pt idx="2232">
                  <c:v>14.420868243243241</c:v>
                </c:pt>
                <c:pt idx="2233">
                  <c:v>14.420868243243241</c:v>
                </c:pt>
                <c:pt idx="2234">
                  <c:v>14.420868243243241</c:v>
                </c:pt>
                <c:pt idx="2235">
                  <c:v>14.420868243243241</c:v>
                </c:pt>
                <c:pt idx="2236">
                  <c:v>14.420868243243241</c:v>
                </c:pt>
                <c:pt idx="2237">
                  <c:v>14.420868243243241</c:v>
                </c:pt>
                <c:pt idx="2238">
                  <c:v>14.420868243243241</c:v>
                </c:pt>
                <c:pt idx="2239">
                  <c:v>14.420868243243241</c:v>
                </c:pt>
                <c:pt idx="2240">
                  <c:v>14.420868243243241</c:v>
                </c:pt>
                <c:pt idx="2241">
                  <c:v>14.420868243243241</c:v>
                </c:pt>
                <c:pt idx="2242">
                  <c:v>14.420868243243241</c:v>
                </c:pt>
                <c:pt idx="2243">
                  <c:v>14.420868243243241</c:v>
                </c:pt>
                <c:pt idx="2244">
                  <c:v>14.420868243243241</c:v>
                </c:pt>
                <c:pt idx="2245">
                  <c:v>14.420868243243241</c:v>
                </c:pt>
                <c:pt idx="2246">
                  <c:v>14.420868243243241</c:v>
                </c:pt>
                <c:pt idx="2247">
                  <c:v>14.420868243243241</c:v>
                </c:pt>
                <c:pt idx="2248">
                  <c:v>14.420868243243241</c:v>
                </c:pt>
                <c:pt idx="2249">
                  <c:v>14.420868243243241</c:v>
                </c:pt>
                <c:pt idx="2250">
                  <c:v>14.420868243243241</c:v>
                </c:pt>
                <c:pt idx="2251">
                  <c:v>14.420868243243241</c:v>
                </c:pt>
                <c:pt idx="2252">
                  <c:v>14.420868243243241</c:v>
                </c:pt>
                <c:pt idx="2253">
                  <c:v>14.420868243243241</c:v>
                </c:pt>
                <c:pt idx="2254">
                  <c:v>14.420868243243241</c:v>
                </c:pt>
                <c:pt idx="2255">
                  <c:v>14.420868243243241</c:v>
                </c:pt>
                <c:pt idx="2256">
                  <c:v>14.420868243243241</c:v>
                </c:pt>
                <c:pt idx="2257">
                  <c:v>14.420868243243241</c:v>
                </c:pt>
                <c:pt idx="2258">
                  <c:v>14.420868243243241</c:v>
                </c:pt>
                <c:pt idx="2259">
                  <c:v>14.420868243243241</c:v>
                </c:pt>
                <c:pt idx="2260">
                  <c:v>14.420868243243241</c:v>
                </c:pt>
                <c:pt idx="2261">
                  <c:v>14.420868243243241</c:v>
                </c:pt>
                <c:pt idx="2262">
                  <c:v>14.420868243243241</c:v>
                </c:pt>
                <c:pt idx="2263">
                  <c:v>14.420868243243241</c:v>
                </c:pt>
                <c:pt idx="2264">
                  <c:v>14.420868243243241</c:v>
                </c:pt>
                <c:pt idx="2265">
                  <c:v>14.420868243243241</c:v>
                </c:pt>
                <c:pt idx="2266">
                  <c:v>14.420868243243241</c:v>
                </c:pt>
                <c:pt idx="2267">
                  <c:v>14.420868243243241</c:v>
                </c:pt>
                <c:pt idx="2268">
                  <c:v>14.420868243243241</c:v>
                </c:pt>
                <c:pt idx="2269">
                  <c:v>14.420868243243241</c:v>
                </c:pt>
                <c:pt idx="2270">
                  <c:v>14.420868243243241</c:v>
                </c:pt>
                <c:pt idx="2271">
                  <c:v>14.420868243243241</c:v>
                </c:pt>
                <c:pt idx="2272">
                  <c:v>14.420868243243241</c:v>
                </c:pt>
                <c:pt idx="2273">
                  <c:v>14.420868243243241</c:v>
                </c:pt>
                <c:pt idx="2274">
                  <c:v>14.420868243243241</c:v>
                </c:pt>
                <c:pt idx="2275">
                  <c:v>14.420868243243241</c:v>
                </c:pt>
                <c:pt idx="2276">
                  <c:v>14.420868243243241</c:v>
                </c:pt>
                <c:pt idx="2277">
                  <c:v>14.420868243243241</c:v>
                </c:pt>
                <c:pt idx="2278">
                  <c:v>14.420868243243241</c:v>
                </c:pt>
                <c:pt idx="2279">
                  <c:v>14.420868243243241</c:v>
                </c:pt>
                <c:pt idx="2280">
                  <c:v>14.420868243243241</c:v>
                </c:pt>
                <c:pt idx="2281">
                  <c:v>14.420868243243241</c:v>
                </c:pt>
                <c:pt idx="2282">
                  <c:v>14.420868243243241</c:v>
                </c:pt>
                <c:pt idx="2283">
                  <c:v>14.420868243243241</c:v>
                </c:pt>
                <c:pt idx="2284">
                  <c:v>14.420868243243241</c:v>
                </c:pt>
                <c:pt idx="2285">
                  <c:v>14.420868243243241</c:v>
                </c:pt>
                <c:pt idx="2286">
                  <c:v>14.420868243243241</c:v>
                </c:pt>
                <c:pt idx="2287">
                  <c:v>14.420868243243241</c:v>
                </c:pt>
                <c:pt idx="2288">
                  <c:v>14.420868243243241</c:v>
                </c:pt>
                <c:pt idx="2289">
                  <c:v>14.420868243243241</c:v>
                </c:pt>
                <c:pt idx="2290">
                  <c:v>14.420868243243241</c:v>
                </c:pt>
                <c:pt idx="2291">
                  <c:v>14.420868243243241</c:v>
                </c:pt>
                <c:pt idx="2292">
                  <c:v>14.420868243243241</c:v>
                </c:pt>
                <c:pt idx="2293">
                  <c:v>14.420868243243241</c:v>
                </c:pt>
                <c:pt idx="2294">
                  <c:v>14.420868243243241</c:v>
                </c:pt>
                <c:pt idx="2295">
                  <c:v>14.420868243243241</c:v>
                </c:pt>
                <c:pt idx="2296">
                  <c:v>14.420868243243241</c:v>
                </c:pt>
                <c:pt idx="2297">
                  <c:v>14.420868243243241</c:v>
                </c:pt>
                <c:pt idx="2298">
                  <c:v>14.420868243243241</c:v>
                </c:pt>
                <c:pt idx="2299">
                  <c:v>14.420868243243241</c:v>
                </c:pt>
                <c:pt idx="2300">
                  <c:v>14.420868243243241</c:v>
                </c:pt>
                <c:pt idx="2301">
                  <c:v>14.420868243243241</c:v>
                </c:pt>
                <c:pt idx="2302">
                  <c:v>14.420868243243241</c:v>
                </c:pt>
                <c:pt idx="2303">
                  <c:v>14.420868243243241</c:v>
                </c:pt>
                <c:pt idx="2304">
                  <c:v>14.420868243243241</c:v>
                </c:pt>
                <c:pt idx="2305">
                  <c:v>14.420868243243241</c:v>
                </c:pt>
                <c:pt idx="2306">
                  <c:v>14.420868243243241</c:v>
                </c:pt>
                <c:pt idx="2307">
                  <c:v>14.420868243243241</c:v>
                </c:pt>
                <c:pt idx="2308">
                  <c:v>14.420868243243241</c:v>
                </c:pt>
                <c:pt idx="2309">
                  <c:v>14.420868243243241</c:v>
                </c:pt>
                <c:pt idx="2310">
                  <c:v>14.420868243243241</c:v>
                </c:pt>
                <c:pt idx="2311">
                  <c:v>14.420868243243241</c:v>
                </c:pt>
                <c:pt idx="2312">
                  <c:v>14.420868243243241</c:v>
                </c:pt>
                <c:pt idx="2313">
                  <c:v>14.420868243243241</c:v>
                </c:pt>
                <c:pt idx="2314">
                  <c:v>14.420868243243241</c:v>
                </c:pt>
                <c:pt idx="2315">
                  <c:v>14.420868243243241</c:v>
                </c:pt>
                <c:pt idx="2316">
                  <c:v>14.420868243243241</c:v>
                </c:pt>
                <c:pt idx="2317">
                  <c:v>14.420868243243241</c:v>
                </c:pt>
                <c:pt idx="2318">
                  <c:v>14.420868243243241</c:v>
                </c:pt>
                <c:pt idx="2319">
                  <c:v>14.420868243243241</c:v>
                </c:pt>
                <c:pt idx="2320">
                  <c:v>14.420868243243241</c:v>
                </c:pt>
                <c:pt idx="2321">
                  <c:v>14.420868243243241</c:v>
                </c:pt>
                <c:pt idx="2322">
                  <c:v>14.420868243243241</c:v>
                </c:pt>
                <c:pt idx="2323">
                  <c:v>14.420868243243241</c:v>
                </c:pt>
                <c:pt idx="2324">
                  <c:v>14.420868243243241</c:v>
                </c:pt>
                <c:pt idx="2325">
                  <c:v>14.420868243243241</c:v>
                </c:pt>
                <c:pt idx="2326">
                  <c:v>14.420868243243241</c:v>
                </c:pt>
                <c:pt idx="2327">
                  <c:v>14.420868243243241</c:v>
                </c:pt>
                <c:pt idx="2328">
                  <c:v>14.420868243243241</c:v>
                </c:pt>
                <c:pt idx="2329">
                  <c:v>14.420868243243241</c:v>
                </c:pt>
                <c:pt idx="2330">
                  <c:v>14.420868243243241</c:v>
                </c:pt>
                <c:pt idx="2331">
                  <c:v>14.420868243243241</c:v>
                </c:pt>
                <c:pt idx="2332">
                  <c:v>14.420868243243241</c:v>
                </c:pt>
                <c:pt idx="2333">
                  <c:v>14.420868243243241</c:v>
                </c:pt>
                <c:pt idx="2334">
                  <c:v>14.420868243243241</c:v>
                </c:pt>
                <c:pt idx="2335">
                  <c:v>14.420868243243241</c:v>
                </c:pt>
                <c:pt idx="2336">
                  <c:v>14.420868243243241</c:v>
                </c:pt>
                <c:pt idx="2337">
                  <c:v>14.420868243243241</c:v>
                </c:pt>
                <c:pt idx="2338">
                  <c:v>14.420868243243241</c:v>
                </c:pt>
                <c:pt idx="2339">
                  <c:v>14.420868243243241</c:v>
                </c:pt>
                <c:pt idx="2340">
                  <c:v>14.420868243243241</c:v>
                </c:pt>
                <c:pt idx="2341">
                  <c:v>14.420868243243241</c:v>
                </c:pt>
                <c:pt idx="2342">
                  <c:v>14.420868243243241</c:v>
                </c:pt>
                <c:pt idx="2343">
                  <c:v>14.420868243243241</c:v>
                </c:pt>
                <c:pt idx="2344">
                  <c:v>14.420868243243241</c:v>
                </c:pt>
                <c:pt idx="2345">
                  <c:v>14.420868243243241</c:v>
                </c:pt>
                <c:pt idx="2346">
                  <c:v>14.420868243243241</c:v>
                </c:pt>
                <c:pt idx="2347">
                  <c:v>14.420868243243241</c:v>
                </c:pt>
                <c:pt idx="2348">
                  <c:v>14.420868243243241</c:v>
                </c:pt>
                <c:pt idx="2349">
                  <c:v>14.420868243243241</c:v>
                </c:pt>
                <c:pt idx="2350">
                  <c:v>14.420868243243241</c:v>
                </c:pt>
                <c:pt idx="2351">
                  <c:v>14.420868243243241</c:v>
                </c:pt>
                <c:pt idx="2352">
                  <c:v>14.420868243243241</c:v>
                </c:pt>
                <c:pt idx="2353">
                  <c:v>14.420868243243241</c:v>
                </c:pt>
                <c:pt idx="2354">
                  <c:v>14.420868243243241</c:v>
                </c:pt>
                <c:pt idx="2355">
                  <c:v>14.420868243243241</c:v>
                </c:pt>
                <c:pt idx="2356">
                  <c:v>14.420868243243241</c:v>
                </c:pt>
                <c:pt idx="2357">
                  <c:v>14.420868243243241</c:v>
                </c:pt>
                <c:pt idx="2358">
                  <c:v>14.420868243243241</c:v>
                </c:pt>
                <c:pt idx="2359">
                  <c:v>14.420868243243241</c:v>
                </c:pt>
                <c:pt idx="2360">
                  <c:v>14.420868243243241</c:v>
                </c:pt>
                <c:pt idx="2361">
                  <c:v>14.420868243243241</c:v>
                </c:pt>
                <c:pt idx="2362">
                  <c:v>14.420868243243241</c:v>
                </c:pt>
                <c:pt idx="2363">
                  <c:v>14.420868243243241</c:v>
                </c:pt>
                <c:pt idx="2364">
                  <c:v>14.420868243243241</c:v>
                </c:pt>
                <c:pt idx="2365">
                  <c:v>14.420868243243241</c:v>
                </c:pt>
                <c:pt idx="2366">
                  <c:v>14.420868243243241</c:v>
                </c:pt>
                <c:pt idx="2367">
                  <c:v>14.420868243243241</c:v>
                </c:pt>
                <c:pt idx="2368">
                  <c:v>14.420868243243241</c:v>
                </c:pt>
                <c:pt idx="2369">
                  <c:v>14.420868243243241</c:v>
                </c:pt>
                <c:pt idx="2370">
                  <c:v>14.420868243243241</c:v>
                </c:pt>
                <c:pt idx="2371">
                  <c:v>14.420868243243241</c:v>
                </c:pt>
                <c:pt idx="2372">
                  <c:v>14.420868243243241</c:v>
                </c:pt>
                <c:pt idx="2373">
                  <c:v>14.420868243243241</c:v>
                </c:pt>
                <c:pt idx="2374">
                  <c:v>14.420868243243241</c:v>
                </c:pt>
                <c:pt idx="2375">
                  <c:v>14.420868243243241</c:v>
                </c:pt>
                <c:pt idx="2376">
                  <c:v>14.420868243243241</c:v>
                </c:pt>
                <c:pt idx="2377">
                  <c:v>14.420868243243241</c:v>
                </c:pt>
                <c:pt idx="2378">
                  <c:v>14.420868243243241</c:v>
                </c:pt>
                <c:pt idx="2379">
                  <c:v>14.420868243243241</c:v>
                </c:pt>
                <c:pt idx="2380">
                  <c:v>14.420868243243241</c:v>
                </c:pt>
                <c:pt idx="2381">
                  <c:v>14.420868243243241</c:v>
                </c:pt>
                <c:pt idx="2382">
                  <c:v>14.420868243243241</c:v>
                </c:pt>
                <c:pt idx="2383">
                  <c:v>14.420868243243241</c:v>
                </c:pt>
                <c:pt idx="2384">
                  <c:v>14.420868243243241</c:v>
                </c:pt>
                <c:pt idx="2385">
                  <c:v>14.420868243243241</c:v>
                </c:pt>
                <c:pt idx="2386">
                  <c:v>14.420868243243241</c:v>
                </c:pt>
                <c:pt idx="2387">
                  <c:v>14.420868243243241</c:v>
                </c:pt>
                <c:pt idx="2388">
                  <c:v>14.420868243243241</c:v>
                </c:pt>
                <c:pt idx="2389">
                  <c:v>14.420868243243241</c:v>
                </c:pt>
                <c:pt idx="2390">
                  <c:v>14.420868243243241</c:v>
                </c:pt>
                <c:pt idx="2391">
                  <c:v>14.420868243243241</c:v>
                </c:pt>
                <c:pt idx="2392">
                  <c:v>14.420868243243241</c:v>
                </c:pt>
                <c:pt idx="2393">
                  <c:v>14.420868243243241</c:v>
                </c:pt>
                <c:pt idx="2394">
                  <c:v>14.420868243243241</c:v>
                </c:pt>
                <c:pt idx="2395">
                  <c:v>14.420868243243241</c:v>
                </c:pt>
                <c:pt idx="2396">
                  <c:v>14.420868243243241</c:v>
                </c:pt>
                <c:pt idx="2397">
                  <c:v>14.420868243243241</c:v>
                </c:pt>
                <c:pt idx="2398">
                  <c:v>14.420868243243241</c:v>
                </c:pt>
                <c:pt idx="2399">
                  <c:v>14.420868243243241</c:v>
                </c:pt>
                <c:pt idx="2400">
                  <c:v>14.420868243243241</c:v>
                </c:pt>
                <c:pt idx="2401">
                  <c:v>14.420868243243241</c:v>
                </c:pt>
                <c:pt idx="2402">
                  <c:v>14.420868243243241</c:v>
                </c:pt>
                <c:pt idx="2403">
                  <c:v>14.420868243243241</c:v>
                </c:pt>
                <c:pt idx="2404">
                  <c:v>14.420868243243241</c:v>
                </c:pt>
                <c:pt idx="2405">
                  <c:v>14.420868243243241</c:v>
                </c:pt>
                <c:pt idx="2406">
                  <c:v>14.420868243243241</c:v>
                </c:pt>
                <c:pt idx="2407">
                  <c:v>14.420868243243241</c:v>
                </c:pt>
                <c:pt idx="2408">
                  <c:v>14.420868243243241</c:v>
                </c:pt>
                <c:pt idx="2409">
                  <c:v>14.420868243243241</c:v>
                </c:pt>
                <c:pt idx="2410">
                  <c:v>14.420868243243241</c:v>
                </c:pt>
                <c:pt idx="2411">
                  <c:v>14.420868243243241</c:v>
                </c:pt>
                <c:pt idx="2412">
                  <c:v>14.420868243243241</c:v>
                </c:pt>
                <c:pt idx="2413">
                  <c:v>14.420868243243241</c:v>
                </c:pt>
                <c:pt idx="2414">
                  <c:v>14.420868243243241</c:v>
                </c:pt>
                <c:pt idx="2415">
                  <c:v>14.420868243243241</c:v>
                </c:pt>
                <c:pt idx="2416">
                  <c:v>14.420868243243241</c:v>
                </c:pt>
                <c:pt idx="2417">
                  <c:v>14.420868243243241</c:v>
                </c:pt>
                <c:pt idx="2418">
                  <c:v>14.420868243243241</c:v>
                </c:pt>
                <c:pt idx="2419">
                  <c:v>14.420868243243241</c:v>
                </c:pt>
                <c:pt idx="2420">
                  <c:v>14.420868243243241</c:v>
                </c:pt>
                <c:pt idx="2421">
                  <c:v>14.420868243243241</c:v>
                </c:pt>
                <c:pt idx="2422">
                  <c:v>14.420868243243241</c:v>
                </c:pt>
                <c:pt idx="2423">
                  <c:v>14.420868243243241</c:v>
                </c:pt>
                <c:pt idx="2424">
                  <c:v>14.420868243243241</c:v>
                </c:pt>
                <c:pt idx="2425">
                  <c:v>14.420868243243241</c:v>
                </c:pt>
                <c:pt idx="2426">
                  <c:v>14.420868243243241</c:v>
                </c:pt>
                <c:pt idx="2427">
                  <c:v>14.420868243243241</c:v>
                </c:pt>
                <c:pt idx="2428">
                  <c:v>14.420868243243241</c:v>
                </c:pt>
                <c:pt idx="2429">
                  <c:v>14.420868243243241</c:v>
                </c:pt>
                <c:pt idx="2430">
                  <c:v>14.420868243243241</c:v>
                </c:pt>
                <c:pt idx="2431">
                  <c:v>14.420868243243241</c:v>
                </c:pt>
                <c:pt idx="2432">
                  <c:v>14.420868243243241</c:v>
                </c:pt>
                <c:pt idx="2433">
                  <c:v>14.420868243243241</c:v>
                </c:pt>
                <c:pt idx="2434">
                  <c:v>14.420868243243241</c:v>
                </c:pt>
                <c:pt idx="2435">
                  <c:v>14.420868243243241</c:v>
                </c:pt>
                <c:pt idx="2436">
                  <c:v>14.420868243243241</c:v>
                </c:pt>
                <c:pt idx="2437">
                  <c:v>14.420868243243241</c:v>
                </c:pt>
                <c:pt idx="2438">
                  <c:v>14.420868243243241</c:v>
                </c:pt>
                <c:pt idx="2439">
                  <c:v>14.420868243243241</c:v>
                </c:pt>
                <c:pt idx="2440">
                  <c:v>14.420868243243241</c:v>
                </c:pt>
                <c:pt idx="2441">
                  <c:v>14.420868243243241</c:v>
                </c:pt>
                <c:pt idx="2442">
                  <c:v>14.420868243243241</c:v>
                </c:pt>
                <c:pt idx="2443">
                  <c:v>14.420868243243241</c:v>
                </c:pt>
                <c:pt idx="2444">
                  <c:v>14.420868243243241</c:v>
                </c:pt>
                <c:pt idx="2445">
                  <c:v>14.420868243243241</c:v>
                </c:pt>
                <c:pt idx="2446">
                  <c:v>14.420868243243241</c:v>
                </c:pt>
                <c:pt idx="2447">
                  <c:v>14.420868243243241</c:v>
                </c:pt>
                <c:pt idx="2448">
                  <c:v>14.420868243243241</c:v>
                </c:pt>
                <c:pt idx="2449">
                  <c:v>14.420868243243241</c:v>
                </c:pt>
                <c:pt idx="2450">
                  <c:v>14.420868243243241</c:v>
                </c:pt>
                <c:pt idx="2451">
                  <c:v>14.420868243243241</c:v>
                </c:pt>
                <c:pt idx="2452">
                  <c:v>14.420868243243241</c:v>
                </c:pt>
                <c:pt idx="2453">
                  <c:v>14.420868243243241</c:v>
                </c:pt>
                <c:pt idx="2454">
                  <c:v>14.420868243243241</c:v>
                </c:pt>
                <c:pt idx="2455">
                  <c:v>14.420868243243241</c:v>
                </c:pt>
                <c:pt idx="2456">
                  <c:v>14.420868243243241</c:v>
                </c:pt>
                <c:pt idx="2457">
                  <c:v>14.420868243243241</c:v>
                </c:pt>
                <c:pt idx="2458">
                  <c:v>14.420868243243241</c:v>
                </c:pt>
                <c:pt idx="2459">
                  <c:v>14.420868243243241</c:v>
                </c:pt>
                <c:pt idx="2460">
                  <c:v>14.420868243243241</c:v>
                </c:pt>
                <c:pt idx="2461">
                  <c:v>14.420868243243241</c:v>
                </c:pt>
                <c:pt idx="2462">
                  <c:v>14.420868243243241</c:v>
                </c:pt>
                <c:pt idx="2463">
                  <c:v>14.420868243243241</c:v>
                </c:pt>
                <c:pt idx="2464">
                  <c:v>14.420868243243241</c:v>
                </c:pt>
                <c:pt idx="2465">
                  <c:v>14.420868243243241</c:v>
                </c:pt>
                <c:pt idx="2466">
                  <c:v>14.420868243243241</c:v>
                </c:pt>
                <c:pt idx="2467">
                  <c:v>14.420868243243241</c:v>
                </c:pt>
                <c:pt idx="2468">
                  <c:v>14.420868243243241</c:v>
                </c:pt>
                <c:pt idx="2469">
                  <c:v>14.420868243243241</c:v>
                </c:pt>
                <c:pt idx="2470">
                  <c:v>14.420868243243241</c:v>
                </c:pt>
                <c:pt idx="2471">
                  <c:v>14.420868243243241</c:v>
                </c:pt>
                <c:pt idx="2472">
                  <c:v>14.420868243243241</c:v>
                </c:pt>
                <c:pt idx="2473">
                  <c:v>14.420868243243241</c:v>
                </c:pt>
                <c:pt idx="2474">
                  <c:v>14.420868243243241</c:v>
                </c:pt>
                <c:pt idx="2475">
                  <c:v>14.420868243243241</c:v>
                </c:pt>
                <c:pt idx="2476">
                  <c:v>14.420868243243241</c:v>
                </c:pt>
                <c:pt idx="2477">
                  <c:v>14.420868243243241</c:v>
                </c:pt>
                <c:pt idx="2478">
                  <c:v>14.420868243243241</c:v>
                </c:pt>
                <c:pt idx="2479">
                  <c:v>14.420868243243241</c:v>
                </c:pt>
                <c:pt idx="2480">
                  <c:v>14.420868243243241</c:v>
                </c:pt>
                <c:pt idx="2481">
                  <c:v>14.420868243243241</c:v>
                </c:pt>
                <c:pt idx="2482">
                  <c:v>14.420868243243241</c:v>
                </c:pt>
                <c:pt idx="2483">
                  <c:v>14.420868243243241</c:v>
                </c:pt>
                <c:pt idx="2484">
                  <c:v>14.420868243243241</c:v>
                </c:pt>
                <c:pt idx="2485">
                  <c:v>14.420868243243241</c:v>
                </c:pt>
                <c:pt idx="2486">
                  <c:v>14.420868243243241</c:v>
                </c:pt>
                <c:pt idx="2487">
                  <c:v>14.420868243243241</c:v>
                </c:pt>
                <c:pt idx="2488">
                  <c:v>14.420868243243241</c:v>
                </c:pt>
                <c:pt idx="2489">
                  <c:v>14.420868243243241</c:v>
                </c:pt>
                <c:pt idx="2490">
                  <c:v>14.420868243243241</c:v>
                </c:pt>
                <c:pt idx="2491">
                  <c:v>14.420868243243241</c:v>
                </c:pt>
                <c:pt idx="2492">
                  <c:v>14.420868243243241</c:v>
                </c:pt>
                <c:pt idx="2493">
                  <c:v>14.420868243243241</c:v>
                </c:pt>
                <c:pt idx="2494">
                  <c:v>14.420868243243241</c:v>
                </c:pt>
                <c:pt idx="2495">
                  <c:v>14.420868243243241</c:v>
                </c:pt>
                <c:pt idx="2496">
                  <c:v>14.420868243243241</c:v>
                </c:pt>
                <c:pt idx="2497">
                  <c:v>14.420868243243241</c:v>
                </c:pt>
                <c:pt idx="2498">
                  <c:v>14.420868243243241</c:v>
                </c:pt>
                <c:pt idx="2499">
                  <c:v>14.420868243243241</c:v>
                </c:pt>
                <c:pt idx="2500">
                  <c:v>14.420868243243241</c:v>
                </c:pt>
                <c:pt idx="2501">
                  <c:v>14.420868243243241</c:v>
                </c:pt>
                <c:pt idx="2502">
                  <c:v>14.420868243243241</c:v>
                </c:pt>
                <c:pt idx="2503">
                  <c:v>14.420868243243241</c:v>
                </c:pt>
                <c:pt idx="2504">
                  <c:v>14.420868243243241</c:v>
                </c:pt>
                <c:pt idx="2505">
                  <c:v>14.420868243243241</c:v>
                </c:pt>
                <c:pt idx="2506">
                  <c:v>14.420868243243241</c:v>
                </c:pt>
                <c:pt idx="2507">
                  <c:v>14.420868243243241</c:v>
                </c:pt>
                <c:pt idx="2508">
                  <c:v>14.420868243243241</c:v>
                </c:pt>
                <c:pt idx="2509">
                  <c:v>14.420868243243241</c:v>
                </c:pt>
                <c:pt idx="2510">
                  <c:v>14.420868243243241</c:v>
                </c:pt>
                <c:pt idx="2511">
                  <c:v>14.420868243243241</c:v>
                </c:pt>
                <c:pt idx="2512">
                  <c:v>14.420868243243241</c:v>
                </c:pt>
                <c:pt idx="2513">
                  <c:v>14.420868243243241</c:v>
                </c:pt>
                <c:pt idx="2514">
                  <c:v>14.420868243243241</c:v>
                </c:pt>
                <c:pt idx="2515">
                  <c:v>14.420868243243241</c:v>
                </c:pt>
                <c:pt idx="2516">
                  <c:v>14.420868243243241</c:v>
                </c:pt>
                <c:pt idx="2517">
                  <c:v>14.420868243243241</c:v>
                </c:pt>
                <c:pt idx="2518">
                  <c:v>14.420868243243241</c:v>
                </c:pt>
                <c:pt idx="2519">
                  <c:v>14.420868243243241</c:v>
                </c:pt>
                <c:pt idx="2520">
                  <c:v>14.420868243243241</c:v>
                </c:pt>
                <c:pt idx="2521">
                  <c:v>14.420868243243241</c:v>
                </c:pt>
                <c:pt idx="2522">
                  <c:v>14.420868243243241</c:v>
                </c:pt>
                <c:pt idx="2523">
                  <c:v>14.420868243243241</c:v>
                </c:pt>
                <c:pt idx="2524">
                  <c:v>14.420868243243241</c:v>
                </c:pt>
                <c:pt idx="2525">
                  <c:v>14.420868243243241</c:v>
                </c:pt>
                <c:pt idx="2526">
                  <c:v>14.420868243243241</c:v>
                </c:pt>
                <c:pt idx="2527">
                  <c:v>14.420868243243241</c:v>
                </c:pt>
                <c:pt idx="2528">
                  <c:v>14.420868243243241</c:v>
                </c:pt>
                <c:pt idx="2529">
                  <c:v>14.420868243243241</c:v>
                </c:pt>
                <c:pt idx="2530">
                  <c:v>14.420868243243241</c:v>
                </c:pt>
                <c:pt idx="2531">
                  <c:v>14.420868243243241</c:v>
                </c:pt>
                <c:pt idx="2532">
                  <c:v>14.420868243243241</c:v>
                </c:pt>
                <c:pt idx="2533">
                  <c:v>14.420868243243241</c:v>
                </c:pt>
                <c:pt idx="2534">
                  <c:v>14.420868243243241</c:v>
                </c:pt>
                <c:pt idx="2535">
                  <c:v>14.420868243243241</c:v>
                </c:pt>
                <c:pt idx="2536">
                  <c:v>14.420868243243241</c:v>
                </c:pt>
                <c:pt idx="2537">
                  <c:v>14.420868243243241</c:v>
                </c:pt>
                <c:pt idx="2538">
                  <c:v>14.420868243243241</c:v>
                </c:pt>
                <c:pt idx="2539">
                  <c:v>14.420868243243241</c:v>
                </c:pt>
                <c:pt idx="2540">
                  <c:v>14.420868243243241</c:v>
                </c:pt>
                <c:pt idx="2541">
                  <c:v>14.420868243243241</c:v>
                </c:pt>
                <c:pt idx="2542">
                  <c:v>14.420868243243241</c:v>
                </c:pt>
                <c:pt idx="2543">
                  <c:v>14.420868243243241</c:v>
                </c:pt>
                <c:pt idx="2544">
                  <c:v>14.420868243243241</c:v>
                </c:pt>
                <c:pt idx="2545">
                  <c:v>14.420868243243241</c:v>
                </c:pt>
                <c:pt idx="2546">
                  <c:v>14.420868243243241</c:v>
                </c:pt>
                <c:pt idx="2547">
                  <c:v>14.420868243243241</c:v>
                </c:pt>
                <c:pt idx="2548">
                  <c:v>14.420868243243241</c:v>
                </c:pt>
                <c:pt idx="2549">
                  <c:v>14.420868243243241</c:v>
                </c:pt>
                <c:pt idx="2550">
                  <c:v>14.420868243243241</c:v>
                </c:pt>
                <c:pt idx="2551">
                  <c:v>14.420868243243241</c:v>
                </c:pt>
                <c:pt idx="2552">
                  <c:v>14.420868243243241</c:v>
                </c:pt>
                <c:pt idx="2553">
                  <c:v>14.420868243243241</c:v>
                </c:pt>
                <c:pt idx="2554">
                  <c:v>14.420868243243241</c:v>
                </c:pt>
                <c:pt idx="2555">
                  <c:v>14.420868243243241</c:v>
                </c:pt>
                <c:pt idx="2556">
                  <c:v>14.420868243243241</c:v>
                </c:pt>
                <c:pt idx="2557">
                  <c:v>14.420868243243241</c:v>
                </c:pt>
                <c:pt idx="2558">
                  <c:v>14.420868243243241</c:v>
                </c:pt>
                <c:pt idx="2559">
                  <c:v>14.420868243243241</c:v>
                </c:pt>
                <c:pt idx="2560">
                  <c:v>14.420868243243241</c:v>
                </c:pt>
                <c:pt idx="2561">
                  <c:v>14.420868243243241</c:v>
                </c:pt>
                <c:pt idx="2562">
                  <c:v>14.420868243243241</c:v>
                </c:pt>
                <c:pt idx="2563">
                  <c:v>14.420868243243241</c:v>
                </c:pt>
                <c:pt idx="2564">
                  <c:v>14.420868243243241</c:v>
                </c:pt>
                <c:pt idx="2565">
                  <c:v>14.420868243243241</c:v>
                </c:pt>
                <c:pt idx="2566">
                  <c:v>14.420868243243241</c:v>
                </c:pt>
                <c:pt idx="2567">
                  <c:v>14.420868243243241</c:v>
                </c:pt>
                <c:pt idx="2568">
                  <c:v>14.420868243243241</c:v>
                </c:pt>
                <c:pt idx="2569">
                  <c:v>14.420868243243241</c:v>
                </c:pt>
                <c:pt idx="2570">
                  <c:v>14.420868243243241</c:v>
                </c:pt>
                <c:pt idx="2571">
                  <c:v>14.420868243243241</c:v>
                </c:pt>
                <c:pt idx="2572">
                  <c:v>14.420868243243241</c:v>
                </c:pt>
                <c:pt idx="2573">
                  <c:v>14.420868243243241</c:v>
                </c:pt>
                <c:pt idx="2574">
                  <c:v>14.420868243243241</c:v>
                </c:pt>
                <c:pt idx="2575">
                  <c:v>14.420868243243241</c:v>
                </c:pt>
                <c:pt idx="2576">
                  <c:v>14.420868243243241</c:v>
                </c:pt>
                <c:pt idx="2577">
                  <c:v>14.420868243243241</c:v>
                </c:pt>
                <c:pt idx="2578">
                  <c:v>14.420868243243241</c:v>
                </c:pt>
                <c:pt idx="2579">
                  <c:v>14.420868243243241</c:v>
                </c:pt>
                <c:pt idx="2580">
                  <c:v>14.420868243243241</c:v>
                </c:pt>
                <c:pt idx="2581">
                  <c:v>14.420868243243241</c:v>
                </c:pt>
                <c:pt idx="2582">
                  <c:v>14.420868243243241</c:v>
                </c:pt>
                <c:pt idx="2583">
                  <c:v>14.420868243243241</c:v>
                </c:pt>
                <c:pt idx="2584">
                  <c:v>14.420868243243241</c:v>
                </c:pt>
                <c:pt idx="2585">
                  <c:v>14.420868243243241</c:v>
                </c:pt>
                <c:pt idx="2586">
                  <c:v>14.420868243243241</c:v>
                </c:pt>
                <c:pt idx="2587">
                  <c:v>14.420868243243241</c:v>
                </c:pt>
                <c:pt idx="2588">
                  <c:v>14.420868243243241</c:v>
                </c:pt>
                <c:pt idx="2589">
                  <c:v>14.420868243243241</c:v>
                </c:pt>
                <c:pt idx="2590">
                  <c:v>14.420868243243241</c:v>
                </c:pt>
                <c:pt idx="2591">
                  <c:v>14.420868243243241</c:v>
                </c:pt>
                <c:pt idx="2592">
                  <c:v>14.420868243243241</c:v>
                </c:pt>
                <c:pt idx="2593">
                  <c:v>14.420868243243241</c:v>
                </c:pt>
                <c:pt idx="2594">
                  <c:v>14.420868243243241</c:v>
                </c:pt>
                <c:pt idx="2595">
                  <c:v>14.420868243243241</c:v>
                </c:pt>
                <c:pt idx="2596">
                  <c:v>14.420868243243241</c:v>
                </c:pt>
                <c:pt idx="2597">
                  <c:v>14.420868243243241</c:v>
                </c:pt>
                <c:pt idx="2598">
                  <c:v>14.420868243243241</c:v>
                </c:pt>
                <c:pt idx="2599">
                  <c:v>14.420868243243241</c:v>
                </c:pt>
                <c:pt idx="2600">
                  <c:v>14.420868243243241</c:v>
                </c:pt>
                <c:pt idx="2601">
                  <c:v>14.420868243243241</c:v>
                </c:pt>
                <c:pt idx="2602">
                  <c:v>14.420868243243241</c:v>
                </c:pt>
                <c:pt idx="2603">
                  <c:v>14.420868243243241</c:v>
                </c:pt>
                <c:pt idx="2604">
                  <c:v>14.420868243243241</c:v>
                </c:pt>
                <c:pt idx="2605">
                  <c:v>14.420868243243241</c:v>
                </c:pt>
                <c:pt idx="2606">
                  <c:v>14.420868243243241</c:v>
                </c:pt>
                <c:pt idx="2607">
                  <c:v>14.420868243243241</c:v>
                </c:pt>
                <c:pt idx="2608">
                  <c:v>14.420868243243241</c:v>
                </c:pt>
                <c:pt idx="2609">
                  <c:v>14.420868243243241</c:v>
                </c:pt>
                <c:pt idx="2610">
                  <c:v>14.420868243243241</c:v>
                </c:pt>
                <c:pt idx="2611">
                  <c:v>14.420868243243241</c:v>
                </c:pt>
                <c:pt idx="2612">
                  <c:v>14.420868243243241</c:v>
                </c:pt>
                <c:pt idx="2613">
                  <c:v>14.420868243243241</c:v>
                </c:pt>
                <c:pt idx="2614">
                  <c:v>14.420868243243241</c:v>
                </c:pt>
                <c:pt idx="2615">
                  <c:v>14.420868243243241</c:v>
                </c:pt>
                <c:pt idx="2616">
                  <c:v>14.420868243243241</c:v>
                </c:pt>
                <c:pt idx="2617">
                  <c:v>14.420868243243241</c:v>
                </c:pt>
                <c:pt idx="2618">
                  <c:v>14.420868243243241</c:v>
                </c:pt>
                <c:pt idx="2619">
                  <c:v>14.420868243243241</c:v>
                </c:pt>
                <c:pt idx="2620">
                  <c:v>14.420868243243241</c:v>
                </c:pt>
                <c:pt idx="2621">
                  <c:v>14.420868243243241</c:v>
                </c:pt>
                <c:pt idx="2622">
                  <c:v>14.420868243243241</c:v>
                </c:pt>
                <c:pt idx="2623">
                  <c:v>14.420868243243241</c:v>
                </c:pt>
                <c:pt idx="2624">
                  <c:v>14.420868243243241</c:v>
                </c:pt>
                <c:pt idx="2625">
                  <c:v>14.420868243243241</c:v>
                </c:pt>
                <c:pt idx="2626">
                  <c:v>14.420868243243241</c:v>
                </c:pt>
                <c:pt idx="2627">
                  <c:v>14.420868243243241</c:v>
                </c:pt>
                <c:pt idx="2628">
                  <c:v>14.420868243243241</c:v>
                </c:pt>
                <c:pt idx="2629">
                  <c:v>14.420868243243241</c:v>
                </c:pt>
                <c:pt idx="2630">
                  <c:v>14.420868243243241</c:v>
                </c:pt>
                <c:pt idx="2631">
                  <c:v>14.420868243243241</c:v>
                </c:pt>
                <c:pt idx="2632">
                  <c:v>14.420868243243241</c:v>
                </c:pt>
                <c:pt idx="2633">
                  <c:v>14.420868243243241</c:v>
                </c:pt>
                <c:pt idx="2634">
                  <c:v>14.420868243243241</c:v>
                </c:pt>
                <c:pt idx="2635">
                  <c:v>14.420868243243241</c:v>
                </c:pt>
                <c:pt idx="2636">
                  <c:v>14.420868243243241</c:v>
                </c:pt>
                <c:pt idx="2637">
                  <c:v>14.420868243243241</c:v>
                </c:pt>
                <c:pt idx="2638">
                  <c:v>14.420868243243241</c:v>
                </c:pt>
                <c:pt idx="2639">
                  <c:v>14.420868243243241</c:v>
                </c:pt>
                <c:pt idx="2640">
                  <c:v>14.420868243243241</c:v>
                </c:pt>
                <c:pt idx="2641">
                  <c:v>14.420868243243241</c:v>
                </c:pt>
                <c:pt idx="2642">
                  <c:v>14.420868243243241</c:v>
                </c:pt>
                <c:pt idx="2643">
                  <c:v>14.420868243243241</c:v>
                </c:pt>
                <c:pt idx="2644">
                  <c:v>14.420868243243241</c:v>
                </c:pt>
                <c:pt idx="2645">
                  <c:v>14.420868243243241</c:v>
                </c:pt>
                <c:pt idx="2646">
                  <c:v>14.420868243243241</c:v>
                </c:pt>
                <c:pt idx="2647">
                  <c:v>14.420868243243241</c:v>
                </c:pt>
                <c:pt idx="2648">
                  <c:v>14.420868243243241</c:v>
                </c:pt>
                <c:pt idx="2649">
                  <c:v>14.420868243243241</c:v>
                </c:pt>
                <c:pt idx="2650">
                  <c:v>14.420868243243241</c:v>
                </c:pt>
                <c:pt idx="2651">
                  <c:v>14.420868243243241</c:v>
                </c:pt>
                <c:pt idx="2652">
                  <c:v>14.420868243243241</c:v>
                </c:pt>
                <c:pt idx="2653">
                  <c:v>14.420868243243241</c:v>
                </c:pt>
                <c:pt idx="2654">
                  <c:v>14.420868243243241</c:v>
                </c:pt>
                <c:pt idx="2655">
                  <c:v>14.420868243243241</c:v>
                </c:pt>
                <c:pt idx="2656">
                  <c:v>14.420868243243241</c:v>
                </c:pt>
                <c:pt idx="2657">
                  <c:v>14.420868243243241</c:v>
                </c:pt>
                <c:pt idx="2658">
                  <c:v>14.420868243243241</c:v>
                </c:pt>
                <c:pt idx="2659">
                  <c:v>14.420868243243241</c:v>
                </c:pt>
                <c:pt idx="2660">
                  <c:v>14.420868243243241</c:v>
                </c:pt>
                <c:pt idx="2661">
                  <c:v>14.420868243243241</c:v>
                </c:pt>
                <c:pt idx="2662">
                  <c:v>14.420868243243241</c:v>
                </c:pt>
                <c:pt idx="2663">
                  <c:v>14.420868243243241</c:v>
                </c:pt>
                <c:pt idx="2664">
                  <c:v>14.420868243243241</c:v>
                </c:pt>
                <c:pt idx="2665">
                  <c:v>14.420868243243241</c:v>
                </c:pt>
                <c:pt idx="2666">
                  <c:v>14.420868243243241</c:v>
                </c:pt>
                <c:pt idx="2667">
                  <c:v>14.420868243243241</c:v>
                </c:pt>
                <c:pt idx="2668">
                  <c:v>14.420868243243241</c:v>
                </c:pt>
                <c:pt idx="2669">
                  <c:v>14.420868243243241</c:v>
                </c:pt>
                <c:pt idx="2670">
                  <c:v>14.420868243243241</c:v>
                </c:pt>
                <c:pt idx="2671">
                  <c:v>14.420868243243241</c:v>
                </c:pt>
                <c:pt idx="2672">
                  <c:v>14.420868243243241</c:v>
                </c:pt>
                <c:pt idx="2673">
                  <c:v>14.420868243243241</c:v>
                </c:pt>
                <c:pt idx="2674">
                  <c:v>14.420868243243241</c:v>
                </c:pt>
                <c:pt idx="2675">
                  <c:v>14.420868243243241</c:v>
                </c:pt>
                <c:pt idx="2676">
                  <c:v>14.420868243243241</c:v>
                </c:pt>
                <c:pt idx="2677">
                  <c:v>14.420868243243241</c:v>
                </c:pt>
                <c:pt idx="2678">
                  <c:v>14.420868243243241</c:v>
                </c:pt>
                <c:pt idx="2679">
                  <c:v>14.420868243243241</c:v>
                </c:pt>
                <c:pt idx="2680">
                  <c:v>14.420868243243241</c:v>
                </c:pt>
                <c:pt idx="2681">
                  <c:v>14.420868243243241</c:v>
                </c:pt>
                <c:pt idx="2682">
                  <c:v>14.420868243243241</c:v>
                </c:pt>
                <c:pt idx="2683">
                  <c:v>14.420868243243241</c:v>
                </c:pt>
                <c:pt idx="2684">
                  <c:v>14.420868243243241</c:v>
                </c:pt>
                <c:pt idx="2685">
                  <c:v>14.420868243243241</c:v>
                </c:pt>
                <c:pt idx="2686">
                  <c:v>14.420868243243241</c:v>
                </c:pt>
                <c:pt idx="2687">
                  <c:v>14.420868243243241</c:v>
                </c:pt>
                <c:pt idx="2688">
                  <c:v>14.420868243243241</c:v>
                </c:pt>
                <c:pt idx="2689">
                  <c:v>14.420868243243241</c:v>
                </c:pt>
                <c:pt idx="2690">
                  <c:v>14.420868243243241</c:v>
                </c:pt>
                <c:pt idx="2691">
                  <c:v>14.420868243243241</c:v>
                </c:pt>
                <c:pt idx="2692">
                  <c:v>14.420868243243241</c:v>
                </c:pt>
                <c:pt idx="2693">
                  <c:v>14.420868243243241</c:v>
                </c:pt>
                <c:pt idx="2694">
                  <c:v>14.420868243243241</c:v>
                </c:pt>
                <c:pt idx="2695">
                  <c:v>14.420868243243241</c:v>
                </c:pt>
                <c:pt idx="2696">
                  <c:v>14.420868243243241</c:v>
                </c:pt>
                <c:pt idx="2697">
                  <c:v>14.420868243243241</c:v>
                </c:pt>
                <c:pt idx="2698">
                  <c:v>14.420868243243241</c:v>
                </c:pt>
                <c:pt idx="2699">
                  <c:v>14.420868243243241</c:v>
                </c:pt>
                <c:pt idx="2700">
                  <c:v>14.420868243243241</c:v>
                </c:pt>
                <c:pt idx="2701">
                  <c:v>14.420868243243241</c:v>
                </c:pt>
                <c:pt idx="2702">
                  <c:v>14.420868243243241</c:v>
                </c:pt>
                <c:pt idx="2703">
                  <c:v>14.420868243243241</c:v>
                </c:pt>
                <c:pt idx="2704">
                  <c:v>14.420868243243241</c:v>
                </c:pt>
                <c:pt idx="2705">
                  <c:v>14.420868243243241</c:v>
                </c:pt>
                <c:pt idx="2706">
                  <c:v>14.420868243243241</c:v>
                </c:pt>
                <c:pt idx="2707">
                  <c:v>14.420868243243241</c:v>
                </c:pt>
                <c:pt idx="2708">
                  <c:v>14.420868243243241</c:v>
                </c:pt>
                <c:pt idx="2709">
                  <c:v>14.420868243243241</c:v>
                </c:pt>
                <c:pt idx="2710">
                  <c:v>14.420868243243241</c:v>
                </c:pt>
                <c:pt idx="2711">
                  <c:v>14.420868243243241</c:v>
                </c:pt>
                <c:pt idx="2712">
                  <c:v>14.420868243243241</c:v>
                </c:pt>
                <c:pt idx="2713">
                  <c:v>14.420868243243241</c:v>
                </c:pt>
                <c:pt idx="2714">
                  <c:v>14.420868243243241</c:v>
                </c:pt>
                <c:pt idx="2715">
                  <c:v>14.420868243243241</c:v>
                </c:pt>
                <c:pt idx="2716">
                  <c:v>14.420868243243241</c:v>
                </c:pt>
                <c:pt idx="2717">
                  <c:v>14.420868243243241</c:v>
                </c:pt>
                <c:pt idx="2718">
                  <c:v>14.420868243243241</c:v>
                </c:pt>
                <c:pt idx="2719">
                  <c:v>14.420868243243241</c:v>
                </c:pt>
                <c:pt idx="2720">
                  <c:v>14.420868243243241</c:v>
                </c:pt>
                <c:pt idx="2721">
                  <c:v>14.420868243243241</c:v>
                </c:pt>
                <c:pt idx="2722">
                  <c:v>14.420868243243241</c:v>
                </c:pt>
                <c:pt idx="2723">
                  <c:v>14.420868243243241</c:v>
                </c:pt>
                <c:pt idx="2724">
                  <c:v>14.420868243243241</c:v>
                </c:pt>
                <c:pt idx="2725">
                  <c:v>14.420868243243241</c:v>
                </c:pt>
                <c:pt idx="2726">
                  <c:v>14.420868243243241</c:v>
                </c:pt>
                <c:pt idx="2727">
                  <c:v>14.420868243243241</c:v>
                </c:pt>
                <c:pt idx="2728">
                  <c:v>14.420868243243241</c:v>
                </c:pt>
                <c:pt idx="2729">
                  <c:v>14.420868243243241</c:v>
                </c:pt>
                <c:pt idx="2730">
                  <c:v>14.420868243243241</c:v>
                </c:pt>
                <c:pt idx="2731">
                  <c:v>14.420868243243241</c:v>
                </c:pt>
                <c:pt idx="2732">
                  <c:v>14.420868243243241</c:v>
                </c:pt>
                <c:pt idx="2733">
                  <c:v>14.420868243243241</c:v>
                </c:pt>
                <c:pt idx="2734">
                  <c:v>14.420868243243241</c:v>
                </c:pt>
                <c:pt idx="2735">
                  <c:v>14.420868243243241</c:v>
                </c:pt>
                <c:pt idx="2736">
                  <c:v>14.420868243243241</c:v>
                </c:pt>
                <c:pt idx="2737">
                  <c:v>14.420868243243241</c:v>
                </c:pt>
                <c:pt idx="2738">
                  <c:v>14.420868243243241</c:v>
                </c:pt>
                <c:pt idx="2739">
                  <c:v>14.420868243243241</c:v>
                </c:pt>
                <c:pt idx="2740">
                  <c:v>14.420868243243241</c:v>
                </c:pt>
                <c:pt idx="2741">
                  <c:v>14.420868243243241</c:v>
                </c:pt>
                <c:pt idx="2742">
                  <c:v>14.420868243243241</c:v>
                </c:pt>
                <c:pt idx="2743">
                  <c:v>14.420868243243241</c:v>
                </c:pt>
                <c:pt idx="2744">
                  <c:v>14.420868243243241</c:v>
                </c:pt>
                <c:pt idx="2745">
                  <c:v>14.420868243243241</c:v>
                </c:pt>
                <c:pt idx="2746">
                  <c:v>14.420868243243241</c:v>
                </c:pt>
                <c:pt idx="2747">
                  <c:v>14.420868243243241</c:v>
                </c:pt>
                <c:pt idx="2748">
                  <c:v>14.420868243243241</c:v>
                </c:pt>
                <c:pt idx="2749">
                  <c:v>14.420868243243241</c:v>
                </c:pt>
                <c:pt idx="2750">
                  <c:v>14.420868243243241</c:v>
                </c:pt>
                <c:pt idx="2751">
                  <c:v>14.420868243243241</c:v>
                </c:pt>
                <c:pt idx="2752">
                  <c:v>14.420868243243241</c:v>
                </c:pt>
                <c:pt idx="2753">
                  <c:v>14.420868243243241</c:v>
                </c:pt>
                <c:pt idx="2754">
                  <c:v>14.420868243243241</c:v>
                </c:pt>
                <c:pt idx="2755">
                  <c:v>14.420868243243241</c:v>
                </c:pt>
                <c:pt idx="2756">
                  <c:v>14.420868243243241</c:v>
                </c:pt>
                <c:pt idx="2757">
                  <c:v>14.420868243243241</c:v>
                </c:pt>
                <c:pt idx="2758">
                  <c:v>14.420868243243241</c:v>
                </c:pt>
                <c:pt idx="2759">
                  <c:v>14.420868243243241</c:v>
                </c:pt>
                <c:pt idx="2760">
                  <c:v>14.420868243243241</c:v>
                </c:pt>
                <c:pt idx="2761">
                  <c:v>14.420868243243241</c:v>
                </c:pt>
                <c:pt idx="2762">
                  <c:v>14.420868243243241</c:v>
                </c:pt>
                <c:pt idx="2763">
                  <c:v>14.420868243243241</c:v>
                </c:pt>
                <c:pt idx="2764">
                  <c:v>14.420868243243241</c:v>
                </c:pt>
                <c:pt idx="2765">
                  <c:v>14.420868243243241</c:v>
                </c:pt>
                <c:pt idx="2766">
                  <c:v>14.420868243243241</c:v>
                </c:pt>
                <c:pt idx="2767">
                  <c:v>14.420868243243241</c:v>
                </c:pt>
                <c:pt idx="2768">
                  <c:v>14.420868243243241</c:v>
                </c:pt>
                <c:pt idx="2769">
                  <c:v>14.420868243243241</c:v>
                </c:pt>
                <c:pt idx="2770">
                  <c:v>14.420868243243241</c:v>
                </c:pt>
                <c:pt idx="2771">
                  <c:v>14.420868243243241</c:v>
                </c:pt>
                <c:pt idx="2772">
                  <c:v>14.420868243243241</c:v>
                </c:pt>
                <c:pt idx="2773">
                  <c:v>14.420868243243241</c:v>
                </c:pt>
                <c:pt idx="2774">
                  <c:v>14.420868243243241</c:v>
                </c:pt>
                <c:pt idx="2775">
                  <c:v>14.420868243243241</c:v>
                </c:pt>
                <c:pt idx="2776">
                  <c:v>14.420868243243241</c:v>
                </c:pt>
                <c:pt idx="2777">
                  <c:v>14.420868243243241</c:v>
                </c:pt>
                <c:pt idx="2778">
                  <c:v>14.420868243243241</c:v>
                </c:pt>
                <c:pt idx="2779">
                  <c:v>14.420868243243241</c:v>
                </c:pt>
                <c:pt idx="2780">
                  <c:v>14.420868243243241</c:v>
                </c:pt>
                <c:pt idx="2781">
                  <c:v>14.420868243243241</c:v>
                </c:pt>
                <c:pt idx="2782">
                  <c:v>14.420868243243241</c:v>
                </c:pt>
                <c:pt idx="2783">
                  <c:v>14.420868243243241</c:v>
                </c:pt>
                <c:pt idx="2784">
                  <c:v>14.420868243243241</c:v>
                </c:pt>
                <c:pt idx="2785">
                  <c:v>14.420868243243241</c:v>
                </c:pt>
                <c:pt idx="2786">
                  <c:v>14.420868243243241</c:v>
                </c:pt>
                <c:pt idx="2787">
                  <c:v>14.420868243243241</c:v>
                </c:pt>
                <c:pt idx="2788">
                  <c:v>14.420868243243241</c:v>
                </c:pt>
                <c:pt idx="2789">
                  <c:v>14.420868243243241</c:v>
                </c:pt>
                <c:pt idx="2790">
                  <c:v>14.420868243243241</c:v>
                </c:pt>
                <c:pt idx="2791">
                  <c:v>14.420868243243241</c:v>
                </c:pt>
                <c:pt idx="2792">
                  <c:v>14.420868243243241</c:v>
                </c:pt>
                <c:pt idx="2793">
                  <c:v>14.420868243243241</c:v>
                </c:pt>
                <c:pt idx="2794">
                  <c:v>14.420868243243241</c:v>
                </c:pt>
                <c:pt idx="2795">
                  <c:v>14.420868243243241</c:v>
                </c:pt>
                <c:pt idx="2796">
                  <c:v>14.420868243243241</c:v>
                </c:pt>
                <c:pt idx="2797">
                  <c:v>14.420868243243241</c:v>
                </c:pt>
                <c:pt idx="2798">
                  <c:v>14.420868243243241</c:v>
                </c:pt>
                <c:pt idx="2799">
                  <c:v>14.420868243243241</c:v>
                </c:pt>
                <c:pt idx="2800">
                  <c:v>14.420868243243241</c:v>
                </c:pt>
                <c:pt idx="2801">
                  <c:v>14.420868243243241</c:v>
                </c:pt>
                <c:pt idx="2802">
                  <c:v>14.420868243243241</c:v>
                </c:pt>
                <c:pt idx="2803">
                  <c:v>14.420868243243241</c:v>
                </c:pt>
                <c:pt idx="2804">
                  <c:v>14.420868243243241</c:v>
                </c:pt>
                <c:pt idx="2805">
                  <c:v>14.420868243243241</c:v>
                </c:pt>
                <c:pt idx="2806">
                  <c:v>14.420868243243241</c:v>
                </c:pt>
                <c:pt idx="2807">
                  <c:v>14.420868243243241</c:v>
                </c:pt>
                <c:pt idx="2808">
                  <c:v>14.420868243243241</c:v>
                </c:pt>
                <c:pt idx="2809">
                  <c:v>14.420868243243241</c:v>
                </c:pt>
                <c:pt idx="2810">
                  <c:v>14.420868243243241</c:v>
                </c:pt>
                <c:pt idx="2811">
                  <c:v>14.420868243243241</c:v>
                </c:pt>
                <c:pt idx="2812">
                  <c:v>14.420868243243241</c:v>
                </c:pt>
                <c:pt idx="2813">
                  <c:v>14.420868243243241</c:v>
                </c:pt>
                <c:pt idx="2814">
                  <c:v>14.420868243243241</c:v>
                </c:pt>
                <c:pt idx="2815">
                  <c:v>14.420868243243241</c:v>
                </c:pt>
                <c:pt idx="2816">
                  <c:v>14.420868243243241</c:v>
                </c:pt>
                <c:pt idx="2817">
                  <c:v>14.420868243243241</c:v>
                </c:pt>
                <c:pt idx="2818">
                  <c:v>14.420868243243241</c:v>
                </c:pt>
                <c:pt idx="2819">
                  <c:v>14.420868243243241</c:v>
                </c:pt>
                <c:pt idx="2820">
                  <c:v>14.420868243243241</c:v>
                </c:pt>
                <c:pt idx="2821">
                  <c:v>14.420868243243241</c:v>
                </c:pt>
                <c:pt idx="2822">
                  <c:v>14.420868243243241</c:v>
                </c:pt>
                <c:pt idx="2823">
                  <c:v>14.420868243243241</c:v>
                </c:pt>
                <c:pt idx="2824">
                  <c:v>14.420868243243241</c:v>
                </c:pt>
                <c:pt idx="2825">
                  <c:v>14.420868243243241</c:v>
                </c:pt>
                <c:pt idx="2826">
                  <c:v>14.420868243243241</c:v>
                </c:pt>
                <c:pt idx="2827">
                  <c:v>14.420868243243241</c:v>
                </c:pt>
                <c:pt idx="2828">
                  <c:v>14.420868243243241</c:v>
                </c:pt>
                <c:pt idx="2829">
                  <c:v>14.420868243243241</c:v>
                </c:pt>
                <c:pt idx="2830">
                  <c:v>14.420868243243241</c:v>
                </c:pt>
                <c:pt idx="2831">
                  <c:v>14.420868243243241</c:v>
                </c:pt>
                <c:pt idx="2832">
                  <c:v>14.420868243243241</c:v>
                </c:pt>
                <c:pt idx="2833">
                  <c:v>14.420868243243241</c:v>
                </c:pt>
                <c:pt idx="2834">
                  <c:v>14.420868243243241</c:v>
                </c:pt>
                <c:pt idx="2835">
                  <c:v>14.420868243243241</c:v>
                </c:pt>
                <c:pt idx="2836">
                  <c:v>14.420868243243241</c:v>
                </c:pt>
                <c:pt idx="2837">
                  <c:v>14.420868243243241</c:v>
                </c:pt>
                <c:pt idx="2838">
                  <c:v>14.420868243243241</c:v>
                </c:pt>
                <c:pt idx="2839">
                  <c:v>14.420868243243241</c:v>
                </c:pt>
                <c:pt idx="2840">
                  <c:v>14.420868243243241</c:v>
                </c:pt>
                <c:pt idx="2841">
                  <c:v>14.420868243243241</c:v>
                </c:pt>
                <c:pt idx="2842">
                  <c:v>14.420868243243241</c:v>
                </c:pt>
                <c:pt idx="2843">
                  <c:v>14.420868243243241</c:v>
                </c:pt>
                <c:pt idx="2844">
                  <c:v>14.420868243243241</c:v>
                </c:pt>
                <c:pt idx="2845">
                  <c:v>14.420868243243241</c:v>
                </c:pt>
                <c:pt idx="2846">
                  <c:v>14.420868243243241</c:v>
                </c:pt>
                <c:pt idx="2847">
                  <c:v>14.420868243243241</c:v>
                </c:pt>
                <c:pt idx="2848">
                  <c:v>14.420868243243241</c:v>
                </c:pt>
                <c:pt idx="2849">
                  <c:v>14.420868243243241</c:v>
                </c:pt>
                <c:pt idx="2850">
                  <c:v>14.420868243243241</c:v>
                </c:pt>
                <c:pt idx="2851">
                  <c:v>14.420868243243241</c:v>
                </c:pt>
                <c:pt idx="2852">
                  <c:v>14.420868243243241</c:v>
                </c:pt>
                <c:pt idx="2853">
                  <c:v>14.420868243243241</c:v>
                </c:pt>
                <c:pt idx="2854">
                  <c:v>14.420868243243241</c:v>
                </c:pt>
                <c:pt idx="2855">
                  <c:v>14.420868243243241</c:v>
                </c:pt>
                <c:pt idx="2856">
                  <c:v>14.420868243243241</c:v>
                </c:pt>
                <c:pt idx="2857">
                  <c:v>14.420868243243241</c:v>
                </c:pt>
                <c:pt idx="2858">
                  <c:v>14.420868243243241</c:v>
                </c:pt>
                <c:pt idx="2859">
                  <c:v>14.420868243243241</c:v>
                </c:pt>
                <c:pt idx="2860">
                  <c:v>14.420868243243241</c:v>
                </c:pt>
                <c:pt idx="2861">
                  <c:v>14.420868243243241</c:v>
                </c:pt>
                <c:pt idx="2862">
                  <c:v>14.420868243243241</c:v>
                </c:pt>
                <c:pt idx="2863">
                  <c:v>14.420868243243241</c:v>
                </c:pt>
                <c:pt idx="2864">
                  <c:v>14.420868243243241</c:v>
                </c:pt>
                <c:pt idx="2865">
                  <c:v>14.420868243243241</c:v>
                </c:pt>
                <c:pt idx="2866">
                  <c:v>14.420868243243241</c:v>
                </c:pt>
                <c:pt idx="2867">
                  <c:v>14.420868243243241</c:v>
                </c:pt>
                <c:pt idx="2868">
                  <c:v>14.420868243243241</c:v>
                </c:pt>
                <c:pt idx="2869">
                  <c:v>14.420868243243241</c:v>
                </c:pt>
                <c:pt idx="2870">
                  <c:v>14.420868243243241</c:v>
                </c:pt>
                <c:pt idx="2871">
                  <c:v>14.420868243243241</c:v>
                </c:pt>
                <c:pt idx="2872">
                  <c:v>14.420868243243241</c:v>
                </c:pt>
                <c:pt idx="2873">
                  <c:v>14.420868243243241</c:v>
                </c:pt>
                <c:pt idx="2874">
                  <c:v>14.420868243243241</c:v>
                </c:pt>
                <c:pt idx="2875">
                  <c:v>14.420868243243241</c:v>
                </c:pt>
                <c:pt idx="2876">
                  <c:v>14.420868243243241</c:v>
                </c:pt>
                <c:pt idx="2877">
                  <c:v>14.420868243243241</c:v>
                </c:pt>
                <c:pt idx="2878">
                  <c:v>14.420868243243241</c:v>
                </c:pt>
                <c:pt idx="2879">
                  <c:v>14.420868243243241</c:v>
                </c:pt>
                <c:pt idx="2880">
                  <c:v>14.420868243243241</c:v>
                </c:pt>
                <c:pt idx="2881">
                  <c:v>14.420868243243241</c:v>
                </c:pt>
                <c:pt idx="2882">
                  <c:v>14.420868243243241</c:v>
                </c:pt>
                <c:pt idx="2883">
                  <c:v>14.420868243243241</c:v>
                </c:pt>
                <c:pt idx="2884">
                  <c:v>14.420868243243241</c:v>
                </c:pt>
                <c:pt idx="2885">
                  <c:v>14.420868243243241</c:v>
                </c:pt>
                <c:pt idx="2886">
                  <c:v>14.420868243243241</c:v>
                </c:pt>
                <c:pt idx="2887">
                  <c:v>14.420868243243241</c:v>
                </c:pt>
                <c:pt idx="2888">
                  <c:v>14.420868243243241</c:v>
                </c:pt>
                <c:pt idx="2889">
                  <c:v>14.420868243243241</c:v>
                </c:pt>
                <c:pt idx="2890">
                  <c:v>14.420868243243241</c:v>
                </c:pt>
                <c:pt idx="2891">
                  <c:v>14.420868243243241</c:v>
                </c:pt>
                <c:pt idx="2892">
                  <c:v>14.420868243243241</c:v>
                </c:pt>
                <c:pt idx="2893">
                  <c:v>14.420868243243241</c:v>
                </c:pt>
                <c:pt idx="2894">
                  <c:v>14.420868243243241</c:v>
                </c:pt>
                <c:pt idx="2895">
                  <c:v>14.420868243243241</c:v>
                </c:pt>
                <c:pt idx="2896">
                  <c:v>14.420868243243241</c:v>
                </c:pt>
                <c:pt idx="2897">
                  <c:v>14.420868243243241</c:v>
                </c:pt>
                <c:pt idx="2898">
                  <c:v>14.420868243243241</c:v>
                </c:pt>
                <c:pt idx="2899">
                  <c:v>14.420868243243241</c:v>
                </c:pt>
                <c:pt idx="2900">
                  <c:v>14.420868243243241</c:v>
                </c:pt>
                <c:pt idx="2901">
                  <c:v>14.420868243243241</c:v>
                </c:pt>
                <c:pt idx="2902">
                  <c:v>14.420868243243241</c:v>
                </c:pt>
                <c:pt idx="2903">
                  <c:v>14.420868243243241</c:v>
                </c:pt>
                <c:pt idx="2904">
                  <c:v>14.420868243243241</c:v>
                </c:pt>
                <c:pt idx="2905">
                  <c:v>14.420868243243241</c:v>
                </c:pt>
                <c:pt idx="2906">
                  <c:v>14.420868243243241</c:v>
                </c:pt>
                <c:pt idx="2907">
                  <c:v>14.420868243243241</c:v>
                </c:pt>
                <c:pt idx="2908">
                  <c:v>14.420868243243241</c:v>
                </c:pt>
                <c:pt idx="2909">
                  <c:v>14.420868243243241</c:v>
                </c:pt>
                <c:pt idx="2910">
                  <c:v>14.420868243243241</c:v>
                </c:pt>
                <c:pt idx="2911">
                  <c:v>14.420868243243241</c:v>
                </c:pt>
                <c:pt idx="2912">
                  <c:v>14.420868243243241</c:v>
                </c:pt>
                <c:pt idx="2913">
                  <c:v>14.420868243243241</c:v>
                </c:pt>
                <c:pt idx="2914">
                  <c:v>14.420868243243241</c:v>
                </c:pt>
                <c:pt idx="2915">
                  <c:v>14.420868243243241</c:v>
                </c:pt>
                <c:pt idx="2916">
                  <c:v>14.420868243243241</c:v>
                </c:pt>
                <c:pt idx="2917">
                  <c:v>14.420868243243241</c:v>
                </c:pt>
                <c:pt idx="2918">
                  <c:v>14.420868243243241</c:v>
                </c:pt>
                <c:pt idx="2919">
                  <c:v>14.420868243243241</c:v>
                </c:pt>
                <c:pt idx="2920">
                  <c:v>14.420868243243241</c:v>
                </c:pt>
                <c:pt idx="2921">
                  <c:v>14.420868243243241</c:v>
                </c:pt>
                <c:pt idx="2922">
                  <c:v>14.420868243243241</c:v>
                </c:pt>
                <c:pt idx="2923">
                  <c:v>14.420868243243241</c:v>
                </c:pt>
                <c:pt idx="2924">
                  <c:v>14.420868243243241</c:v>
                </c:pt>
                <c:pt idx="2925">
                  <c:v>14.420868243243241</c:v>
                </c:pt>
                <c:pt idx="2926">
                  <c:v>14.420868243243241</c:v>
                </c:pt>
                <c:pt idx="2927">
                  <c:v>14.420868243243241</c:v>
                </c:pt>
                <c:pt idx="2928">
                  <c:v>14.420868243243241</c:v>
                </c:pt>
                <c:pt idx="2929">
                  <c:v>14.420868243243241</c:v>
                </c:pt>
                <c:pt idx="2930">
                  <c:v>14.420868243243241</c:v>
                </c:pt>
                <c:pt idx="2931">
                  <c:v>14.420868243243241</c:v>
                </c:pt>
                <c:pt idx="2932">
                  <c:v>14.420868243243241</c:v>
                </c:pt>
                <c:pt idx="2933">
                  <c:v>14.420868243243241</c:v>
                </c:pt>
                <c:pt idx="2934">
                  <c:v>14.420868243243241</c:v>
                </c:pt>
                <c:pt idx="2935">
                  <c:v>14.420868243243241</c:v>
                </c:pt>
                <c:pt idx="2936">
                  <c:v>14.420868243243241</c:v>
                </c:pt>
                <c:pt idx="2937">
                  <c:v>14.420868243243241</c:v>
                </c:pt>
                <c:pt idx="2938">
                  <c:v>14.420868243243241</c:v>
                </c:pt>
                <c:pt idx="2939">
                  <c:v>14.420868243243241</c:v>
                </c:pt>
                <c:pt idx="2940">
                  <c:v>14.420868243243241</c:v>
                </c:pt>
                <c:pt idx="2941">
                  <c:v>14.420868243243241</c:v>
                </c:pt>
                <c:pt idx="2942">
                  <c:v>14.420868243243241</c:v>
                </c:pt>
                <c:pt idx="2943">
                  <c:v>14.420868243243241</c:v>
                </c:pt>
                <c:pt idx="2944">
                  <c:v>14.420868243243241</c:v>
                </c:pt>
                <c:pt idx="2945">
                  <c:v>14.420868243243241</c:v>
                </c:pt>
                <c:pt idx="2946">
                  <c:v>14.420868243243241</c:v>
                </c:pt>
                <c:pt idx="2947">
                  <c:v>14.420868243243241</c:v>
                </c:pt>
                <c:pt idx="2948">
                  <c:v>14.420868243243241</c:v>
                </c:pt>
                <c:pt idx="2949">
                  <c:v>14.420868243243241</c:v>
                </c:pt>
                <c:pt idx="2950">
                  <c:v>14.420868243243241</c:v>
                </c:pt>
                <c:pt idx="2951">
                  <c:v>14.420868243243241</c:v>
                </c:pt>
                <c:pt idx="2952">
                  <c:v>14.420868243243241</c:v>
                </c:pt>
                <c:pt idx="2953">
                  <c:v>14.420868243243241</c:v>
                </c:pt>
                <c:pt idx="2954">
                  <c:v>14.420868243243241</c:v>
                </c:pt>
                <c:pt idx="2955">
                  <c:v>14.420868243243241</c:v>
                </c:pt>
                <c:pt idx="2956">
                  <c:v>14.420868243243241</c:v>
                </c:pt>
                <c:pt idx="2957">
                  <c:v>14.420868243243241</c:v>
                </c:pt>
                <c:pt idx="2958">
                  <c:v>14.420868243243241</c:v>
                </c:pt>
                <c:pt idx="2959">
                  <c:v>14.420868243243241</c:v>
                </c:pt>
                <c:pt idx="2960">
                  <c:v>14.420868243243241</c:v>
                </c:pt>
                <c:pt idx="2961">
                  <c:v>14.420868243243241</c:v>
                </c:pt>
                <c:pt idx="2962">
                  <c:v>14.420868243243241</c:v>
                </c:pt>
                <c:pt idx="2963">
                  <c:v>14.420868243243241</c:v>
                </c:pt>
                <c:pt idx="2964">
                  <c:v>14.420868243243241</c:v>
                </c:pt>
                <c:pt idx="2965">
                  <c:v>14.420868243243241</c:v>
                </c:pt>
                <c:pt idx="2966">
                  <c:v>14.420868243243241</c:v>
                </c:pt>
                <c:pt idx="2967">
                  <c:v>14.420868243243241</c:v>
                </c:pt>
                <c:pt idx="2968">
                  <c:v>14.420868243243241</c:v>
                </c:pt>
                <c:pt idx="2969">
                  <c:v>14.420868243243241</c:v>
                </c:pt>
                <c:pt idx="2970">
                  <c:v>14.420868243243241</c:v>
                </c:pt>
                <c:pt idx="2971">
                  <c:v>14.420868243243241</c:v>
                </c:pt>
                <c:pt idx="2972">
                  <c:v>14.420868243243241</c:v>
                </c:pt>
                <c:pt idx="2973">
                  <c:v>14.420868243243241</c:v>
                </c:pt>
                <c:pt idx="2974">
                  <c:v>14.420868243243241</c:v>
                </c:pt>
                <c:pt idx="2975">
                  <c:v>14.420868243243241</c:v>
                </c:pt>
                <c:pt idx="2976">
                  <c:v>14.420868243243241</c:v>
                </c:pt>
                <c:pt idx="2977">
                  <c:v>14.420868243243241</c:v>
                </c:pt>
                <c:pt idx="2978">
                  <c:v>14.420868243243241</c:v>
                </c:pt>
                <c:pt idx="2979">
                  <c:v>14.420868243243241</c:v>
                </c:pt>
                <c:pt idx="2980">
                  <c:v>14.420868243243241</c:v>
                </c:pt>
                <c:pt idx="2981">
                  <c:v>14.420868243243241</c:v>
                </c:pt>
                <c:pt idx="2982">
                  <c:v>14.420868243243241</c:v>
                </c:pt>
                <c:pt idx="2983">
                  <c:v>14.420868243243241</c:v>
                </c:pt>
                <c:pt idx="2984">
                  <c:v>14.420868243243241</c:v>
                </c:pt>
                <c:pt idx="2985">
                  <c:v>14.420868243243241</c:v>
                </c:pt>
                <c:pt idx="2986">
                  <c:v>14.420868243243241</c:v>
                </c:pt>
                <c:pt idx="2987">
                  <c:v>14.420868243243241</c:v>
                </c:pt>
                <c:pt idx="2988">
                  <c:v>14.420868243243241</c:v>
                </c:pt>
                <c:pt idx="2989">
                  <c:v>14.420868243243241</c:v>
                </c:pt>
                <c:pt idx="2990">
                  <c:v>14.420868243243241</c:v>
                </c:pt>
                <c:pt idx="2991">
                  <c:v>14.420868243243241</c:v>
                </c:pt>
                <c:pt idx="2992">
                  <c:v>14.420868243243241</c:v>
                </c:pt>
                <c:pt idx="2993">
                  <c:v>14.420868243243241</c:v>
                </c:pt>
                <c:pt idx="2994">
                  <c:v>14.420868243243241</c:v>
                </c:pt>
                <c:pt idx="2995">
                  <c:v>14.420868243243241</c:v>
                </c:pt>
                <c:pt idx="2996">
                  <c:v>14.420868243243241</c:v>
                </c:pt>
                <c:pt idx="2997">
                  <c:v>14.420868243243241</c:v>
                </c:pt>
                <c:pt idx="2998">
                  <c:v>14.420868243243241</c:v>
                </c:pt>
                <c:pt idx="2999">
                  <c:v>14.420868243243241</c:v>
                </c:pt>
                <c:pt idx="3000">
                  <c:v>14.420868243243241</c:v>
                </c:pt>
                <c:pt idx="3001">
                  <c:v>14.420868243243241</c:v>
                </c:pt>
                <c:pt idx="3002">
                  <c:v>14.420868243243241</c:v>
                </c:pt>
                <c:pt idx="3003">
                  <c:v>14.420868243243241</c:v>
                </c:pt>
                <c:pt idx="3004">
                  <c:v>14.420868243243241</c:v>
                </c:pt>
                <c:pt idx="3005">
                  <c:v>14.420868243243241</c:v>
                </c:pt>
                <c:pt idx="3006">
                  <c:v>14.420868243243241</c:v>
                </c:pt>
                <c:pt idx="3007">
                  <c:v>14.420868243243241</c:v>
                </c:pt>
                <c:pt idx="3008">
                  <c:v>14.420868243243241</c:v>
                </c:pt>
                <c:pt idx="3009">
                  <c:v>14.420868243243241</c:v>
                </c:pt>
                <c:pt idx="3010">
                  <c:v>14.420868243243241</c:v>
                </c:pt>
                <c:pt idx="3011">
                  <c:v>14.420868243243241</c:v>
                </c:pt>
                <c:pt idx="3012">
                  <c:v>14.420868243243241</c:v>
                </c:pt>
                <c:pt idx="3013">
                  <c:v>14.420868243243241</c:v>
                </c:pt>
                <c:pt idx="3014">
                  <c:v>14.420868243243241</c:v>
                </c:pt>
                <c:pt idx="3015">
                  <c:v>14.420868243243241</c:v>
                </c:pt>
                <c:pt idx="3016">
                  <c:v>14.420868243243241</c:v>
                </c:pt>
                <c:pt idx="3017">
                  <c:v>14.420868243243241</c:v>
                </c:pt>
                <c:pt idx="3018">
                  <c:v>14.420868243243241</c:v>
                </c:pt>
                <c:pt idx="3019">
                  <c:v>14.420868243243241</c:v>
                </c:pt>
                <c:pt idx="3020">
                  <c:v>14.420868243243241</c:v>
                </c:pt>
                <c:pt idx="3021">
                  <c:v>14.420868243243241</c:v>
                </c:pt>
                <c:pt idx="3022">
                  <c:v>14.420868243243241</c:v>
                </c:pt>
                <c:pt idx="3023">
                  <c:v>14.420868243243241</c:v>
                </c:pt>
                <c:pt idx="3024">
                  <c:v>14.420868243243241</c:v>
                </c:pt>
                <c:pt idx="3025">
                  <c:v>14.420868243243241</c:v>
                </c:pt>
                <c:pt idx="3026">
                  <c:v>14.420868243243241</c:v>
                </c:pt>
                <c:pt idx="3027">
                  <c:v>14.420868243243241</c:v>
                </c:pt>
                <c:pt idx="3028">
                  <c:v>14.420868243243241</c:v>
                </c:pt>
                <c:pt idx="3029">
                  <c:v>14.420868243243241</c:v>
                </c:pt>
                <c:pt idx="3030">
                  <c:v>14.420868243243241</c:v>
                </c:pt>
                <c:pt idx="3031">
                  <c:v>14.420868243243241</c:v>
                </c:pt>
                <c:pt idx="3032">
                  <c:v>14.420868243243241</c:v>
                </c:pt>
                <c:pt idx="3033">
                  <c:v>14.420868243243241</c:v>
                </c:pt>
                <c:pt idx="3034">
                  <c:v>14.420868243243241</c:v>
                </c:pt>
                <c:pt idx="3035">
                  <c:v>14.420868243243241</c:v>
                </c:pt>
                <c:pt idx="3036">
                  <c:v>14.420868243243241</c:v>
                </c:pt>
                <c:pt idx="3037">
                  <c:v>14.420868243243241</c:v>
                </c:pt>
                <c:pt idx="3038">
                  <c:v>14.420868243243241</c:v>
                </c:pt>
                <c:pt idx="3039">
                  <c:v>14.420868243243241</c:v>
                </c:pt>
                <c:pt idx="3040">
                  <c:v>14.420868243243241</c:v>
                </c:pt>
                <c:pt idx="3041">
                  <c:v>14.420868243243241</c:v>
                </c:pt>
                <c:pt idx="3042">
                  <c:v>14.420868243243241</c:v>
                </c:pt>
                <c:pt idx="3043">
                  <c:v>14.420868243243241</c:v>
                </c:pt>
                <c:pt idx="3044">
                  <c:v>14.420868243243241</c:v>
                </c:pt>
                <c:pt idx="3045">
                  <c:v>14.420868243243241</c:v>
                </c:pt>
                <c:pt idx="3046">
                  <c:v>14.420868243243241</c:v>
                </c:pt>
                <c:pt idx="3047">
                  <c:v>14.420868243243241</c:v>
                </c:pt>
                <c:pt idx="3048">
                  <c:v>14.420868243243241</c:v>
                </c:pt>
                <c:pt idx="3049">
                  <c:v>14.420868243243241</c:v>
                </c:pt>
                <c:pt idx="3050">
                  <c:v>14.420868243243241</c:v>
                </c:pt>
                <c:pt idx="3051">
                  <c:v>14.420868243243241</c:v>
                </c:pt>
                <c:pt idx="3052">
                  <c:v>14.420868243243241</c:v>
                </c:pt>
                <c:pt idx="3053">
                  <c:v>14.420868243243241</c:v>
                </c:pt>
                <c:pt idx="3054">
                  <c:v>14.420868243243241</c:v>
                </c:pt>
                <c:pt idx="3055">
                  <c:v>14.420868243243241</c:v>
                </c:pt>
                <c:pt idx="3056">
                  <c:v>14.420868243243241</c:v>
                </c:pt>
                <c:pt idx="3057">
                  <c:v>14.420868243243241</c:v>
                </c:pt>
                <c:pt idx="3058">
                  <c:v>14.420868243243241</c:v>
                </c:pt>
                <c:pt idx="3059">
                  <c:v>14.420868243243241</c:v>
                </c:pt>
                <c:pt idx="3060">
                  <c:v>14.420868243243241</c:v>
                </c:pt>
                <c:pt idx="3061">
                  <c:v>14.420868243243241</c:v>
                </c:pt>
                <c:pt idx="3062">
                  <c:v>14.420868243243241</c:v>
                </c:pt>
                <c:pt idx="3063">
                  <c:v>14.420868243243241</c:v>
                </c:pt>
                <c:pt idx="3064">
                  <c:v>14.420868243243241</c:v>
                </c:pt>
                <c:pt idx="3065">
                  <c:v>14.420868243243241</c:v>
                </c:pt>
                <c:pt idx="3066">
                  <c:v>14.420868243243241</c:v>
                </c:pt>
                <c:pt idx="3067">
                  <c:v>14.420868243243241</c:v>
                </c:pt>
                <c:pt idx="3068">
                  <c:v>14.420868243243241</c:v>
                </c:pt>
                <c:pt idx="3069">
                  <c:v>14.420868243243241</c:v>
                </c:pt>
                <c:pt idx="3070">
                  <c:v>14.420868243243241</c:v>
                </c:pt>
                <c:pt idx="3071">
                  <c:v>14.420868243243241</c:v>
                </c:pt>
                <c:pt idx="3072">
                  <c:v>14.420868243243241</c:v>
                </c:pt>
                <c:pt idx="3073">
                  <c:v>14.420868243243241</c:v>
                </c:pt>
                <c:pt idx="3074">
                  <c:v>14.420868243243241</c:v>
                </c:pt>
                <c:pt idx="3075">
                  <c:v>14.420868243243241</c:v>
                </c:pt>
                <c:pt idx="3076">
                  <c:v>14.420868243243241</c:v>
                </c:pt>
                <c:pt idx="3077">
                  <c:v>14.420868243243241</c:v>
                </c:pt>
                <c:pt idx="3078">
                  <c:v>14.420868243243241</c:v>
                </c:pt>
                <c:pt idx="3079">
                  <c:v>14.420868243243241</c:v>
                </c:pt>
                <c:pt idx="3080">
                  <c:v>14.420868243243241</c:v>
                </c:pt>
                <c:pt idx="3081">
                  <c:v>14.420868243243241</c:v>
                </c:pt>
                <c:pt idx="3082">
                  <c:v>14.420868243243241</c:v>
                </c:pt>
                <c:pt idx="3083">
                  <c:v>14.420868243243241</c:v>
                </c:pt>
                <c:pt idx="3084">
                  <c:v>14.420868243243241</c:v>
                </c:pt>
                <c:pt idx="3085">
                  <c:v>14.420868243243241</c:v>
                </c:pt>
                <c:pt idx="3086">
                  <c:v>14.420868243243241</c:v>
                </c:pt>
                <c:pt idx="3087">
                  <c:v>14.420868243243241</c:v>
                </c:pt>
                <c:pt idx="3088">
                  <c:v>14.420868243243241</c:v>
                </c:pt>
                <c:pt idx="3089">
                  <c:v>14.420868243243241</c:v>
                </c:pt>
                <c:pt idx="3090">
                  <c:v>14.420868243243241</c:v>
                </c:pt>
                <c:pt idx="3091">
                  <c:v>14.420868243243241</c:v>
                </c:pt>
                <c:pt idx="3092">
                  <c:v>14.420868243243241</c:v>
                </c:pt>
                <c:pt idx="3093">
                  <c:v>14.420868243243241</c:v>
                </c:pt>
                <c:pt idx="3094">
                  <c:v>14.420868243243241</c:v>
                </c:pt>
                <c:pt idx="3095">
                  <c:v>14.420868243243241</c:v>
                </c:pt>
                <c:pt idx="3096">
                  <c:v>14.420868243243241</c:v>
                </c:pt>
                <c:pt idx="3097">
                  <c:v>14.420868243243241</c:v>
                </c:pt>
                <c:pt idx="3098">
                  <c:v>14.420868243243241</c:v>
                </c:pt>
                <c:pt idx="3099">
                  <c:v>14.420868243243241</c:v>
                </c:pt>
                <c:pt idx="3100">
                  <c:v>14.420868243243241</c:v>
                </c:pt>
                <c:pt idx="3101">
                  <c:v>14.420868243243241</c:v>
                </c:pt>
                <c:pt idx="3102">
                  <c:v>14.420868243243241</c:v>
                </c:pt>
                <c:pt idx="3103">
                  <c:v>14.420868243243241</c:v>
                </c:pt>
                <c:pt idx="3104">
                  <c:v>14.420868243243241</c:v>
                </c:pt>
                <c:pt idx="3105">
                  <c:v>14.420868243243241</c:v>
                </c:pt>
                <c:pt idx="3106">
                  <c:v>14.420868243243241</c:v>
                </c:pt>
                <c:pt idx="3107">
                  <c:v>14.420868243243241</c:v>
                </c:pt>
                <c:pt idx="3108">
                  <c:v>14.420868243243241</c:v>
                </c:pt>
                <c:pt idx="3109">
                  <c:v>14.420868243243241</c:v>
                </c:pt>
                <c:pt idx="3110">
                  <c:v>14.420868243243241</c:v>
                </c:pt>
                <c:pt idx="3111">
                  <c:v>14.420868243243241</c:v>
                </c:pt>
                <c:pt idx="3112">
                  <c:v>14.420868243243241</c:v>
                </c:pt>
                <c:pt idx="3113">
                  <c:v>14.420868243243241</c:v>
                </c:pt>
                <c:pt idx="3114">
                  <c:v>14.420868243243241</c:v>
                </c:pt>
                <c:pt idx="3115">
                  <c:v>14.420868243243241</c:v>
                </c:pt>
                <c:pt idx="3116">
                  <c:v>14.420868243243241</c:v>
                </c:pt>
                <c:pt idx="3117">
                  <c:v>14.420868243243241</c:v>
                </c:pt>
                <c:pt idx="3118">
                  <c:v>14.420868243243241</c:v>
                </c:pt>
                <c:pt idx="3119">
                  <c:v>14.420868243243241</c:v>
                </c:pt>
                <c:pt idx="3120">
                  <c:v>14.420868243243241</c:v>
                </c:pt>
                <c:pt idx="3121">
                  <c:v>14.420868243243241</c:v>
                </c:pt>
                <c:pt idx="3122">
                  <c:v>14.420868243243241</c:v>
                </c:pt>
                <c:pt idx="3123">
                  <c:v>14.420868243243241</c:v>
                </c:pt>
                <c:pt idx="3124">
                  <c:v>14.420868243243241</c:v>
                </c:pt>
                <c:pt idx="3125">
                  <c:v>14.420868243243241</c:v>
                </c:pt>
                <c:pt idx="3126">
                  <c:v>14.420868243243241</c:v>
                </c:pt>
                <c:pt idx="3127">
                  <c:v>14.420868243243241</c:v>
                </c:pt>
                <c:pt idx="3128">
                  <c:v>14.420868243243241</c:v>
                </c:pt>
                <c:pt idx="3129">
                  <c:v>14.420868243243241</c:v>
                </c:pt>
                <c:pt idx="3130">
                  <c:v>14.420868243243241</c:v>
                </c:pt>
                <c:pt idx="3131">
                  <c:v>14.420868243243241</c:v>
                </c:pt>
                <c:pt idx="3132">
                  <c:v>14.420868243243241</c:v>
                </c:pt>
                <c:pt idx="3133">
                  <c:v>14.420868243243241</c:v>
                </c:pt>
                <c:pt idx="3134">
                  <c:v>14.420868243243241</c:v>
                </c:pt>
                <c:pt idx="3135">
                  <c:v>14.420868243243241</c:v>
                </c:pt>
                <c:pt idx="3136">
                  <c:v>14.420868243243241</c:v>
                </c:pt>
                <c:pt idx="3137">
                  <c:v>14.420868243243241</c:v>
                </c:pt>
                <c:pt idx="3138">
                  <c:v>14.420868243243241</c:v>
                </c:pt>
                <c:pt idx="3139">
                  <c:v>14.420868243243241</c:v>
                </c:pt>
                <c:pt idx="3140">
                  <c:v>14.420868243243241</c:v>
                </c:pt>
                <c:pt idx="3141">
                  <c:v>14.420868243243241</c:v>
                </c:pt>
                <c:pt idx="3142">
                  <c:v>14.420868243243241</c:v>
                </c:pt>
                <c:pt idx="3143">
                  <c:v>14.420868243243241</c:v>
                </c:pt>
                <c:pt idx="3144">
                  <c:v>14.420868243243241</c:v>
                </c:pt>
                <c:pt idx="3145">
                  <c:v>14.420868243243241</c:v>
                </c:pt>
                <c:pt idx="3146">
                  <c:v>14.420868243243241</c:v>
                </c:pt>
                <c:pt idx="3147">
                  <c:v>14.420868243243241</c:v>
                </c:pt>
                <c:pt idx="3148">
                  <c:v>14.420868243243241</c:v>
                </c:pt>
                <c:pt idx="3149">
                  <c:v>14.420868243243241</c:v>
                </c:pt>
                <c:pt idx="3150">
                  <c:v>14.420868243243241</c:v>
                </c:pt>
                <c:pt idx="3151">
                  <c:v>14.420868243243241</c:v>
                </c:pt>
                <c:pt idx="3152">
                  <c:v>14.420868243243241</c:v>
                </c:pt>
                <c:pt idx="3153">
                  <c:v>14.420868243243241</c:v>
                </c:pt>
                <c:pt idx="3154">
                  <c:v>14.420868243243241</c:v>
                </c:pt>
                <c:pt idx="3155">
                  <c:v>14.420868243243241</c:v>
                </c:pt>
                <c:pt idx="3156">
                  <c:v>14.420868243243241</c:v>
                </c:pt>
                <c:pt idx="3157">
                  <c:v>14.420868243243241</c:v>
                </c:pt>
                <c:pt idx="3158">
                  <c:v>14.420868243243241</c:v>
                </c:pt>
                <c:pt idx="3159">
                  <c:v>14.420868243243241</c:v>
                </c:pt>
                <c:pt idx="3160">
                  <c:v>14.420868243243241</c:v>
                </c:pt>
                <c:pt idx="3161">
                  <c:v>14.420868243243241</c:v>
                </c:pt>
                <c:pt idx="3162">
                  <c:v>14.420868243243241</c:v>
                </c:pt>
                <c:pt idx="3163">
                  <c:v>14.420868243243241</c:v>
                </c:pt>
                <c:pt idx="3164">
                  <c:v>14.420868243243241</c:v>
                </c:pt>
                <c:pt idx="3165">
                  <c:v>14.420868243243241</c:v>
                </c:pt>
                <c:pt idx="3166">
                  <c:v>14.420868243243241</c:v>
                </c:pt>
                <c:pt idx="3167">
                  <c:v>14.420868243243241</c:v>
                </c:pt>
                <c:pt idx="3168">
                  <c:v>14.420868243243241</c:v>
                </c:pt>
                <c:pt idx="3169">
                  <c:v>14.420868243243241</c:v>
                </c:pt>
                <c:pt idx="3170">
                  <c:v>14.420868243243241</c:v>
                </c:pt>
                <c:pt idx="3171">
                  <c:v>14.420868243243241</c:v>
                </c:pt>
                <c:pt idx="3172">
                  <c:v>14.420868243243241</c:v>
                </c:pt>
                <c:pt idx="3173">
                  <c:v>14.420868243243241</c:v>
                </c:pt>
                <c:pt idx="3174">
                  <c:v>14.420868243243241</c:v>
                </c:pt>
                <c:pt idx="3175">
                  <c:v>14.420868243243241</c:v>
                </c:pt>
                <c:pt idx="3176">
                  <c:v>14.420868243243241</c:v>
                </c:pt>
                <c:pt idx="3177">
                  <c:v>14.420868243243241</c:v>
                </c:pt>
                <c:pt idx="3178">
                  <c:v>14.420868243243241</c:v>
                </c:pt>
                <c:pt idx="3179">
                  <c:v>14.420868243243241</c:v>
                </c:pt>
                <c:pt idx="3180">
                  <c:v>14.420868243243241</c:v>
                </c:pt>
                <c:pt idx="3181">
                  <c:v>14.420868243243241</c:v>
                </c:pt>
                <c:pt idx="3182">
                  <c:v>14.420868243243241</c:v>
                </c:pt>
                <c:pt idx="3183">
                  <c:v>14.420868243243241</c:v>
                </c:pt>
                <c:pt idx="3184">
                  <c:v>14.420868243243241</c:v>
                </c:pt>
                <c:pt idx="3185">
                  <c:v>14.420868243243241</c:v>
                </c:pt>
                <c:pt idx="3186">
                  <c:v>14.420868243243241</c:v>
                </c:pt>
                <c:pt idx="3187">
                  <c:v>14.420868243243241</c:v>
                </c:pt>
                <c:pt idx="3188">
                  <c:v>14.420868243243241</c:v>
                </c:pt>
                <c:pt idx="3189">
                  <c:v>14.420868243243241</c:v>
                </c:pt>
                <c:pt idx="3190">
                  <c:v>14.420868243243241</c:v>
                </c:pt>
                <c:pt idx="3191">
                  <c:v>14.420868243243241</c:v>
                </c:pt>
                <c:pt idx="3192">
                  <c:v>14.420868243243241</c:v>
                </c:pt>
                <c:pt idx="3193">
                  <c:v>14.420868243243241</c:v>
                </c:pt>
                <c:pt idx="3194">
                  <c:v>14.420868243243241</c:v>
                </c:pt>
                <c:pt idx="3195">
                  <c:v>14.420868243243241</c:v>
                </c:pt>
                <c:pt idx="3196">
                  <c:v>14.420868243243241</c:v>
                </c:pt>
                <c:pt idx="3197">
                  <c:v>14.420868243243241</c:v>
                </c:pt>
                <c:pt idx="3198">
                  <c:v>14.420868243243241</c:v>
                </c:pt>
                <c:pt idx="3199">
                  <c:v>14.420868243243241</c:v>
                </c:pt>
                <c:pt idx="3200">
                  <c:v>14.420868243243241</c:v>
                </c:pt>
                <c:pt idx="3201">
                  <c:v>14.420868243243241</c:v>
                </c:pt>
                <c:pt idx="3202">
                  <c:v>14.420868243243241</c:v>
                </c:pt>
                <c:pt idx="3203">
                  <c:v>14.420868243243241</c:v>
                </c:pt>
                <c:pt idx="3204">
                  <c:v>14.420868243243241</c:v>
                </c:pt>
                <c:pt idx="3205">
                  <c:v>14.420868243243241</c:v>
                </c:pt>
                <c:pt idx="3206">
                  <c:v>14.420868243243241</c:v>
                </c:pt>
                <c:pt idx="3207">
                  <c:v>14.420868243243241</c:v>
                </c:pt>
                <c:pt idx="3208">
                  <c:v>14.420868243243241</c:v>
                </c:pt>
                <c:pt idx="3209">
                  <c:v>14.420868243243241</c:v>
                </c:pt>
                <c:pt idx="3210">
                  <c:v>14.420868243243241</c:v>
                </c:pt>
                <c:pt idx="3211">
                  <c:v>14.420868243243241</c:v>
                </c:pt>
                <c:pt idx="3212">
                  <c:v>14.420868243243241</c:v>
                </c:pt>
                <c:pt idx="3213">
                  <c:v>14.420868243243241</c:v>
                </c:pt>
                <c:pt idx="3214">
                  <c:v>14.420868243243241</c:v>
                </c:pt>
                <c:pt idx="3215">
                  <c:v>14.420868243243241</c:v>
                </c:pt>
                <c:pt idx="3216">
                  <c:v>14.420868243243241</c:v>
                </c:pt>
                <c:pt idx="3217">
                  <c:v>14.420868243243241</c:v>
                </c:pt>
                <c:pt idx="3218">
                  <c:v>14.420868243243241</c:v>
                </c:pt>
                <c:pt idx="3219">
                  <c:v>14.420868243243241</c:v>
                </c:pt>
                <c:pt idx="3220">
                  <c:v>14.420868243243241</c:v>
                </c:pt>
                <c:pt idx="3221">
                  <c:v>14.420868243243241</c:v>
                </c:pt>
                <c:pt idx="3222">
                  <c:v>14.420868243243241</c:v>
                </c:pt>
                <c:pt idx="3223">
                  <c:v>14.420868243243241</c:v>
                </c:pt>
                <c:pt idx="3224">
                  <c:v>14.420868243243241</c:v>
                </c:pt>
                <c:pt idx="3225">
                  <c:v>14.420868243243241</c:v>
                </c:pt>
                <c:pt idx="3226">
                  <c:v>14.420868243243241</c:v>
                </c:pt>
                <c:pt idx="3227">
                  <c:v>14.420868243243241</c:v>
                </c:pt>
                <c:pt idx="3228">
                  <c:v>14.420868243243241</c:v>
                </c:pt>
                <c:pt idx="3229">
                  <c:v>14.420868243243241</c:v>
                </c:pt>
                <c:pt idx="3230">
                  <c:v>14.420868243243241</c:v>
                </c:pt>
                <c:pt idx="3231">
                  <c:v>14.420868243243241</c:v>
                </c:pt>
                <c:pt idx="3232">
                  <c:v>14.420868243243241</c:v>
                </c:pt>
                <c:pt idx="3233">
                  <c:v>14.420868243243241</c:v>
                </c:pt>
                <c:pt idx="3234">
                  <c:v>14.420868243243241</c:v>
                </c:pt>
                <c:pt idx="3235">
                  <c:v>14.420868243243241</c:v>
                </c:pt>
                <c:pt idx="3236">
                  <c:v>14.420868243243241</c:v>
                </c:pt>
                <c:pt idx="3237">
                  <c:v>14.420868243243241</c:v>
                </c:pt>
                <c:pt idx="3238">
                  <c:v>14.420868243243241</c:v>
                </c:pt>
                <c:pt idx="3239">
                  <c:v>14.420868243243241</c:v>
                </c:pt>
                <c:pt idx="3240">
                  <c:v>14.420868243243241</c:v>
                </c:pt>
                <c:pt idx="3241">
                  <c:v>14.420868243243241</c:v>
                </c:pt>
                <c:pt idx="3242">
                  <c:v>14.420868243243241</c:v>
                </c:pt>
                <c:pt idx="3243">
                  <c:v>14.420868243243241</c:v>
                </c:pt>
                <c:pt idx="3244">
                  <c:v>14.420868243243241</c:v>
                </c:pt>
                <c:pt idx="3245">
                  <c:v>14.420868243243241</c:v>
                </c:pt>
                <c:pt idx="3246">
                  <c:v>14.420868243243241</c:v>
                </c:pt>
                <c:pt idx="3247">
                  <c:v>14.420868243243241</c:v>
                </c:pt>
                <c:pt idx="3248">
                  <c:v>14.420868243243241</c:v>
                </c:pt>
                <c:pt idx="3249">
                  <c:v>14.420868243243241</c:v>
                </c:pt>
                <c:pt idx="3250">
                  <c:v>14.420868243243241</c:v>
                </c:pt>
                <c:pt idx="3251">
                  <c:v>14.420868243243241</c:v>
                </c:pt>
                <c:pt idx="3252">
                  <c:v>14.420868243243241</c:v>
                </c:pt>
                <c:pt idx="3253">
                  <c:v>14.420868243243241</c:v>
                </c:pt>
                <c:pt idx="3254">
                  <c:v>14.420868243243241</c:v>
                </c:pt>
                <c:pt idx="3255">
                  <c:v>14.420868243243241</c:v>
                </c:pt>
                <c:pt idx="3256">
                  <c:v>14.420868243243241</c:v>
                </c:pt>
                <c:pt idx="3257">
                  <c:v>14.420868243243241</c:v>
                </c:pt>
                <c:pt idx="3258">
                  <c:v>14.420868243243241</c:v>
                </c:pt>
                <c:pt idx="3259">
                  <c:v>14.420868243243241</c:v>
                </c:pt>
                <c:pt idx="3260">
                  <c:v>14.420868243243241</c:v>
                </c:pt>
                <c:pt idx="3261">
                  <c:v>14.420868243243241</c:v>
                </c:pt>
                <c:pt idx="3262">
                  <c:v>14.420868243243241</c:v>
                </c:pt>
                <c:pt idx="3263">
                  <c:v>14.420868243243241</c:v>
                </c:pt>
                <c:pt idx="3264">
                  <c:v>14.420868243243241</c:v>
                </c:pt>
                <c:pt idx="3265">
                  <c:v>14.420868243243241</c:v>
                </c:pt>
                <c:pt idx="3266">
                  <c:v>14.420868243243241</c:v>
                </c:pt>
                <c:pt idx="3267">
                  <c:v>14.420868243243241</c:v>
                </c:pt>
                <c:pt idx="3268">
                  <c:v>14.420868243243241</c:v>
                </c:pt>
                <c:pt idx="3269">
                  <c:v>14.420868243243241</c:v>
                </c:pt>
                <c:pt idx="3270">
                  <c:v>14.420868243243241</c:v>
                </c:pt>
                <c:pt idx="3271">
                  <c:v>14.420868243243241</c:v>
                </c:pt>
                <c:pt idx="3272">
                  <c:v>14.420868243243241</c:v>
                </c:pt>
                <c:pt idx="3273">
                  <c:v>14.420868243243241</c:v>
                </c:pt>
                <c:pt idx="3274">
                  <c:v>14.420868243243241</c:v>
                </c:pt>
                <c:pt idx="3275">
                  <c:v>14.420868243243241</c:v>
                </c:pt>
                <c:pt idx="3276">
                  <c:v>14.420868243243241</c:v>
                </c:pt>
                <c:pt idx="3277">
                  <c:v>14.420868243243241</c:v>
                </c:pt>
                <c:pt idx="3278">
                  <c:v>14.420868243243241</c:v>
                </c:pt>
                <c:pt idx="3279">
                  <c:v>14.420868243243241</c:v>
                </c:pt>
                <c:pt idx="3280">
                  <c:v>14.420868243243241</c:v>
                </c:pt>
                <c:pt idx="3281">
                  <c:v>14.420868243243241</c:v>
                </c:pt>
                <c:pt idx="3282">
                  <c:v>14.420868243243241</c:v>
                </c:pt>
                <c:pt idx="3283">
                  <c:v>14.420868243243241</c:v>
                </c:pt>
                <c:pt idx="3284">
                  <c:v>14.420868243243241</c:v>
                </c:pt>
                <c:pt idx="3285">
                  <c:v>14.420868243243241</c:v>
                </c:pt>
                <c:pt idx="3286">
                  <c:v>14.420868243243241</c:v>
                </c:pt>
                <c:pt idx="3287">
                  <c:v>14.420868243243241</c:v>
                </c:pt>
                <c:pt idx="3288">
                  <c:v>14.420868243243241</c:v>
                </c:pt>
                <c:pt idx="3289">
                  <c:v>14.420868243243241</c:v>
                </c:pt>
                <c:pt idx="3290">
                  <c:v>14.420868243243241</c:v>
                </c:pt>
                <c:pt idx="3291">
                  <c:v>14.420868243243241</c:v>
                </c:pt>
                <c:pt idx="3292">
                  <c:v>14.420868243243241</c:v>
                </c:pt>
                <c:pt idx="3293">
                  <c:v>14.420868243243241</c:v>
                </c:pt>
                <c:pt idx="3294">
                  <c:v>14.420868243243241</c:v>
                </c:pt>
                <c:pt idx="3295">
                  <c:v>14.420868243243241</c:v>
                </c:pt>
                <c:pt idx="3296">
                  <c:v>14.420868243243241</c:v>
                </c:pt>
                <c:pt idx="3297">
                  <c:v>14.420868243243241</c:v>
                </c:pt>
                <c:pt idx="3298">
                  <c:v>14.420868243243241</c:v>
                </c:pt>
                <c:pt idx="3299">
                  <c:v>14.420868243243241</c:v>
                </c:pt>
                <c:pt idx="3300">
                  <c:v>14.420868243243241</c:v>
                </c:pt>
                <c:pt idx="3301">
                  <c:v>14.420868243243241</c:v>
                </c:pt>
                <c:pt idx="3302">
                  <c:v>14.420868243243241</c:v>
                </c:pt>
                <c:pt idx="3303">
                  <c:v>14.420868243243241</c:v>
                </c:pt>
                <c:pt idx="3304">
                  <c:v>14.420868243243241</c:v>
                </c:pt>
                <c:pt idx="3305">
                  <c:v>14.420868243243241</c:v>
                </c:pt>
                <c:pt idx="3306">
                  <c:v>14.420868243243241</c:v>
                </c:pt>
                <c:pt idx="3307">
                  <c:v>14.420868243243241</c:v>
                </c:pt>
                <c:pt idx="3308">
                  <c:v>14.420868243243241</c:v>
                </c:pt>
                <c:pt idx="3309">
                  <c:v>14.420868243243241</c:v>
                </c:pt>
                <c:pt idx="3310">
                  <c:v>14.420868243243241</c:v>
                </c:pt>
                <c:pt idx="3311">
                  <c:v>14.420868243243241</c:v>
                </c:pt>
                <c:pt idx="3312">
                  <c:v>14.420868243243241</c:v>
                </c:pt>
                <c:pt idx="3313">
                  <c:v>14.420868243243241</c:v>
                </c:pt>
                <c:pt idx="3314">
                  <c:v>14.420868243243241</c:v>
                </c:pt>
                <c:pt idx="3315">
                  <c:v>14.420868243243241</c:v>
                </c:pt>
                <c:pt idx="3316">
                  <c:v>14.420868243243241</c:v>
                </c:pt>
                <c:pt idx="3317">
                  <c:v>14.420868243243241</c:v>
                </c:pt>
                <c:pt idx="3318">
                  <c:v>14.420868243243241</c:v>
                </c:pt>
                <c:pt idx="3319">
                  <c:v>14.420868243243241</c:v>
                </c:pt>
                <c:pt idx="3320">
                  <c:v>14.420868243243241</c:v>
                </c:pt>
                <c:pt idx="3321">
                  <c:v>14.420868243243241</c:v>
                </c:pt>
                <c:pt idx="3322">
                  <c:v>14.420868243243241</c:v>
                </c:pt>
                <c:pt idx="3323">
                  <c:v>14.420868243243241</c:v>
                </c:pt>
                <c:pt idx="3324">
                  <c:v>14.420868243243241</c:v>
                </c:pt>
                <c:pt idx="3325">
                  <c:v>14.420868243243241</c:v>
                </c:pt>
                <c:pt idx="3326">
                  <c:v>14.420868243243241</c:v>
                </c:pt>
                <c:pt idx="3327">
                  <c:v>14.420868243243241</c:v>
                </c:pt>
                <c:pt idx="3328">
                  <c:v>14.420868243243241</c:v>
                </c:pt>
                <c:pt idx="3329">
                  <c:v>14.420868243243241</c:v>
                </c:pt>
                <c:pt idx="3330">
                  <c:v>14.420868243243241</c:v>
                </c:pt>
                <c:pt idx="3331">
                  <c:v>14.420868243243241</c:v>
                </c:pt>
                <c:pt idx="3332">
                  <c:v>14.420868243243241</c:v>
                </c:pt>
                <c:pt idx="3333">
                  <c:v>14.420868243243241</c:v>
                </c:pt>
                <c:pt idx="3334">
                  <c:v>14.420868243243241</c:v>
                </c:pt>
                <c:pt idx="3335">
                  <c:v>14.420868243243241</c:v>
                </c:pt>
                <c:pt idx="3336">
                  <c:v>14.420868243243241</c:v>
                </c:pt>
                <c:pt idx="3337">
                  <c:v>14.420868243243241</c:v>
                </c:pt>
                <c:pt idx="3338">
                  <c:v>14.420868243243241</c:v>
                </c:pt>
                <c:pt idx="3339">
                  <c:v>14.420868243243241</c:v>
                </c:pt>
                <c:pt idx="3340">
                  <c:v>14.420868243243241</c:v>
                </c:pt>
                <c:pt idx="3341">
                  <c:v>14.420868243243241</c:v>
                </c:pt>
                <c:pt idx="3342">
                  <c:v>14.420868243243241</c:v>
                </c:pt>
                <c:pt idx="3343">
                  <c:v>14.420868243243241</c:v>
                </c:pt>
                <c:pt idx="3344">
                  <c:v>14.420868243243241</c:v>
                </c:pt>
                <c:pt idx="3345">
                  <c:v>14.420868243243241</c:v>
                </c:pt>
                <c:pt idx="3346">
                  <c:v>14.420868243243241</c:v>
                </c:pt>
                <c:pt idx="3347">
                  <c:v>14.420868243243241</c:v>
                </c:pt>
                <c:pt idx="3348">
                  <c:v>14.420868243243241</c:v>
                </c:pt>
                <c:pt idx="3349">
                  <c:v>14.420868243243241</c:v>
                </c:pt>
                <c:pt idx="3350">
                  <c:v>14.420868243243241</c:v>
                </c:pt>
                <c:pt idx="3351">
                  <c:v>14.420868243243241</c:v>
                </c:pt>
                <c:pt idx="3352">
                  <c:v>14.420868243243241</c:v>
                </c:pt>
                <c:pt idx="3353">
                  <c:v>14.420868243243241</c:v>
                </c:pt>
                <c:pt idx="3354">
                  <c:v>14.420868243243241</c:v>
                </c:pt>
                <c:pt idx="3355">
                  <c:v>14.420868243243241</c:v>
                </c:pt>
                <c:pt idx="3356">
                  <c:v>14.420868243243241</c:v>
                </c:pt>
                <c:pt idx="3357">
                  <c:v>14.420868243243241</c:v>
                </c:pt>
                <c:pt idx="3358">
                  <c:v>14.420868243243241</c:v>
                </c:pt>
                <c:pt idx="3359">
                  <c:v>14.420868243243241</c:v>
                </c:pt>
                <c:pt idx="3360">
                  <c:v>14.420868243243241</c:v>
                </c:pt>
                <c:pt idx="3361">
                  <c:v>14.420868243243241</c:v>
                </c:pt>
                <c:pt idx="3362">
                  <c:v>14.420868243243241</c:v>
                </c:pt>
                <c:pt idx="3363">
                  <c:v>14.420868243243241</c:v>
                </c:pt>
                <c:pt idx="3364">
                  <c:v>14.420868243243241</c:v>
                </c:pt>
                <c:pt idx="3365">
                  <c:v>14.420868243243241</c:v>
                </c:pt>
                <c:pt idx="3366">
                  <c:v>14.420868243243241</c:v>
                </c:pt>
                <c:pt idx="3367">
                  <c:v>14.420868243243241</c:v>
                </c:pt>
                <c:pt idx="3368">
                  <c:v>14.420868243243241</c:v>
                </c:pt>
                <c:pt idx="3369">
                  <c:v>14.420868243243241</c:v>
                </c:pt>
                <c:pt idx="3370">
                  <c:v>14.420868243243241</c:v>
                </c:pt>
                <c:pt idx="3371">
                  <c:v>14.420868243243241</c:v>
                </c:pt>
                <c:pt idx="3372">
                  <c:v>14.420868243243241</c:v>
                </c:pt>
                <c:pt idx="3373">
                  <c:v>14.420868243243241</c:v>
                </c:pt>
                <c:pt idx="3374">
                  <c:v>14.420868243243241</c:v>
                </c:pt>
                <c:pt idx="3375">
                  <c:v>14.420868243243241</c:v>
                </c:pt>
                <c:pt idx="3376">
                  <c:v>14.420868243243241</c:v>
                </c:pt>
                <c:pt idx="3377">
                  <c:v>14.420868243243241</c:v>
                </c:pt>
                <c:pt idx="3378">
                  <c:v>14.420868243243241</c:v>
                </c:pt>
                <c:pt idx="3379">
                  <c:v>14.420868243243241</c:v>
                </c:pt>
                <c:pt idx="3380">
                  <c:v>14.420868243243241</c:v>
                </c:pt>
                <c:pt idx="3381">
                  <c:v>14.420868243243241</c:v>
                </c:pt>
                <c:pt idx="3382">
                  <c:v>14.420868243243241</c:v>
                </c:pt>
                <c:pt idx="3383">
                  <c:v>14.420868243243241</c:v>
                </c:pt>
                <c:pt idx="3384">
                  <c:v>14.420868243243241</c:v>
                </c:pt>
                <c:pt idx="3385">
                  <c:v>14.420868243243241</c:v>
                </c:pt>
                <c:pt idx="3386">
                  <c:v>14.420868243243241</c:v>
                </c:pt>
                <c:pt idx="3387">
                  <c:v>14.420868243243241</c:v>
                </c:pt>
                <c:pt idx="3388">
                  <c:v>14.420868243243241</c:v>
                </c:pt>
                <c:pt idx="3389">
                  <c:v>14.420868243243241</c:v>
                </c:pt>
                <c:pt idx="3390">
                  <c:v>14.420868243243241</c:v>
                </c:pt>
                <c:pt idx="3391">
                  <c:v>14.420868243243241</c:v>
                </c:pt>
                <c:pt idx="3392">
                  <c:v>14.420868243243241</c:v>
                </c:pt>
                <c:pt idx="3393">
                  <c:v>14.420868243243241</c:v>
                </c:pt>
                <c:pt idx="3394">
                  <c:v>14.420868243243241</c:v>
                </c:pt>
                <c:pt idx="3395">
                  <c:v>14.420868243243241</c:v>
                </c:pt>
                <c:pt idx="3396">
                  <c:v>14.420868243243241</c:v>
                </c:pt>
                <c:pt idx="3397">
                  <c:v>14.420868243243241</c:v>
                </c:pt>
                <c:pt idx="3398">
                  <c:v>14.420868243243241</c:v>
                </c:pt>
                <c:pt idx="3399">
                  <c:v>14.420868243243241</c:v>
                </c:pt>
                <c:pt idx="3400">
                  <c:v>14.420868243243241</c:v>
                </c:pt>
                <c:pt idx="3401">
                  <c:v>14.420868243243241</c:v>
                </c:pt>
                <c:pt idx="3402">
                  <c:v>14.420868243243241</c:v>
                </c:pt>
                <c:pt idx="3403">
                  <c:v>14.420868243243241</c:v>
                </c:pt>
                <c:pt idx="3404">
                  <c:v>14.420868243243241</c:v>
                </c:pt>
                <c:pt idx="3405">
                  <c:v>14.420868243243241</c:v>
                </c:pt>
                <c:pt idx="3406">
                  <c:v>14.420868243243241</c:v>
                </c:pt>
                <c:pt idx="3407">
                  <c:v>14.420868243243241</c:v>
                </c:pt>
                <c:pt idx="3408">
                  <c:v>14.420868243243241</c:v>
                </c:pt>
                <c:pt idx="3409">
                  <c:v>14.420868243243241</c:v>
                </c:pt>
                <c:pt idx="3410">
                  <c:v>14.420868243243241</c:v>
                </c:pt>
                <c:pt idx="3411">
                  <c:v>14.420868243243241</c:v>
                </c:pt>
                <c:pt idx="3412">
                  <c:v>14.420868243243241</c:v>
                </c:pt>
                <c:pt idx="3413">
                  <c:v>14.420868243243241</c:v>
                </c:pt>
                <c:pt idx="3414">
                  <c:v>14.420868243243241</c:v>
                </c:pt>
                <c:pt idx="3415">
                  <c:v>14.420868243243241</c:v>
                </c:pt>
                <c:pt idx="3416">
                  <c:v>14.420868243243241</c:v>
                </c:pt>
                <c:pt idx="3417">
                  <c:v>14.420868243243241</c:v>
                </c:pt>
                <c:pt idx="3418">
                  <c:v>14.420868243243241</c:v>
                </c:pt>
                <c:pt idx="3419">
                  <c:v>14.420868243243241</c:v>
                </c:pt>
                <c:pt idx="3420">
                  <c:v>14.420868243243241</c:v>
                </c:pt>
                <c:pt idx="3421">
                  <c:v>14.420868243243241</c:v>
                </c:pt>
                <c:pt idx="3422">
                  <c:v>14.420868243243241</c:v>
                </c:pt>
                <c:pt idx="3423">
                  <c:v>14.420868243243241</c:v>
                </c:pt>
                <c:pt idx="3424">
                  <c:v>14.420868243243241</c:v>
                </c:pt>
                <c:pt idx="3425">
                  <c:v>14.420868243243241</c:v>
                </c:pt>
                <c:pt idx="3426">
                  <c:v>14.420868243243241</c:v>
                </c:pt>
                <c:pt idx="3427">
                  <c:v>14.420868243243241</c:v>
                </c:pt>
                <c:pt idx="3428">
                  <c:v>14.420868243243241</c:v>
                </c:pt>
                <c:pt idx="3429">
                  <c:v>14.420868243243241</c:v>
                </c:pt>
                <c:pt idx="3430">
                  <c:v>14.420868243243241</c:v>
                </c:pt>
                <c:pt idx="3431">
                  <c:v>14.420868243243241</c:v>
                </c:pt>
                <c:pt idx="3432">
                  <c:v>14.420868243243241</c:v>
                </c:pt>
                <c:pt idx="3433">
                  <c:v>14.420868243243241</c:v>
                </c:pt>
                <c:pt idx="3434">
                  <c:v>14.420868243243241</c:v>
                </c:pt>
                <c:pt idx="3435">
                  <c:v>14.420868243243241</c:v>
                </c:pt>
                <c:pt idx="3436">
                  <c:v>14.420868243243241</c:v>
                </c:pt>
                <c:pt idx="3437">
                  <c:v>14.420868243243241</c:v>
                </c:pt>
                <c:pt idx="3438">
                  <c:v>14.420868243243241</c:v>
                </c:pt>
                <c:pt idx="3439">
                  <c:v>14.420868243243241</c:v>
                </c:pt>
                <c:pt idx="3440">
                  <c:v>14.420868243243241</c:v>
                </c:pt>
                <c:pt idx="3441">
                  <c:v>14.420868243243241</c:v>
                </c:pt>
                <c:pt idx="3442">
                  <c:v>14.420868243243241</c:v>
                </c:pt>
                <c:pt idx="3443">
                  <c:v>14.420868243243241</c:v>
                </c:pt>
                <c:pt idx="3444">
                  <c:v>14.420868243243241</c:v>
                </c:pt>
                <c:pt idx="3445">
                  <c:v>14.420868243243241</c:v>
                </c:pt>
                <c:pt idx="3446">
                  <c:v>14.420868243243241</c:v>
                </c:pt>
                <c:pt idx="3447">
                  <c:v>14.420868243243241</c:v>
                </c:pt>
                <c:pt idx="3448">
                  <c:v>14.420868243243241</c:v>
                </c:pt>
                <c:pt idx="3449">
                  <c:v>14.420868243243241</c:v>
                </c:pt>
                <c:pt idx="3450">
                  <c:v>14.420868243243241</c:v>
                </c:pt>
                <c:pt idx="3451">
                  <c:v>14.420868243243241</c:v>
                </c:pt>
                <c:pt idx="3452">
                  <c:v>14.420868243243241</c:v>
                </c:pt>
                <c:pt idx="3453">
                  <c:v>14.420868243243241</c:v>
                </c:pt>
                <c:pt idx="3454">
                  <c:v>14.420868243243241</c:v>
                </c:pt>
                <c:pt idx="3455">
                  <c:v>14.420868243243241</c:v>
                </c:pt>
                <c:pt idx="3456">
                  <c:v>14.420868243243241</c:v>
                </c:pt>
                <c:pt idx="3457">
                  <c:v>14.420868243243241</c:v>
                </c:pt>
                <c:pt idx="3458">
                  <c:v>14.420868243243241</c:v>
                </c:pt>
                <c:pt idx="3459">
                  <c:v>14.420868243243241</c:v>
                </c:pt>
                <c:pt idx="3460">
                  <c:v>14.420868243243241</c:v>
                </c:pt>
                <c:pt idx="3461">
                  <c:v>14.420868243243241</c:v>
                </c:pt>
                <c:pt idx="3462">
                  <c:v>14.420868243243241</c:v>
                </c:pt>
                <c:pt idx="3463">
                  <c:v>14.420868243243241</c:v>
                </c:pt>
                <c:pt idx="3464">
                  <c:v>14.420868243243241</c:v>
                </c:pt>
                <c:pt idx="3465">
                  <c:v>14.420868243243241</c:v>
                </c:pt>
                <c:pt idx="3466">
                  <c:v>14.420868243243241</c:v>
                </c:pt>
                <c:pt idx="3467">
                  <c:v>14.420868243243241</c:v>
                </c:pt>
                <c:pt idx="3468">
                  <c:v>14.420868243243241</c:v>
                </c:pt>
                <c:pt idx="3469">
                  <c:v>14.420868243243241</c:v>
                </c:pt>
                <c:pt idx="3470">
                  <c:v>14.420868243243241</c:v>
                </c:pt>
                <c:pt idx="3471">
                  <c:v>14.420868243243241</c:v>
                </c:pt>
                <c:pt idx="3472">
                  <c:v>14.420868243243241</c:v>
                </c:pt>
                <c:pt idx="3473">
                  <c:v>14.420868243243241</c:v>
                </c:pt>
                <c:pt idx="3474">
                  <c:v>14.420868243243241</c:v>
                </c:pt>
                <c:pt idx="3475">
                  <c:v>14.420868243243241</c:v>
                </c:pt>
                <c:pt idx="3476">
                  <c:v>14.420868243243241</c:v>
                </c:pt>
                <c:pt idx="3477">
                  <c:v>14.420868243243241</c:v>
                </c:pt>
                <c:pt idx="3478">
                  <c:v>14.420868243243241</c:v>
                </c:pt>
                <c:pt idx="3479">
                  <c:v>14.420868243243241</c:v>
                </c:pt>
                <c:pt idx="3480">
                  <c:v>14.420868243243241</c:v>
                </c:pt>
                <c:pt idx="3481">
                  <c:v>14.420868243243241</c:v>
                </c:pt>
                <c:pt idx="3482">
                  <c:v>14.420868243243241</c:v>
                </c:pt>
                <c:pt idx="3483">
                  <c:v>14.420868243243241</c:v>
                </c:pt>
                <c:pt idx="3484">
                  <c:v>14.420868243243241</c:v>
                </c:pt>
                <c:pt idx="3485">
                  <c:v>14.420868243243241</c:v>
                </c:pt>
                <c:pt idx="3486">
                  <c:v>14.420868243243241</c:v>
                </c:pt>
                <c:pt idx="3487">
                  <c:v>14.420868243243241</c:v>
                </c:pt>
                <c:pt idx="3488">
                  <c:v>14.420868243243241</c:v>
                </c:pt>
                <c:pt idx="3489">
                  <c:v>14.420868243243241</c:v>
                </c:pt>
                <c:pt idx="3490">
                  <c:v>14.420868243243241</c:v>
                </c:pt>
                <c:pt idx="3491">
                  <c:v>14.420868243243241</c:v>
                </c:pt>
                <c:pt idx="3492">
                  <c:v>14.420868243243241</c:v>
                </c:pt>
                <c:pt idx="3493">
                  <c:v>14.420868243243241</c:v>
                </c:pt>
                <c:pt idx="3494">
                  <c:v>14.420868243243241</c:v>
                </c:pt>
                <c:pt idx="3495">
                  <c:v>14.420868243243241</c:v>
                </c:pt>
                <c:pt idx="3496">
                  <c:v>14.420868243243241</c:v>
                </c:pt>
                <c:pt idx="3497">
                  <c:v>14.420868243243241</c:v>
                </c:pt>
                <c:pt idx="3498">
                  <c:v>14.420868243243241</c:v>
                </c:pt>
                <c:pt idx="3499">
                  <c:v>14.420868243243241</c:v>
                </c:pt>
                <c:pt idx="3500">
                  <c:v>14.420868243243241</c:v>
                </c:pt>
                <c:pt idx="3501">
                  <c:v>14.420868243243241</c:v>
                </c:pt>
                <c:pt idx="3502">
                  <c:v>14.420868243243241</c:v>
                </c:pt>
                <c:pt idx="3503">
                  <c:v>14.420868243243241</c:v>
                </c:pt>
                <c:pt idx="3504">
                  <c:v>14.420868243243241</c:v>
                </c:pt>
                <c:pt idx="3505">
                  <c:v>14.420868243243241</c:v>
                </c:pt>
                <c:pt idx="3506">
                  <c:v>14.420868243243241</c:v>
                </c:pt>
                <c:pt idx="3507">
                  <c:v>14.420868243243241</c:v>
                </c:pt>
                <c:pt idx="3508">
                  <c:v>14.420868243243241</c:v>
                </c:pt>
                <c:pt idx="3509">
                  <c:v>14.420868243243241</c:v>
                </c:pt>
                <c:pt idx="3510">
                  <c:v>14.420868243243241</c:v>
                </c:pt>
                <c:pt idx="3511">
                  <c:v>14.420868243243241</c:v>
                </c:pt>
                <c:pt idx="3512">
                  <c:v>14.420868243243241</c:v>
                </c:pt>
                <c:pt idx="3513">
                  <c:v>14.420868243243241</c:v>
                </c:pt>
                <c:pt idx="3514">
                  <c:v>14.420868243243241</c:v>
                </c:pt>
                <c:pt idx="3515">
                  <c:v>14.420868243243241</c:v>
                </c:pt>
                <c:pt idx="3516">
                  <c:v>14.420868243243241</c:v>
                </c:pt>
                <c:pt idx="3517">
                  <c:v>14.420868243243241</c:v>
                </c:pt>
                <c:pt idx="3518">
                  <c:v>14.420868243243241</c:v>
                </c:pt>
                <c:pt idx="3519">
                  <c:v>14.420868243243241</c:v>
                </c:pt>
                <c:pt idx="3520">
                  <c:v>14.420868243243241</c:v>
                </c:pt>
                <c:pt idx="3521">
                  <c:v>14.420868243243241</c:v>
                </c:pt>
                <c:pt idx="3522">
                  <c:v>14.420868243243241</c:v>
                </c:pt>
                <c:pt idx="3523">
                  <c:v>14.420868243243241</c:v>
                </c:pt>
                <c:pt idx="3524">
                  <c:v>14.420868243243241</c:v>
                </c:pt>
                <c:pt idx="3525">
                  <c:v>14.420868243243241</c:v>
                </c:pt>
                <c:pt idx="3526">
                  <c:v>14.420868243243241</c:v>
                </c:pt>
                <c:pt idx="3527">
                  <c:v>14.420868243243241</c:v>
                </c:pt>
                <c:pt idx="3528">
                  <c:v>14.420868243243241</c:v>
                </c:pt>
                <c:pt idx="3529">
                  <c:v>14.420868243243241</c:v>
                </c:pt>
                <c:pt idx="3530">
                  <c:v>14.420868243243241</c:v>
                </c:pt>
                <c:pt idx="3531">
                  <c:v>14.420868243243241</c:v>
                </c:pt>
                <c:pt idx="3532">
                  <c:v>14.420868243243241</c:v>
                </c:pt>
                <c:pt idx="3533">
                  <c:v>14.420868243243241</c:v>
                </c:pt>
                <c:pt idx="3534">
                  <c:v>14.420868243243241</c:v>
                </c:pt>
                <c:pt idx="3535">
                  <c:v>14.420868243243241</c:v>
                </c:pt>
                <c:pt idx="3536">
                  <c:v>14.420868243243241</c:v>
                </c:pt>
                <c:pt idx="3537">
                  <c:v>14.420868243243241</c:v>
                </c:pt>
                <c:pt idx="3538">
                  <c:v>14.420868243243241</c:v>
                </c:pt>
                <c:pt idx="3539">
                  <c:v>14.420868243243241</c:v>
                </c:pt>
                <c:pt idx="3540">
                  <c:v>14.420868243243241</c:v>
                </c:pt>
                <c:pt idx="3541">
                  <c:v>14.420868243243241</c:v>
                </c:pt>
                <c:pt idx="3542">
                  <c:v>14.420868243243241</c:v>
                </c:pt>
                <c:pt idx="3543">
                  <c:v>14.420868243243241</c:v>
                </c:pt>
                <c:pt idx="3544">
                  <c:v>14.420868243243241</c:v>
                </c:pt>
                <c:pt idx="3545">
                  <c:v>14.420868243243241</c:v>
                </c:pt>
                <c:pt idx="3546">
                  <c:v>14.420868243243241</c:v>
                </c:pt>
                <c:pt idx="3547">
                  <c:v>14.420868243243241</c:v>
                </c:pt>
                <c:pt idx="3548">
                  <c:v>14.420868243243241</c:v>
                </c:pt>
                <c:pt idx="3549">
                  <c:v>14.420868243243241</c:v>
                </c:pt>
                <c:pt idx="3550">
                  <c:v>14.420868243243241</c:v>
                </c:pt>
                <c:pt idx="3551">
                  <c:v>14.420868243243241</c:v>
                </c:pt>
                <c:pt idx="3552">
                  <c:v>14.420868243243241</c:v>
                </c:pt>
                <c:pt idx="3553">
                  <c:v>14.420868243243241</c:v>
                </c:pt>
                <c:pt idx="3554">
                  <c:v>14.420868243243241</c:v>
                </c:pt>
                <c:pt idx="3555">
                  <c:v>14.420868243243241</c:v>
                </c:pt>
                <c:pt idx="3556">
                  <c:v>14.420868243243241</c:v>
                </c:pt>
                <c:pt idx="3557">
                  <c:v>14.420868243243241</c:v>
                </c:pt>
                <c:pt idx="3558">
                  <c:v>14.420868243243241</c:v>
                </c:pt>
                <c:pt idx="3559">
                  <c:v>14.420868243243241</c:v>
                </c:pt>
                <c:pt idx="3560">
                  <c:v>14.420868243243241</c:v>
                </c:pt>
                <c:pt idx="3561">
                  <c:v>14.420868243243241</c:v>
                </c:pt>
                <c:pt idx="3562">
                  <c:v>14.420868243243241</c:v>
                </c:pt>
                <c:pt idx="3563">
                  <c:v>14.420868243243241</c:v>
                </c:pt>
                <c:pt idx="3564">
                  <c:v>14.420868243243241</c:v>
                </c:pt>
                <c:pt idx="3565">
                  <c:v>14.420868243243241</c:v>
                </c:pt>
                <c:pt idx="3566">
                  <c:v>14.420868243243241</c:v>
                </c:pt>
                <c:pt idx="3567">
                  <c:v>14.420868243243241</c:v>
                </c:pt>
                <c:pt idx="3568">
                  <c:v>14.420868243243241</c:v>
                </c:pt>
                <c:pt idx="3569">
                  <c:v>14.420868243243241</c:v>
                </c:pt>
                <c:pt idx="3570">
                  <c:v>14.420868243243241</c:v>
                </c:pt>
                <c:pt idx="3571">
                  <c:v>14.420868243243241</c:v>
                </c:pt>
                <c:pt idx="3572">
                  <c:v>14.420868243243241</c:v>
                </c:pt>
                <c:pt idx="3573">
                  <c:v>14.420868243243241</c:v>
                </c:pt>
                <c:pt idx="3574">
                  <c:v>14.420868243243241</c:v>
                </c:pt>
                <c:pt idx="3575">
                  <c:v>14.420868243243241</c:v>
                </c:pt>
                <c:pt idx="3576">
                  <c:v>14.420868243243241</c:v>
                </c:pt>
                <c:pt idx="3577">
                  <c:v>14.420868243243241</c:v>
                </c:pt>
                <c:pt idx="3578">
                  <c:v>14.420868243243241</c:v>
                </c:pt>
                <c:pt idx="3579">
                  <c:v>14.420868243243241</c:v>
                </c:pt>
                <c:pt idx="3580">
                  <c:v>14.420868243243241</c:v>
                </c:pt>
                <c:pt idx="3581">
                  <c:v>14.420868243243241</c:v>
                </c:pt>
                <c:pt idx="3582">
                  <c:v>14.420868243243241</c:v>
                </c:pt>
                <c:pt idx="3583">
                  <c:v>14.420868243243241</c:v>
                </c:pt>
                <c:pt idx="3584">
                  <c:v>14.420868243243241</c:v>
                </c:pt>
                <c:pt idx="3585">
                  <c:v>14.420868243243241</c:v>
                </c:pt>
                <c:pt idx="3586">
                  <c:v>14.420868243243241</c:v>
                </c:pt>
                <c:pt idx="3587">
                  <c:v>14.420868243243241</c:v>
                </c:pt>
                <c:pt idx="3588">
                  <c:v>14.420868243243241</c:v>
                </c:pt>
                <c:pt idx="3589">
                  <c:v>14.420868243243241</c:v>
                </c:pt>
                <c:pt idx="3590">
                  <c:v>14.420868243243241</c:v>
                </c:pt>
                <c:pt idx="3591">
                  <c:v>14.420868243243241</c:v>
                </c:pt>
                <c:pt idx="3592">
                  <c:v>14.420868243243241</c:v>
                </c:pt>
                <c:pt idx="3593">
                  <c:v>14.420868243243241</c:v>
                </c:pt>
                <c:pt idx="3594">
                  <c:v>14.420868243243241</c:v>
                </c:pt>
                <c:pt idx="3595">
                  <c:v>14.420868243243241</c:v>
                </c:pt>
                <c:pt idx="3596">
                  <c:v>14.420868243243241</c:v>
                </c:pt>
                <c:pt idx="3597">
                  <c:v>14.420868243243241</c:v>
                </c:pt>
                <c:pt idx="3598">
                  <c:v>14.420868243243241</c:v>
                </c:pt>
                <c:pt idx="3599">
                  <c:v>14.420868243243241</c:v>
                </c:pt>
                <c:pt idx="3600">
                  <c:v>14.420868243243241</c:v>
                </c:pt>
                <c:pt idx="3601">
                  <c:v>14.420868243243241</c:v>
                </c:pt>
                <c:pt idx="3602">
                  <c:v>14.420868243243241</c:v>
                </c:pt>
                <c:pt idx="3603">
                  <c:v>14.420868243243241</c:v>
                </c:pt>
                <c:pt idx="3604">
                  <c:v>14.420868243243241</c:v>
                </c:pt>
                <c:pt idx="3605">
                  <c:v>14.420868243243241</c:v>
                </c:pt>
                <c:pt idx="3606">
                  <c:v>14.420868243243241</c:v>
                </c:pt>
                <c:pt idx="3607">
                  <c:v>14.420868243243241</c:v>
                </c:pt>
                <c:pt idx="3608">
                  <c:v>14.420868243243241</c:v>
                </c:pt>
                <c:pt idx="3609">
                  <c:v>14.420868243243241</c:v>
                </c:pt>
                <c:pt idx="3610">
                  <c:v>14.420868243243241</c:v>
                </c:pt>
                <c:pt idx="3611">
                  <c:v>14.420868243243241</c:v>
                </c:pt>
                <c:pt idx="3612">
                  <c:v>14.420868243243241</c:v>
                </c:pt>
                <c:pt idx="3613">
                  <c:v>14.420868243243241</c:v>
                </c:pt>
                <c:pt idx="3614">
                  <c:v>14.420868243243241</c:v>
                </c:pt>
                <c:pt idx="3615">
                  <c:v>14.420868243243241</c:v>
                </c:pt>
                <c:pt idx="3616">
                  <c:v>14.420868243243241</c:v>
                </c:pt>
                <c:pt idx="3617">
                  <c:v>14.420868243243241</c:v>
                </c:pt>
                <c:pt idx="3618">
                  <c:v>14.420868243243241</c:v>
                </c:pt>
                <c:pt idx="3619">
                  <c:v>14.420868243243241</c:v>
                </c:pt>
                <c:pt idx="3620">
                  <c:v>14.420868243243241</c:v>
                </c:pt>
                <c:pt idx="3621">
                  <c:v>14.420868243243241</c:v>
                </c:pt>
                <c:pt idx="3622">
                  <c:v>14.420868243243241</c:v>
                </c:pt>
                <c:pt idx="3623">
                  <c:v>14.420868243243241</c:v>
                </c:pt>
                <c:pt idx="3624">
                  <c:v>14.420868243243241</c:v>
                </c:pt>
                <c:pt idx="3625">
                  <c:v>14.420868243243241</c:v>
                </c:pt>
                <c:pt idx="3626">
                  <c:v>14.420868243243241</c:v>
                </c:pt>
                <c:pt idx="3627">
                  <c:v>14.420868243243241</c:v>
                </c:pt>
                <c:pt idx="3628">
                  <c:v>14.420868243243241</c:v>
                </c:pt>
                <c:pt idx="3629">
                  <c:v>14.420868243243241</c:v>
                </c:pt>
                <c:pt idx="3630">
                  <c:v>14.420868243243241</c:v>
                </c:pt>
                <c:pt idx="3631">
                  <c:v>14.420868243243241</c:v>
                </c:pt>
                <c:pt idx="3632">
                  <c:v>14.420868243243241</c:v>
                </c:pt>
                <c:pt idx="3633">
                  <c:v>14.420868243243241</c:v>
                </c:pt>
                <c:pt idx="3634">
                  <c:v>14.420868243243241</c:v>
                </c:pt>
                <c:pt idx="3635">
                  <c:v>14.420868243243241</c:v>
                </c:pt>
                <c:pt idx="3636">
                  <c:v>14.420868243243241</c:v>
                </c:pt>
                <c:pt idx="3637">
                  <c:v>14.420868243243241</c:v>
                </c:pt>
                <c:pt idx="3638">
                  <c:v>14.420868243243241</c:v>
                </c:pt>
                <c:pt idx="3639">
                  <c:v>14.420868243243241</c:v>
                </c:pt>
                <c:pt idx="3640">
                  <c:v>14.420868243243241</c:v>
                </c:pt>
                <c:pt idx="3641">
                  <c:v>14.420868243243241</c:v>
                </c:pt>
                <c:pt idx="3642">
                  <c:v>14.420868243243241</c:v>
                </c:pt>
                <c:pt idx="3643">
                  <c:v>14.420868243243241</c:v>
                </c:pt>
                <c:pt idx="3644">
                  <c:v>14.420868243243241</c:v>
                </c:pt>
                <c:pt idx="3645">
                  <c:v>14.420868243243241</c:v>
                </c:pt>
                <c:pt idx="3646">
                  <c:v>14.420868243243241</c:v>
                </c:pt>
                <c:pt idx="3647">
                  <c:v>14.420868243243241</c:v>
                </c:pt>
                <c:pt idx="3648">
                  <c:v>14.420868243243241</c:v>
                </c:pt>
                <c:pt idx="3649">
                  <c:v>14.420868243243241</c:v>
                </c:pt>
                <c:pt idx="3650">
                  <c:v>14.420868243243241</c:v>
                </c:pt>
                <c:pt idx="3651">
                  <c:v>14.420868243243241</c:v>
                </c:pt>
                <c:pt idx="3652">
                  <c:v>14.420868243243241</c:v>
                </c:pt>
                <c:pt idx="3653">
                  <c:v>14.420868243243241</c:v>
                </c:pt>
                <c:pt idx="3654">
                  <c:v>14.420868243243241</c:v>
                </c:pt>
                <c:pt idx="3655">
                  <c:v>14.420868243243241</c:v>
                </c:pt>
                <c:pt idx="3656">
                  <c:v>14.420868243243241</c:v>
                </c:pt>
                <c:pt idx="3657">
                  <c:v>14.420868243243241</c:v>
                </c:pt>
                <c:pt idx="3658">
                  <c:v>14.420868243243241</c:v>
                </c:pt>
                <c:pt idx="3659">
                  <c:v>14.420868243243241</c:v>
                </c:pt>
                <c:pt idx="3660">
                  <c:v>14.420868243243241</c:v>
                </c:pt>
                <c:pt idx="3661">
                  <c:v>14.420868243243241</c:v>
                </c:pt>
                <c:pt idx="3662">
                  <c:v>14.420868243243241</c:v>
                </c:pt>
                <c:pt idx="3663">
                  <c:v>14.420868243243241</c:v>
                </c:pt>
                <c:pt idx="3664">
                  <c:v>14.420868243243241</c:v>
                </c:pt>
                <c:pt idx="3665">
                  <c:v>14.420868243243241</c:v>
                </c:pt>
                <c:pt idx="3666">
                  <c:v>14.420868243243241</c:v>
                </c:pt>
                <c:pt idx="3667">
                  <c:v>14.420868243243241</c:v>
                </c:pt>
                <c:pt idx="3668">
                  <c:v>14.420868243243241</c:v>
                </c:pt>
                <c:pt idx="3669">
                  <c:v>14.420868243243241</c:v>
                </c:pt>
                <c:pt idx="3670">
                  <c:v>14.420868243243241</c:v>
                </c:pt>
                <c:pt idx="3671">
                  <c:v>14.420868243243241</c:v>
                </c:pt>
                <c:pt idx="3672">
                  <c:v>14.420868243243241</c:v>
                </c:pt>
                <c:pt idx="3673">
                  <c:v>14.420868243243241</c:v>
                </c:pt>
                <c:pt idx="3674">
                  <c:v>14.420868243243241</c:v>
                </c:pt>
                <c:pt idx="3675">
                  <c:v>14.420868243243241</c:v>
                </c:pt>
                <c:pt idx="3676">
                  <c:v>14.420868243243241</c:v>
                </c:pt>
                <c:pt idx="3677">
                  <c:v>14.420868243243241</c:v>
                </c:pt>
                <c:pt idx="3678">
                  <c:v>14.420868243243241</c:v>
                </c:pt>
                <c:pt idx="3679">
                  <c:v>14.420868243243241</c:v>
                </c:pt>
                <c:pt idx="3680">
                  <c:v>14.420868243243241</c:v>
                </c:pt>
                <c:pt idx="3681">
                  <c:v>14.420868243243241</c:v>
                </c:pt>
                <c:pt idx="3682">
                  <c:v>14.420868243243241</c:v>
                </c:pt>
                <c:pt idx="3683">
                  <c:v>14.420868243243241</c:v>
                </c:pt>
                <c:pt idx="3684">
                  <c:v>14.420868243243241</c:v>
                </c:pt>
                <c:pt idx="3685">
                  <c:v>14.420868243243241</c:v>
                </c:pt>
                <c:pt idx="3686">
                  <c:v>14.420868243243241</c:v>
                </c:pt>
                <c:pt idx="3687">
                  <c:v>14.420868243243241</c:v>
                </c:pt>
                <c:pt idx="3688">
                  <c:v>14.420868243243241</c:v>
                </c:pt>
                <c:pt idx="3689">
                  <c:v>14.420868243243241</c:v>
                </c:pt>
                <c:pt idx="3690">
                  <c:v>14.420868243243241</c:v>
                </c:pt>
                <c:pt idx="3691">
                  <c:v>14.420868243243241</c:v>
                </c:pt>
                <c:pt idx="3692">
                  <c:v>14.420868243243241</c:v>
                </c:pt>
                <c:pt idx="3693">
                  <c:v>14.420868243243241</c:v>
                </c:pt>
                <c:pt idx="3694">
                  <c:v>14.420868243243241</c:v>
                </c:pt>
                <c:pt idx="3695">
                  <c:v>14.420868243243241</c:v>
                </c:pt>
                <c:pt idx="3696">
                  <c:v>14.420868243243241</c:v>
                </c:pt>
                <c:pt idx="3697">
                  <c:v>14.420868243243241</c:v>
                </c:pt>
                <c:pt idx="3698">
                  <c:v>14.420868243243241</c:v>
                </c:pt>
                <c:pt idx="3699">
                  <c:v>14.420868243243241</c:v>
                </c:pt>
                <c:pt idx="3700">
                  <c:v>14.420868243243241</c:v>
                </c:pt>
                <c:pt idx="3701">
                  <c:v>14.420868243243241</c:v>
                </c:pt>
                <c:pt idx="3702">
                  <c:v>14.420868243243241</c:v>
                </c:pt>
                <c:pt idx="3703">
                  <c:v>14.420868243243241</c:v>
                </c:pt>
                <c:pt idx="3704">
                  <c:v>14.420868243243241</c:v>
                </c:pt>
                <c:pt idx="3705">
                  <c:v>14.420868243243241</c:v>
                </c:pt>
                <c:pt idx="3706">
                  <c:v>14.420868243243241</c:v>
                </c:pt>
                <c:pt idx="3707">
                  <c:v>14.420868243243241</c:v>
                </c:pt>
                <c:pt idx="3708">
                  <c:v>14.420868243243241</c:v>
                </c:pt>
                <c:pt idx="3709">
                  <c:v>14.420868243243241</c:v>
                </c:pt>
                <c:pt idx="3710">
                  <c:v>14.420868243243241</c:v>
                </c:pt>
                <c:pt idx="3711">
                  <c:v>14.420868243243241</c:v>
                </c:pt>
                <c:pt idx="3712">
                  <c:v>14.420868243243241</c:v>
                </c:pt>
                <c:pt idx="3713">
                  <c:v>14.420868243243241</c:v>
                </c:pt>
                <c:pt idx="3714">
                  <c:v>14.420868243243241</c:v>
                </c:pt>
                <c:pt idx="3715">
                  <c:v>14.420868243243241</c:v>
                </c:pt>
                <c:pt idx="3716">
                  <c:v>14.420868243243241</c:v>
                </c:pt>
                <c:pt idx="3717">
                  <c:v>14.420868243243241</c:v>
                </c:pt>
                <c:pt idx="3718">
                  <c:v>14.420868243243241</c:v>
                </c:pt>
                <c:pt idx="3719">
                  <c:v>14.420868243243241</c:v>
                </c:pt>
                <c:pt idx="3720">
                  <c:v>14.420868243243241</c:v>
                </c:pt>
                <c:pt idx="3721">
                  <c:v>14.420868243243241</c:v>
                </c:pt>
                <c:pt idx="3722">
                  <c:v>14.420868243243241</c:v>
                </c:pt>
                <c:pt idx="3723">
                  <c:v>14.420868243243241</c:v>
                </c:pt>
                <c:pt idx="3724">
                  <c:v>14.420868243243241</c:v>
                </c:pt>
                <c:pt idx="3725">
                  <c:v>14.420868243243241</c:v>
                </c:pt>
                <c:pt idx="3726">
                  <c:v>14.420868243243241</c:v>
                </c:pt>
                <c:pt idx="3727">
                  <c:v>14.420868243243241</c:v>
                </c:pt>
                <c:pt idx="3728">
                  <c:v>14.420868243243241</c:v>
                </c:pt>
                <c:pt idx="3729">
                  <c:v>14.420868243243241</c:v>
                </c:pt>
                <c:pt idx="3730">
                  <c:v>14.420868243243241</c:v>
                </c:pt>
                <c:pt idx="3731">
                  <c:v>14.420868243243241</c:v>
                </c:pt>
                <c:pt idx="3732">
                  <c:v>14.420868243243241</c:v>
                </c:pt>
                <c:pt idx="3733">
                  <c:v>14.420868243243241</c:v>
                </c:pt>
                <c:pt idx="3734">
                  <c:v>14.420868243243241</c:v>
                </c:pt>
                <c:pt idx="3735">
                  <c:v>14.420868243243241</c:v>
                </c:pt>
                <c:pt idx="3736">
                  <c:v>14.420868243243241</c:v>
                </c:pt>
                <c:pt idx="3737">
                  <c:v>14.420868243243241</c:v>
                </c:pt>
                <c:pt idx="3738">
                  <c:v>14.420868243243241</c:v>
                </c:pt>
                <c:pt idx="3739">
                  <c:v>14.420868243243241</c:v>
                </c:pt>
                <c:pt idx="3740">
                  <c:v>14.420868243243241</c:v>
                </c:pt>
                <c:pt idx="3741">
                  <c:v>14.420868243243241</c:v>
                </c:pt>
                <c:pt idx="3742">
                  <c:v>14.420868243243241</c:v>
                </c:pt>
                <c:pt idx="3743">
                  <c:v>14.420868243243241</c:v>
                </c:pt>
                <c:pt idx="3744">
                  <c:v>14.420868243243241</c:v>
                </c:pt>
                <c:pt idx="3745">
                  <c:v>14.420868243243241</c:v>
                </c:pt>
                <c:pt idx="3746">
                  <c:v>14.420868243243241</c:v>
                </c:pt>
                <c:pt idx="3747">
                  <c:v>14.420868243243241</c:v>
                </c:pt>
                <c:pt idx="3748">
                  <c:v>14.420868243243241</c:v>
                </c:pt>
                <c:pt idx="3749">
                  <c:v>14.420868243243241</c:v>
                </c:pt>
                <c:pt idx="3750">
                  <c:v>14.420868243243241</c:v>
                </c:pt>
                <c:pt idx="3751">
                  <c:v>14.420868243243241</c:v>
                </c:pt>
                <c:pt idx="3752">
                  <c:v>14.420868243243241</c:v>
                </c:pt>
                <c:pt idx="3753">
                  <c:v>14.420868243243241</c:v>
                </c:pt>
                <c:pt idx="3754">
                  <c:v>14.420868243243241</c:v>
                </c:pt>
                <c:pt idx="3755">
                  <c:v>14.420868243243241</c:v>
                </c:pt>
                <c:pt idx="3756">
                  <c:v>14.420868243243241</c:v>
                </c:pt>
                <c:pt idx="3757">
                  <c:v>14.420868243243241</c:v>
                </c:pt>
                <c:pt idx="3758">
                  <c:v>14.420868243243241</c:v>
                </c:pt>
                <c:pt idx="3759">
                  <c:v>14.420868243243241</c:v>
                </c:pt>
                <c:pt idx="3760">
                  <c:v>14.420868243243241</c:v>
                </c:pt>
                <c:pt idx="3761">
                  <c:v>14.420868243243241</c:v>
                </c:pt>
                <c:pt idx="3762">
                  <c:v>14.420868243243241</c:v>
                </c:pt>
                <c:pt idx="3763">
                  <c:v>14.420868243243241</c:v>
                </c:pt>
                <c:pt idx="3764">
                  <c:v>14.420868243243241</c:v>
                </c:pt>
                <c:pt idx="3765">
                  <c:v>14.420868243243241</c:v>
                </c:pt>
                <c:pt idx="3766">
                  <c:v>14.420868243243241</c:v>
                </c:pt>
                <c:pt idx="3767">
                  <c:v>14.420868243243241</c:v>
                </c:pt>
                <c:pt idx="3768">
                  <c:v>14.420868243243241</c:v>
                </c:pt>
                <c:pt idx="3769">
                  <c:v>14.420868243243241</c:v>
                </c:pt>
                <c:pt idx="3770">
                  <c:v>14.420868243243241</c:v>
                </c:pt>
                <c:pt idx="3771">
                  <c:v>14.420868243243241</c:v>
                </c:pt>
                <c:pt idx="3772">
                  <c:v>14.420868243243241</c:v>
                </c:pt>
                <c:pt idx="3773">
                  <c:v>14.420868243243241</c:v>
                </c:pt>
                <c:pt idx="3774">
                  <c:v>14.420868243243241</c:v>
                </c:pt>
                <c:pt idx="3775">
                  <c:v>14.420868243243241</c:v>
                </c:pt>
                <c:pt idx="3776">
                  <c:v>14.420868243243241</c:v>
                </c:pt>
                <c:pt idx="3777">
                  <c:v>14.420868243243241</c:v>
                </c:pt>
                <c:pt idx="3778">
                  <c:v>14.420868243243241</c:v>
                </c:pt>
                <c:pt idx="3779">
                  <c:v>14.420868243243241</c:v>
                </c:pt>
                <c:pt idx="3780">
                  <c:v>14.420868243243241</c:v>
                </c:pt>
                <c:pt idx="3781">
                  <c:v>14.420868243243241</c:v>
                </c:pt>
                <c:pt idx="3782">
                  <c:v>14.420868243243241</c:v>
                </c:pt>
                <c:pt idx="3783">
                  <c:v>14.420868243243241</c:v>
                </c:pt>
                <c:pt idx="3784">
                  <c:v>14.420868243243241</c:v>
                </c:pt>
                <c:pt idx="3785">
                  <c:v>14.420868243243241</c:v>
                </c:pt>
                <c:pt idx="3786">
                  <c:v>14.420868243243241</c:v>
                </c:pt>
                <c:pt idx="3787">
                  <c:v>14.420868243243241</c:v>
                </c:pt>
                <c:pt idx="3788">
                  <c:v>14.420868243243241</c:v>
                </c:pt>
                <c:pt idx="3789">
                  <c:v>14.420868243243241</c:v>
                </c:pt>
                <c:pt idx="3790">
                  <c:v>14.420868243243241</c:v>
                </c:pt>
                <c:pt idx="3791">
                  <c:v>14.420868243243241</c:v>
                </c:pt>
                <c:pt idx="3792">
                  <c:v>14.420868243243241</c:v>
                </c:pt>
                <c:pt idx="3793">
                  <c:v>14.420868243243241</c:v>
                </c:pt>
                <c:pt idx="3794">
                  <c:v>14.420868243243241</c:v>
                </c:pt>
                <c:pt idx="3795">
                  <c:v>14.420868243243241</c:v>
                </c:pt>
                <c:pt idx="3796">
                  <c:v>14.420868243243241</c:v>
                </c:pt>
                <c:pt idx="3797">
                  <c:v>14.420868243243241</c:v>
                </c:pt>
                <c:pt idx="3798">
                  <c:v>14.420868243243241</c:v>
                </c:pt>
                <c:pt idx="3799">
                  <c:v>14.420868243243241</c:v>
                </c:pt>
                <c:pt idx="3800">
                  <c:v>14.420868243243241</c:v>
                </c:pt>
                <c:pt idx="3801">
                  <c:v>14.420868243243241</c:v>
                </c:pt>
                <c:pt idx="3802">
                  <c:v>14.420868243243241</c:v>
                </c:pt>
                <c:pt idx="3803">
                  <c:v>14.420868243243241</c:v>
                </c:pt>
                <c:pt idx="3804">
                  <c:v>14.420868243243241</c:v>
                </c:pt>
                <c:pt idx="3805">
                  <c:v>14.420868243243241</c:v>
                </c:pt>
                <c:pt idx="3806">
                  <c:v>14.420868243243241</c:v>
                </c:pt>
                <c:pt idx="3807">
                  <c:v>14.420868243243241</c:v>
                </c:pt>
                <c:pt idx="3808">
                  <c:v>14.420868243243241</c:v>
                </c:pt>
                <c:pt idx="3809">
                  <c:v>14.420868243243241</c:v>
                </c:pt>
                <c:pt idx="3810">
                  <c:v>14.420868243243241</c:v>
                </c:pt>
                <c:pt idx="3811">
                  <c:v>14.420868243243241</c:v>
                </c:pt>
                <c:pt idx="3812">
                  <c:v>14.420868243243241</c:v>
                </c:pt>
                <c:pt idx="3813">
                  <c:v>14.420868243243241</c:v>
                </c:pt>
                <c:pt idx="3814">
                  <c:v>14.420868243243241</c:v>
                </c:pt>
                <c:pt idx="3815">
                  <c:v>14.420868243243241</c:v>
                </c:pt>
                <c:pt idx="3816">
                  <c:v>14.420868243243241</c:v>
                </c:pt>
                <c:pt idx="3817">
                  <c:v>14.420868243243241</c:v>
                </c:pt>
                <c:pt idx="3818">
                  <c:v>14.420868243243241</c:v>
                </c:pt>
                <c:pt idx="3819">
                  <c:v>14.420868243243241</c:v>
                </c:pt>
                <c:pt idx="3820">
                  <c:v>14.420868243243241</c:v>
                </c:pt>
                <c:pt idx="3821">
                  <c:v>14.420868243243241</c:v>
                </c:pt>
                <c:pt idx="3822">
                  <c:v>14.420868243243241</c:v>
                </c:pt>
                <c:pt idx="3823">
                  <c:v>14.420868243243241</c:v>
                </c:pt>
                <c:pt idx="3824">
                  <c:v>14.420868243243241</c:v>
                </c:pt>
                <c:pt idx="3825">
                  <c:v>14.420868243243241</c:v>
                </c:pt>
                <c:pt idx="3826">
                  <c:v>14.420868243243241</c:v>
                </c:pt>
                <c:pt idx="3827">
                  <c:v>14.420868243243241</c:v>
                </c:pt>
                <c:pt idx="3828">
                  <c:v>14.420868243243241</c:v>
                </c:pt>
                <c:pt idx="3829">
                  <c:v>14.420868243243241</c:v>
                </c:pt>
                <c:pt idx="3830">
                  <c:v>14.420868243243241</c:v>
                </c:pt>
                <c:pt idx="3831">
                  <c:v>14.420868243243241</c:v>
                </c:pt>
                <c:pt idx="3832">
                  <c:v>14.420868243243241</c:v>
                </c:pt>
                <c:pt idx="3833">
                  <c:v>14.420868243243241</c:v>
                </c:pt>
                <c:pt idx="3834">
                  <c:v>14.420868243243241</c:v>
                </c:pt>
                <c:pt idx="3835">
                  <c:v>14.420868243243241</c:v>
                </c:pt>
                <c:pt idx="3836">
                  <c:v>14.420868243243241</c:v>
                </c:pt>
                <c:pt idx="3837">
                  <c:v>14.420868243243241</c:v>
                </c:pt>
                <c:pt idx="3838">
                  <c:v>14.420868243243241</c:v>
                </c:pt>
                <c:pt idx="3839">
                  <c:v>14.420868243243241</c:v>
                </c:pt>
                <c:pt idx="3840">
                  <c:v>14.420868243243241</c:v>
                </c:pt>
                <c:pt idx="3841">
                  <c:v>14.420868243243241</c:v>
                </c:pt>
                <c:pt idx="3842">
                  <c:v>14.420868243243241</c:v>
                </c:pt>
                <c:pt idx="3843">
                  <c:v>14.420868243243241</c:v>
                </c:pt>
                <c:pt idx="3844">
                  <c:v>14.420868243243241</c:v>
                </c:pt>
                <c:pt idx="3845">
                  <c:v>14.420868243243241</c:v>
                </c:pt>
                <c:pt idx="3846">
                  <c:v>14.420868243243241</c:v>
                </c:pt>
                <c:pt idx="3847">
                  <c:v>14.420868243243241</c:v>
                </c:pt>
                <c:pt idx="3848">
                  <c:v>14.420868243243241</c:v>
                </c:pt>
                <c:pt idx="3849">
                  <c:v>14.420868243243241</c:v>
                </c:pt>
                <c:pt idx="3850">
                  <c:v>14.420868243243241</c:v>
                </c:pt>
                <c:pt idx="3851">
                  <c:v>14.420868243243241</c:v>
                </c:pt>
                <c:pt idx="3852">
                  <c:v>14.420868243243241</c:v>
                </c:pt>
                <c:pt idx="3853">
                  <c:v>14.420868243243241</c:v>
                </c:pt>
                <c:pt idx="3854">
                  <c:v>14.420868243243241</c:v>
                </c:pt>
                <c:pt idx="3855">
                  <c:v>14.420868243243241</c:v>
                </c:pt>
                <c:pt idx="3856">
                  <c:v>14.420868243243241</c:v>
                </c:pt>
                <c:pt idx="3857">
                  <c:v>14.420868243243241</c:v>
                </c:pt>
                <c:pt idx="3858">
                  <c:v>14.420868243243241</c:v>
                </c:pt>
                <c:pt idx="3859">
                  <c:v>14.420868243243241</c:v>
                </c:pt>
                <c:pt idx="3860">
                  <c:v>14.420868243243241</c:v>
                </c:pt>
                <c:pt idx="3861">
                  <c:v>14.420868243243241</c:v>
                </c:pt>
                <c:pt idx="3862">
                  <c:v>14.420868243243241</c:v>
                </c:pt>
                <c:pt idx="3863">
                  <c:v>14.420868243243241</c:v>
                </c:pt>
                <c:pt idx="3864">
                  <c:v>14.420868243243241</c:v>
                </c:pt>
                <c:pt idx="3865">
                  <c:v>14.420868243243241</c:v>
                </c:pt>
                <c:pt idx="3866">
                  <c:v>14.420868243243241</c:v>
                </c:pt>
                <c:pt idx="3867">
                  <c:v>14.420868243243241</c:v>
                </c:pt>
                <c:pt idx="3868">
                  <c:v>14.420868243243241</c:v>
                </c:pt>
                <c:pt idx="3869">
                  <c:v>14.420868243243241</c:v>
                </c:pt>
                <c:pt idx="3870">
                  <c:v>14.420868243243241</c:v>
                </c:pt>
                <c:pt idx="3871">
                  <c:v>14.420868243243241</c:v>
                </c:pt>
                <c:pt idx="3872">
                  <c:v>14.420868243243241</c:v>
                </c:pt>
                <c:pt idx="3873">
                  <c:v>14.420868243243241</c:v>
                </c:pt>
                <c:pt idx="3874">
                  <c:v>14.420868243243241</c:v>
                </c:pt>
                <c:pt idx="3875">
                  <c:v>14.420868243243241</c:v>
                </c:pt>
                <c:pt idx="3876">
                  <c:v>14.420868243243241</c:v>
                </c:pt>
                <c:pt idx="3877">
                  <c:v>14.420868243243241</c:v>
                </c:pt>
                <c:pt idx="3878">
                  <c:v>14.420868243243241</c:v>
                </c:pt>
                <c:pt idx="3879">
                  <c:v>14.420868243243241</c:v>
                </c:pt>
                <c:pt idx="3880">
                  <c:v>14.420868243243241</c:v>
                </c:pt>
                <c:pt idx="3881">
                  <c:v>14.420868243243241</c:v>
                </c:pt>
                <c:pt idx="3882">
                  <c:v>14.420868243243241</c:v>
                </c:pt>
                <c:pt idx="3883">
                  <c:v>14.420868243243241</c:v>
                </c:pt>
                <c:pt idx="3884">
                  <c:v>14.420868243243241</c:v>
                </c:pt>
                <c:pt idx="3885">
                  <c:v>14.420868243243241</c:v>
                </c:pt>
                <c:pt idx="3886">
                  <c:v>14.420868243243241</c:v>
                </c:pt>
                <c:pt idx="3887">
                  <c:v>14.420868243243241</c:v>
                </c:pt>
                <c:pt idx="3888">
                  <c:v>14.420868243243241</c:v>
                </c:pt>
                <c:pt idx="3889">
                  <c:v>14.420868243243241</c:v>
                </c:pt>
                <c:pt idx="3890">
                  <c:v>14.420868243243241</c:v>
                </c:pt>
                <c:pt idx="3891">
                  <c:v>14.420868243243241</c:v>
                </c:pt>
                <c:pt idx="3892">
                  <c:v>14.420868243243241</c:v>
                </c:pt>
                <c:pt idx="3893">
                  <c:v>14.420868243243241</c:v>
                </c:pt>
                <c:pt idx="3894">
                  <c:v>14.420868243243241</c:v>
                </c:pt>
                <c:pt idx="3895">
                  <c:v>14.420868243243241</c:v>
                </c:pt>
                <c:pt idx="3896">
                  <c:v>14.420868243243241</c:v>
                </c:pt>
                <c:pt idx="3897">
                  <c:v>14.420868243243241</c:v>
                </c:pt>
                <c:pt idx="3898">
                  <c:v>14.420868243243241</c:v>
                </c:pt>
                <c:pt idx="3899">
                  <c:v>14.420868243243241</c:v>
                </c:pt>
                <c:pt idx="3900">
                  <c:v>14.420868243243241</c:v>
                </c:pt>
                <c:pt idx="3901">
                  <c:v>14.420868243243241</c:v>
                </c:pt>
                <c:pt idx="3902">
                  <c:v>14.420868243243241</c:v>
                </c:pt>
                <c:pt idx="3903">
                  <c:v>14.420868243243241</c:v>
                </c:pt>
                <c:pt idx="3904">
                  <c:v>14.420868243243241</c:v>
                </c:pt>
                <c:pt idx="3905">
                  <c:v>14.420868243243241</c:v>
                </c:pt>
                <c:pt idx="3906">
                  <c:v>14.420868243243241</c:v>
                </c:pt>
                <c:pt idx="3907">
                  <c:v>14.420868243243241</c:v>
                </c:pt>
                <c:pt idx="3908">
                  <c:v>14.420868243243241</c:v>
                </c:pt>
                <c:pt idx="3909">
                  <c:v>14.420868243243241</c:v>
                </c:pt>
                <c:pt idx="3910">
                  <c:v>14.420868243243241</c:v>
                </c:pt>
                <c:pt idx="3911">
                  <c:v>14.420868243243241</c:v>
                </c:pt>
                <c:pt idx="3912">
                  <c:v>14.420868243243241</c:v>
                </c:pt>
                <c:pt idx="3913">
                  <c:v>14.420868243243241</c:v>
                </c:pt>
                <c:pt idx="3914">
                  <c:v>14.420868243243241</c:v>
                </c:pt>
                <c:pt idx="3915">
                  <c:v>14.420868243243241</c:v>
                </c:pt>
                <c:pt idx="3916">
                  <c:v>14.420868243243241</c:v>
                </c:pt>
                <c:pt idx="3917">
                  <c:v>14.420868243243241</c:v>
                </c:pt>
                <c:pt idx="3918">
                  <c:v>14.420868243243241</c:v>
                </c:pt>
                <c:pt idx="3919">
                  <c:v>14.420868243243241</c:v>
                </c:pt>
                <c:pt idx="3920">
                  <c:v>14.420868243243241</c:v>
                </c:pt>
                <c:pt idx="3921">
                  <c:v>14.420868243243241</c:v>
                </c:pt>
                <c:pt idx="3922">
                  <c:v>14.420868243243241</c:v>
                </c:pt>
                <c:pt idx="3923">
                  <c:v>14.420868243243241</c:v>
                </c:pt>
                <c:pt idx="3924">
                  <c:v>14.420868243243241</c:v>
                </c:pt>
                <c:pt idx="3925">
                  <c:v>14.420868243243241</c:v>
                </c:pt>
                <c:pt idx="3926">
                  <c:v>14.420868243243241</c:v>
                </c:pt>
                <c:pt idx="3927">
                  <c:v>14.420868243243241</c:v>
                </c:pt>
                <c:pt idx="3928">
                  <c:v>14.420868243243241</c:v>
                </c:pt>
                <c:pt idx="3929">
                  <c:v>14.420868243243241</c:v>
                </c:pt>
                <c:pt idx="3930">
                  <c:v>14.420868243243241</c:v>
                </c:pt>
                <c:pt idx="3931">
                  <c:v>14.420868243243241</c:v>
                </c:pt>
                <c:pt idx="3932">
                  <c:v>14.420868243243241</c:v>
                </c:pt>
                <c:pt idx="3933">
                  <c:v>14.420868243243241</c:v>
                </c:pt>
                <c:pt idx="3934">
                  <c:v>14.420868243243241</c:v>
                </c:pt>
                <c:pt idx="3935">
                  <c:v>14.420868243243241</c:v>
                </c:pt>
                <c:pt idx="3936">
                  <c:v>14.420868243243241</c:v>
                </c:pt>
                <c:pt idx="3937">
                  <c:v>14.420868243243241</c:v>
                </c:pt>
                <c:pt idx="3938">
                  <c:v>14.420868243243241</c:v>
                </c:pt>
                <c:pt idx="3939">
                  <c:v>14.420868243243241</c:v>
                </c:pt>
                <c:pt idx="3940">
                  <c:v>14.420868243243241</c:v>
                </c:pt>
                <c:pt idx="3941">
                  <c:v>14.420868243243241</c:v>
                </c:pt>
                <c:pt idx="3942">
                  <c:v>14.420868243243241</c:v>
                </c:pt>
                <c:pt idx="3943">
                  <c:v>14.420868243243241</c:v>
                </c:pt>
                <c:pt idx="3944">
                  <c:v>14.420868243243241</c:v>
                </c:pt>
                <c:pt idx="3945">
                  <c:v>14.420868243243241</c:v>
                </c:pt>
                <c:pt idx="3946">
                  <c:v>14.420868243243241</c:v>
                </c:pt>
                <c:pt idx="3947">
                  <c:v>14.420868243243241</c:v>
                </c:pt>
                <c:pt idx="3948">
                  <c:v>14.420868243243241</c:v>
                </c:pt>
                <c:pt idx="3949">
                  <c:v>14.420868243243241</c:v>
                </c:pt>
                <c:pt idx="3950">
                  <c:v>14.420868243243241</c:v>
                </c:pt>
                <c:pt idx="3951">
                  <c:v>14.420868243243241</c:v>
                </c:pt>
                <c:pt idx="3952">
                  <c:v>14.420868243243241</c:v>
                </c:pt>
                <c:pt idx="3953">
                  <c:v>14.420868243243241</c:v>
                </c:pt>
                <c:pt idx="3954">
                  <c:v>14.420868243243241</c:v>
                </c:pt>
                <c:pt idx="3955">
                  <c:v>14.420868243243241</c:v>
                </c:pt>
                <c:pt idx="3956">
                  <c:v>14.420868243243241</c:v>
                </c:pt>
                <c:pt idx="3957">
                  <c:v>14.420868243243241</c:v>
                </c:pt>
                <c:pt idx="3958">
                  <c:v>14.420868243243241</c:v>
                </c:pt>
                <c:pt idx="3959">
                  <c:v>14.420868243243241</c:v>
                </c:pt>
                <c:pt idx="3960">
                  <c:v>14.420868243243241</c:v>
                </c:pt>
                <c:pt idx="3961">
                  <c:v>14.420868243243241</c:v>
                </c:pt>
                <c:pt idx="3962">
                  <c:v>14.420868243243241</c:v>
                </c:pt>
                <c:pt idx="3963">
                  <c:v>14.420868243243241</c:v>
                </c:pt>
                <c:pt idx="3964">
                  <c:v>14.420868243243241</c:v>
                </c:pt>
                <c:pt idx="3965">
                  <c:v>14.420868243243241</c:v>
                </c:pt>
                <c:pt idx="3966">
                  <c:v>14.420868243243241</c:v>
                </c:pt>
                <c:pt idx="3967">
                  <c:v>14.420868243243241</c:v>
                </c:pt>
                <c:pt idx="3968">
                  <c:v>14.420868243243241</c:v>
                </c:pt>
                <c:pt idx="3969">
                  <c:v>14.420868243243241</c:v>
                </c:pt>
                <c:pt idx="3970">
                  <c:v>14.420868243243241</c:v>
                </c:pt>
                <c:pt idx="3971">
                  <c:v>14.420868243243241</c:v>
                </c:pt>
                <c:pt idx="3972">
                  <c:v>14.420868243243241</c:v>
                </c:pt>
                <c:pt idx="3973">
                  <c:v>14.420868243243241</c:v>
                </c:pt>
                <c:pt idx="3974">
                  <c:v>14.420868243243241</c:v>
                </c:pt>
                <c:pt idx="3975">
                  <c:v>14.420868243243241</c:v>
                </c:pt>
                <c:pt idx="3976">
                  <c:v>14.420868243243241</c:v>
                </c:pt>
                <c:pt idx="3977">
                  <c:v>14.420868243243241</c:v>
                </c:pt>
                <c:pt idx="3978">
                  <c:v>14.420868243243241</c:v>
                </c:pt>
                <c:pt idx="3979">
                  <c:v>14.420868243243241</c:v>
                </c:pt>
                <c:pt idx="3980">
                  <c:v>14.420868243243241</c:v>
                </c:pt>
                <c:pt idx="3981">
                  <c:v>14.420868243243241</c:v>
                </c:pt>
                <c:pt idx="3982">
                  <c:v>14.420868243243241</c:v>
                </c:pt>
                <c:pt idx="3983">
                  <c:v>14.420868243243241</c:v>
                </c:pt>
                <c:pt idx="3984">
                  <c:v>14.420868243243241</c:v>
                </c:pt>
                <c:pt idx="3985">
                  <c:v>14.420868243243241</c:v>
                </c:pt>
                <c:pt idx="3986">
                  <c:v>14.420868243243241</c:v>
                </c:pt>
                <c:pt idx="3987">
                  <c:v>14.420868243243241</c:v>
                </c:pt>
                <c:pt idx="3988">
                  <c:v>14.420868243243241</c:v>
                </c:pt>
                <c:pt idx="3989">
                  <c:v>14.420868243243241</c:v>
                </c:pt>
                <c:pt idx="3990">
                  <c:v>14.420868243243241</c:v>
                </c:pt>
                <c:pt idx="3991">
                  <c:v>14.420868243243241</c:v>
                </c:pt>
                <c:pt idx="3992">
                  <c:v>14.420868243243241</c:v>
                </c:pt>
                <c:pt idx="3993">
                  <c:v>14.420868243243241</c:v>
                </c:pt>
                <c:pt idx="3994">
                  <c:v>14.420868243243241</c:v>
                </c:pt>
                <c:pt idx="3995">
                  <c:v>14.420868243243241</c:v>
                </c:pt>
                <c:pt idx="3996">
                  <c:v>14.420868243243241</c:v>
                </c:pt>
                <c:pt idx="3997">
                  <c:v>14.420868243243241</c:v>
                </c:pt>
                <c:pt idx="3998">
                  <c:v>14.420868243243241</c:v>
                </c:pt>
                <c:pt idx="3999">
                  <c:v>14.420868243243241</c:v>
                </c:pt>
                <c:pt idx="4000">
                  <c:v>14.420868243243241</c:v>
                </c:pt>
                <c:pt idx="4001">
                  <c:v>14.420868243243241</c:v>
                </c:pt>
                <c:pt idx="4002">
                  <c:v>14.420868243243241</c:v>
                </c:pt>
                <c:pt idx="4003">
                  <c:v>14.420868243243241</c:v>
                </c:pt>
                <c:pt idx="4004">
                  <c:v>14.420868243243241</c:v>
                </c:pt>
                <c:pt idx="4005">
                  <c:v>14.420868243243241</c:v>
                </c:pt>
                <c:pt idx="4006">
                  <c:v>14.420868243243241</c:v>
                </c:pt>
                <c:pt idx="4007">
                  <c:v>14.420868243243241</c:v>
                </c:pt>
                <c:pt idx="4008">
                  <c:v>14.420868243243241</c:v>
                </c:pt>
                <c:pt idx="4009">
                  <c:v>14.420868243243241</c:v>
                </c:pt>
                <c:pt idx="4010">
                  <c:v>14.420868243243241</c:v>
                </c:pt>
                <c:pt idx="4011">
                  <c:v>14.420868243243241</c:v>
                </c:pt>
                <c:pt idx="4012">
                  <c:v>14.420868243243241</c:v>
                </c:pt>
                <c:pt idx="4013">
                  <c:v>14.420868243243241</c:v>
                </c:pt>
                <c:pt idx="4014">
                  <c:v>14.420868243243241</c:v>
                </c:pt>
                <c:pt idx="4015">
                  <c:v>14.420868243243241</c:v>
                </c:pt>
                <c:pt idx="4016">
                  <c:v>14.420868243243241</c:v>
                </c:pt>
                <c:pt idx="4017">
                  <c:v>14.420868243243241</c:v>
                </c:pt>
                <c:pt idx="4018">
                  <c:v>14.420868243243241</c:v>
                </c:pt>
                <c:pt idx="4019">
                  <c:v>14.420868243243241</c:v>
                </c:pt>
                <c:pt idx="4020">
                  <c:v>14.420868243243241</c:v>
                </c:pt>
                <c:pt idx="4021">
                  <c:v>14.420868243243241</c:v>
                </c:pt>
                <c:pt idx="4022">
                  <c:v>14.420868243243241</c:v>
                </c:pt>
                <c:pt idx="4023">
                  <c:v>14.420868243243241</c:v>
                </c:pt>
                <c:pt idx="4024">
                  <c:v>14.420868243243241</c:v>
                </c:pt>
                <c:pt idx="4025">
                  <c:v>14.420868243243241</c:v>
                </c:pt>
                <c:pt idx="4026">
                  <c:v>14.420868243243241</c:v>
                </c:pt>
                <c:pt idx="4027">
                  <c:v>14.420868243243241</c:v>
                </c:pt>
                <c:pt idx="4028">
                  <c:v>14.420868243243241</c:v>
                </c:pt>
                <c:pt idx="4029">
                  <c:v>14.420868243243241</c:v>
                </c:pt>
                <c:pt idx="4030">
                  <c:v>14.420868243243241</c:v>
                </c:pt>
                <c:pt idx="4031">
                  <c:v>14.420868243243241</c:v>
                </c:pt>
                <c:pt idx="4032">
                  <c:v>14.420868243243241</c:v>
                </c:pt>
                <c:pt idx="4033">
                  <c:v>14.420868243243241</c:v>
                </c:pt>
                <c:pt idx="4034">
                  <c:v>14.420868243243241</c:v>
                </c:pt>
                <c:pt idx="4035">
                  <c:v>14.420868243243241</c:v>
                </c:pt>
                <c:pt idx="4036">
                  <c:v>14.420868243243241</c:v>
                </c:pt>
                <c:pt idx="4037">
                  <c:v>14.420868243243241</c:v>
                </c:pt>
                <c:pt idx="4038">
                  <c:v>14.420868243243241</c:v>
                </c:pt>
                <c:pt idx="4039">
                  <c:v>14.420868243243241</c:v>
                </c:pt>
                <c:pt idx="4040">
                  <c:v>14.420868243243241</c:v>
                </c:pt>
                <c:pt idx="4041">
                  <c:v>14.420868243243241</c:v>
                </c:pt>
                <c:pt idx="4042">
                  <c:v>14.420868243243241</c:v>
                </c:pt>
                <c:pt idx="4043">
                  <c:v>14.420868243243241</c:v>
                </c:pt>
                <c:pt idx="4044">
                  <c:v>14.420868243243241</c:v>
                </c:pt>
                <c:pt idx="4045">
                  <c:v>14.420868243243241</c:v>
                </c:pt>
                <c:pt idx="4046">
                  <c:v>14.420868243243241</c:v>
                </c:pt>
                <c:pt idx="4047">
                  <c:v>14.420868243243241</c:v>
                </c:pt>
                <c:pt idx="4048">
                  <c:v>14.420868243243241</c:v>
                </c:pt>
                <c:pt idx="4049">
                  <c:v>14.420868243243241</c:v>
                </c:pt>
                <c:pt idx="4050">
                  <c:v>14.420868243243241</c:v>
                </c:pt>
                <c:pt idx="4051">
                  <c:v>14.420868243243241</c:v>
                </c:pt>
                <c:pt idx="4052">
                  <c:v>14.420868243243241</c:v>
                </c:pt>
                <c:pt idx="4053">
                  <c:v>14.420868243243241</c:v>
                </c:pt>
                <c:pt idx="4054">
                  <c:v>14.420868243243241</c:v>
                </c:pt>
                <c:pt idx="4055">
                  <c:v>14.420868243243241</c:v>
                </c:pt>
                <c:pt idx="4056">
                  <c:v>14.420868243243241</c:v>
                </c:pt>
                <c:pt idx="4057">
                  <c:v>14.420868243243241</c:v>
                </c:pt>
                <c:pt idx="4058">
                  <c:v>14.420868243243241</c:v>
                </c:pt>
                <c:pt idx="4059">
                  <c:v>14.420868243243241</c:v>
                </c:pt>
                <c:pt idx="4060">
                  <c:v>14.420868243243241</c:v>
                </c:pt>
                <c:pt idx="4061">
                  <c:v>14.420868243243241</c:v>
                </c:pt>
                <c:pt idx="4062">
                  <c:v>14.420868243243241</c:v>
                </c:pt>
                <c:pt idx="4063">
                  <c:v>14.420868243243241</c:v>
                </c:pt>
                <c:pt idx="4064">
                  <c:v>14.420868243243241</c:v>
                </c:pt>
                <c:pt idx="4065">
                  <c:v>14.420868243243241</c:v>
                </c:pt>
                <c:pt idx="4066">
                  <c:v>14.420868243243241</c:v>
                </c:pt>
                <c:pt idx="4067">
                  <c:v>14.420868243243241</c:v>
                </c:pt>
                <c:pt idx="4068">
                  <c:v>14.420868243243241</c:v>
                </c:pt>
                <c:pt idx="4069">
                  <c:v>14.420868243243241</c:v>
                </c:pt>
                <c:pt idx="4070">
                  <c:v>14.420868243243241</c:v>
                </c:pt>
                <c:pt idx="4071">
                  <c:v>14.420868243243241</c:v>
                </c:pt>
                <c:pt idx="4072">
                  <c:v>14.420868243243241</c:v>
                </c:pt>
                <c:pt idx="4073">
                  <c:v>14.420868243243241</c:v>
                </c:pt>
                <c:pt idx="4074">
                  <c:v>14.420868243243241</c:v>
                </c:pt>
                <c:pt idx="4075">
                  <c:v>14.420868243243241</c:v>
                </c:pt>
                <c:pt idx="4076">
                  <c:v>14.420868243243241</c:v>
                </c:pt>
                <c:pt idx="4077">
                  <c:v>14.420868243243241</c:v>
                </c:pt>
                <c:pt idx="4078">
                  <c:v>14.420868243243241</c:v>
                </c:pt>
                <c:pt idx="4079">
                  <c:v>14.420868243243241</c:v>
                </c:pt>
                <c:pt idx="4080">
                  <c:v>14.420868243243241</c:v>
                </c:pt>
                <c:pt idx="4081">
                  <c:v>14.420868243243241</c:v>
                </c:pt>
                <c:pt idx="4082">
                  <c:v>14.420868243243241</c:v>
                </c:pt>
                <c:pt idx="4083">
                  <c:v>14.420868243243241</c:v>
                </c:pt>
                <c:pt idx="4084">
                  <c:v>14.420868243243241</c:v>
                </c:pt>
                <c:pt idx="4085">
                  <c:v>14.420868243243241</c:v>
                </c:pt>
                <c:pt idx="4086">
                  <c:v>14.420868243243241</c:v>
                </c:pt>
                <c:pt idx="4087">
                  <c:v>14.420868243243241</c:v>
                </c:pt>
                <c:pt idx="4088">
                  <c:v>14.420868243243241</c:v>
                </c:pt>
                <c:pt idx="4089">
                  <c:v>14.420868243243241</c:v>
                </c:pt>
                <c:pt idx="4090">
                  <c:v>14.420868243243241</c:v>
                </c:pt>
                <c:pt idx="4091">
                  <c:v>14.420868243243241</c:v>
                </c:pt>
                <c:pt idx="4092">
                  <c:v>14.420868243243241</c:v>
                </c:pt>
                <c:pt idx="4093">
                  <c:v>14.420868243243241</c:v>
                </c:pt>
                <c:pt idx="4094">
                  <c:v>14.420868243243241</c:v>
                </c:pt>
                <c:pt idx="4095">
                  <c:v>14.420868243243241</c:v>
                </c:pt>
                <c:pt idx="4096">
                  <c:v>14.420868243243241</c:v>
                </c:pt>
                <c:pt idx="4097">
                  <c:v>14.420868243243241</c:v>
                </c:pt>
                <c:pt idx="4098">
                  <c:v>14.420868243243241</c:v>
                </c:pt>
                <c:pt idx="4099">
                  <c:v>14.420868243243241</c:v>
                </c:pt>
                <c:pt idx="4100">
                  <c:v>14.420868243243241</c:v>
                </c:pt>
                <c:pt idx="4101">
                  <c:v>14.420868243243241</c:v>
                </c:pt>
                <c:pt idx="4102">
                  <c:v>14.420868243243241</c:v>
                </c:pt>
                <c:pt idx="4103">
                  <c:v>14.420868243243241</c:v>
                </c:pt>
                <c:pt idx="4104">
                  <c:v>14.420868243243241</c:v>
                </c:pt>
                <c:pt idx="4105">
                  <c:v>14.420868243243241</c:v>
                </c:pt>
                <c:pt idx="4106">
                  <c:v>14.420868243243241</c:v>
                </c:pt>
                <c:pt idx="4107">
                  <c:v>14.420868243243241</c:v>
                </c:pt>
                <c:pt idx="4108">
                  <c:v>14.420868243243241</c:v>
                </c:pt>
                <c:pt idx="4109">
                  <c:v>14.420868243243241</c:v>
                </c:pt>
                <c:pt idx="4110">
                  <c:v>14.420868243243241</c:v>
                </c:pt>
                <c:pt idx="4111">
                  <c:v>14.420868243243241</c:v>
                </c:pt>
                <c:pt idx="4112">
                  <c:v>14.420868243243241</c:v>
                </c:pt>
                <c:pt idx="4113">
                  <c:v>14.420868243243241</c:v>
                </c:pt>
                <c:pt idx="4114">
                  <c:v>14.420868243243241</c:v>
                </c:pt>
                <c:pt idx="4115">
                  <c:v>14.420868243243241</c:v>
                </c:pt>
                <c:pt idx="4116">
                  <c:v>14.420868243243241</c:v>
                </c:pt>
                <c:pt idx="4117">
                  <c:v>14.420868243243241</c:v>
                </c:pt>
                <c:pt idx="4118">
                  <c:v>14.420868243243241</c:v>
                </c:pt>
                <c:pt idx="4119">
                  <c:v>14.420868243243241</c:v>
                </c:pt>
                <c:pt idx="4120">
                  <c:v>14.420868243243241</c:v>
                </c:pt>
                <c:pt idx="4121">
                  <c:v>14.420868243243241</c:v>
                </c:pt>
                <c:pt idx="4122">
                  <c:v>14.420868243243241</c:v>
                </c:pt>
                <c:pt idx="4123">
                  <c:v>14.420868243243241</c:v>
                </c:pt>
                <c:pt idx="4124">
                  <c:v>14.420868243243241</c:v>
                </c:pt>
                <c:pt idx="4125">
                  <c:v>14.420868243243241</c:v>
                </c:pt>
                <c:pt idx="4126">
                  <c:v>14.420868243243241</c:v>
                </c:pt>
                <c:pt idx="4127">
                  <c:v>14.420868243243241</c:v>
                </c:pt>
                <c:pt idx="4128">
                  <c:v>14.420868243243241</c:v>
                </c:pt>
                <c:pt idx="4129">
                  <c:v>14.420868243243241</c:v>
                </c:pt>
                <c:pt idx="4130">
                  <c:v>14.420868243243241</c:v>
                </c:pt>
                <c:pt idx="4131">
                  <c:v>14.420868243243241</c:v>
                </c:pt>
                <c:pt idx="4132">
                  <c:v>14.420868243243241</c:v>
                </c:pt>
                <c:pt idx="4133">
                  <c:v>14.420868243243241</c:v>
                </c:pt>
                <c:pt idx="4134">
                  <c:v>14.420868243243241</c:v>
                </c:pt>
                <c:pt idx="4135">
                  <c:v>14.420868243243241</c:v>
                </c:pt>
                <c:pt idx="4136">
                  <c:v>14.420868243243241</c:v>
                </c:pt>
                <c:pt idx="4137">
                  <c:v>14.420868243243241</c:v>
                </c:pt>
                <c:pt idx="4138">
                  <c:v>14.420868243243241</c:v>
                </c:pt>
                <c:pt idx="4139">
                  <c:v>14.420868243243241</c:v>
                </c:pt>
                <c:pt idx="4140">
                  <c:v>14.420868243243241</c:v>
                </c:pt>
                <c:pt idx="4141">
                  <c:v>14.420868243243241</c:v>
                </c:pt>
                <c:pt idx="4142">
                  <c:v>14.420868243243241</c:v>
                </c:pt>
                <c:pt idx="4143">
                  <c:v>14.420868243243241</c:v>
                </c:pt>
                <c:pt idx="4144">
                  <c:v>14.420868243243241</c:v>
                </c:pt>
                <c:pt idx="4145">
                  <c:v>14.420868243243241</c:v>
                </c:pt>
                <c:pt idx="4146">
                  <c:v>14.420868243243241</c:v>
                </c:pt>
                <c:pt idx="4147">
                  <c:v>14.420868243243241</c:v>
                </c:pt>
                <c:pt idx="4148">
                  <c:v>14.420868243243241</c:v>
                </c:pt>
                <c:pt idx="4149">
                  <c:v>14.420868243243241</c:v>
                </c:pt>
                <c:pt idx="4150">
                  <c:v>14.420868243243241</c:v>
                </c:pt>
                <c:pt idx="4151">
                  <c:v>14.420868243243241</c:v>
                </c:pt>
                <c:pt idx="4152">
                  <c:v>14.420868243243241</c:v>
                </c:pt>
                <c:pt idx="4153">
                  <c:v>14.420868243243241</c:v>
                </c:pt>
                <c:pt idx="4154">
                  <c:v>14.420868243243241</c:v>
                </c:pt>
                <c:pt idx="4155">
                  <c:v>14.420868243243241</c:v>
                </c:pt>
                <c:pt idx="4156">
                  <c:v>14.420868243243241</c:v>
                </c:pt>
                <c:pt idx="4157">
                  <c:v>14.420868243243241</c:v>
                </c:pt>
                <c:pt idx="4158">
                  <c:v>14.420868243243241</c:v>
                </c:pt>
                <c:pt idx="4159">
                  <c:v>14.420868243243241</c:v>
                </c:pt>
                <c:pt idx="4160">
                  <c:v>14.420868243243241</c:v>
                </c:pt>
                <c:pt idx="4161">
                  <c:v>14.420868243243241</c:v>
                </c:pt>
                <c:pt idx="4162">
                  <c:v>14.420868243243241</c:v>
                </c:pt>
                <c:pt idx="4163">
                  <c:v>14.420868243243241</c:v>
                </c:pt>
                <c:pt idx="4164">
                  <c:v>14.420868243243241</c:v>
                </c:pt>
                <c:pt idx="4165">
                  <c:v>14.420868243243241</c:v>
                </c:pt>
                <c:pt idx="4166">
                  <c:v>14.420868243243241</c:v>
                </c:pt>
                <c:pt idx="4167">
                  <c:v>14.420868243243241</c:v>
                </c:pt>
                <c:pt idx="4168">
                  <c:v>14.420868243243241</c:v>
                </c:pt>
                <c:pt idx="4169">
                  <c:v>14.420868243243241</c:v>
                </c:pt>
                <c:pt idx="4170">
                  <c:v>14.420868243243241</c:v>
                </c:pt>
                <c:pt idx="4171">
                  <c:v>14.420868243243241</c:v>
                </c:pt>
                <c:pt idx="4172">
                  <c:v>14.420868243243241</c:v>
                </c:pt>
                <c:pt idx="4173">
                  <c:v>14.420868243243241</c:v>
                </c:pt>
                <c:pt idx="4174">
                  <c:v>14.420868243243241</c:v>
                </c:pt>
                <c:pt idx="4175">
                  <c:v>14.420868243243241</c:v>
                </c:pt>
                <c:pt idx="4176">
                  <c:v>14.420868243243241</c:v>
                </c:pt>
                <c:pt idx="4177">
                  <c:v>14.420868243243241</c:v>
                </c:pt>
                <c:pt idx="4178">
                  <c:v>14.420868243243241</c:v>
                </c:pt>
                <c:pt idx="4179">
                  <c:v>14.420868243243241</c:v>
                </c:pt>
                <c:pt idx="4180">
                  <c:v>14.420868243243241</c:v>
                </c:pt>
                <c:pt idx="4181">
                  <c:v>14.420868243243241</c:v>
                </c:pt>
                <c:pt idx="4182">
                  <c:v>14.420868243243241</c:v>
                </c:pt>
                <c:pt idx="4183">
                  <c:v>14.420868243243241</c:v>
                </c:pt>
                <c:pt idx="4184">
                  <c:v>14.420868243243241</c:v>
                </c:pt>
                <c:pt idx="4185">
                  <c:v>14.420868243243241</c:v>
                </c:pt>
                <c:pt idx="4186">
                  <c:v>14.420868243243241</c:v>
                </c:pt>
                <c:pt idx="4187">
                  <c:v>14.420868243243241</c:v>
                </c:pt>
                <c:pt idx="4188">
                  <c:v>14.420868243243241</c:v>
                </c:pt>
                <c:pt idx="4189">
                  <c:v>14.420868243243241</c:v>
                </c:pt>
                <c:pt idx="4190">
                  <c:v>14.420868243243241</c:v>
                </c:pt>
                <c:pt idx="4191">
                  <c:v>14.420868243243241</c:v>
                </c:pt>
                <c:pt idx="4192">
                  <c:v>14.420868243243241</c:v>
                </c:pt>
                <c:pt idx="4193">
                  <c:v>14.420868243243241</c:v>
                </c:pt>
                <c:pt idx="4194">
                  <c:v>14.420868243243241</c:v>
                </c:pt>
                <c:pt idx="4195">
                  <c:v>14.420868243243241</c:v>
                </c:pt>
                <c:pt idx="4196">
                  <c:v>14.420868243243241</c:v>
                </c:pt>
                <c:pt idx="4197">
                  <c:v>14.420868243243241</c:v>
                </c:pt>
                <c:pt idx="4198">
                  <c:v>14.420868243243241</c:v>
                </c:pt>
                <c:pt idx="4199">
                  <c:v>14.420868243243241</c:v>
                </c:pt>
                <c:pt idx="4200">
                  <c:v>14.420868243243241</c:v>
                </c:pt>
                <c:pt idx="4201">
                  <c:v>14.420868243243241</c:v>
                </c:pt>
                <c:pt idx="4202">
                  <c:v>14.420868243243241</c:v>
                </c:pt>
                <c:pt idx="4203">
                  <c:v>14.420868243243241</c:v>
                </c:pt>
                <c:pt idx="4204">
                  <c:v>14.420868243243241</c:v>
                </c:pt>
                <c:pt idx="4205">
                  <c:v>14.420868243243241</c:v>
                </c:pt>
                <c:pt idx="4206">
                  <c:v>14.420868243243241</c:v>
                </c:pt>
                <c:pt idx="4207">
                  <c:v>14.420868243243241</c:v>
                </c:pt>
                <c:pt idx="4208">
                  <c:v>14.420868243243241</c:v>
                </c:pt>
                <c:pt idx="4209">
                  <c:v>14.420868243243241</c:v>
                </c:pt>
                <c:pt idx="4210">
                  <c:v>14.420868243243241</c:v>
                </c:pt>
                <c:pt idx="4211">
                  <c:v>14.420868243243241</c:v>
                </c:pt>
                <c:pt idx="4212">
                  <c:v>14.420868243243241</c:v>
                </c:pt>
                <c:pt idx="4213">
                  <c:v>14.420868243243241</c:v>
                </c:pt>
                <c:pt idx="4214">
                  <c:v>14.420868243243241</c:v>
                </c:pt>
                <c:pt idx="4215">
                  <c:v>14.420868243243241</c:v>
                </c:pt>
                <c:pt idx="4216">
                  <c:v>14.420868243243241</c:v>
                </c:pt>
                <c:pt idx="4217">
                  <c:v>14.420868243243241</c:v>
                </c:pt>
                <c:pt idx="4218">
                  <c:v>14.420868243243241</c:v>
                </c:pt>
                <c:pt idx="4219">
                  <c:v>14.420868243243241</c:v>
                </c:pt>
                <c:pt idx="4220">
                  <c:v>14.420868243243241</c:v>
                </c:pt>
                <c:pt idx="4221">
                  <c:v>14.420868243243241</c:v>
                </c:pt>
                <c:pt idx="4222">
                  <c:v>14.420868243243241</c:v>
                </c:pt>
                <c:pt idx="4223">
                  <c:v>14.420868243243241</c:v>
                </c:pt>
                <c:pt idx="4224">
                  <c:v>14.420868243243241</c:v>
                </c:pt>
                <c:pt idx="4225">
                  <c:v>14.420868243243241</c:v>
                </c:pt>
                <c:pt idx="4226">
                  <c:v>14.420868243243241</c:v>
                </c:pt>
                <c:pt idx="4227">
                  <c:v>14.420868243243241</c:v>
                </c:pt>
                <c:pt idx="4228">
                  <c:v>14.420868243243241</c:v>
                </c:pt>
                <c:pt idx="4229">
                  <c:v>14.420868243243241</c:v>
                </c:pt>
                <c:pt idx="4230">
                  <c:v>14.420868243243241</c:v>
                </c:pt>
                <c:pt idx="4231">
                  <c:v>14.420868243243241</c:v>
                </c:pt>
                <c:pt idx="4232">
                  <c:v>14.420868243243241</c:v>
                </c:pt>
                <c:pt idx="4233">
                  <c:v>14.420868243243241</c:v>
                </c:pt>
                <c:pt idx="4234">
                  <c:v>14.420868243243241</c:v>
                </c:pt>
                <c:pt idx="4235">
                  <c:v>14.420868243243241</c:v>
                </c:pt>
                <c:pt idx="4236">
                  <c:v>14.420868243243241</c:v>
                </c:pt>
                <c:pt idx="4237">
                  <c:v>14.420868243243241</c:v>
                </c:pt>
                <c:pt idx="4238">
                  <c:v>14.420868243243241</c:v>
                </c:pt>
                <c:pt idx="4239">
                  <c:v>14.420868243243241</c:v>
                </c:pt>
                <c:pt idx="4240">
                  <c:v>14.420868243243241</c:v>
                </c:pt>
                <c:pt idx="4241">
                  <c:v>14.420868243243241</c:v>
                </c:pt>
                <c:pt idx="4242">
                  <c:v>14.420868243243241</c:v>
                </c:pt>
                <c:pt idx="4243">
                  <c:v>14.420868243243241</c:v>
                </c:pt>
                <c:pt idx="4244">
                  <c:v>14.420868243243241</c:v>
                </c:pt>
                <c:pt idx="4245">
                  <c:v>14.420868243243241</c:v>
                </c:pt>
                <c:pt idx="4246">
                  <c:v>14.420868243243241</c:v>
                </c:pt>
                <c:pt idx="4247">
                  <c:v>14.420868243243241</c:v>
                </c:pt>
                <c:pt idx="4248">
                  <c:v>14.420868243243241</c:v>
                </c:pt>
                <c:pt idx="4249">
                  <c:v>14.420868243243241</c:v>
                </c:pt>
                <c:pt idx="4250">
                  <c:v>14.420868243243241</c:v>
                </c:pt>
                <c:pt idx="4251">
                  <c:v>14.420868243243241</c:v>
                </c:pt>
                <c:pt idx="4252">
                  <c:v>14.420868243243241</c:v>
                </c:pt>
                <c:pt idx="4253">
                  <c:v>14.420868243243241</c:v>
                </c:pt>
                <c:pt idx="4254">
                  <c:v>14.420868243243241</c:v>
                </c:pt>
                <c:pt idx="4255">
                  <c:v>14.420868243243241</c:v>
                </c:pt>
                <c:pt idx="4256">
                  <c:v>14.420868243243241</c:v>
                </c:pt>
                <c:pt idx="4257">
                  <c:v>14.420868243243241</c:v>
                </c:pt>
                <c:pt idx="4258">
                  <c:v>14.420868243243241</c:v>
                </c:pt>
                <c:pt idx="4259">
                  <c:v>14.420868243243241</c:v>
                </c:pt>
                <c:pt idx="4260">
                  <c:v>14.420868243243241</c:v>
                </c:pt>
                <c:pt idx="4261">
                  <c:v>14.420868243243241</c:v>
                </c:pt>
                <c:pt idx="4262">
                  <c:v>14.420868243243241</c:v>
                </c:pt>
                <c:pt idx="4263">
                  <c:v>14.420868243243241</c:v>
                </c:pt>
                <c:pt idx="4264">
                  <c:v>14.420868243243241</c:v>
                </c:pt>
                <c:pt idx="4265">
                  <c:v>14.420868243243241</c:v>
                </c:pt>
                <c:pt idx="4266">
                  <c:v>14.420868243243241</c:v>
                </c:pt>
                <c:pt idx="4267">
                  <c:v>14.420868243243241</c:v>
                </c:pt>
                <c:pt idx="4268">
                  <c:v>14.420868243243241</c:v>
                </c:pt>
                <c:pt idx="4269">
                  <c:v>14.420868243243241</c:v>
                </c:pt>
                <c:pt idx="4270">
                  <c:v>14.420868243243241</c:v>
                </c:pt>
                <c:pt idx="4271">
                  <c:v>14.420868243243241</c:v>
                </c:pt>
                <c:pt idx="4272">
                  <c:v>14.420868243243241</c:v>
                </c:pt>
                <c:pt idx="4273">
                  <c:v>14.420868243243241</c:v>
                </c:pt>
                <c:pt idx="4274">
                  <c:v>14.420868243243241</c:v>
                </c:pt>
                <c:pt idx="4275">
                  <c:v>14.420868243243241</c:v>
                </c:pt>
                <c:pt idx="4276">
                  <c:v>14.420868243243241</c:v>
                </c:pt>
                <c:pt idx="4277">
                  <c:v>14.420868243243241</c:v>
                </c:pt>
                <c:pt idx="4278">
                  <c:v>14.420868243243241</c:v>
                </c:pt>
                <c:pt idx="4279">
                  <c:v>14.420868243243241</c:v>
                </c:pt>
                <c:pt idx="4280">
                  <c:v>14.420868243243241</c:v>
                </c:pt>
                <c:pt idx="4281">
                  <c:v>14.420868243243241</c:v>
                </c:pt>
                <c:pt idx="4282">
                  <c:v>14.420868243243241</c:v>
                </c:pt>
                <c:pt idx="4283">
                  <c:v>14.420868243243241</c:v>
                </c:pt>
                <c:pt idx="4284">
                  <c:v>14.420868243243241</c:v>
                </c:pt>
                <c:pt idx="4285">
                  <c:v>14.420868243243241</c:v>
                </c:pt>
                <c:pt idx="4286">
                  <c:v>14.420868243243241</c:v>
                </c:pt>
                <c:pt idx="4287">
                  <c:v>14.420868243243241</c:v>
                </c:pt>
                <c:pt idx="4288">
                  <c:v>14.420868243243241</c:v>
                </c:pt>
                <c:pt idx="4289">
                  <c:v>14.420868243243241</c:v>
                </c:pt>
                <c:pt idx="4290">
                  <c:v>14.420868243243241</c:v>
                </c:pt>
                <c:pt idx="4291">
                  <c:v>14.420868243243241</c:v>
                </c:pt>
                <c:pt idx="4292">
                  <c:v>14.420868243243241</c:v>
                </c:pt>
                <c:pt idx="4293">
                  <c:v>14.420868243243241</c:v>
                </c:pt>
                <c:pt idx="4294">
                  <c:v>14.420868243243241</c:v>
                </c:pt>
                <c:pt idx="4295">
                  <c:v>14.420868243243241</c:v>
                </c:pt>
                <c:pt idx="4296">
                  <c:v>14.420868243243241</c:v>
                </c:pt>
                <c:pt idx="4297">
                  <c:v>14.420868243243241</c:v>
                </c:pt>
                <c:pt idx="4298">
                  <c:v>14.420868243243241</c:v>
                </c:pt>
                <c:pt idx="4299">
                  <c:v>14.420868243243241</c:v>
                </c:pt>
                <c:pt idx="4300">
                  <c:v>14.420868243243241</c:v>
                </c:pt>
                <c:pt idx="4301">
                  <c:v>14.420868243243241</c:v>
                </c:pt>
                <c:pt idx="4302">
                  <c:v>14.420868243243241</c:v>
                </c:pt>
                <c:pt idx="4303">
                  <c:v>14.420868243243241</c:v>
                </c:pt>
                <c:pt idx="4304">
                  <c:v>14.420868243243241</c:v>
                </c:pt>
                <c:pt idx="4305">
                  <c:v>14.420868243243241</c:v>
                </c:pt>
                <c:pt idx="4306">
                  <c:v>14.420868243243241</c:v>
                </c:pt>
                <c:pt idx="4307">
                  <c:v>14.420868243243241</c:v>
                </c:pt>
                <c:pt idx="4308">
                  <c:v>14.420868243243241</c:v>
                </c:pt>
                <c:pt idx="4309">
                  <c:v>14.420868243243241</c:v>
                </c:pt>
                <c:pt idx="4310">
                  <c:v>14.420868243243241</c:v>
                </c:pt>
                <c:pt idx="4311">
                  <c:v>14.420868243243241</c:v>
                </c:pt>
                <c:pt idx="4312">
                  <c:v>14.420868243243241</c:v>
                </c:pt>
                <c:pt idx="4313">
                  <c:v>14.420868243243241</c:v>
                </c:pt>
                <c:pt idx="4314">
                  <c:v>14.420868243243241</c:v>
                </c:pt>
                <c:pt idx="4315">
                  <c:v>14.420868243243241</c:v>
                </c:pt>
                <c:pt idx="4316">
                  <c:v>14.420868243243241</c:v>
                </c:pt>
                <c:pt idx="4317">
                  <c:v>14.420868243243241</c:v>
                </c:pt>
                <c:pt idx="4318">
                  <c:v>14.420868243243241</c:v>
                </c:pt>
                <c:pt idx="4319">
                  <c:v>14.420868243243241</c:v>
                </c:pt>
                <c:pt idx="4320">
                  <c:v>14.420868243243241</c:v>
                </c:pt>
                <c:pt idx="4321">
                  <c:v>14.420868243243241</c:v>
                </c:pt>
                <c:pt idx="4322">
                  <c:v>14.420868243243241</c:v>
                </c:pt>
                <c:pt idx="4323">
                  <c:v>14.420868243243241</c:v>
                </c:pt>
                <c:pt idx="4324">
                  <c:v>14.420868243243241</c:v>
                </c:pt>
                <c:pt idx="4325">
                  <c:v>14.420868243243241</c:v>
                </c:pt>
                <c:pt idx="4326">
                  <c:v>14.420868243243241</c:v>
                </c:pt>
                <c:pt idx="4327">
                  <c:v>14.420868243243241</c:v>
                </c:pt>
                <c:pt idx="4328">
                  <c:v>14.420868243243241</c:v>
                </c:pt>
                <c:pt idx="4329">
                  <c:v>14.420868243243241</c:v>
                </c:pt>
                <c:pt idx="4330">
                  <c:v>14.420868243243241</c:v>
                </c:pt>
                <c:pt idx="4331">
                  <c:v>14.420868243243241</c:v>
                </c:pt>
                <c:pt idx="4332">
                  <c:v>14.420868243243241</c:v>
                </c:pt>
                <c:pt idx="4333">
                  <c:v>14.420868243243241</c:v>
                </c:pt>
                <c:pt idx="4334">
                  <c:v>14.420868243243241</c:v>
                </c:pt>
                <c:pt idx="4335">
                  <c:v>14.420868243243241</c:v>
                </c:pt>
                <c:pt idx="4336">
                  <c:v>14.420868243243241</c:v>
                </c:pt>
                <c:pt idx="4337">
                  <c:v>14.420868243243241</c:v>
                </c:pt>
                <c:pt idx="4338">
                  <c:v>14.420868243243241</c:v>
                </c:pt>
                <c:pt idx="4339">
                  <c:v>14.420868243243241</c:v>
                </c:pt>
                <c:pt idx="4340">
                  <c:v>14.420868243243241</c:v>
                </c:pt>
                <c:pt idx="4341">
                  <c:v>14.420868243243241</c:v>
                </c:pt>
                <c:pt idx="4342">
                  <c:v>14.420868243243241</c:v>
                </c:pt>
                <c:pt idx="4343">
                  <c:v>14.420868243243241</c:v>
                </c:pt>
                <c:pt idx="4344">
                  <c:v>14.420868243243241</c:v>
                </c:pt>
                <c:pt idx="4345">
                  <c:v>14.420868243243241</c:v>
                </c:pt>
                <c:pt idx="4346">
                  <c:v>14.420868243243241</c:v>
                </c:pt>
                <c:pt idx="4347">
                  <c:v>14.420868243243241</c:v>
                </c:pt>
                <c:pt idx="4348">
                  <c:v>14.420868243243241</c:v>
                </c:pt>
                <c:pt idx="4349">
                  <c:v>14.420868243243241</c:v>
                </c:pt>
                <c:pt idx="4350">
                  <c:v>14.420868243243241</c:v>
                </c:pt>
                <c:pt idx="4351">
                  <c:v>14.420868243243241</c:v>
                </c:pt>
                <c:pt idx="4352">
                  <c:v>14.420868243243241</c:v>
                </c:pt>
                <c:pt idx="4353">
                  <c:v>14.420868243243241</c:v>
                </c:pt>
                <c:pt idx="4354">
                  <c:v>14.420868243243241</c:v>
                </c:pt>
                <c:pt idx="4355">
                  <c:v>14.420868243243241</c:v>
                </c:pt>
                <c:pt idx="4356">
                  <c:v>14.420868243243241</c:v>
                </c:pt>
                <c:pt idx="4357">
                  <c:v>14.420868243243241</c:v>
                </c:pt>
                <c:pt idx="4358">
                  <c:v>14.420868243243241</c:v>
                </c:pt>
                <c:pt idx="4359">
                  <c:v>14.420868243243241</c:v>
                </c:pt>
                <c:pt idx="4360">
                  <c:v>14.420868243243241</c:v>
                </c:pt>
                <c:pt idx="4361">
                  <c:v>14.420868243243241</c:v>
                </c:pt>
                <c:pt idx="4362">
                  <c:v>14.420868243243241</c:v>
                </c:pt>
                <c:pt idx="4363">
                  <c:v>14.420868243243241</c:v>
                </c:pt>
                <c:pt idx="4364">
                  <c:v>14.420868243243241</c:v>
                </c:pt>
                <c:pt idx="4365">
                  <c:v>14.420868243243241</c:v>
                </c:pt>
                <c:pt idx="4366">
                  <c:v>14.420868243243241</c:v>
                </c:pt>
                <c:pt idx="4367">
                  <c:v>14.420868243243241</c:v>
                </c:pt>
                <c:pt idx="4368">
                  <c:v>14.420868243243241</c:v>
                </c:pt>
                <c:pt idx="4369">
                  <c:v>14.420868243243241</c:v>
                </c:pt>
                <c:pt idx="4370">
                  <c:v>14.420868243243241</c:v>
                </c:pt>
                <c:pt idx="4371">
                  <c:v>14.420868243243241</c:v>
                </c:pt>
                <c:pt idx="4372">
                  <c:v>14.420868243243241</c:v>
                </c:pt>
                <c:pt idx="4373">
                  <c:v>14.420868243243241</c:v>
                </c:pt>
                <c:pt idx="4374">
                  <c:v>14.420868243243241</c:v>
                </c:pt>
                <c:pt idx="4375">
                  <c:v>14.420868243243241</c:v>
                </c:pt>
                <c:pt idx="4376">
                  <c:v>14.420868243243241</c:v>
                </c:pt>
                <c:pt idx="4377">
                  <c:v>14.420868243243241</c:v>
                </c:pt>
                <c:pt idx="4378">
                  <c:v>14.420868243243241</c:v>
                </c:pt>
                <c:pt idx="4379">
                  <c:v>14.420868243243241</c:v>
                </c:pt>
                <c:pt idx="4380">
                  <c:v>14.420868243243241</c:v>
                </c:pt>
                <c:pt idx="4381">
                  <c:v>14.420868243243241</c:v>
                </c:pt>
                <c:pt idx="4382">
                  <c:v>14.420868243243241</c:v>
                </c:pt>
                <c:pt idx="4383">
                  <c:v>14.420868243243241</c:v>
                </c:pt>
                <c:pt idx="4384">
                  <c:v>14.420868243243241</c:v>
                </c:pt>
                <c:pt idx="4385">
                  <c:v>14.420868243243241</c:v>
                </c:pt>
                <c:pt idx="4386">
                  <c:v>14.420868243243241</c:v>
                </c:pt>
                <c:pt idx="4387">
                  <c:v>14.420868243243241</c:v>
                </c:pt>
                <c:pt idx="4388">
                  <c:v>14.420868243243241</c:v>
                </c:pt>
                <c:pt idx="4389">
                  <c:v>14.420868243243241</c:v>
                </c:pt>
                <c:pt idx="4390">
                  <c:v>14.420868243243241</c:v>
                </c:pt>
                <c:pt idx="4391">
                  <c:v>14.420868243243241</c:v>
                </c:pt>
                <c:pt idx="4392">
                  <c:v>14.420868243243241</c:v>
                </c:pt>
                <c:pt idx="4393">
                  <c:v>14.420868243243241</c:v>
                </c:pt>
                <c:pt idx="4394">
                  <c:v>14.420868243243241</c:v>
                </c:pt>
                <c:pt idx="4395">
                  <c:v>14.420868243243241</c:v>
                </c:pt>
                <c:pt idx="4396">
                  <c:v>14.420868243243241</c:v>
                </c:pt>
                <c:pt idx="4397">
                  <c:v>14.420868243243241</c:v>
                </c:pt>
                <c:pt idx="4398">
                  <c:v>14.420868243243241</c:v>
                </c:pt>
                <c:pt idx="4399">
                  <c:v>14.420868243243241</c:v>
                </c:pt>
                <c:pt idx="4400">
                  <c:v>14.420868243243241</c:v>
                </c:pt>
                <c:pt idx="4401">
                  <c:v>14.420868243243241</c:v>
                </c:pt>
                <c:pt idx="4402">
                  <c:v>14.420868243243241</c:v>
                </c:pt>
                <c:pt idx="4403">
                  <c:v>14.420868243243241</c:v>
                </c:pt>
                <c:pt idx="4404">
                  <c:v>14.420868243243241</c:v>
                </c:pt>
                <c:pt idx="4405">
                  <c:v>14.420868243243241</c:v>
                </c:pt>
                <c:pt idx="4406">
                  <c:v>14.420868243243241</c:v>
                </c:pt>
                <c:pt idx="4407">
                  <c:v>14.420868243243241</c:v>
                </c:pt>
                <c:pt idx="4408">
                  <c:v>14.420868243243241</c:v>
                </c:pt>
                <c:pt idx="4409">
                  <c:v>14.420868243243241</c:v>
                </c:pt>
                <c:pt idx="4410">
                  <c:v>14.420868243243241</c:v>
                </c:pt>
                <c:pt idx="4411">
                  <c:v>14.420868243243241</c:v>
                </c:pt>
                <c:pt idx="4412">
                  <c:v>14.420868243243241</c:v>
                </c:pt>
                <c:pt idx="4413">
                  <c:v>14.420868243243241</c:v>
                </c:pt>
                <c:pt idx="4414">
                  <c:v>14.420868243243241</c:v>
                </c:pt>
                <c:pt idx="4415">
                  <c:v>14.420868243243241</c:v>
                </c:pt>
                <c:pt idx="4416">
                  <c:v>14.420868243243241</c:v>
                </c:pt>
                <c:pt idx="4417">
                  <c:v>14.420868243243241</c:v>
                </c:pt>
                <c:pt idx="4418">
                  <c:v>14.420868243243241</c:v>
                </c:pt>
                <c:pt idx="4419">
                  <c:v>14.420868243243241</c:v>
                </c:pt>
                <c:pt idx="4420">
                  <c:v>14.420868243243241</c:v>
                </c:pt>
                <c:pt idx="4421">
                  <c:v>14.420868243243241</c:v>
                </c:pt>
                <c:pt idx="4422">
                  <c:v>14.420868243243241</c:v>
                </c:pt>
                <c:pt idx="4423">
                  <c:v>14.420868243243241</c:v>
                </c:pt>
                <c:pt idx="4424">
                  <c:v>14.420868243243241</c:v>
                </c:pt>
                <c:pt idx="4425">
                  <c:v>14.420868243243241</c:v>
                </c:pt>
                <c:pt idx="4426">
                  <c:v>14.420868243243241</c:v>
                </c:pt>
                <c:pt idx="4427">
                  <c:v>14.420868243243241</c:v>
                </c:pt>
                <c:pt idx="4428">
                  <c:v>14.420868243243241</c:v>
                </c:pt>
                <c:pt idx="4429">
                  <c:v>14.420868243243241</c:v>
                </c:pt>
                <c:pt idx="4430">
                  <c:v>14.420868243243241</c:v>
                </c:pt>
                <c:pt idx="4431">
                  <c:v>14.420868243243241</c:v>
                </c:pt>
                <c:pt idx="4432">
                  <c:v>14.420868243243241</c:v>
                </c:pt>
                <c:pt idx="4433">
                  <c:v>14.420868243243241</c:v>
                </c:pt>
                <c:pt idx="4434">
                  <c:v>14.420868243243241</c:v>
                </c:pt>
                <c:pt idx="4435">
                  <c:v>14.420868243243241</c:v>
                </c:pt>
                <c:pt idx="4436">
                  <c:v>14.420868243243241</c:v>
                </c:pt>
                <c:pt idx="4437">
                  <c:v>14.420868243243241</c:v>
                </c:pt>
                <c:pt idx="4438">
                  <c:v>14.420868243243241</c:v>
                </c:pt>
                <c:pt idx="4439">
                  <c:v>14.420868243243241</c:v>
                </c:pt>
                <c:pt idx="4440">
                  <c:v>14.420868243243241</c:v>
                </c:pt>
                <c:pt idx="4441">
                  <c:v>14.420868243243241</c:v>
                </c:pt>
                <c:pt idx="4442">
                  <c:v>14.420868243243241</c:v>
                </c:pt>
                <c:pt idx="4443">
                  <c:v>14.420868243243241</c:v>
                </c:pt>
                <c:pt idx="4444">
                  <c:v>14.420868243243241</c:v>
                </c:pt>
                <c:pt idx="4445">
                  <c:v>14.420868243243241</c:v>
                </c:pt>
                <c:pt idx="4446">
                  <c:v>14.420868243243241</c:v>
                </c:pt>
                <c:pt idx="4447">
                  <c:v>14.420868243243241</c:v>
                </c:pt>
                <c:pt idx="4448">
                  <c:v>14.420868243243241</c:v>
                </c:pt>
                <c:pt idx="4449">
                  <c:v>14.420868243243241</c:v>
                </c:pt>
                <c:pt idx="4450">
                  <c:v>14.420868243243241</c:v>
                </c:pt>
                <c:pt idx="4451">
                  <c:v>14.420868243243241</c:v>
                </c:pt>
                <c:pt idx="4452">
                  <c:v>14.420868243243241</c:v>
                </c:pt>
                <c:pt idx="4453">
                  <c:v>14.420868243243241</c:v>
                </c:pt>
                <c:pt idx="4454">
                  <c:v>14.420868243243241</c:v>
                </c:pt>
                <c:pt idx="4455">
                  <c:v>14.420868243243241</c:v>
                </c:pt>
                <c:pt idx="4456">
                  <c:v>14.420868243243241</c:v>
                </c:pt>
                <c:pt idx="4457">
                  <c:v>14.420868243243241</c:v>
                </c:pt>
                <c:pt idx="4458">
                  <c:v>14.420868243243241</c:v>
                </c:pt>
                <c:pt idx="4459">
                  <c:v>14.420868243243241</c:v>
                </c:pt>
                <c:pt idx="4460">
                  <c:v>14.420868243243241</c:v>
                </c:pt>
                <c:pt idx="4461">
                  <c:v>14.420868243243241</c:v>
                </c:pt>
                <c:pt idx="4462">
                  <c:v>14.420868243243241</c:v>
                </c:pt>
                <c:pt idx="4463">
                  <c:v>14.420868243243241</c:v>
                </c:pt>
                <c:pt idx="4464">
                  <c:v>14.420868243243241</c:v>
                </c:pt>
                <c:pt idx="4465">
                  <c:v>14.420868243243241</c:v>
                </c:pt>
                <c:pt idx="4466">
                  <c:v>14.420868243243241</c:v>
                </c:pt>
                <c:pt idx="4467">
                  <c:v>14.420868243243241</c:v>
                </c:pt>
                <c:pt idx="4468">
                  <c:v>14.420868243243241</c:v>
                </c:pt>
                <c:pt idx="4469">
                  <c:v>14.420868243243241</c:v>
                </c:pt>
                <c:pt idx="4470">
                  <c:v>14.420868243243241</c:v>
                </c:pt>
                <c:pt idx="4471">
                  <c:v>14.420868243243241</c:v>
                </c:pt>
                <c:pt idx="4472">
                  <c:v>14.420868243243241</c:v>
                </c:pt>
                <c:pt idx="4473">
                  <c:v>14.420868243243241</c:v>
                </c:pt>
                <c:pt idx="4474">
                  <c:v>14.420868243243241</c:v>
                </c:pt>
                <c:pt idx="4475">
                  <c:v>14.420868243243241</c:v>
                </c:pt>
                <c:pt idx="4476">
                  <c:v>14.420868243243241</c:v>
                </c:pt>
                <c:pt idx="4477">
                  <c:v>14.420868243243241</c:v>
                </c:pt>
                <c:pt idx="4478">
                  <c:v>14.420868243243241</c:v>
                </c:pt>
                <c:pt idx="4479">
                  <c:v>14.420868243243241</c:v>
                </c:pt>
                <c:pt idx="4480">
                  <c:v>14.420868243243241</c:v>
                </c:pt>
                <c:pt idx="4481">
                  <c:v>14.420868243243241</c:v>
                </c:pt>
                <c:pt idx="4482">
                  <c:v>14.420868243243241</c:v>
                </c:pt>
                <c:pt idx="4483">
                  <c:v>14.420868243243241</c:v>
                </c:pt>
                <c:pt idx="4484">
                  <c:v>14.420868243243241</c:v>
                </c:pt>
                <c:pt idx="4485">
                  <c:v>14.420868243243241</c:v>
                </c:pt>
                <c:pt idx="4486">
                  <c:v>14.420868243243241</c:v>
                </c:pt>
                <c:pt idx="4487">
                  <c:v>14.420868243243241</c:v>
                </c:pt>
                <c:pt idx="4488">
                  <c:v>14.420868243243241</c:v>
                </c:pt>
                <c:pt idx="4489">
                  <c:v>14.420868243243241</c:v>
                </c:pt>
                <c:pt idx="4490">
                  <c:v>14.420868243243241</c:v>
                </c:pt>
                <c:pt idx="4491">
                  <c:v>14.420868243243241</c:v>
                </c:pt>
                <c:pt idx="4492">
                  <c:v>14.420868243243241</c:v>
                </c:pt>
                <c:pt idx="4493">
                  <c:v>14.420868243243241</c:v>
                </c:pt>
                <c:pt idx="4494">
                  <c:v>14.420868243243241</c:v>
                </c:pt>
                <c:pt idx="4495">
                  <c:v>14.420868243243241</c:v>
                </c:pt>
                <c:pt idx="4496">
                  <c:v>14.420868243243241</c:v>
                </c:pt>
                <c:pt idx="4497">
                  <c:v>14.420868243243241</c:v>
                </c:pt>
                <c:pt idx="4498">
                  <c:v>14.420868243243241</c:v>
                </c:pt>
                <c:pt idx="4499">
                  <c:v>14.420868243243241</c:v>
                </c:pt>
                <c:pt idx="4500">
                  <c:v>14.420868243243241</c:v>
                </c:pt>
                <c:pt idx="4501">
                  <c:v>14.420868243243241</c:v>
                </c:pt>
                <c:pt idx="4502">
                  <c:v>14.420868243243241</c:v>
                </c:pt>
                <c:pt idx="4503">
                  <c:v>14.420868243243241</c:v>
                </c:pt>
                <c:pt idx="4504">
                  <c:v>14.420868243243241</c:v>
                </c:pt>
                <c:pt idx="4505">
                  <c:v>14.420868243243241</c:v>
                </c:pt>
                <c:pt idx="4506">
                  <c:v>14.420868243243241</c:v>
                </c:pt>
                <c:pt idx="4507">
                  <c:v>14.420868243243241</c:v>
                </c:pt>
                <c:pt idx="4508">
                  <c:v>14.420868243243241</c:v>
                </c:pt>
                <c:pt idx="4509">
                  <c:v>14.420868243243241</c:v>
                </c:pt>
                <c:pt idx="4510">
                  <c:v>14.420868243243241</c:v>
                </c:pt>
                <c:pt idx="4511">
                  <c:v>14.420868243243241</c:v>
                </c:pt>
                <c:pt idx="4512">
                  <c:v>14.420868243243241</c:v>
                </c:pt>
                <c:pt idx="4513">
                  <c:v>14.420868243243241</c:v>
                </c:pt>
                <c:pt idx="4514">
                  <c:v>14.420868243243241</c:v>
                </c:pt>
                <c:pt idx="4515">
                  <c:v>14.420868243243241</c:v>
                </c:pt>
                <c:pt idx="4516">
                  <c:v>14.420868243243241</c:v>
                </c:pt>
                <c:pt idx="4517">
                  <c:v>14.420868243243241</c:v>
                </c:pt>
                <c:pt idx="4518">
                  <c:v>14.420868243243241</c:v>
                </c:pt>
                <c:pt idx="4519">
                  <c:v>14.420868243243241</c:v>
                </c:pt>
                <c:pt idx="4520">
                  <c:v>14.420868243243241</c:v>
                </c:pt>
                <c:pt idx="4521">
                  <c:v>14.420868243243241</c:v>
                </c:pt>
                <c:pt idx="4522">
                  <c:v>14.420868243243241</c:v>
                </c:pt>
                <c:pt idx="4523">
                  <c:v>14.420868243243241</c:v>
                </c:pt>
                <c:pt idx="4524">
                  <c:v>14.420868243243241</c:v>
                </c:pt>
                <c:pt idx="4525">
                  <c:v>14.420868243243241</c:v>
                </c:pt>
                <c:pt idx="4526">
                  <c:v>14.420868243243241</c:v>
                </c:pt>
                <c:pt idx="4527">
                  <c:v>14.420868243243241</c:v>
                </c:pt>
                <c:pt idx="4528">
                  <c:v>14.420868243243241</c:v>
                </c:pt>
                <c:pt idx="4529">
                  <c:v>14.420868243243241</c:v>
                </c:pt>
                <c:pt idx="4530">
                  <c:v>14.420868243243241</c:v>
                </c:pt>
                <c:pt idx="4531">
                  <c:v>14.420868243243241</c:v>
                </c:pt>
                <c:pt idx="4532">
                  <c:v>14.420868243243241</c:v>
                </c:pt>
                <c:pt idx="4533">
                  <c:v>14.420868243243241</c:v>
                </c:pt>
                <c:pt idx="4534">
                  <c:v>14.420868243243241</c:v>
                </c:pt>
                <c:pt idx="4535">
                  <c:v>14.420868243243241</c:v>
                </c:pt>
                <c:pt idx="4536">
                  <c:v>14.420868243243241</c:v>
                </c:pt>
                <c:pt idx="4537">
                  <c:v>14.420868243243241</c:v>
                </c:pt>
                <c:pt idx="4538">
                  <c:v>14.420868243243241</c:v>
                </c:pt>
                <c:pt idx="4539">
                  <c:v>14.420868243243241</c:v>
                </c:pt>
                <c:pt idx="4540">
                  <c:v>14.420868243243241</c:v>
                </c:pt>
                <c:pt idx="4541">
                  <c:v>14.420868243243241</c:v>
                </c:pt>
                <c:pt idx="4542">
                  <c:v>14.420868243243241</c:v>
                </c:pt>
                <c:pt idx="4543">
                  <c:v>14.420868243243241</c:v>
                </c:pt>
                <c:pt idx="4544">
                  <c:v>14.420868243243241</c:v>
                </c:pt>
                <c:pt idx="4545">
                  <c:v>14.420868243243241</c:v>
                </c:pt>
                <c:pt idx="4546">
                  <c:v>14.420868243243241</c:v>
                </c:pt>
                <c:pt idx="4547">
                  <c:v>14.420868243243241</c:v>
                </c:pt>
                <c:pt idx="4548">
                  <c:v>14.420868243243241</c:v>
                </c:pt>
                <c:pt idx="4549">
                  <c:v>14.420868243243241</c:v>
                </c:pt>
                <c:pt idx="4550">
                  <c:v>14.420868243243241</c:v>
                </c:pt>
                <c:pt idx="4551">
                  <c:v>14.420868243243241</c:v>
                </c:pt>
                <c:pt idx="4552">
                  <c:v>14.420868243243241</c:v>
                </c:pt>
                <c:pt idx="4553">
                  <c:v>14.420868243243241</c:v>
                </c:pt>
                <c:pt idx="4554">
                  <c:v>14.420868243243241</c:v>
                </c:pt>
                <c:pt idx="4555">
                  <c:v>14.420868243243241</c:v>
                </c:pt>
                <c:pt idx="4556">
                  <c:v>14.420868243243241</c:v>
                </c:pt>
                <c:pt idx="4557">
                  <c:v>14.420868243243241</c:v>
                </c:pt>
                <c:pt idx="4558">
                  <c:v>14.420868243243241</c:v>
                </c:pt>
                <c:pt idx="4559">
                  <c:v>14.420868243243241</c:v>
                </c:pt>
                <c:pt idx="4560">
                  <c:v>14.420868243243241</c:v>
                </c:pt>
                <c:pt idx="4561">
                  <c:v>14.420868243243241</c:v>
                </c:pt>
                <c:pt idx="4562">
                  <c:v>14.420868243243241</c:v>
                </c:pt>
                <c:pt idx="4563">
                  <c:v>14.420868243243241</c:v>
                </c:pt>
                <c:pt idx="4564">
                  <c:v>14.420868243243241</c:v>
                </c:pt>
                <c:pt idx="4565">
                  <c:v>14.420868243243241</c:v>
                </c:pt>
                <c:pt idx="4566">
                  <c:v>14.420868243243241</c:v>
                </c:pt>
                <c:pt idx="4567">
                  <c:v>14.420868243243241</c:v>
                </c:pt>
                <c:pt idx="4568">
                  <c:v>14.420868243243241</c:v>
                </c:pt>
                <c:pt idx="4569">
                  <c:v>14.420868243243241</c:v>
                </c:pt>
                <c:pt idx="4570">
                  <c:v>14.420868243243241</c:v>
                </c:pt>
                <c:pt idx="4571">
                  <c:v>14.420868243243241</c:v>
                </c:pt>
                <c:pt idx="4572">
                  <c:v>14.420868243243241</c:v>
                </c:pt>
                <c:pt idx="4573">
                  <c:v>14.420868243243241</c:v>
                </c:pt>
                <c:pt idx="4574">
                  <c:v>14.420868243243241</c:v>
                </c:pt>
                <c:pt idx="4575">
                  <c:v>14.420868243243241</c:v>
                </c:pt>
                <c:pt idx="4576">
                  <c:v>14.420868243243241</c:v>
                </c:pt>
                <c:pt idx="4577">
                  <c:v>14.420868243243241</c:v>
                </c:pt>
                <c:pt idx="4578">
                  <c:v>14.420868243243241</c:v>
                </c:pt>
                <c:pt idx="4579">
                  <c:v>14.420868243243241</c:v>
                </c:pt>
                <c:pt idx="4580">
                  <c:v>14.420868243243241</c:v>
                </c:pt>
                <c:pt idx="4581">
                  <c:v>14.420868243243241</c:v>
                </c:pt>
                <c:pt idx="4582">
                  <c:v>14.420868243243241</c:v>
                </c:pt>
                <c:pt idx="4583">
                  <c:v>14.420868243243241</c:v>
                </c:pt>
                <c:pt idx="4584">
                  <c:v>14.420868243243241</c:v>
                </c:pt>
                <c:pt idx="4585">
                  <c:v>14.420868243243241</c:v>
                </c:pt>
                <c:pt idx="4586">
                  <c:v>14.420868243243241</c:v>
                </c:pt>
                <c:pt idx="4587">
                  <c:v>14.420868243243241</c:v>
                </c:pt>
              </c:numCache>
            </c:numRef>
          </c:val>
          <c:smooth val="0"/>
          <c:extLst>
            <c:ext xmlns:c16="http://schemas.microsoft.com/office/drawing/2014/chart" uri="{C3380CC4-5D6E-409C-BE32-E72D297353CC}">
              <c16:uniqueId val="{00000007-070E-45FF-9145-46F7F45A9F8E}"/>
            </c:ext>
          </c:extLst>
        </c:ser>
        <c:dLbls>
          <c:showLegendKey val="0"/>
          <c:showVal val="0"/>
          <c:showCatName val="0"/>
          <c:showSerName val="0"/>
          <c:showPercent val="0"/>
          <c:showBubbleSize val="0"/>
        </c:dLbls>
        <c:smooth val="0"/>
        <c:axId val="1330136632"/>
        <c:axId val="1330136960"/>
      </c:lineChart>
      <c:dateAx>
        <c:axId val="1330136632"/>
        <c:scaling>
          <c:orientation val="minMax"/>
        </c:scaling>
        <c:delete val="0"/>
        <c:axPos val="b"/>
        <c:numFmt formatCode="yyyy" sourceLinked="0"/>
        <c:majorTickMark val="none"/>
        <c:minorTickMark val="none"/>
        <c:tickLblPos val="nextTo"/>
        <c:spPr>
          <a:noFill/>
          <a:ln w="9525" cap="flat" cmpd="sng" algn="ctr">
            <a:solidFill>
              <a:srgbClr val="888888"/>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de-DE"/>
          </a:p>
        </c:txPr>
        <c:crossAx val="1330136960"/>
        <c:crosses val="autoZero"/>
        <c:auto val="0"/>
        <c:lblOffset val="100"/>
        <c:baseTimeUnit val="days"/>
        <c:majorUnit val="3"/>
        <c:majorTimeUnit val="years"/>
      </c:dateAx>
      <c:valAx>
        <c:axId val="1330136960"/>
        <c:scaling>
          <c:orientation val="minMax"/>
          <c:max val="32"/>
          <c:min val="7"/>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de-DE"/>
          </a:p>
        </c:txPr>
        <c:crossAx val="1330136632"/>
        <c:crosses val="autoZero"/>
        <c:crossBetween val="between"/>
      </c:valAx>
      <c:spPr>
        <a:noFill/>
        <a:ln>
          <a:noFill/>
        </a:ln>
        <a:effectLst/>
      </c:spPr>
    </c:plotArea>
    <c:legend>
      <c:legendPos val="b"/>
      <c:layout>
        <c:manualLayout>
          <c:xMode val="edge"/>
          <c:yMode val="edge"/>
          <c:x val="0.30359680072396167"/>
          <c:y val="0.92040014669995762"/>
          <c:w val="0.40441050833562842"/>
          <c:h val="6.0704422646644787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de-DE"/>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470562285537598"/>
          <c:y val="4.1313200208679693E-2"/>
          <c:w val="0.8697649335823292"/>
          <c:h val="0.81607412189086537"/>
        </c:manualLayout>
      </c:layout>
      <c:lineChart>
        <c:grouping val="standard"/>
        <c:varyColors val="0"/>
        <c:ser>
          <c:idx val="0"/>
          <c:order val="0"/>
          <c:tx>
            <c:strRef>
              <c:f>Tabelle1!$F$2</c:f>
              <c:strCache>
                <c:ptCount val="1"/>
                <c:pt idx="0">
                  <c:v>MSCI World Growth</c:v>
                </c:pt>
              </c:strCache>
            </c:strRef>
          </c:tx>
          <c:spPr>
            <a:ln w="28575" cap="rnd">
              <a:solidFill>
                <a:schemeClr val="accent2"/>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F$3:$F$1319</c:f>
              <c:numCache>
                <c:formatCode>General</c:formatCode>
                <c:ptCount val="1317"/>
                <c:pt idx="0">
                  <c:v>0</c:v>
                </c:pt>
                <c:pt idx="1">
                  <c:v>-4.3126853934348786E-3</c:v>
                </c:pt>
                <c:pt idx="2">
                  <c:v>-1.6024492839518123E-2</c:v>
                </c:pt>
                <c:pt idx="3">
                  <c:v>-4.2108753436728152E-2</c:v>
                </c:pt>
                <c:pt idx="4">
                  <c:v>-3.4710909487287056E-2</c:v>
                </c:pt>
                <c:pt idx="5">
                  <c:v>-2.9561431665481641E-2</c:v>
                </c:pt>
                <c:pt idx="6">
                  <c:v>-1.1778086226685081E-2</c:v>
                </c:pt>
                <c:pt idx="7">
                  <c:v>-1.7469844980687932E-2</c:v>
                </c:pt>
                <c:pt idx="8">
                  <c:v>-2.5068898892176672E-2</c:v>
                </c:pt>
                <c:pt idx="9">
                  <c:v>-1.6083103000876786E-2</c:v>
                </c:pt>
                <c:pt idx="10">
                  <c:v>-3.8172195558554889E-2</c:v>
                </c:pt>
                <c:pt idx="11">
                  <c:v>-3.8152293665757009E-2</c:v>
                </c:pt>
                <c:pt idx="12">
                  <c:v>-2.6783200465375634E-2</c:v>
                </c:pt>
                <c:pt idx="13">
                  <c:v>-1.5858704594927109E-2</c:v>
                </c:pt>
                <c:pt idx="14">
                  <c:v>-1.9494360460891369E-2</c:v>
                </c:pt>
                <c:pt idx="15">
                  <c:v>-1.0294938747816729E-2</c:v>
                </c:pt>
                <c:pt idx="16">
                  <c:v>-1.4123223025722997E-2</c:v>
                </c:pt>
                <c:pt idx="17">
                  <c:v>-3.1251997036261137E-2</c:v>
                </c:pt>
                <c:pt idx="18">
                  <c:v>-2.604390905309717E-2</c:v>
                </c:pt>
                <c:pt idx="19">
                  <c:v>-2.512860457057009E-2</c:v>
                </c:pt>
                <c:pt idx="20">
                  <c:v>-2.3218570620497148E-2</c:v>
                </c:pt>
                <c:pt idx="21">
                  <c:v>-1.1778816571375028E-2</c:v>
                </c:pt>
                <c:pt idx="22">
                  <c:v>-1.0099388957115263E-2</c:v>
                </c:pt>
                <c:pt idx="23">
                  <c:v>-1.0796137791211247E-2</c:v>
                </c:pt>
                <c:pt idx="24">
                  <c:v>-1.7297301047715874E-2</c:v>
                </c:pt>
                <c:pt idx="25">
                  <c:v>-6.9074174902216123E-3</c:v>
                </c:pt>
                <c:pt idx="26">
                  <c:v>5.6422779012668123E-3</c:v>
                </c:pt>
                <c:pt idx="27">
                  <c:v>7.121408484341174E-3</c:v>
                </c:pt>
                <c:pt idx="28">
                  <c:v>1.2569232111940831E-3</c:v>
                </c:pt>
                <c:pt idx="29">
                  <c:v>-4.4242455448060269E-3</c:v>
                </c:pt>
                <c:pt idx="30">
                  <c:v>1.8488675822998513E-3</c:v>
                </c:pt>
                <c:pt idx="31">
                  <c:v>6.7788768248118192E-3</c:v>
                </c:pt>
                <c:pt idx="32">
                  <c:v>6.9432043800232712E-3</c:v>
                </c:pt>
                <c:pt idx="33">
                  <c:v>1.6744977876033129E-3</c:v>
                </c:pt>
                <c:pt idx="34">
                  <c:v>6.8186806104075792E-3</c:v>
                </c:pt>
                <c:pt idx="35">
                  <c:v>6.5132139438868197E-3</c:v>
                </c:pt>
                <c:pt idx="36">
                  <c:v>8.8873819443455737E-3</c:v>
                </c:pt>
                <c:pt idx="37">
                  <c:v>2.8689765278171464E-3</c:v>
                </c:pt>
                <c:pt idx="38">
                  <c:v>1.183523569866507E-3</c:v>
                </c:pt>
                <c:pt idx="39">
                  <c:v>-4.4852293264067145E-3</c:v>
                </c:pt>
                <c:pt idx="40">
                  <c:v>-2.6175553683439601E-3</c:v>
                </c:pt>
                <c:pt idx="41">
                  <c:v>-2.8945385919612043E-3</c:v>
                </c:pt>
                <c:pt idx="42">
                  <c:v>-9.0792800115978567E-3</c:v>
                </c:pt>
                <c:pt idx="43">
                  <c:v>-5.6289491106774614E-3</c:v>
                </c:pt>
                <c:pt idx="44">
                  <c:v>-1.4428141933726324E-2</c:v>
                </c:pt>
                <c:pt idx="45">
                  <c:v>-3.1063202933940715E-2</c:v>
                </c:pt>
                <c:pt idx="46">
                  <c:v>-2.4359551612181063E-2</c:v>
                </c:pt>
                <c:pt idx="47">
                  <c:v>-1.3248087501136596E-2</c:v>
                </c:pt>
                <c:pt idx="48">
                  <c:v>-1.3425196088419966E-2</c:v>
                </c:pt>
                <c:pt idx="49">
                  <c:v>-2.5907699768444203E-2</c:v>
                </c:pt>
                <c:pt idx="50">
                  <c:v>-1.7969400748530262E-2</c:v>
                </c:pt>
                <c:pt idx="51">
                  <c:v>-1.3160263552184803E-2</c:v>
                </c:pt>
                <c:pt idx="52">
                  <c:v>-1.2784683795441509E-3</c:v>
                </c:pt>
                <c:pt idx="53">
                  <c:v>-2.3363726627601E-3</c:v>
                </c:pt>
                <c:pt idx="54">
                  <c:v>7.7840137041877977E-3</c:v>
                </c:pt>
                <c:pt idx="55">
                  <c:v>6.2597843365164163E-3</c:v>
                </c:pt>
                <c:pt idx="56">
                  <c:v>9.6893004137768024E-3</c:v>
                </c:pt>
                <c:pt idx="57">
                  <c:v>4.032780791058288E-3</c:v>
                </c:pt>
                <c:pt idx="58">
                  <c:v>9.1747725797928226E-3</c:v>
                </c:pt>
                <c:pt idx="59">
                  <c:v>3.4824660672727603E-3</c:v>
                </c:pt>
                <c:pt idx="60">
                  <c:v>4.4815776029576426E-3</c:v>
                </c:pt>
                <c:pt idx="61">
                  <c:v>1.1492521452962423E-2</c:v>
                </c:pt>
                <c:pt idx="62">
                  <c:v>1.5469613461421172E-2</c:v>
                </c:pt>
                <c:pt idx="63">
                  <c:v>2.1098745158271148E-2</c:v>
                </c:pt>
                <c:pt idx="64">
                  <c:v>1.9842187119421872E-2</c:v>
                </c:pt>
                <c:pt idx="65">
                  <c:v>2.4650046212560284E-2</c:v>
                </c:pt>
                <c:pt idx="66">
                  <c:v>2.4239044738359583E-2</c:v>
                </c:pt>
                <c:pt idx="67">
                  <c:v>3.3047549456203695E-2</c:v>
                </c:pt>
                <c:pt idx="68">
                  <c:v>3.6096921122408476E-2</c:v>
                </c:pt>
                <c:pt idx="69">
                  <c:v>3.3147241506365166E-2</c:v>
                </c:pt>
                <c:pt idx="70">
                  <c:v>3.3823540689146059E-2</c:v>
                </c:pt>
                <c:pt idx="71">
                  <c:v>3.6581869996454186E-2</c:v>
                </c:pt>
                <c:pt idx="72">
                  <c:v>3.7620420145389799E-2</c:v>
                </c:pt>
                <c:pt idx="73">
                  <c:v>3.7580616359794039E-2</c:v>
                </c:pt>
                <c:pt idx="74">
                  <c:v>3.9833729727913658E-2</c:v>
                </c:pt>
                <c:pt idx="75">
                  <c:v>4.0583793724367156E-2</c:v>
                </c:pt>
                <c:pt idx="76">
                  <c:v>4.1248224805938261E-2</c:v>
                </c:pt>
                <c:pt idx="77">
                  <c:v>5.0242237074998641E-2</c:v>
                </c:pt>
                <c:pt idx="78">
                  <c:v>5.2484395272770934E-2</c:v>
                </c:pt>
                <c:pt idx="79">
                  <c:v>5.3358070107977662E-2</c:v>
                </c:pt>
                <c:pt idx="80">
                  <c:v>4.9181776585368375E-2</c:v>
                </c:pt>
                <c:pt idx="81">
                  <c:v>4.5386175232331682E-2</c:v>
                </c:pt>
                <c:pt idx="82">
                  <c:v>4.6031069593449825E-2</c:v>
                </c:pt>
                <c:pt idx="83">
                  <c:v>5.6160950441365598E-2</c:v>
                </c:pt>
                <c:pt idx="84">
                  <c:v>5.9993799373583512E-2</c:v>
                </c:pt>
                <c:pt idx="85">
                  <c:v>6.4297903216912644E-2</c:v>
                </c:pt>
                <c:pt idx="86">
                  <c:v>6.4063097399132962E-2</c:v>
                </c:pt>
                <c:pt idx="87">
                  <c:v>6.0099699353608482E-2</c:v>
                </c:pt>
                <c:pt idx="88">
                  <c:v>5.0521959091202939E-2</c:v>
                </c:pt>
                <c:pt idx="89">
                  <c:v>4.6011167700652278E-2</c:v>
                </c:pt>
                <c:pt idx="90">
                  <c:v>5.000304918907994E-2</c:v>
                </c:pt>
                <c:pt idx="91">
                  <c:v>5.1934993479847646E-2</c:v>
                </c:pt>
                <c:pt idx="92">
                  <c:v>6.0012605749346415E-2</c:v>
                </c:pt>
                <c:pt idx="93">
                  <c:v>5.7259023682522114E-2</c:v>
                </c:pt>
                <c:pt idx="94">
                  <c:v>5.5921214796929464E-2</c:v>
                </c:pt>
                <c:pt idx="95">
                  <c:v>5.9090728164610917E-2</c:v>
                </c:pt>
                <c:pt idx="96">
                  <c:v>6.2617927844135668E-2</c:v>
                </c:pt>
                <c:pt idx="97">
                  <c:v>6.9169850056583382E-2</c:v>
                </c:pt>
                <c:pt idx="98">
                  <c:v>7.7707579480673861E-2</c:v>
                </c:pt>
                <c:pt idx="99">
                  <c:v>7.6811811718599632E-2</c:v>
                </c:pt>
                <c:pt idx="100">
                  <c:v>7.5776000362250961E-2</c:v>
                </c:pt>
                <c:pt idx="101">
                  <c:v>8.0505347401232719E-2</c:v>
                </c:pt>
                <c:pt idx="102">
                  <c:v>8.5115830841944851E-2</c:v>
                </c:pt>
                <c:pt idx="103">
                  <c:v>8.6870849131601924E-2</c:v>
                </c:pt>
                <c:pt idx="104">
                  <c:v>8.7674045704240422E-2</c:v>
                </c:pt>
                <c:pt idx="105">
                  <c:v>8.7519942974686682E-2</c:v>
                </c:pt>
                <c:pt idx="106">
                  <c:v>9.3371647215761744E-2</c:v>
                </c:pt>
                <c:pt idx="107">
                  <c:v>9.5802964688199488E-2</c:v>
                </c:pt>
                <c:pt idx="108">
                  <c:v>8.9464668297526417E-2</c:v>
                </c:pt>
                <c:pt idx="109">
                  <c:v>9.1363199318734489E-2</c:v>
                </c:pt>
                <c:pt idx="110">
                  <c:v>9.1367763973045912E-2</c:v>
                </c:pt>
                <c:pt idx="111">
                  <c:v>0.10263260046895417</c:v>
                </c:pt>
                <c:pt idx="112">
                  <c:v>9.7499555402670079E-2</c:v>
                </c:pt>
                <c:pt idx="113">
                  <c:v>9.9734775325889036E-2</c:v>
                </c:pt>
                <c:pt idx="114">
                  <c:v>9.9848343925157179E-2</c:v>
                </c:pt>
                <c:pt idx="115">
                  <c:v>0.10426254723047812</c:v>
                </c:pt>
                <c:pt idx="116">
                  <c:v>0.11305626246835332</c:v>
                </c:pt>
                <c:pt idx="117">
                  <c:v>0.11322259847146143</c:v>
                </c:pt>
                <c:pt idx="118">
                  <c:v>0.1198669092871727</c:v>
                </c:pt>
                <c:pt idx="119">
                  <c:v>0.11884661775548278</c:v>
                </c:pt>
                <c:pt idx="120">
                  <c:v>0.12300574817788124</c:v>
                </c:pt>
                <c:pt idx="121">
                  <c:v>0.13075872223275131</c:v>
                </c:pt>
                <c:pt idx="122">
                  <c:v>0.13611543536029536</c:v>
                </c:pt>
                <c:pt idx="123">
                  <c:v>0.13573017853641112</c:v>
                </c:pt>
                <c:pt idx="124">
                  <c:v>0.13476210665004396</c:v>
                </c:pt>
                <c:pt idx="125">
                  <c:v>0.13636229186545723</c:v>
                </c:pt>
                <c:pt idx="126">
                  <c:v>0.13585744109861375</c:v>
                </c:pt>
                <c:pt idx="127">
                  <c:v>0.13185515219835575</c:v>
                </c:pt>
                <c:pt idx="128">
                  <c:v>0.11211430040464743</c:v>
                </c:pt>
                <c:pt idx="129">
                  <c:v>0.12193122855297189</c:v>
                </c:pt>
                <c:pt idx="130">
                  <c:v>0.12494828246665146</c:v>
                </c:pt>
                <c:pt idx="131">
                  <c:v>0.12354072566318042</c:v>
                </c:pt>
                <c:pt idx="132">
                  <c:v>0.10980969773589511</c:v>
                </c:pt>
                <c:pt idx="133">
                  <c:v>0.11807866031412861</c:v>
                </c:pt>
                <c:pt idx="134">
                  <c:v>0.13582439300139892</c:v>
                </c:pt>
                <c:pt idx="135">
                  <c:v>0.14171973533769133</c:v>
                </c:pt>
                <c:pt idx="136">
                  <c:v>0.14944550405286527</c:v>
                </c:pt>
                <c:pt idx="137">
                  <c:v>0.1440210514553395</c:v>
                </c:pt>
                <c:pt idx="138">
                  <c:v>0.15117349958899862</c:v>
                </c:pt>
                <c:pt idx="139">
                  <c:v>0.15365466308651698</c:v>
                </c:pt>
                <c:pt idx="140">
                  <c:v>0.16144232851415397</c:v>
                </c:pt>
                <c:pt idx="141">
                  <c:v>0.16067546658983423</c:v>
                </c:pt>
                <c:pt idx="142">
                  <c:v>0.16343507400034984</c:v>
                </c:pt>
                <c:pt idx="143">
                  <c:v>0.1627290132714585</c:v>
                </c:pt>
                <c:pt idx="144">
                  <c:v>0.1609710736030423</c:v>
                </c:pt>
                <c:pt idx="145">
                  <c:v>0.16853379286621228</c:v>
                </c:pt>
                <c:pt idx="146">
                  <c:v>0.16030299079802202</c:v>
                </c:pt>
                <c:pt idx="147">
                  <c:v>0.14792401347778084</c:v>
                </c:pt>
                <c:pt idx="148">
                  <c:v>0.11074563445590968</c:v>
                </c:pt>
                <c:pt idx="149">
                  <c:v>8.2019169357073762E-2</c:v>
                </c:pt>
                <c:pt idx="150">
                  <c:v>7.9761126162297913E-2</c:v>
                </c:pt>
                <c:pt idx="151">
                  <c:v>4.0690606635254589E-2</c:v>
                </c:pt>
                <c:pt idx="152">
                  <c:v>2.8159352447184371E-2</c:v>
                </c:pt>
                <c:pt idx="153">
                  <c:v>6.5689940195724938E-2</c:v>
                </c:pt>
                <c:pt idx="154">
                  <c:v>5.0536200812654419E-2</c:v>
                </c:pt>
                <c:pt idx="155">
                  <c:v>8.2760651803421847E-2</c:v>
                </c:pt>
                <c:pt idx="156">
                  <c:v>5.9848825952652396E-2</c:v>
                </c:pt>
                <c:pt idx="157">
                  <c:v>4.0392626001804821E-2</c:v>
                </c:pt>
                <c:pt idx="158">
                  <c:v>-2.4907857888069596E-2</c:v>
                </c:pt>
                <c:pt idx="159">
                  <c:v>5.7905378733020818E-3</c:v>
                </c:pt>
                <c:pt idx="160">
                  <c:v>-3.2636365395830369E-2</c:v>
                </c:pt>
                <c:pt idx="161">
                  <c:v>-0.12214996678757517</c:v>
                </c:pt>
                <c:pt idx="162">
                  <c:v>-7.0132261771604365E-2</c:v>
                </c:pt>
                <c:pt idx="163">
                  <c:v>-0.15974172090388916</c:v>
                </c:pt>
                <c:pt idx="164">
                  <c:v>-0.12781926744236571</c:v>
                </c:pt>
                <c:pt idx="165">
                  <c:v>-0.16707657262383258</c:v>
                </c:pt>
                <c:pt idx="166">
                  <c:v>-0.15475584029260536</c:v>
                </c:pt>
                <c:pt idx="167">
                  <c:v>-0.17622925227675834</c:v>
                </c:pt>
                <c:pt idx="168">
                  <c:v>-0.19463978121794467</c:v>
                </c:pt>
                <c:pt idx="169">
                  <c:v>-0.12757971438410221</c:v>
                </c:pt>
                <c:pt idx="170">
                  <c:v>-0.11054917173434586</c:v>
                </c:pt>
                <c:pt idx="171">
                  <c:v>-6.5552087635520118E-2</c:v>
                </c:pt>
                <c:pt idx="172">
                  <c:v>-9.0625186009663072E-2</c:v>
                </c:pt>
                <c:pt idx="173">
                  <c:v>-6.6271477155000702E-2</c:v>
                </c:pt>
                <c:pt idx="174">
                  <c:v>-7.4502461809363263E-2</c:v>
                </c:pt>
                <c:pt idx="175">
                  <c:v>-0.10925573128866028</c:v>
                </c:pt>
                <c:pt idx="176">
                  <c:v>-0.10138937122069447</c:v>
                </c:pt>
                <c:pt idx="177">
                  <c:v>-0.11310811694133105</c:v>
                </c:pt>
                <c:pt idx="178">
                  <c:v>-5.805856853171143E-2</c:v>
                </c:pt>
                <c:pt idx="179">
                  <c:v>-5.4098274451118589E-2</c:v>
                </c:pt>
                <c:pt idx="180">
                  <c:v>-3.2320308731307312E-2</c:v>
                </c:pt>
                <c:pt idx="181">
                  <c:v>-2.1353635455021225E-2</c:v>
                </c:pt>
                <c:pt idx="182">
                  <c:v>-2.0897900368568423E-2</c:v>
                </c:pt>
                <c:pt idx="183">
                  <c:v>-2.2819437247506236E-2</c:v>
                </c:pt>
                <c:pt idx="184">
                  <c:v>9.4862645900044562E-3</c:v>
                </c:pt>
                <c:pt idx="185">
                  <c:v>-6.0656952351946236E-3</c:v>
                </c:pt>
                <c:pt idx="186">
                  <c:v>2.7616158584125028E-3</c:v>
                </c:pt>
                <c:pt idx="187">
                  <c:v>2.3524037287017796E-2</c:v>
                </c:pt>
                <c:pt idx="188">
                  <c:v>1.4505923643193031E-2</c:v>
                </c:pt>
                <c:pt idx="189">
                  <c:v>-1.8342424298859905E-2</c:v>
                </c:pt>
                <c:pt idx="190">
                  <c:v>4.0714890596191822E-3</c:v>
                </c:pt>
                <c:pt idx="191">
                  <c:v>5.422991908146102E-3</c:v>
                </c:pt>
                <c:pt idx="192">
                  <c:v>1.4037407524668311E-2</c:v>
                </c:pt>
                <c:pt idx="193">
                  <c:v>2.7234736069861931E-2</c:v>
                </c:pt>
                <c:pt idx="194">
                  <c:v>2.0060925354025372E-2</c:v>
                </c:pt>
                <c:pt idx="195">
                  <c:v>4.4382864214680406E-2</c:v>
                </c:pt>
                <c:pt idx="196">
                  <c:v>4.3687210897619178E-2</c:v>
                </c:pt>
                <c:pt idx="197">
                  <c:v>2.1744187277906724E-2</c:v>
                </c:pt>
                <c:pt idx="198">
                  <c:v>2.2622791939769904E-2</c:v>
                </c:pt>
                <c:pt idx="199">
                  <c:v>3.5061840110749642E-2</c:v>
                </c:pt>
                <c:pt idx="200">
                  <c:v>3.5991568900900717E-2</c:v>
                </c:pt>
                <c:pt idx="201">
                  <c:v>4.848101085547829E-2</c:v>
                </c:pt>
                <c:pt idx="202">
                  <c:v>6.3021260699093196E-2</c:v>
                </c:pt>
                <c:pt idx="203">
                  <c:v>6.7440211244897963E-2</c:v>
                </c:pt>
                <c:pt idx="204">
                  <c:v>5.4790093458558342E-2</c:v>
                </c:pt>
                <c:pt idx="205">
                  <c:v>4.0340406356482061E-2</c:v>
                </c:pt>
                <c:pt idx="206">
                  <c:v>4.0201823451587071E-2</c:v>
                </c:pt>
                <c:pt idx="207">
                  <c:v>4.7719078757815003E-2</c:v>
                </c:pt>
                <c:pt idx="208">
                  <c:v>7.2442524611703085E-2</c:v>
                </c:pt>
                <c:pt idx="209">
                  <c:v>7.2028054000225827E-2</c:v>
                </c:pt>
                <c:pt idx="210">
                  <c:v>8.9087262679057755E-2</c:v>
                </c:pt>
                <c:pt idx="211">
                  <c:v>8.0299755371046277E-2</c:v>
                </c:pt>
                <c:pt idx="212">
                  <c:v>8.1537324447959802E-2</c:v>
                </c:pt>
                <c:pt idx="213">
                  <c:v>8.6926537914201241E-2</c:v>
                </c:pt>
                <c:pt idx="214">
                  <c:v>9.3854039883393137E-2</c:v>
                </c:pt>
                <c:pt idx="215">
                  <c:v>9.7176925635938494E-2</c:v>
                </c:pt>
                <c:pt idx="216">
                  <c:v>0.10681893623104899</c:v>
                </c:pt>
                <c:pt idx="217">
                  <c:v>0.11154426637423676</c:v>
                </c:pt>
                <c:pt idx="218">
                  <c:v>0.1199532725467447</c:v>
                </c:pt>
                <c:pt idx="219">
                  <c:v>0.12806721946456245</c:v>
                </c:pt>
                <c:pt idx="220">
                  <c:v>0.1378185991769747</c:v>
                </c:pt>
                <c:pt idx="221">
                  <c:v>0.13021790198993366</c:v>
                </c:pt>
                <c:pt idx="222">
                  <c:v>0.14730705480104866</c:v>
                </c:pt>
                <c:pt idx="223">
                  <c:v>0.15215581319681748</c:v>
                </c:pt>
                <c:pt idx="224">
                  <c:v>0.15620393122636189</c:v>
                </c:pt>
                <c:pt idx="225">
                  <c:v>0.16581471958598226</c:v>
                </c:pt>
                <c:pt idx="226">
                  <c:v>0.11608682775879497</c:v>
                </c:pt>
                <c:pt idx="227">
                  <c:v>0.11903504668545839</c:v>
                </c:pt>
                <c:pt idx="228">
                  <c:v>0.12456759029707865</c:v>
                </c:pt>
                <c:pt idx="229">
                  <c:v>0.14854498905030722</c:v>
                </c:pt>
                <c:pt idx="230">
                  <c:v>0.15449109034254271</c:v>
                </c:pt>
                <c:pt idx="231">
                  <c:v>0.15433406623422963</c:v>
                </c:pt>
                <c:pt idx="232">
                  <c:v>0.1551759710754288</c:v>
                </c:pt>
                <c:pt idx="233">
                  <c:v>0.1652574665876434</c:v>
                </c:pt>
                <c:pt idx="234">
                  <c:v>0.17615037505025688</c:v>
                </c:pt>
                <c:pt idx="235">
                  <c:v>0.14948768145870295</c:v>
                </c:pt>
                <c:pt idx="236">
                  <c:v>0.15783716453898999</c:v>
                </c:pt>
                <c:pt idx="237">
                  <c:v>0.13797051087245871</c:v>
                </c:pt>
                <c:pt idx="238">
                  <c:v>0.14598677418801187</c:v>
                </c:pt>
                <c:pt idx="239">
                  <c:v>0.16186665877894391</c:v>
                </c:pt>
                <c:pt idx="240">
                  <c:v>0.17260674261521092</c:v>
                </c:pt>
                <c:pt idx="241">
                  <c:v>0.18063633472135332</c:v>
                </c:pt>
                <c:pt idx="242">
                  <c:v>0.180911857255591</c:v>
                </c:pt>
                <c:pt idx="243">
                  <c:v>0.20499789478143149</c:v>
                </c:pt>
                <c:pt idx="244">
                  <c:v>0.19698875232660429</c:v>
                </c:pt>
                <c:pt idx="245">
                  <c:v>0.20728095228183419</c:v>
                </c:pt>
                <c:pt idx="246">
                  <c:v>0.21044863978779116</c:v>
                </c:pt>
                <c:pt idx="247">
                  <c:v>0.2148016767253389</c:v>
                </c:pt>
                <c:pt idx="248">
                  <c:v>0.2021732866935213</c:v>
                </c:pt>
                <c:pt idx="249">
                  <c:v>0.20867937977668238</c:v>
                </c:pt>
                <c:pt idx="250">
                  <c:v>0.22048667979096082</c:v>
                </c:pt>
                <c:pt idx="251">
                  <c:v>0.21083773092129698</c:v>
                </c:pt>
                <c:pt idx="252">
                  <c:v>0.21491214135967551</c:v>
                </c:pt>
                <c:pt idx="253">
                  <c:v>0.23915009058100001</c:v>
                </c:pt>
                <c:pt idx="254">
                  <c:v>0.23612080339376584</c:v>
                </c:pt>
                <c:pt idx="255">
                  <c:v>0.24021529831111454</c:v>
                </c:pt>
                <c:pt idx="256">
                  <c:v>0.22171986679973554</c:v>
                </c:pt>
                <c:pt idx="257">
                  <c:v>0.21387030465963552</c:v>
                </c:pt>
                <c:pt idx="258">
                  <c:v>0.23084954059493157</c:v>
                </c:pt>
                <c:pt idx="259">
                  <c:v>0.2212062518966138</c:v>
                </c:pt>
                <c:pt idx="260">
                  <c:v>0.23465335832572864</c:v>
                </c:pt>
                <c:pt idx="261">
                  <c:v>0.23242964133137445</c:v>
                </c:pt>
                <c:pt idx="262">
                  <c:v>0.24160423132499509</c:v>
                </c:pt>
              </c:numCache>
            </c:numRef>
          </c:val>
          <c:smooth val="0"/>
          <c:extLst>
            <c:ext xmlns:c16="http://schemas.microsoft.com/office/drawing/2014/chart" uri="{C3380CC4-5D6E-409C-BE32-E72D297353CC}">
              <c16:uniqueId val="{00000000-4CF4-4C29-A27E-ED09DD91B891}"/>
            </c:ext>
          </c:extLst>
        </c:ser>
        <c:ser>
          <c:idx val="1"/>
          <c:order val="1"/>
          <c:tx>
            <c:strRef>
              <c:f>Tabelle1!$G$2</c:f>
              <c:strCache>
                <c:ptCount val="1"/>
                <c:pt idx="0">
                  <c:v>MSCI World Value</c:v>
                </c:pt>
              </c:strCache>
            </c:strRef>
          </c:tx>
          <c:spPr>
            <a:ln w="28575" cap="rnd">
              <a:solidFill>
                <a:schemeClr val="tx2"/>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G$3:$G$1319</c:f>
              <c:numCache>
                <c:formatCode>General</c:formatCode>
                <c:ptCount val="1317"/>
                <c:pt idx="0">
                  <c:v>0</c:v>
                </c:pt>
                <c:pt idx="1">
                  <c:v>-8.8519388320216219E-3</c:v>
                </c:pt>
                <c:pt idx="2">
                  <c:v>-1.819437975982463E-2</c:v>
                </c:pt>
                <c:pt idx="3">
                  <c:v>-4.0054918618490754E-2</c:v>
                </c:pt>
                <c:pt idx="4">
                  <c:v>-3.6629331254617314E-2</c:v>
                </c:pt>
                <c:pt idx="5">
                  <c:v>-3.7471827783668199E-2</c:v>
                </c:pt>
                <c:pt idx="6">
                  <c:v>-2.4491303634560091E-2</c:v>
                </c:pt>
                <c:pt idx="7">
                  <c:v>-2.9182617618659257E-2</c:v>
                </c:pt>
                <c:pt idx="8">
                  <c:v>-3.7653054820628196E-2</c:v>
                </c:pt>
                <c:pt idx="9">
                  <c:v>-3.1213219224158983E-2</c:v>
                </c:pt>
                <c:pt idx="10">
                  <c:v>-5.28384712189226E-2</c:v>
                </c:pt>
                <c:pt idx="11">
                  <c:v>-5.5486411825779847E-2</c:v>
                </c:pt>
                <c:pt idx="12">
                  <c:v>-4.3169579401334146E-2</c:v>
                </c:pt>
                <c:pt idx="13">
                  <c:v>-3.2659292069500578E-2</c:v>
                </c:pt>
                <c:pt idx="14">
                  <c:v>-4.0260808387090341E-2</c:v>
                </c:pt>
                <c:pt idx="15">
                  <c:v>-3.4883782382221784E-2</c:v>
                </c:pt>
                <c:pt idx="16">
                  <c:v>-3.4296060679128049E-2</c:v>
                </c:pt>
                <c:pt idx="17">
                  <c:v>-5.1041284752156191E-2</c:v>
                </c:pt>
                <c:pt idx="18">
                  <c:v>-4.6443116620589198E-2</c:v>
                </c:pt>
                <c:pt idx="19">
                  <c:v>-4.7684400712136532E-2</c:v>
                </c:pt>
                <c:pt idx="20">
                  <c:v>-4.2970846228969406E-2</c:v>
                </c:pt>
                <c:pt idx="21">
                  <c:v>-3.4887966238482115E-2</c:v>
                </c:pt>
                <c:pt idx="22">
                  <c:v>-3.1363397643608182E-2</c:v>
                </c:pt>
                <c:pt idx="23">
                  <c:v>-3.2397801053230868E-2</c:v>
                </c:pt>
                <c:pt idx="24">
                  <c:v>-3.4495454460376163E-2</c:v>
                </c:pt>
                <c:pt idx="25">
                  <c:v>-2.3832126070599258E-2</c:v>
                </c:pt>
                <c:pt idx="26">
                  <c:v>-1.3514956735623196E-2</c:v>
                </c:pt>
                <c:pt idx="27">
                  <c:v>-1.0655290981697818E-2</c:v>
                </c:pt>
                <c:pt idx="28">
                  <c:v>-4.8271792110788914E-3</c:v>
                </c:pt>
                <c:pt idx="29">
                  <c:v>2.2046720462249869E-3</c:v>
                </c:pt>
                <c:pt idx="30">
                  <c:v>9.7744791374210216E-3</c:v>
                </c:pt>
                <c:pt idx="31">
                  <c:v>1.1708521744491884E-2</c:v>
                </c:pt>
                <c:pt idx="32">
                  <c:v>1.5564495795775013E-2</c:v>
                </c:pt>
                <c:pt idx="33">
                  <c:v>1.1803209017751559E-2</c:v>
                </c:pt>
                <c:pt idx="34">
                  <c:v>1.1942267187666777E-2</c:v>
                </c:pt>
                <c:pt idx="35">
                  <c:v>1.1603815236503445E-2</c:v>
                </c:pt>
                <c:pt idx="36">
                  <c:v>1.2616418552980235E-2</c:v>
                </c:pt>
                <c:pt idx="37">
                  <c:v>1.2303179840859269E-2</c:v>
                </c:pt>
                <c:pt idx="38">
                  <c:v>1.0542326862669427E-2</c:v>
                </c:pt>
                <c:pt idx="39">
                  <c:v>5.6134138835763903E-3</c:v>
                </c:pt>
                <c:pt idx="40">
                  <c:v>5.9868781055498754E-3</c:v>
                </c:pt>
                <c:pt idx="41">
                  <c:v>5.3340864274602495E-3</c:v>
                </c:pt>
                <c:pt idx="42">
                  <c:v>6.1060079074881646E-3</c:v>
                </c:pt>
                <c:pt idx="43">
                  <c:v>6.7633137462799198E-3</c:v>
                </c:pt>
                <c:pt idx="44">
                  <c:v>-4.2328514191531941E-3</c:v>
                </c:pt>
                <c:pt idx="45">
                  <c:v>-2.1578568967017042E-2</c:v>
                </c:pt>
                <c:pt idx="46">
                  <c:v>-1.9004286250637215E-2</c:v>
                </c:pt>
                <c:pt idx="47">
                  <c:v>-9.5325861846864424E-3</c:v>
                </c:pt>
                <c:pt idx="48">
                  <c:v>-1.1223524722736911E-2</c:v>
                </c:pt>
                <c:pt idx="49">
                  <c:v>-2.4138758693888152E-2</c:v>
                </c:pt>
                <c:pt idx="50">
                  <c:v>-1.9504917682628076E-2</c:v>
                </c:pt>
                <c:pt idx="51">
                  <c:v>-1.2550577867620594E-2</c:v>
                </c:pt>
                <c:pt idx="52">
                  <c:v>2.5562260735718656E-3</c:v>
                </c:pt>
                <c:pt idx="53">
                  <c:v>-1.4302182321457302E-4</c:v>
                </c:pt>
                <c:pt idx="54">
                  <c:v>9.3139246443445511E-3</c:v>
                </c:pt>
                <c:pt idx="55">
                  <c:v>9.7968297379693592E-3</c:v>
                </c:pt>
                <c:pt idx="56">
                  <c:v>1.2471414903115985E-2</c:v>
                </c:pt>
                <c:pt idx="57">
                  <c:v>1.2210914800171224E-2</c:v>
                </c:pt>
                <c:pt idx="58">
                  <c:v>2.0091097964994198E-2</c:v>
                </c:pt>
                <c:pt idx="59">
                  <c:v>2.1373449908780984E-2</c:v>
                </c:pt>
                <c:pt idx="60">
                  <c:v>2.4174101269139658E-2</c:v>
                </c:pt>
                <c:pt idx="61">
                  <c:v>2.3740962044716429E-2</c:v>
                </c:pt>
                <c:pt idx="62">
                  <c:v>2.6283095128780021E-2</c:v>
                </c:pt>
                <c:pt idx="63">
                  <c:v>2.8502961179318831E-2</c:v>
                </c:pt>
                <c:pt idx="64">
                  <c:v>3.0844048959926429E-2</c:v>
                </c:pt>
                <c:pt idx="65">
                  <c:v>3.0510331372425759E-2</c:v>
                </c:pt>
                <c:pt idx="66">
                  <c:v>2.7551133880097112E-2</c:v>
                </c:pt>
                <c:pt idx="67">
                  <c:v>3.5838912725859373E-2</c:v>
                </c:pt>
                <c:pt idx="68">
                  <c:v>4.1519818817003618E-2</c:v>
                </c:pt>
                <c:pt idx="69">
                  <c:v>4.2605309313594297E-2</c:v>
                </c:pt>
                <c:pt idx="70">
                  <c:v>4.39596676256504E-2</c:v>
                </c:pt>
                <c:pt idx="71">
                  <c:v>4.6619939598327775E-2</c:v>
                </c:pt>
                <c:pt idx="72">
                  <c:v>4.7735818103546102E-2</c:v>
                </c:pt>
                <c:pt idx="73">
                  <c:v>4.5600620091538424E-2</c:v>
                </c:pt>
                <c:pt idx="74">
                  <c:v>4.6815700030718332E-2</c:v>
                </c:pt>
                <c:pt idx="75">
                  <c:v>4.4444774748885862E-2</c:v>
                </c:pt>
                <c:pt idx="76">
                  <c:v>4.1460804423437025E-2</c:v>
                </c:pt>
                <c:pt idx="77">
                  <c:v>4.8680268603571886E-2</c:v>
                </c:pt>
                <c:pt idx="78">
                  <c:v>4.9204241549436034E-2</c:v>
                </c:pt>
                <c:pt idx="79">
                  <c:v>4.7490181700473366E-2</c:v>
                </c:pt>
                <c:pt idx="80">
                  <c:v>4.2687334916592601E-2</c:v>
                </c:pt>
                <c:pt idx="81">
                  <c:v>4.2542771672650526E-2</c:v>
                </c:pt>
                <c:pt idx="82">
                  <c:v>4.5210090140082038E-2</c:v>
                </c:pt>
                <c:pt idx="83">
                  <c:v>5.0491107653924505E-2</c:v>
                </c:pt>
                <c:pt idx="84">
                  <c:v>5.0390585002196397E-2</c:v>
                </c:pt>
                <c:pt idx="85">
                  <c:v>5.3479041632672697E-2</c:v>
                </c:pt>
                <c:pt idx="86">
                  <c:v>5.3046012509730067E-2</c:v>
                </c:pt>
                <c:pt idx="87">
                  <c:v>4.8458634323255589E-2</c:v>
                </c:pt>
                <c:pt idx="88">
                  <c:v>4.3523555661252988E-2</c:v>
                </c:pt>
                <c:pt idx="89">
                  <c:v>3.5850913787237815E-2</c:v>
                </c:pt>
                <c:pt idx="90">
                  <c:v>4.3334951825096946E-2</c:v>
                </c:pt>
                <c:pt idx="91">
                  <c:v>4.4568859117448456E-2</c:v>
                </c:pt>
                <c:pt idx="92">
                  <c:v>5.2922919054492423E-2</c:v>
                </c:pt>
                <c:pt idx="93">
                  <c:v>5.2245574746243584E-2</c:v>
                </c:pt>
                <c:pt idx="94">
                  <c:v>5.0955295495858532E-2</c:v>
                </c:pt>
                <c:pt idx="95">
                  <c:v>5.2725727302854963E-2</c:v>
                </c:pt>
                <c:pt idx="96">
                  <c:v>6.2538631856982496E-2</c:v>
                </c:pt>
                <c:pt idx="97">
                  <c:v>6.5710325206743025E-2</c:v>
                </c:pt>
                <c:pt idx="98">
                  <c:v>7.351497875591928E-2</c:v>
                </c:pt>
                <c:pt idx="99">
                  <c:v>7.3687727978877904E-2</c:v>
                </c:pt>
                <c:pt idx="100">
                  <c:v>7.1750052022949484E-2</c:v>
                </c:pt>
                <c:pt idx="101">
                  <c:v>7.3898462212621308E-2</c:v>
                </c:pt>
                <c:pt idx="102">
                  <c:v>7.7821708268511092E-2</c:v>
                </c:pt>
                <c:pt idx="103">
                  <c:v>7.6878248681810035E-2</c:v>
                </c:pt>
                <c:pt idx="104">
                  <c:v>7.727659583838431E-2</c:v>
                </c:pt>
                <c:pt idx="105">
                  <c:v>7.6860192039002184E-2</c:v>
                </c:pt>
                <c:pt idx="106">
                  <c:v>7.9385259393583096E-2</c:v>
                </c:pt>
                <c:pt idx="107">
                  <c:v>8.1508346242731955E-2</c:v>
                </c:pt>
                <c:pt idx="108">
                  <c:v>7.7395175132920047E-2</c:v>
                </c:pt>
                <c:pt idx="109">
                  <c:v>8.0359106988911577E-2</c:v>
                </c:pt>
                <c:pt idx="110">
                  <c:v>8.0360648409639079E-2</c:v>
                </c:pt>
                <c:pt idx="111">
                  <c:v>8.5313783714449531E-2</c:v>
                </c:pt>
                <c:pt idx="112">
                  <c:v>7.8748652633131799E-2</c:v>
                </c:pt>
                <c:pt idx="113">
                  <c:v>7.7878850936908384E-2</c:v>
                </c:pt>
                <c:pt idx="114">
                  <c:v>7.5960222537112543E-2</c:v>
                </c:pt>
                <c:pt idx="115">
                  <c:v>7.572801851466493E-2</c:v>
                </c:pt>
                <c:pt idx="116">
                  <c:v>7.9132025988353449E-2</c:v>
                </c:pt>
                <c:pt idx="117">
                  <c:v>7.6912159937814639E-2</c:v>
                </c:pt>
                <c:pt idx="118">
                  <c:v>8.0063484513676286E-2</c:v>
                </c:pt>
                <c:pt idx="119">
                  <c:v>8.141266805614733E-2</c:v>
                </c:pt>
                <c:pt idx="120">
                  <c:v>8.0576337210006344E-2</c:v>
                </c:pt>
                <c:pt idx="121">
                  <c:v>8.5913066072999422E-2</c:v>
                </c:pt>
                <c:pt idx="122">
                  <c:v>8.9186713393734962E-2</c:v>
                </c:pt>
                <c:pt idx="123">
                  <c:v>8.9191667960359045E-2</c:v>
                </c:pt>
                <c:pt idx="124">
                  <c:v>8.4893856667690448E-2</c:v>
                </c:pt>
                <c:pt idx="125">
                  <c:v>8.4192840541126746E-2</c:v>
                </c:pt>
                <c:pt idx="126">
                  <c:v>8.100452186780549E-2</c:v>
                </c:pt>
                <c:pt idx="127">
                  <c:v>7.5101320887461798E-2</c:v>
                </c:pt>
                <c:pt idx="128">
                  <c:v>5.870643972549483E-2</c:v>
                </c:pt>
                <c:pt idx="129">
                  <c:v>6.4051426199527972E-2</c:v>
                </c:pt>
                <c:pt idx="130">
                  <c:v>6.1981628466957872E-2</c:v>
                </c:pt>
                <c:pt idx="131">
                  <c:v>6.2198748586572039E-2</c:v>
                </c:pt>
                <c:pt idx="132">
                  <c:v>4.8756899234023932E-2</c:v>
                </c:pt>
                <c:pt idx="133">
                  <c:v>4.8749962840750172E-2</c:v>
                </c:pt>
                <c:pt idx="134">
                  <c:v>6.0362365992735256E-2</c:v>
                </c:pt>
                <c:pt idx="135">
                  <c:v>7.4448749412333148E-2</c:v>
                </c:pt>
                <c:pt idx="136">
                  <c:v>7.762638824204271E-2</c:v>
                </c:pt>
                <c:pt idx="137">
                  <c:v>7.2451288352474386E-2</c:v>
                </c:pt>
                <c:pt idx="138">
                  <c:v>7.3143936766517426E-2</c:v>
                </c:pt>
                <c:pt idx="139">
                  <c:v>7.8235910038282341E-2</c:v>
                </c:pt>
                <c:pt idx="140">
                  <c:v>8.3113515727445852E-2</c:v>
                </c:pt>
                <c:pt idx="141">
                  <c:v>7.9873449358273563E-2</c:v>
                </c:pt>
                <c:pt idx="142">
                  <c:v>7.8633596585973242E-2</c:v>
                </c:pt>
                <c:pt idx="143">
                  <c:v>7.8726081829622263E-2</c:v>
                </c:pt>
                <c:pt idx="144">
                  <c:v>7.205998769065447E-2</c:v>
                </c:pt>
                <c:pt idx="145">
                  <c:v>7.3775478858864041E-2</c:v>
                </c:pt>
                <c:pt idx="146">
                  <c:v>7.2068245301694533E-2</c:v>
                </c:pt>
                <c:pt idx="147">
                  <c:v>6.8451301564651956E-2</c:v>
                </c:pt>
                <c:pt idx="148">
                  <c:v>3.93742712658256E-2</c:v>
                </c:pt>
                <c:pt idx="149">
                  <c:v>1.1551627134730014E-2</c:v>
                </c:pt>
                <c:pt idx="150">
                  <c:v>3.8957206857559434E-3</c:v>
                </c:pt>
                <c:pt idx="151">
                  <c:v>-3.1386959360442557E-2</c:v>
                </c:pt>
                <c:pt idx="152">
                  <c:v>-5.203495061398089E-2</c:v>
                </c:pt>
                <c:pt idx="153">
                  <c:v>-2.3733805448481915E-2</c:v>
                </c:pt>
                <c:pt idx="154">
                  <c:v>-3.8648041900219532E-2</c:v>
                </c:pt>
                <c:pt idx="155">
                  <c:v>-1.2068003078437362E-2</c:v>
                </c:pt>
                <c:pt idx="156">
                  <c:v>-3.5378908740185788E-2</c:v>
                </c:pt>
                <c:pt idx="157">
                  <c:v>-5.5635929636345893E-2</c:v>
                </c:pt>
                <c:pt idx="158">
                  <c:v>-0.13250492979379103</c:v>
                </c:pt>
                <c:pt idx="159">
                  <c:v>-0.11077871474137724</c:v>
                </c:pt>
                <c:pt idx="160">
                  <c:v>-0.14602671282120738</c:v>
                </c:pt>
                <c:pt idx="161">
                  <c:v>-0.23686726055405272</c:v>
                </c:pt>
                <c:pt idx="162">
                  <c:v>-0.1915267001595371</c:v>
                </c:pt>
                <c:pt idx="163">
                  <c:v>-0.26710773319768844</c:v>
                </c:pt>
                <c:pt idx="164">
                  <c:v>-0.23418243595121635</c:v>
                </c:pt>
                <c:pt idx="165">
                  <c:v>-0.27869833625652773</c:v>
                </c:pt>
                <c:pt idx="166">
                  <c:v>-0.27943282323317409</c:v>
                </c:pt>
                <c:pt idx="167">
                  <c:v>-0.29804944217084894</c:v>
                </c:pt>
                <c:pt idx="168">
                  <c:v>-0.32475840982633697</c:v>
                </c:pt>
                <c:pt idx="169">
                  <c:v>-0.26185501176434323</c:v>
                </c:pt>
                <c:pt idx="170">
                  <c:v>-0.23876618078883316</c:v>
                </c:pt>
                <c:pt idx="171">
                  <c:v>-0.20076927904449537</c:v>
                </c:pt>
                <c:pt idx="172">
                  <c:v>-0.22034510208058777</c:v>
                </c:pt>
                <c:pt idx="173">
                  <c:v>-0.20283566363116889</c:v>
                </c:pt>
                <c:pt idx="174">
                  <c:v>-0.21095553771911568</c:v>
                </c:pt>
                <c:pt idx="175">
                  <c:v>-0.24228964836890166</c:v>
                </c:pt>
                <c:pt idx="176">
                  <c:v>-0.23012541659647712</c:v>
                </c:pt>
                <c:pt idx="177">
                  <c:v>-0.24241538425967224</c:v>
                </c:pt>
                <c:pt idx="178">
                  <c:v>-0.20060522783849877</c:v>
                </c:pt>
                <c:pt idx="179">
                  <c:v>-0.19196005958692142</c:v>
                </c:pt>
                <c:pt idx="180">
                  <c:v>-0.17179640474625468</c:v>
                </c:pt>
                <c:pt idx="181">
                  <c:v>-0.15434168673266158</c:v>
                </c:pt>
                <c:pt idx="182">
                  <c:v>-0.1536089613797037</c:v>
                </c:pt>
                <c:pt idx="183">
                  <c:v>-0.16574467686866989</c:v>
                </c:pt>
                <c:pt idx="184">
                  <c:v>-0.15160775686950667</c:v>
                </c:pt>
                <c:pt idx="185">
                  <c:v>-0.17914986242820019</c:v>
                </c:pt>
                <c:pt idx="186">
                  <c:v>-0.18406787536072</c:v>
                </c:pt>
                <c:pt idx="187">
                  <c:v>-0.15554487571194375</c:v>
                </c:pt>
                <c:pt idx="188">
                  <c:v>-0.16826016539444411</c:v>
                </c:pt>
                <c:pt idx="189">
                  <c:v>-0.19250561242297037</c:v>
                </c:pt>
                <c:pt idx="190">
                  <c:v>-0.18148676635254712</c:v>
                </c:pt>
                <c:pt idx="191">
                  <c:v>-0.17703822613302689</c:v>
                </c:pt>
                <c:pt idx="192">
                  <c:v>-0.17325535946481874</c:v>
                </c:pt>
                <c:pt idx="193">
                  <c:v>-0.15385162504280203</c:v>
                </c:pt>
                <c:pt idx="194">
                  <c:v>-0.14587091922625084</c:v>
                </c:pt>
                <c:pt idx="195">
                  <c:v>-0.12609515190150766</c:v>
                </c:pt>
                <c:pt idx="196">
                  <c:v>-0.14184362727125599</c:v>
                </c:pt>
                <c:pt idx="197">
                  <c:v>-0.16429453026854857</c:v>
                </c:pt>
                <c:pt idx="198">
                  <c:v>-0.1715731189437304</c:v>
                </c:pt>
                <c:pt idx="199">
                  <c:v>-0.16499180294477422</c:v>
                </c:pt>
                <c:pt idx="200">
                  <c:v>-0.17560338363869987</c:v>
                </c:pt>
                <c:pt idx="201">
                  <c:v>-0.17032996312701432</c:v>
                </c:pt>
                <c:pt idx="202">
                  <c:v>-0.15153960405305578</c:v>
                </c:pt>
                <c:pt idx="203">
                  <c:v>-0.15698907683211627</c:v>
                </c:pt>
                <c:pt idx="204">
                  <c:v>-0.16880263538903817</c:v>
                </c:pt>
                <c:pt idx="205">
                  <c:v>-0.18725201017778093</c:v>
                </c:pt>
                <c:pt idx="206">
                  <c:v>-0.18541849022243806</c:v>
                </c:pt>
                <c:pt idx="207">
                  <c:v>-0.18481788664612175</c:v>
                </c:pt>
                <c:pt idx="208">
                  <c:v>-0.1530856490427227</c:v>
                </c:pt>
                <c:pt idx="209">
                  <c:v>-0.1595970506015395</c:v>
                </c:pt>
                <c:pt idx="210">
                  <c:v>-0.14803309210098947</c:v>
                </c:pt>
                <c:pt idx="211">
                  <c:v>-0.15568272276557305</c:v>
                </c:pt>
                <c:pt idx="212">
                  <c:v>-0.15877084909160788</c:v>
                </c:pt>
                <c:pt idx="213">
                  <c:v>-0.15493964787344505</c:v>
                </c:pt>
                <c:pt idx="214">
                  <c:v>-0.13170581324807085</c:v>
                </c:pt>
                <c:pt idx="215">
                  <c:v>-0.11398486985454503</c:v>
                </c:pt>
                <c:pt idx="216">
                  <c:v>-0.11286458729010529</c:v>
                </c:pt>
                <c:pt idx="217">
                  <c:v>-0.11782642061187798</c:v>
                </c:pt>
                <c:pt idx="218">
                  <c:v>-0.11127362089638027</c:v>
                </c:pt>
                <c:pt idx="219">
                  <c:v>-9.8529264423018792E-2</c:v>
                </c:pt>
                <c:pt idx="220">
                  <c:v>-7.6720363158723437E-2</c:v>
                </c:pt>
                <c:pt idx="221">
                  <c:v>-7.3674846105655667E-2</c:v>
                </c:pt>
                <c:pt idx="222">
                  <c:v>-4.733559922180286E-2</c:v>
                </c:pt>
                <c:pt idx="223">
                  <c:v>-3.3465675312936094E-2</c:v>
                </c:pt>
                <c:pt idx="224">
                  <c:v>-4.7370171086690616E-2</c:v>
                </c:pt>
                <c:pt idx="225">
                  <c:v>-6.1859966330967353E-2</c:v>
                </c:pt>
                <c:pt idx="226">
                  <c:v>-0.11523881561635363</c:v>
                </c:pt>
                <c:pt idx="227">
                  <c:v>-0.10901477892173228</c:v>
                </c:pt>
                <c:pt idx="228">
                  <c:v>-0.10764919025866149</c:v>
                </c:pt>
                <c:pt idx="229">
                  <c:v>-8.748586572243644E-2</c:v>
                </c:pt>
                <c:pt idx="230">
                  <c:v>-9.3351191793476063E-2</c:v>
                </c:pt>
                <c:pt idx="231">
                  <c:v>-9.5032991908642339E-2</c:v>
                </c:pt>
                <c:pt idx="232">
                  <c:v>-0.10104541355767616</c:v>
                </c:pt>
                <c:pt idx="233">
                  <c:v>-0.10178441469502453</c:v>
                </c:pt>
                <c:pt idx="234">
                  <c:v>-9.5447193678413367E-2</c:v>
                </c:pt>
                <c:pt idx="235">
                  <c:v>-0.12032065955190907</c:v>
                </c:pt>
                <c:pt idx="236">
                  <c:v>-0.11600424110903029</c:v>
                </c:pt>
                <c:pt idx="237">
                  <c:v>-0.12994562087876405</c:v>
                </c:pt>
                <c:pt idx="238">
                  <c:v>-0.11992462452642605</c:v>
                </c:pt>
                <c:pt idx="239">
                  <c:v>-0.11169365804461973</c:v>
                </c:pt>
                <c:pt idx="240">
                  <c:v>-0.11250290392654916</c:v>
                </c:pt>
                <c:pt idx="241">
                  <c:v>-0.10512059965670362</c:v>
                </c:pt>
                <c:pt idx="242">
                  <c:v>-0.10636188374825084</c:v>
                </c:pt>
                <c:pt idx="243">
                  <c:v>-9.4402220526659475E-2</c:v>
                </c:pt>
                <c:pt idx="244">
                  <c:v>-0.10539981701133938</c:v>
                </c:pt>
                <c:pt idx="245">
                  <c:v>-0.10591432122987765</c:v>
                </c:pt>
                <c:pt idx="246">
                  <c:v>-0.11813668658402454</c:v>
                </c:pt>
                <c:pt idx="247">
                  <c:v>-0.10589978783444709</c:v>
                </c:pt>
                <c:pt idx="248">
                  <c:v>-0.1003883279218456</c:v>
                </c:pt>
                <c:pt idx="249">
                  <c:v>-9.1394908687337129E-2</c:v>
                </c:pt>
                <c:pt idx="250">
                  <c:v>-7.7524654474028787E-2</c:v>
                </c:pt>
                <c:pt idx="251">
                  <c:v>-7.7913092497354897E-2</c:v>
                </c:pt>
                <c:pt idx="252">
                  <c:v>-7.6944639874572451E-2</c:v>
                </c:pt>
                <c:pt idx="253">
                  <c:v>-8.0898934547972812E-2</c:v>
                </c:pt>
                <c:pt idx="254">
                  <c:v>-7.1176643512325333E-2</c:v>
                </c:pt>
                <c:pt idx="255">
                  <c:v>-6.9309983011341614E-2</c:v>
                </c:pt>
                <c:pt idx="256">
                  <c:v>-7.0450964654121817E-2</c:v>
                </c:pt>
                <c:pt idx="257">
                  <c:v>-7.7801449596092698E-2</c:v>
                </c:pt>
                <c:pt idx="258">
                  <c:v>-7.4967217284170773E-2</c:v>
                </c:pt>
                <c:pt idx="259">
                  <c:v>-7.6838171742895423E-2</c:v>
                </c:pt>
                <c:pt idx="260">
                  <c:v>-7.1295883415744332E-2</c:v>
                </c:pt>
                <c:pt idx="261">
                  <c:v>-8.2469532167799176E-2</c:v>
                </c:pt>
                <c:pt idx="262">
                  <c:v>-8.9092246323436375E-2</c:v>
                </c:pt>
              </c:numCache>
            </c:numRef>
          </c:val>
          <c:smooth val="0"/>
          <c:extLst>
            <c:ext xmlns:c16="http://schemas.microsoft.com/office/drawing/2014/chart" uri="{C3380CC4-5D6E-409C-BE32-E72D297353CC}">
              <c16:uniqueId val="{00000001-4CF4-4C29-A27E-ED09DD91B891}"/>
            </c:ext>
          </c:extLst>
        </c:ser>
        <c:ser>
          <c:idx val="2"/>
          <c:order val="2"/>
          <c:tx>
            <c:strRef>
              <c:f>Tabelle1!$H$2</c:f>
              <c:strCache>
                <c:ptCount val="1"/>
              </c:strCache>
            </c:strRef>
          </c:tx>
          <c:spPr>
            <a:ln w="28575" cap="rnd">
              <a:solidFill>
                <a:schemeClr val="accent2"/>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H$3:$H$1319</c:f>
              <c:numCache>
                <c:formatCode>General</c:formatCode>
                <c:ptCount val="1317"/>
                <c:pt idx="262">
                  <c:v>0</c:v>
                </c:pt>
                <c:pt idx="263">
                  <c:v>1.1234834781841396E-2</c:v>
                </c:pt>
                <c:pt idx="264">
                  <c:v>1.4115380656166909E-2</c:v>
                </c:pt>
                <c:pt idx="265">
                  <c:v>2.2322465846090545E-2</c:v>
                </c:pt>
                <c:pt idx="266">
                  <c:v>2.8022087910471782E-2</c:v>
                </c:pt>
                <c:pt idx="267">
                  <c:v>2.0150733077454852E-2</c:v>
                </c:pt>
                <c:pt idx="268">
                  <c:v>1.606667549006624E-2</c:v>
                </c:pt>
                <c:pt idx="269">
                  <c:v>8.4936986220791599E-3</c:v>
                </c:pt>
                <c:pt idx="270">
                  <c:v>2.6365053455096321E-2</c:v>
                </c:pt>
                <c:pt idx="271">
                  <c:v>3.1642475845943485E-2</c:v>
                </c:pt>
                <c:pt idx="272">
                  <c:v>2.8299877942971507E-2</c:v>
                </c:pt>
                <c:pt idx="273">
                  <c:v>3.7237540624402543E-2</c:v>
                </c:pt>
                <c:pt idx="274">
                  <c:v>4.4083616417405436E-2</c:v>
                </c:pt>
                <c:pt idx="275">
                  <c:v>4.0884545815502715E-2</c:v>
                </c:pt>
                <c:pt idx="276">
                  <c:v>4.5058307966059363E-2</c:v>
                </c:pt>
                <c:pt idx="277">
                  <c:v>4.865531389244282E-2</c:v>
                </c:pt>
                <c:pt idx="278">
                  <c:v>5.6001970559256486E-2</c:v>
                </c:pt>
                <c:pt idx="279">
                  <c:v>6.0929545153747711E-2</c:v>
                </c:pt>
                <c:pt idx="280">
                  <c:v>7.9125159924118726E-2</c:v>
                </c:pt>
                <c:pt idx="281">
                  <c:v>7.5509183688475146E-2</c:v>
                </c:pt>
                <c:pt idx="282">
                  <c:v>8.0234849487507365E-2</c:v>
                </c:pt>
                <c:pt idx="283">
                  <c:v>8.4966103439655161E-2</c:v>
                </c:pt>
                <c:pt idx="284">
                  <c:v>9.6595638299436626E-2</c:v>
                </c:pt>
                <c:pt idx="285">
                  <c:v>0.10742415552712448</c:v>
                </c:pt>
                <c:pt idx="286">
                  <c:v>6.5701680857634281E-2</c:v>
                </c:pt>
                <c:pt idx="287">
                  <c:v>4.7381656152115426E-2</c:v>
                </c:pt>
                <c:pt idx="288">
                  <c:v>5.0679842943486042E-2</c:v>
                </c:pt>
                <c:pt idx="289">
                  <c:v>2.0583079660593251E-2</c:v>
                </c:pt>
                <c:pt idx="290">
                  <c:v>4.3438331789238394E-2</c:v>
                </c:pt>
                <c:pt idx="291">
                  <c:v>3.0228526051087501E-2</c:v>
                </c:pt>
                <c:pt idx="292">
                  <c:v>2.7287686945780099E-2</c:v>
                </c:pt>
                <c:pt idx="293">
                  <c:v>4.1213805679328308E-2</c:v>
                </c:pt>
                <c:pt idx="294">
                  <c:v>5.1172629814267401E-2</c:v>
                </c:pt>
                <c:pt idx="295">
                  <c:v>4.3587300186761935E-2</c:v>
                </c:pt>
                <c:pt idx="296">
                  <c:v>3.255466831370124E-2</c:v>
                </c:pt>
                <c:pt idx="297">
                  <c:v>2.5681828208408586E-2</c:v>
                </c:pt>
                <c:pt idx="298">
                  <c:v>1.8059881472331174E-2</c:v>
                </c:pt>
                <c:pt idx="299">
                  <c:v>2.9055896236819923E-2</c:v>
                </c:pt>
                <c:pt idx="300">
                  <c:v>1.0004705813149828E-2</c:v>
                </c:pt>
                <c:pt idx="301">
                  <c:v>8.4113468919573275E-3</c:v>
                </c:pt>
                <c:pt idx="302">
                  <c:v>2.4742283201717674E-2</c:v>
                </c:pt>
                <c:pt idx="303">
                  <c:v>4.1161600564697531E-2</c:v>
                </c:pt>
                <c:pt idx="304">
                  <c:v>4.1861002044087492E-2</c:v>
                </c:pt>
                <c:pt idx="305">
                  <c:v>4.5219187953118301E-2</c:v>
                </c:pt>
                <c:pt idx="306">
                  <c:v>5.6053293333921506E-2</c:v>
                </c:pt>
                <c:pt idx="307">
                  <c:v>4.0265878442964143E-2</c:v>
                </c:pt>
                <c:pt idx="308">
                  <c:v>5.909368979867935E-2</c:v>
                </c:pt>
                <c:pt idx="309">
                  <c:v>4.5181835561241668E-2</c:v>
                </c:pt>
                <c:pt idx="310">
                  <c:v>5.8071204835222989E-2</c:v>
                </c:pt>
                <c:pt idx="311">
                  <c:v>6.3823179070896074E-2</c:v>
                </c:pt>
                <c:pt idx="312">
                  <c:v>7.8756341818502662E-2</c:v>
                </c:pt>
                <c:pt idx="313">
                  <c:v>9.828120174703292E-2</c:v>
                </c:pt>
                <c:pt idx="314">
                  <c:v>9.5763885825208339E-2</c:v>
                </c:pt>
                <c:pt idx="315">
                  <c:v>9.0054705077866393E-2</c:v>
                </c:pt>
                <c:pt idx="316">
                  <c:v>8.0035734768606259E-2</c:v>
                </c:pt>
                <c:pt idx="317">
                  <c:v>8.0162203497007312E-2</c:v>
                </c:pt>
                <c:pt idx="318">
                  <c:v>6.8736195055955074E-2</c:v>
                </c:pt>
                <c:pt idx="319">
                  <c:v>7.1231452478639934E-2</c:v>
                </c:pt>
                <c:pt idx="320">
                  <c:v>6.9107807238128816E-2</c:v>
                </c:pt>
                <c:pt idx="321">
                  <c:v>6.6480787047249246E-2</c:v>
                </c:pt>
                <c:pt idx="322">
                  <c:v>7.0949838972956147E-2</c:v>
                </c:pt>
                <c:pt idx="323">
                  <c:v>5.3666416670343109E-2</c:v>
                </c:pt>
                <c:pt idx="324">
                  <c:v>5.7732827458419678E-2</c:v>
                </c:pt>
                <c:pt idx="325">
                  <c:v>2.3122748194879472E-2</c:v>
                </c:pt>
                <c:pt idx="326">
                  <c:v>3.0917633564212288E-2</c:v>
                </c:pt>
                <c:pt idx="327">
                  <c:v>1.102469081337043E-2</c:v>
                </c:pt>
                <c:pt idx="328">
                  <c:v>1.8427229011338087E-2</c:v>
                </c:pt>
                <c:pt idx="329">
                  <c:v>3.8914427729003886E-2</c:v>
                </c:pt>
                <c:pt idx="330">
                  <c:v>7.5553006573432668E-2</c:v>
                </c:pt>
                <c:pt idx="331">
                  <c:v>0.10222540844987571</c:v>
                </c:pt>
                <c:pt idx="332">
                  <c:v>0.10535109777797369</c:v>
                </c:pt>
                <c:pt idx="333">
                  <c:v>9.5377862090263443E-2</c:v>
                </c:pt>
                <c:pt idx="334">
                  <c:v>8.2099675004779327E-2</c:v>
                </c:pt>
                <c:pt idx="335">
                  <c:v>9.9192364818164513E-2</c:v>
                </c:pt>
                <c:pt idx="336">
                  <c:v>9.4932721577623891E-2</c:v>
                </c:pt>
                <c:pt idx="337">
                  <c:v>0.10008441052337469</c:v>
                </c:pt>
                <c:pt idx="338">
                  <c:v>0.10784503169071047</c:v>
                </c:pt>
                <c:pt idx="339">
                  <c:v>0.10582226731959832</c:v>
                </c:pt>
                <c:pt idx="340">
                  <c:v>9.9345303745533187E-2</c:v>
                </c:pt>
                <c:pt idx="341">
                  <c:v>0.10339156777106218</c:v>
                </c:pt>
                <c:pt idx="342">
                  <c:v>9.9523977588564794E-2</c:v>
                </c:pt>
                <c:pt idx="343">
                  <c:v>9.6173438625902552E-2</c:v>
                </c:pt>
                <c:pt idx="344">
                  <c:v>0.1069351921295274</c:v>
                </c:pt>
                <c:pt idx="345">
                  <c:v>0.11206041087631058</c:v>
                </c:pt>
                <c:pt idx="346">
                  <c:v>0.1139842061146159</c:v>
                </c:pt>
                <c:pt idx="347">
                  <c:v>0.12224526109910139</c:v>
                </c:pt>
                <c:pt idx="348">
                  <c:v>0.12097895619182064</c:v>
                </c:pt>
                <c:pt idx="349">
                  <c:v>0.13208099880884094</c:v>
                </c:pt>
                <c:pt idx="350">
                  <c:v>0.13073116571815113</c:v>
                </c:pt>
                <c:pt idx="351">
                  <c:v>0.13289907501360276</c:v>
                </c:pt>
                <c:pt idx="352">
                  <c:v>0.13732959809414558</c:v>
                </c:pt>
                <c:pt idx="353">
                  <c:v>0.14086998720607036</c:v>
                </c:pt>
                <c:pt idx="354">
                  <c:v>0.14379994411846875</c:v>
                </c:pt>
                <c:pt idx="355">
                  <c:v>0.12997426508433696</c:v>
                </c:pt>
                <c:pt idx="356">
                  <c:v>0.13369303392597165</c:v>
                </c:pt>
                <c:pt idx="357">
                  <c:v>0.13258525609917493</c:v>
                </c:pt>
                <c:pt idx="358">
                  <c:v>0.13584020823223186</c:v>
                </c:pt>
                <c:pt idx="359">
                  <c:v>0.14615579182659078</c:v>
                </c:pt>
                <c:pt idx="360">
                  <c:v>0.15398935309774853</c:v>
                </c:pt>
                <c:pt idx="361">
                  <c:v>0.16507183717886487</c:v>
                </c:pt>
                <c:pt idx="362">
                  <c:v>0.1633014220379112</c:v>
                </c:pt>
                <c:pt idx="363">
                  <c:v>0.15751371303363171</c:v>
                </c:pt>
                <c:pt idx="364">
                  <c:v>0.16158747665475492</c:v>
                </c:pt>
                <c:pt idx="365">
                  <c:v>0.15913795385361973</c:v>
                </c:pt>
                <c:pt idx="366">
                  <c:v>0.16280892928045154</c:v>
                </c:pt>
                <c:pt idx="367">
                  <c:v>0.16271143071425409</c:v>
                </c:pt>
                <c:pt idx="368">
                  <c:v>0.17398082381141444</c:v>
                </c:pt>
                <c:pt idx="369">
                  <c:v>0.17716460052058047</c:v>
                </c:pt>
                <c:pt idx="370">
                  <c:v>0.17749180159115308</c:v>
                </c:pt>
                <c:pt idx="371">
                  <c:v>0.17635873001867619</c:v>
                </c:pt>
                <c:pt idx="372">
                  <c:v>0.17635873001867619</c:v>
                </c:pt>
                <c:pt idx="373">
                  <c:v>0.16793914795370646</c:v>
                </c:pt>
                <c:pt idx="374">
                  <c:v>0.1734580373818031</c:v>
                </c:pt>
                <c:pt idx="375">
                  <c:v>0.1614071851884531</c:v>
                </c:pt>
                <c:pt idx="376">
                  <c:v>0.18175762121145267</c:v>
                </c:pt>
                <c:pt idx="377">
                  <c:v>0.19552874222437899</c:v>
                </c:pt>
                <c:pt idx="378">
                  <c:v>0.17968397523565827</c:v>
                </c:pt>
                <c:pt idx="379">
                  <c:v>0.17781841443508184</c:v>
                </c:pt>
                <c:pt idx="380">
                  <c:v>0.18233040690578073</c:v>
                </c:pt>
                <c:pt idx="381">
                  <c:v>0.17553050690431027</c:v>
                </c:pt>
                <c:pt idx="382">
                  <c:v>0.16602682313495376</c:v>
                </c:pt>
                <c:pt idx="383">
                  <c:v>0.16675137130336304</c:v>
                </c:pt>
                <c:pt idx="384">
                  <c:v>0.17842855252128631</c:v>
                </c:pt>
                <c:pt idx="385">
                  <c:v>0.19989750150733077</c:v>
                </c:pt>
                <c:pt idx="386">
                  <c:v>0.20682784076704741</c:v>
                </c:pt>
                <c:pt idx="387">
                  <c:v>0.20583726709901318</c:v>
                </c:pt>
                <c:pt idx="388">
                  <c:v>0.21062337318568836</c:v>
                </c:pt>
                <c:pt idx="389">
                  <c:v>0.20910192497169144</c:v>
                </c:pt>
                <c:pt idx="390">
                  <c:v>0.1818433552447758</c:v>
                </c:pt>
                <c:pt idx="391">
                  <c:v>0.18719004132292172</c:v>
                </c:pt>
                <c:pt idx="392">
                  <c:v>0.16485816385053154</c:v>
                </c:pt>
                <c:pt idx="393">
                  <c:v>0.18794664784341397</c:v>
                </c:pt>
                <c:pt idx="394">
                  <c:v>0.20468184291407487</c:v>
                </c:pt>
                <c:pt idx="395">
                  <c:v>0.20451963941706741</c:v>
                </c:pt>
                <c:pt idx="396">
                  <c:v>0.21284554638902353</c:v>
                </c:pt>
                <c:pt idx="397">
                  <c:v>0.22006485198747083</c:v>
                </c:pt>
                <c:pt idx="398">
                  <c:v>0.22813914501257315</c:v>
                </c:pt>
                <c:pt idx="399">
                  <c:v>0.23030426023146688</c:v>
                </c:pt>
                <c:pt idx="400">
                  <c:v>0.22948162527021654</c:v>
                </c:pt>
                <c:pt idx="401">
                  <c:v>0.23567976941515556</c:v>
                </c:pt>
                <c:pt idx="402">
                  <c:v>0.24147615476243001</c:v>
                </c:pt>
                <c:pt idx="403">
                  <c:v>0.24478522374670963</c:v>
                </c:pt>
                <c:pt idx="404">
                  <c:v>0.24213849796326503</c:v>
                </c:pt>
                <c:pt idx="405">
                  <c:v>0.23239084719342351</c:v>
                </c:pt>
                <c:pt idx="406">
                  <c:v>0.22720004117586501</c:v>
                </c:pt>
                <c:pt idx="407">
                  <c:v>0.22492051587476647</c:v>
                </c:pt>
                <c:pt idx="408">
                  <c:v>0.20394082439964101</c:v>
                </c:pt>
                <c:pt idx="409">
                  <c:v>0.20078719430596603</c:v>
                </c:pt>
                <c:pt idx="410">
                  <c:v>0.20167791650122791</c:v>
                </c:pt>
                <c:pt idx="411">
                  <c:v>0.17669328392229522</c:v>
                </c:pt>
                <c:pt idx="412">
                  <c:v>0.16954206555785944</c:v>
                </c:pt>
                <c:pt idx="413">
                  <c:v>0.19739533242158203</c:v>
                </c:pt>
                <c:pt idx="414">
                  <c:v>0.18561697622093787</c:v>
                </c:pt>
                <c:pt idx="415">
                  <c:v>0.16065940206761664</c:v>
                </c:pt>
                <c:pt idx="416">
                  <c:v>0.14094822134968599</c:v>
                </c:pt>
                <c:pt idx="417">
                  <c:v>0.14521654093322156</c:v>
                </c:pt>
                <c:pt idx="418">
                  <c:v>0.12781503213188028</c:v>
                </c:pt>
                <c:pt idx="419">
                  <c:v>0.15890442787606052</c:v>
                </c:pt>
                <c:pt idx="420">
                  <c:v>0.15963118189438386</c:v>
                </c:pt>
                <c:pt idx="421">
                  <c:v>0.18339127365774033</c:v>
                </c:pt>
                <c:pt idx="422">
                  <c:v>0.1769415155659475</c:v>
                </c:pt>
                <c:pt idx="423">
                  <c:v>0.18493360391758951</c:v>
                </c:pt>
                <c:pt idx="424">
                  <c:v>0.18912883634064204</c:v>
                </c:pt>
                <c:pt idx="425">
                  <c:v>0.18932795105954314</c:v>
                </c:pt>
                <c:pt idx="426">
                  <c:v>0.16821326156968275</c:v>
                </c:pt>
                <c:pt idx="427">
                  <c:v>0.16819796767694584</c:v>
                </c:pt>
                <c:pt idx="428">
                  <c:v>0.18025808443993463</c:v>
                </c:pt>
                <c:pt idx="429">
                  <c:v>0.1739397950030146</c:v>
                </c:pt>
                <c:pt idx="430">
                  <c:v>0.15809414567432833</c:v>
                </c:pt>
                <c:pt idx="431">
                  <c:v>0.15632858340318512</c:v>
                </c:pt>
                <c:pt idx="432">
                  <c:v>0.1715560065293158</c:v>
                </c:pt>
                <c:pt idx="433">
                  <c:v>0.17127071660710858</c:v>
                </c:pt>
                <c:pt idx="434">
                  <c:v>0.16714371847472842</c:v>
                </c:pt>
                <c:pt idx="435">
                  <c:v>0.17920971750415426</c:v>
                </c:pt>
                <c:pt idx="436">
                  <c:v>0.19724430523080549</c:v>
                </c:pt>
                <c:pt idx="437">
                  <c:v>0.19865943147894871</c:v>
                </c:pt>
                <c:pt idx="438">
                  <c:v>0.21532021587917827</c:v>
                </c:pt>
                <c:pt idx="439">
                  <c:v>0.21805738150909537</c:v>
                </c:pt>
                <c:pt idx="440">
                  <c:v>0.2209007220482051</c:v>
                </c:pt>
                <c:pt idx="441">
                  <c:v>0.23487375185659021</c:v>
                </c:pt>
                <c:pt idx="442">
                  <c:v>0.24335450949250736</c:v>
                </c:pt>
                <c:pt idx="443">
                  <c:v>0.2404145527271655</c:v>
                </c:pt>
                <c:pt idx="444">
                  <c:v>0.25271819532065698</c:v>
                </c:pt>
                <c:pt idx="445">
                  <c:v>0.24458390317789447</c:v>
                </c:pt>
                <c:pt idx="446">
                  <c:v>0.26167056366818131</c:v>
                </c:pt>
                <c:pt idx="447">
                  <c:v>0.26410229261334406</c:v>
                </c:pt>
                <c:pt idx="448">
                  <c:v>0.25750386023734939</c:v>
                </c:pt>
                <c:pt idx="449">
                  <c:v>0.24557947677240044</c:v>
                </c:pt>
                <c:pt idx="450">
                  <c:v>0.25320054116851209</c:v>
                </c:pt>
                <c:pt idx="451">
                  <c:v>0.25064337289157512</c:v>
                </c:pt>
                <c:pt idx="452">
                  <c:v>0.26249937500919085</c:v>
                </c:pt>
                <c:pt idx="453">
                  <c:v>0.2688456052116881</c:v>
                </c:pt>
                <c:pt idx="454">
                  <c:v>0.2645249334568609</c:v>
                </c:pt>
                <c:pt idx="455">
                  <c:v>0.26339230305436678</c:v>
                </c:pt>
                <c:pt idx="456">
                  <c:v>0.26527992235408315</c:v>
                </c:pt>
                <c:pt idx="457">
                  <c:v>0.2535233305392568</c:v>
                </c:pt>
                <c:pt idx="458">
                  <c:v>0.25122851134542112</c:v>
                </c:pt>
                <c:pt idx="459">
                  <c:v>0.23037249452213948</c:v>
                </c:pt>
                <c:pt idx="460">
                  <c:v>0.23056852105116099</c:v>
                </c:pt>
                <c:pt idx="461">
                  <c:v>0.23529565741680258</c:v>
                </c:pt>
                <c:pt idx="462">
                  <c:v>0.24791841296451511</c:v>
                </c:pt>
                <c:pt idx="463">
                  <c:v>0.22815738003852881</c:v>
                </c:pt>
                <c:pt idx="464">
                  <c:v>0.21883942883192886</c:v>
                </c:pt>
                <c:pt idx="465">
                  <c:v>0.19166909310157187</c:v>
                </c:pt>
                <c:pt idx="466">
                  <c:v>0.19594432434817133</c:v>
                </c:pt>
                <c:pt idx="467">
                  <c:v>0.21974412140997912</c:v>
                </c:pt>
                <c:pt idx="468">
                  <c:v>0.21577006220496764</c:v>
                </c:pt>
                <c:pt idx="469">
                  <c:v>0.21515727709886634</c:v>
                </c:pt>
                <c:pt idx="470">
                  <c:v>0.21137718562962315</c:v>
                </c:pt>
                <c:pt idx="471">
                  <c:v>0.23133115689475137</c:v>
                </c:pt>
                <c:pt idx="472">
                  <c:v>0.22884575226834891</c:v>
                </c:pt>
                <c:pt idx="473">
                  <c:v>0.24396744165526951</c:v>
                </c:pt>
                <c:pt idx="474">
                  <c:v>0.24850428670166602</c:v>
                </c:pt>
                <c:pt idx="475">
                  <c:v>0.25126351083072307</c:v>
                </c:pt>
                <c:pt idx="476">
                  <c:v>0.24849208099880871</c:v>
                </c:pt>
                <c:pt idx="477">
                  <c:v>0.25284701695563294</c:v>
                </c:pt>
                <c:pt idx="478">
                  <c:v>0.25155159482948775</c:v>
                </c:pt>
                <c:pt idx="479">
                  <c:v>0.25155144777282668</c:v>
                </c:pt>
                <c:pt idx="480">
                  <c:v>0.25150086028146634</c:v>
                </c:pt>
                <c:pt idx="481">
                  <c:v>0.2408346936074468</c:v>
                </c:pt>
                <c:pt idx="482">
                  <c:v>0.25628137821502617</c:v>
                </c:pt>
                <c:pt idx="483">
                  <c:v>0.26097086807546921</c:v>
                </c:pt>
                <c:pt idx="484">
                  <c:v>0.26342083204658762</c:v>
                </c:pt>
                <c:pt idx="485">
                  <c:v>0.26319877648858103</c:v>
                </c:pt>
                <c:pt idx="486">
                  <c:v>0.27184526698136779</c:v>
                </c:pt>
                <c:pt idx="487">
                  <c:v>0.27546433140689097</c:v>
                </c:pt>
                <c:pt idx="488">
                  <c:v>0.28472463640240564</c:v>
                </c:pt>
                <c:pt idx="489">
                  <c:v>0.28082484081116443</c:v>
                </c:pt>
                <c:pt idx="490">
                  <c:v>0.2791431008367522</c:v>
                </c:pt>
                <c:pt idx="491">
                  <c:v>0.28428037822973184</c:v>
                </c:pt>
                <c:pt idx="492">
                  <c:v>0.27345965500507341</c:v>
                </c:pt>
                <c:pt idx="493">
                  <c:v>0.28153556565344617</c:v>
                </c:pt>
                <c:pt idx="494">
                  <c:v>0.29358509433684787</c:v>
                </c:pt>
                <c:pt idx="495">
                  <c:v>0.29417332098057369</c:v>
                </c:pt>
                <c:pt idx="496">
                  <c:v>0.30128262819664431</c:v>
                </c:pt>
                <c:pt idx="497">
                  <c:v>0.30332406876369467</c:v>
                </c:pt>
                <c:pt idx="498">
                  <c:v>0.30993058925604022</c:v>
                </c:pt>
                <c:pt idx="499">
                  <c:v>0.31313304216114468</c:v>
                </c:pt>
                <c:pt idx="500">
                  <c:v>0.30734680372347456</c:v>
                </c:pt>
                <c:pt idx="501">
                  <c:v>0.31017426214320376</c:v>
                </c:pt>
                <c:pt idx="502">
                  <c:v>0.3222448199291188</c:v>
                </c:pt>
                <c:pt idx="503">
                  <c:v>0.32325715798297083</c:v>
                </c:pt>
                <c:pt idx="504">
                  <c:v>0.32877001808796935</c:v>
                </c:pt>
                <c:pt idx="505">
                  <c:v>0.33239864119645279</c:v>
                </c:pt>
                <c:pt idx="506">
                  <c:v>0.32180762047616951</c:v>
                </c:pt>
                <c:pt idx="507">
                  <c:v>0.33136939162659362</c:v>
                </c:pt>
                <c:pt idx="508">
                  <c:v>0.33812870398964701</c:v>
                </c:pt>
                <c:pt idx="509">
                  <c:v>0.33731401008808692</c:v>
                </c:pt>
                <c:pt idx="510">
                  <c:v>0.33781679681181154</c:v>
                </c:pt>
                <c:pt idx="511">
                  <c:v>0.32827899589711906</c:v>
                </c:pt>
                <c:pt idx="512">
                  <c:v>0.32049543389067803</c:v>
                </c:pt>
                <c:pt idx="513">
                  <c:v>0.30348024293760378</c:v>
                </c:pt>
                <c:pt idx="514">
                  <c:v>0.3165487272245997</c:v>
                </c:pt>
                <c:pt idx="515">
                  <c:v>0.32855516830634857</c:v>
                </c:pt>
                <c:pt idx="516">
                  <c:v>0.3385464919633534</c:v>
                </c:pt>
                <c:pt idx="517">
                  <c:v>0.35500507345480203</c:v>
                </c:pt>
                <c:pt idx="518">
                  <c:v>0.35603844061116741</c:v>
                </c:pt>
                <c:pt idx="519">
                  <c:v>0.34566065204923446</c:v>
                </c:pt>
                <c:pt idx="520">
                  <c:v>0.34907913118924716</c:v>
                </c:pt>
                <c:pt idx="521">
                  <c:v>0.35551168365171093</c:v>
                </c:pt>
                <c:pt idx="522">
                  <c:v>0.34581476742989059</c:v>
                </c:pt>
              </c:numCache>
            </c:numRef>
          </c:val>
          <c:smooth val="0"/>
          <c:extLst>
            <c:ext xmlns:c16="http://schemas.microsoft.com/office/drawing/2014/chart" uri="{C3380CC4-5D6E-409C-BE32-E72D297353CC}">
              <c16:uniqueId val="{00000002-4CF4-4C29-A27E-ED09DD91B891}"/>
            </c:ext>
          </c:extLst>
        </c:ser>
        <c:ser>
          <c:idx val="3"/>
          <c:order val="3"/>
          <c:tx>
            <c:strRef>
              <c:f>Tabelle1!$I$2</c:f>
              <c:strCache>
                <c:ptCount val="1"/>
              </c:strCache>
            </c:strRef>
          </c:tx>
          <c:spPr>
            <a:ln w="28575" cap="rnd">
              <a:solidFill>
                <a:schemeClr val="tx2"/>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I$3:$I$1319</c:f>
              <c:numCache>
                <c:formatCode>General</c:formatCode>
                <c:ptCount val="1317"/>
                <c:pt idx="262">
                  <c:v>0</c:v>
                </c:pt>
                <c:pt idx="263">
                  <c:v>5.0048668332176582E-3</c:v>
                </c:pt>
                <c:pt idx="264">
                  <c:v>1.3524030842656742E-2</c:v>
                </c:pt>
                <c:pt idx="265">
                  <c:v>2.1915193451936599E-2</c:v>
                </c:pt>
                <c:pt idx="266">
                  <c:v>1.9465157209047179E-2</c:v>
                </c:pt>
                <c:pt idx="267">
                  <c:v>2.4923770270967704E-2</c:v>
                </c:pt>
                <c:pt idx="268">
                  <c:v>3.4072667325569794E-2</c:v>
                </c:pt>
                <c:pt idx="269">
                  <c:v>4.1293928563615356E-2</c:v>
                </c:pt>
                <c:pt idx="270">
                  <c:v>5.11465311439252E-2</c:v>
                </c:pt>
                <c:pt idx="271">
                  <c:v>4.4298395800393742E-2</c:v>
                </c:pt>
                <c:pt idx="272">
                  <c:v>4.2770719033058846E-2</c:v>
                </c:pt>
                <c:pt idx="273">
                  <c:v>4.1773299246363083E-2</c:v>
                </c:pt>
                <c:pt idx="274">
                  <c:v>3.9217743435637331E-2</c:v>
                </c:pt>
                <c:pt idx="275">
                  <c:v>3.8517422271784341E-2</c:v>
                </c:pt>
                <c:pt idx="276">
                  <c:v>2.9114577207990822E-2</c:v>
                </c:pt>
                <c:pt idx="277">
                  <c:v>2.7894514759262634E-2</c:v>
                </c:pt>
                <c:pt idx="278">
                  <c:v>4.281979227995647E-2</c:v>
                </c:pt>
                <c:pt idx="279">
                  <c:v>4.2792838255182764E-2</c:v>
                </c:pt>
                <c:pt idx="280">
                  <c:v>4.3697913311263381E-2</c:v>
                </c:pt>
                <c:pt idx="281">
                  <c:v>4.4841102397856769E-2</c:v>
                </c:pt>
                <c:pt idx="282">
                  <c:v>5.2750356052997827E-2</c:v>
                </c:pt>
                <c:pt idx="283">
                  <c:v>4.639210708797803E-2</c:v>
                </c:pt>
                <c:pt idx="284">
                  <c:v>4.4214149364217414E-2</c:v>
                </c:pt>
                <c:pt idx="285">
                  <c:v>5.6957117838766003E-2</c:v>
                </c:pt>
                <c:pt idx="286">
                  <c:v>4.1229142208105252E-2</c:v>
                </c:pt>
                <c:pt idx="287">
                  <c:v>3.7704691946318647E-2</c:v>
                </c:pt>
                <c:pt idx="288">
                  <c:v>4.1864797886514538E-2</c:v>
                </c:pt>
                <c:pt idx="289">
                  <c:v>2.6288997669262404E-2</c:v>
                </c:pt>
                <c:pt idx="290">
                  <c:v>3.697729588762555E-2</c:v>
                </c:pt>
                <c:pt idx="291">
                  <c:v>2.7952411520996367E-2</c:v>
                </c:pt>
                <c:pt idx="292">
                  <c:v>3.1636531140299073E-2</c:v>
                </c:pt>
                <c:pt idx="293">
                  <c:v>4.2358431237079719E-2</c:v>
                </c:pt>
                <c:pt idx="294">
                  <c:v>4.1877972723735502E-2</c:v>
                </c:pt>
                <c:pt idx="295">
                  <c:v>4.6359351300023999E-2</c:v>
                </c:pt>
                <c:pt idx="296">
                  <c:v>4.0398523112834539E-2</c:v>
                </c:pt>
                <c:pt idx="297">
                  <c:v>3.3788985280080786E-2</c:v>
                </c:pt>
                <c:pt idx="298">
                  <c:v>6.8187639174328574E-3</c:v>
                </c:pt>
                <c:pt idx="299">
                  <c:v>7.2757736379243099E-3</c:v>
                </c:pt>
                <c:pt idx="300">
                  <c:v>-6.1490228803409153E-3</c:v>
                </c:pt>
                <c:pt idx="301">
                  <c:v>-9.1618301516905865E-3</c:v>
                </c:pt>
                <c:pt idx="302">
                  <c:v>-2.8967720077497372E-3</c:v>
                </c:pt>
                <c:pt idx="303">
                  <c:v>1.5182005541409138E-2</c:v>
                </c:pt>
                <c:pt idx="304">
                  <c:v>9.5840292931022031E-3</c:v>
                </c:pt>
                <c:pt idx="305">
                  <c:v>1.2903242182396246E-2</c:v>
                </c:pt>
                <c:pt idx="306">
                  <c:v>1.2729914507393358E-2</c:v>
                </c:pt>
                <c:pt idx="307">
                  <c:v>1.426895306095588E-2</c:v>
                </c:pt>
                <c:pt idx="308">
                  <c:v>3.1231253808162496E-2</c:v>
                </c:pt>
                <c:pt idx="309">
                  <c:v>2.7610711843707447E-2</c:v>
                </c:pt>
                <c:pt idx="310">
                  <c:v>3.7931927670868948E-2</c:v>
                </c:pt>
                <c:pt idx="311">
                  <c:v>4.8446414733964493E-2</c:v>
                </c:pt>
                <c:pt idx="312">
                  <c:v>5.0498546718758419E-2</c:v>
                </c:pt>
                <c:pt idx="313">
                  <c:v>5.6389753747787985E-2</c:v>
                </c:pt>
                <c:pt idx="314">
                  <c:v>4.6491583152501681E-2</c:v>
                </c:pt>
                <c:pt idx="315">
                  <c:v>4.3249122755276703E-2</c:v>
                </c:pt>
                <c:pt idx="316">
                  <c:v>3.8238333288812987E-2</c:v>
                </c:pt>
                <c:pt idx="317">
                  <c:v>4.2018907220983337E-2</c:v>
                </c:pt>
                <c:pt idx="318">
                  <c:v>3.4339548431850053E-2</c:v>
                </c:pt>
                <c:pt idx="319">
                  <c:v>3.5972261286756124E-2</c:v>
                </c:pt>
                <c:pt idx="320">
                  <c:v>3.3877099558377033E-2</c:v>
                </c:pt>
                <c:pt idx="321">
                  <c:v>3.9915526328099249E-2</c:v>
                </c:pt>
                <c:pt idx="322">
                  <c:v>4.3796543285323564E-2</c:v>
                </c:pt>
                <c:pt idx="323">
                  <c:v>2.5814703529297267E-2</c:v>
                </c:pt>
                <c:pt idx="324">
                  <c:v>1.340859992938781E-2</c:v>
                </c:pt>
                <c:pt idx="325">
                  <c:v>-1.7035306267221606E-2</c:v>
                </c:pt>
                <c:pt idx="326">
                  <c:v>-1.4735994996946222E-2</c:v>
                </c:pt>
                <c:pt idx="327">
                  <c:v>-1.5749127892254466E-2</c:v>
                </c:pt>
                <c:pt idx="328">
                  <c:v>3.0240481875110081E-3</c:v>
                </c:pt>
                <c:pt idx="329">
                  <c:v>2.3614747453479135E-2</c:v>
                </c:pt>
                <c:pt idx="330">
                  <c:v>2.6093067291871108E-2</c:v>
                </c:pt>
                <c:pt idx="331">
                  <c:v>4.2526924109432374E-2</c:v>
                </c:pt>
                <c:pt idx="332">
                  <c:v>4.2357101666350871E-2</c:v>
                </c:pt>
                <c:pt idx="333">
                  <c:v>8.3580079501077487E-2</c:v>
                </c:pt>
                <c:pt idx="334">
                  <c:v>0.1034829072200163</c:v>
                </c:pt>
                <c:pt idx="335">
                  <c:v>0.1038084103084278</c:v>
                </c:pt>
                <c:pt idx="336">
                  <c:v>9.1439534688923407E-2</c:v>
                </c:pt>
                <c:pt idx="337">
                  <c:v>0.10433733771833831</c:v>
                </c:pt>
                <c:pt idx="338">
                  <c:v>0.12552283858032309</c:v>
                </c:pt>
                <c:pt idx="339">
                  <c:v>0.12513545001799153</c:v>
                </c:pt>
                <c:pt idx="340">
                  <c:v>0.11866104491930529</c:v>
                </c:pt>
                <c:pt idx="341">
                  <c:v>0.1169193072646415</c:v>
                </c:pt>
                <c:pt idx="342">
                  <c:v>0.11548953525096928</c:v>
                </c:pt>
                <c:pt idx="343">
                  <c:v>0.12582815636767086</c:v>
                </c:pt>
                <c:pt idx="344">
                  <c:v>0.15121026592985887</c:v>
                </c:pt>
                <c:pt idx="345">
                  <c:v>0.14774020719788505</c:v>
                </c:pt>
                <c:pt idx="346">
                  <c:v>0.14610592303211756</c:v>
                </c:pt>
                <c:pt idx="347">
                  <c:v>0.14739198053701852</c:v>
                </c:pt>
                <c:pt idx="348">
                  <c:v>0.13197439923648813</c:v>
                </c:pt>
                <c:pt idx="349">
                  <c:v>0.14363304234670693</c:v>
                </c:pt>
                <c:pt idx="350">
                  <c:v>0.1493265059473512</c:v>
                </c:pt>
                <c:pt idx="351">
                  <c:v>0.15379180880482823</c:v>
                </c:pt>
                <c:pt idx="352">
                  <c:v>0.16540101605795088</c:v>
                </c:pt>
                <c:pt idx="353">
                  <c:v>0.1586892221491496</c:v>
                </c:pt>
                <c:pt idx="354">
                  <c:v>0.16119800124423667</c:v>
                </c:pt>
                <c:pt idx="355">
                  <c:v>0.16230069885863618</c:v>
                </c:pt>
                <c:pt idx="356">
                  <c:v>0.15965473223835547</c:v>
                </c:pt>
                <c:pt idx="357">
                  <c:v>0.15498866420083668</c:v>
                </c:pt>
                <c:pt idx="358">
                  <c:v>0.14984636810229279</c:v>
                </c:pt>
                <c:pt idx="359">
                  <c:v>0.1607556168017612</c:v>
                </c:pt>
                <c:pt idx="360">
                  <c:v>0.16263031152929996</c:v>
                </c:pt>
                <c:pt idx="361">
                  <c:v>0.169314788803129</c:v>
                </c:pt>
                <c:pt idx="362">
                  <c:v>0.16373047087230841</c:v>
                </c:pt>
                <c:pt idx="363">
                  <c:v>0.15099958940438496</c:v>
                </c:pt>
                <c:pt idx="364">
                  <c:v>0.14543013849171316</c:v>
                </c:pt>
                <c:pt idx="365">
                  <c:v>0.15509768900059417</c:v>
                </c:pt>
                <c:pt idx="366">
                  <c:v>0.1582128732180581</c:v>
                </c:pt>
                <c:pt idx="367">
                  <c:v>0.15850900488037056</c:v>
                </c:pt>
                <c:pt idx="368">
                  <c:v>0.16259791835154491</c:v>
                </c:pt>
                <c:pt idx="369">
                  <c:v>0.16431656982355514</c:v>
                </c:pt>
                <c:pt idx="370">
                  <c:v>0.1675919068788001</c:v>
                </c:pt>
                <c:pt idx="371">
                  <c:v>0.1722387565757848</c:v>
                </c:pt>
                <c:pt idx="372">
                  <c:v>0.1722387565757848</c:v>
                </c:pt>
                <c:pt idx="373">
                  <c:v>0.16335323539554203</c:v>
                </c:pt>
                <c:pt idx="374">
                  <c:v>0.17029407807988717</c:v>
                </c:pt>
                <c:pt idx="375">
                  <c:v>0.19546152240441517</c:v>
                </c:pt>
                <c:pt idx="376">
                  <c:v>0.20574043370838924</c:v>
                </c:pt>
                <c:pt idx="377">
                  <c:v>0.20887822062824135</c:v>
                </c:pt>
                <c:pt idx="378">
                  <c:v>0.20432685828359443</c:v>
                </c:pt>
                <c:pt idx="379">
                  <c:v>0.20993631718819494</c:v>
                </c:pt>
                <c:pt idx="380">
                  <c:v>0.2102522715413726</c:v>
                </c:pt>
                <c:pt idx="381">
                  <c:v>0.21555556656816166</c:v>
                </c:pt>
                <c:pt idx="382">
                  <c:v>0.20475800180990844</c:v>
                </c:pt>
                <c:pt idx="383">
                  <c:v>0.20295957609417337</c:v>
                </c:pt>
                <c:pt idx="384">
                  <c:v>0.20797060730076944</c:v>
                </c:pt>
                <c:pt idx="385">
                  <c:v>0.21197454911537017</c:v>
                </c:pt>
                <c:pt idx="386">
                  <c:v>0.20877330541073658</c:v>
                </c:pt>
                <c:pt idx="387">
                  <c:v>0.20117807218771322</c:v>
                </c:pt>
                <c:pt idx="388">
                  <c:v>0.1975479814880241</c:v>
                </c:pt>
                <c:pt idx="389">
                  <c:v>0.19666671783499479</c:v>
                </c:pt>
                <c:pt idx="390">
                  <c:v>0.17177086854933088</c:v>
                </c:pt>
                <c:pt idx="391">
                  <c:v>0.18064829143513506</c:v>
                </c:pt>
                <c:pt idx="392">
                  <c:v>0.16039203964248072</c:v>
                </c:pt>
                <c:pt idx="393">
                  <c:v>0.16903098588757381</c:v>
                </c:pt>
                <c:pt idx="394">
                  <c:v>0.18210296268245485</c:v>
                </c:pt>
                <c:pt idx="395">
                  <c:v>0.18744965006302783</c:v>
                </c:pt>
                <c:pt idx="396">
                  <c:v>0.19656953830172963</c:v>
                </c:pt>
                <c:pt idx="397">
                  <c:v>0.20329003485530106</c:v>
                </c:pt>
                <c:pt idx="398">
                  <c:v>0.21482333570681855</c:v>
                </c:pt>
                <c:pt idx="399">
                  <c:v>0.21518183632331622</c:v>
                </c:pt>
                <c:pt idx="400">
                  <c:v>0.21786817354572463</c:v>
                </c:pt>
                <c:pt idx="401">
                  <c:v>0.21765084916660715</c:v>
                </c:pt>
                <c:pt idx="402">
                  <c:v>0.22216051133839798</c:v>
                </c:pt>
                <c:pt idx="403">
                  <c:v>0.22831195162006379</c:v>
                </c:pt>
                <c:pt idx="404">
                  <c:v>0.22988253726091767</c:v>
                </c:pt>
                <c:pt idx="405">
                  <c:v>0.22909120093717816</c:v>
                </c:pt>
                <c:pt idx="406">
                  <c:v>0.22314971196058853</c:v>
                </c:pt>
                <c:pt idx="407">
                  <c:v>0.22855236218183528</c:v>
                </c:pt>
                <c:pt idx="408">
                  <c:v>0.23340759187303517</c:v>
                </c:pt>
                <c:pt idx="409">
                  <c:v>0.237541710748987</c:v>
                </c:pt>
                <c:pt idx="410">
                  <c:v>0.24817585917767038</c:v>
                </c:pt>
                <c:pt idx="411">
                  <c:v>0.23668450023914156</c:v>
                </c:pt>
                <c:pt idx="412">
                  <c:v>0.21494565621386363</c:v>
                </c:pt>
                <c:pt idx="413">
                  <c:v>0.23691185683375782</c:v>
                </c:pt>
                <c:pt idx="414">
                  <c:v>0.23515513129087906</c:v>
                </c:pt>
                <c:pt idx="415">
                  <c:v>0.23687620016421418</c:v>
                </c:pt>
                <c:pt idx="416">
                  <c:v>0.22673483899563251</c:v>
                </c:pt>
                <c:pt idx="417">
                  <c:v>0.24180564407609162</c:v>
                </c:pt>
                <c:pt idx="418">
                  <c:v>0.25391960472587449</c:v>
                </c:pt>
                <c:pt idx="419">
                  <c:v>0.25742713317838595</c:v>
                </c:pt>
                <c:pt idx="420">
                  <c:v>0.26857727591989056</c:v>
                </c:pt>
                <c:pt idx="421">
                  <c:v>0.27200188750695453</c:v>
                </c:pt>
                <c:pt idx="422">
                  <c:v>0.27967882889476314</c:v>
                </c:pt>
                <c:pt idx="423">
                  <c:v>0.28457406657789175</c:v>
                </c:pt>
                <c:pt idx="424">
                  <c:v>0.28206697966373229</c:v>
                </c:pt>
                <c:pt idx="425">
                  <c:v>0.28460247104346048</c:v>
                </c:pt>
                <c:pt idx="426">
                  <c:v>0.28457068221603676</c:v>
                </c:pt>
                <c:pt idx="427">
                  <c:v>0.27935417189681511</c:v>
                </c:pt>
                <c:pt idx="428">
                  <c:v>0.27918531641426392</c:v>
                </c:pt>
                <c:pt idx="429">
                  <c:v>0.26658847984981171</c:v>
                </c:pt>
                <c:pt idx="430">
                  <c:v>0.2643072990894737</c:v>
                </c:pt>
                <c:pt idx="431">
                  <c:v>0.2732068411974018</c:v>
                </c:pt>
                <c:pt idx="432">
                  <c:v>0.29294431866571058</c:v>
                </c:pt>
                <c:pt idx="433">
                  <c:v>0.29039480635829729</c:v>
                </c:pt>
                <c:pt idx="434">
                  <c:v>0.29040918989618114</c:v>
                </c:pt>
                <c:pt idx="435">
                  <c:v>0.28435420392738275</c:v>
                </c:pt>
                <c:pt idx="436">
                  <c:v>0.29147888998249427</c:v>
                </c:pt>
                <c:pt idx="437">
                  <c:v>0.2915591477064845</c:v>
                </c:pt>
                <c:pt idx="438">
                  <c:v>0.30233096714062646</c:v>
                </c:pt>
                <c:pt idx="439">
                  <c:v>0.30263906493949788</c:v>
                </c:pt>
                <c:pt idx="440">
                  <c:v>0.30414836945676282</c:v>
                </c:pt>
                <c:pt idx="441">
                  <c:v>0.30327967629062358</c:v>
                </c:pt>
                <c:pt idx="442">
                  <c:v>0.30763825087960184</c:v>
                </c:pt>
                <c:pt idx="443">
                  <c:v>0.3080942936395632</c:v>
                </c:pt>
                <c:pt idx="444">
                  <c:v>0.30549123589280125</c:v>
                </c:pt>
                <c:pt idx="445">
                  <c:v>0.30966765929194073</c:v>
                </c:pt>
                <c:pt idx="446">
                  <c:v>0.31747598644176289</c:v>
                </c:pt>
                <c:pt idx="447">
                  <c:v>0.32528769795344026</c:v>
                </c:pt>
                <c:pt idx="448">
                  <c:v>0.32412456530591549</c:v>
                </c:pt>
                <c:pt idx="449">
                  <c:v>0.31144602057667847</c:v>
                </c:pt>
                <c:pt idx="450">
                  <c:v>0.31896280912670516</c:v>
                </c:pt>
                <c:pt idx="451">
                  <c:v>0.31378751550007511</c:v>
                </c:pt>
                <c:pt idx="452">
                  <c:v>0.32147533519384597</c:v>
                </c:pt>
                <c:pt idx="453">
                  <c:v>0.32398302645833676</c:v>
                </c:pt>
                <c:pt idx="454">
                  <c:v>0.32477387930181112</c:v>
                </c:pt>
                <c:pt idx="455">
                  <c:v>0.32594752764509938</c:v>
                </c:pt>
                <c:pt idx="456">
                  <c:v>0.33431669190232194</c:v>
                </c:pt>
                <c:pt idx="457">
                  <c:v>0.32482996301255107</c:v>
                </c:pt>
                <c:pt idx="458">
                  <c:v>0.3358339738439593</c:v>
                </c:pt>
                <c:pt idx="459">
                  <c:v>0.33377023833280539</c:v>
                </c:pt>
                <c:pt idx="460">
                  <c:v>0.34279198007771217</c:v>
                </c:pt>
                <c:pt idx="461">
                  <c:v>0.35546436043357077</c:v>
                </c:pt>
                <c:pt idx="462">
                  <c:v>0.36734189923376848</c:v>
                </c:pt>
                <c:pt idx="463">
                  <c:v>0.37171497823069677</c:v>
                </c:pt>
                <c:pt idx="464">
                  <c:v>0.35191295614701046</c:v>
                </c:pt>
                <c:pt idx="465">
                  <c:v>0.33398973837311541</c:v>
                </c:pt>
                <c:pt idx="466">
                  <c:v>0.34406703840658448</c:v>
                </c:pt>
                <c:pt idx="467">
                  <c:v>0.36093675268304359</c:v>
                </c:pt>
                <c:pt idx="468">
                  <c:v>0.36110826730705248</c:v>
                </c:pt>
                <c:pt idx="469">
                  <c:v>0.35715859615219836</c:v>
                </c:pt>
                <c:pt idx="470">
                  <c:v>0.34556594809815189</c:v>
                </c:pt>
                <c:pt idx="471">
                  <c:v>0.3535550968670842</c:v>
                </c:pt>
                <c:pt idx="472">
                  <c:v>0.35691093338645175</c:v>
                </c:pt>
                <c:pt idx="473">
                  <c:v>0.36262941709080976</c:v>
                </c:pt>
                <c:pt idx="474">
                  <c:v>0.35746343045928097</c:v>
                </c:pt>
                <c:pt idx="475">
                  <c:v>0.35825815114487525</c:v>
                </c:pt>
                <c:pt idx="476">
                  <c:v>0.36218219784568451</c:v>
                </c:pt>
                <c:pt idx="477">
                  <c:v>0.36563521389831721</c:v>
                </c:pt>
                <c:pt idx="478">
                  <c:v>0.36377055138627701</c:v>
                </c:pt>
                <c:pt idx="479">
                  <c:v>0.36947295937182378</c:v>
                </c:pt>
                <c:pt idx="480">
                  <c:v>0.37332968144573164</c:v>
                </c:pt>
                <c:pt idx="481">
                  <c:v>0.37309265524581536</c:v>
                </c:pt>
                <c:pt idx="482">
                  <c:v>0.37891629590781117</c:v>
                </c:pt>
                <c:pt idx="483">
                  <c:v>0.3772815282617783</c:v>
                </c:pt>
                <c:pt idx="484">
                  <c:v>0.37551090266128084</c:v>
                </c:pt>
                <c:pt idx="485">
                  <c:v>0.37112489056726372</c:v>
                </c:pt>
                <c:pt idx="486">
                  <c:v>0.37185422054701678</c:v>
                </c:pt>
                <c:pt idx="487">
                  <c:v>0.3727748878416437</c:v>
                </c:pt>
                <c:pt idx="488">
                  <c:v>0.36981006598659549</c:v>
                </c:pt>
                <c:pt idx="489">
                  <c:v>0.37168089287201411</c:v>
                </c:pt>
                <c:pt idx="490">
                  <c:v>0.36554250655750331</c:v>
                </c:pt>
                <c:pt idx="491">
                  <c:v>0.34938157434953476</c:v>
                </c:pt>
                <c:pt idx="492">
                  <c:v>0.32264704961607449</c:v>
                </c:pt>
                <c:pt idx="493">
                  <c:v>0.33944714273437326</c:v>
                </c:pt>
                <c:pt idx="494">
                  <c:v>0.34390894035992936</c:v>
                </c:pt>
                <c:pt idx="495">
                  <c:v>0.34048396616266685</c:v>
                </c:pt>
                <c:pt idx="496">
                  <c:v>0.34714402768311303</c:v>
                </c:pt>
                <c:pt idx="497">
                  <c:v>0.35549276489913928</c:v>
                </c:pt>
                <c:pt idx="498">
                  <c:v>0.34874628128132446</c:v>
                </c:pt>
                <c:pt idx="499">
                  <c:v>0.34512090451421895</c:v>
                </c:pt>
                <c:pt idx="500">
                  <c:v>0.34484483728290383</c:v>
                </c:pt>
                <c:pt idx="501">
                  <c:v>0.35189144127521788</c:v>
                </c:pt>
                <c:pt idx="502">
                  <c:v>0.35546943697635314</c:v>
                </c:pt>
                <c:pt idx="503">
                  <c:v>0.35783994071564984</c:v>
                </c:pt>
                <c:pt idx="504">
                  <c:v>0.3455682446294106</c:v>
                </c:pt>
                <c:pt idx="505">
                  <c:v>0.34810131860781368</c:v>
                </c:pt>
                <c:pt idx="506">
                  <c:v>0.33488236381237235</c:v>
                </c:pt>
                <c:pt idx="507">
                  <c:v>0.3527155333869112</c:v>
                </c:pt>
                <c:pt idx="508">
                  <c:v>0.35926366922600983</c:v>
                </c:pt>
                <c:pt idx="509">
                  <c:v>0.35199877389404799</c:v>
                </c:pt>
                <c:pt idx="510">
                  <c:v>0.35100220019781592</c:v>
                </c:pt>
                <c:pt idx="511">
                  <c:v>0.34751304399537442</c:v>
                </c:pt>
                <c:pt idx="512">
                  <c:v>0.3386828813054743</c:v>
                </c:pt>
                <c:pt idx="513">
                  <c:v>0.3123543591245479</c:v>
                </c:pt>
                <c:pt idx="514">
                  <c:v>0.32597955821265567</c:v>
                </c:pt>
                <c:pt idx="515">
                  <c:v>0.34119661607327711</c:v>
                </c:pt>
                <c:pt idx="516">
                  <c:v>0.3396749828092549</c:v>
                </c:pt>
                <c:pt idx="517">
                  <c:v>0.34572017830268709</c:v>
                </c:pt>
                <c:pt idx="518">
                  <c:v>0.3519225048822443</c:v>
                </c:pt>
                <c:pt idx="519">
                  <c:v>0.35247947414752456</c:v>
                </c:pt>
                <c:pt idx="520">
                  <c:v>0.34943415282835355</c:v>
                </c:pt>
                <c:pt idx="521">
                  <c:v>0.36121970950813509</c:v>
                </c:pt>
                <c:pt idx="522">
                  <c:v>0.3530169833321386</c:v>
                </c:pt>
              </c:numCache>
            </c:numRef>
          </c:val>
          <c:smooth val="0"/>
          <c:extLst>
            <c:ext xmlns:c16="http://schemas.microsoft.com/office/drawing/2014/chart" uri="{C3380CC4-5D6E-409C-BE32-E72D297353CC}">
              <c16:uniqueId val="{00000003-4CF4-4C29-A27E-ED09DD91B891}"/>
            </c:ext>
          </c:extLst>
        </c:ser>
        <c:ser>
          <c:idx val="4"/>
          <c:order val="4"/>
          <c:tx>
            <c:strRef>
              <c:f>Tabelle1!$J$2</c:f>
              <c:strCache>
                <c:ptCount val="1"/>
              </c:strCache>
            </c:strRef>
          </c:tx>
          <c:spPr>
            <a:ln w="28575" cap="rnd">
              <a:solidFill>
                <a:schemeClr val="accent2"/>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J$3:$J$1319</c:f>
              <c:numCache>
                <c:formatCode>General</c:formatCode>
                <c:ptCount val="1317"/>
                <c:pt idx="522">
                  <c:v>0</c:v>
                </c:pt>
                <c:pt idx="523">
                  <c:v>3.1322135019000719E-3</c:v>
                </c:pt>
                <c:pt idx="524">
                  <c:v>6.7501304406025753E-3</c:v>
                </c:pt>
                <c:pt idx="525">
                  <c:v>9.2167827201030672E-3</c:v>
                </c:pt>
                <c:pt idx="526">
                  <c:v>1.5987018769788142E-2</c:v>
                </c:pt>
                <c:pt idx="527">
                  <c:v>1.041874848046942E-2</c:v>
                </c:pt>
                <c:pt idx="528">
                  <c:v>1.0922590673292154E-2</c:v>
                </c:pt>
                <c:pt idx="529">
                  <c:v>7.647015437064919E-3</c:v>
                </c:pt>
                <c:pt idx="530">
                  <c:v>7.0153277951852111E-3</c:v>
                </c:pt>
                <c:pt idx="531">
                  <c:v>1.0895601078491302E-2</c:v>
                </c:pt>
                <c:pt idx="532">
                  <c:v>1.4896180207448539E-2</c:v>
                </c:pt>
                <c:pt idx="533">
                  <c:v>1.3724809939164251E-2</c:v>
                </c:pt>
                <c:pt idx="534">
                  <c:v>6.0131068902686824E-3</c:v>
                </c:pt>
                <c:pt idx="535">
                  <c:v>-4.2363829572167333E-4</c:v>
                </c:pt>
                <c:pt idx="536">
                  <c:v>-2.2677815809672985E-3</c:v>
                </c:pt>
                <c:pt idx="537">
                  <c:v>5.384369527982491E-3</c:v>
                </c:pt>
                <c:pt idx="538">
                  <c:v>1.9371535811750329E-2</c:v>
                </c:pt>
                <c:pt idx="539">
                  <c:v>2.2823690745136904E-2</c:v>
                </c:pt>
                <c:pt idx="540">
                  <c:v>2.283592894196973E-2</c:v>
                </c:pt>
                <c:pt idx="541">
                  <c:v>1.7565199813148968E-2</c:v>
                </c:pt>
                <c:pt idx="542">
                  <c:v>2.6312123190563641E-2</c:v>
                </c:pt>
                <c:pt idx="543">
                  <c:v>3.5116085306788225E-2</c:v>
                </c:pt>
                <c:pt idx="544">
                  <c:v>3.3046081728208332E-2</c:v>
                </c:pt>
                <c:pt idx="545">
                  <c:v>3.8775196890186825E-2</c:v>
                </c:pt>
                <c:pt idx="546">
                  <c:v>3.9984811523573471E-2</c:v>
                </c:pt>
                <c:pt idx="547">
                  <c:v>4.2992566934468401E-2</c:v>
                </c:pt>
                <c:pt idx="548">
                  <c:v>4.5510029584748146E-2</c:v>
                </c:pt>
                <c:pt idx="549">
                  <c:v>4.5700595792573573E-2</c:v>
                </c:pt>
                <c:pt idx="550">
                  <c:v>4.0363649277318059E-2</c:v>
                </c:pt>
                <c:pt idx="551">
                  <c:v>3.7313715795195934E-2</c:v>
                </c:pt>
                <c:pt idx="552">
                  <c:v>3.2420076106286499E-2</c:v>
                </c:pt>
                <c:pt idx="553">
                  <c:v>2.9682107373786959E-2</c:v>
                </c:pt>
                <c:pt idx="554">
                  <c:v>2.9695438266765573E-2</c:v>
                </c:pt>
                <c:pt idx="555">
                  <c:v>3.2267972802793032E-2</c:v>
                </c:pt>
                <c:pt idx="556">
                  <c:v>3.2074674854603247E-2</c:v>
                </c:pt>
                <c:pt idx="557">
                  <c:v>2.2400270988644166E-2</c:v>
                </c:pt>
                <c:pt idx="558">
                  <c:v>5.2940035567259347E-3</c:v>
                </c:pt>
                <c:pt idx="559">
                  <c:v>8.1845126711777016E-3</c:v>
                </c:pt>
                <c:pt idx="560">
                  <c:v>1.6071921260315758E-2</c:v>
                </c:pt>
                <c:pt idx="561">
                  <c:v>2.592443459803806E-2</c:v>
                </c:pt>
                <c:pt idx="562">
                  <c:v>2.375849229785798E-2</c:v>
                </c:pt>
                <c:pt idx="563">
                  <c:v>1.3857353981648224E-2</c:v>
                </c:pt>
                <c:pt idx="564">
                  <c:v>-1.4471449215580745E-2</c:v>
                </c:pt>
                <c:pt idx="565">
                  <c:v>-1.7360537825042877E-2</c:v>
                </c:pt>
                <c:pt idx="566">
                  <c:v>-2.0696976236590392E-2</c:v>
                </c:pt>
                <c:pt idx="567">
                  <c:v>-1.540373756716662E-2</c:v>
                </c:pt>
                <c:pt idx="568">
                  <c:v>-3.2546938128812375E-2</c:v>
                </c:pt>
                <c:pt idx="569">
                  <c:v>-2.3901854032185144E-2</c:v>
                </c:pt>
                <c:pt idx="570">
                  <c:v>-2.22861935110239E-2</c:v>
                </c:pt>
                <c:pt idx="571">
                  <c:v>-1.1076005212160567E-2</c:v>
                </c:pt>
                <c:pt idx="572">
                  <c:v>-1.4454512425321031E-2</c:v>
                </c:pt>
                <c:pt idx="573">
                  <c:v>-1.9106666266011429E-2</c:v>
                </c:pt>
                <c:pt idx="574">
                  <c:v>-2.1013748849254332E-2</c:v>
                </c:pt>
                <c:pt idx="575">
                  <c:v>-1.2551472817817322E-2</c:v>
                </c:pt>
                <c:pt idx="576">
                  <c:v>3.3063892675384565E-3</c:v>
                </c:pt>
                <c:pt idx="577">
                  <c:v>1.1960652011790307E-2</c:v>
                </c:pt>
                <c:pt idx="578">
                  <c:v>1.7596778731762353E-2</c:v>
                </c:pt>
                <c:pt idx="579">
                  <c:v>2.4740389054462852E-2</c:v>
                </c:pt>
                <c:pt idx="580">
                  <c:v>2.4428752113684116E-2</c:v>
                </c:pt>
                <c:pt idx="581">
                  <c:v>2.9626379870351771E-2</c:v>
                </c:pt>
                <c:pt idx="582">
                  <c:v>2.5907497807778457E-2</c:v>
                </c:pt>
                <c:pt idx="583">
                  <c:v>3.0977935733076167E-2</c:v>
                </c:pt>
                <c:pt idx="584">
                  <c:v>3.3814137849082382E-2</c:v>
                </c:pt>
                <c:pt idx="585">
                  <c:v>3.3353238614789227E-2</c:v>
                </c:pt>
                <c:pt idx="586">
                  <c:v>4.4226876500749857E-2</c:v>
                </c:pt>
                <c:pt idx="587">
                  <c:v>4.515665165120053E-2</c:v>
                </c:pt>
                <c:pt idx="588">
                  <c:v>4.9307367230589039E-2</c:v>
                </c:pt>
                <c:pt idx="589">
                  <c:v>5.1360543288523575E-2</c:v>
                </c:pt>
                <c:pt idx="590">
                  <c:v>5.7966219298653199E-2</c:v>
                </c:pt>
                <c:pt idx="591">
                  <c:v>6.866032720786075E-2</c:v>
                </c:pt>
                <c:pt idx="592">
                  <c:v>6.978613204686579E-2</c:v>
                </c:pt>
                <c:pt idx="593">
                  <c:v>7.1887277465600752E-2</c:v>
                </c:pt>
                <c:pt idx="594">
                  <c:v>6.730276151633463E-2</c:v>
                </c:pt>
                <c:pt idx="595">
                  <c:v>5.3069847869379183E-2</c:v>
                </c:pt>
                <c:pt idx="596">
                  <c:v>5.3343349714669808E-2</c:v>
                </c:pt>
                <c:pt idx="597">
                  <c:v>6.472279664651559E-2</c:v>
                </c:pt>
                <c:pt idx="598">
                  <c:v>6.5579688964042093E-2</c:v>
                </c:pt>
                <c:pt idx="599">
                  <c:v>7.0881341393788766E-2</c:v>
                </c:pt>
                <c:pt idx="600">
                  <c:v>6.8712011735556633E-2</c:v>
                </c:pt>
                <c:pt idx="601">
                  <c:v>7.5381610470214522E-2</c:v>
                </c:pt>
                <c:pt idx="602">
                  <c:v>7.8396249866827805E-2</c:v>
                </c:pt>
                <c:pt idx="603">
                  <c:v>6.4453337776964492E-2</c:v>
                </c:pt>
                <c:pt idx="604">
                  <c:v>5.6665255267478454E-2</c:v>
                </c:pt>
                <c:pt idx="605">
                  <c:v>5.8554089825086697E-2</c:v>
                </c:pt>
                <c:pt idx="606">
                  <c:v>6.0259132890973621E-2</c:v>
                </c:pt>
                <c:pt idx="607">
                  <c:v>3.8879112293651374E-2</c:v>
                </c:pt>
                <c:pt idx="608">
                  <c:v>5.2309222082296492E-2</c:v>
                </c:pt>
                <c:pt idx="609">
                  <c:v>3.7683156362086967E-2</c:v>
                </c:pt>
                <c:pt idx="610">
                  <c:v>2.775918069643013E-2</c:v>
                </c:pt>
                <c:pt idx="611">
                  <c:v>3.1274384197428562E-2</c:v>
                </c:pt>
                <c:pt idx="612">
                  <c:v>1.5796234022733557E-2</c:v>
                </c:pt>
                <c:pt idx="613">
                  <c:v>2.3890271453040013E-2</c:v>
                </c:pt>
                <c:pt idx="614">
                  <c:v>5.4070538999691387E-2</c:v>
                </c:pt>
                <c:pt idx="615">
                  <c:v>6.2353503593604476E-2</c:v>
                </c:pt>
                <c:pt idx="616">
                  <c:v>5.044562880565584E-2</c:v>
                </c:pt>
                <c:pt idx="617">
                  <c:v>5.4918034130364113E-2</c:v>
                </c:pt>
                <c:pt idx="618">
                  <c:v>4.3069274203902719E-2</c:v>
                </c:pt>
                <c:pt idx="619">
                  <c:v>2.9314305851114941E-2</c:v>
                </c:pt>
                <c:pt idx="620">
                  <c:v>4.6663916714699827E-2</c:v>
                </c:pt>
                <c:pt idx="621">
                  <c:v>3.3078644073352814E-2</c:v>
                </c:pt>
                <c:pt idx="622">
                  <c:v>2.6997571482816118E-2</c:v>
                </c:pt>
                <c:pt idx="623">
                  <c:v>1.325626183185058E-2</c:v>
                </c:pt>
                <c:pt idx="624">
                  <c:v>3.485351042295548E-2</c:v>
                </c:pt>
                <c:pt idx="625">
                  <c:v>4.8245048037654392E-2</c:v>
                </c:pt>
                <c:pt idx="626">
                  <c:v>5.6219435239997173E-2</c:v>
                </c:pt>
                <c:pt idx="627">
                  <c:v>5.6543528916837671E-2</c:v>
                </c:pt>
                <c:pt idx="628">
                  <c:v>6.8485932902993207E-2</c:v>
                </c:pt>
                <c:pt idx="629">
                  <c:v>6.650105035417031E-2</c:v>
                </c:pt>
                <c:pt idx="630">
                  <c:v>6.644641554688091E-2</c:v>
                </c:pt>
                <c:pt idx="631">
                  <c:v>6.37627538128267E-2</c:v>
                </c:pt>
                <c:pt idx="632">
                  <c:v>5.9202058639538757E-2</c:v>
                </c:pt>
                <c:pt idx="633">
                  <c:v>6.4429079922527777E-2</c:v>
                </c:pt>
                <c:pt idx="634">
                  <c:v>5.5329871307711498E-2</c:v>
                </c:pt>
                <c:pt idx="635">
                  <c:v>2.9337252470176267E-2</c:v>
                </c:pt>
                <c:pt idx="636">
                  <c:v>1.8982208175006399E-2</c:v>
                </c:pt>
                <c:pt idx="637">
                  <c:v>1.0887733666241628E-2</c:v>
                </c:pt>
                <c:pt idx="638">
                  <c:v>5.1805816967931406E-3</c:v>
                </c:pt>
                <c:pt idx="639">
                  <c:v>1.5842345800085811E-2</c:v>
                </c:pt>
                <c:pt idx="640">
                  <c:v>2.358846877757359E-2</c:v>
                </c:pt>
                <c:pt idx="641">
                  <c:v>2.3786902397648912E-3</c:v>
                </c:pt>
                <c:pt idx="642">
                  <c:v>-2.0346002234550298E-4</c:v>
                </c:pt>
                <c:pt idx="643">
                  <c:v>7.8510218074856475E-4</c:v>
                </c:pt>
                <c:pt idx="644">
                  <c:v>-1.9442123982768122E-2</c:v>
                </c:pt>
                <c:pt idx="645">
                  <c:v>-2.8295257425553055E-2</c:v>
                </c:pt>
                <c:pt idx="646">
                  <c:v>-3.2943586829733307E-2</c:v>
                </c:pt>
                <c:pt idx="647">
                  <c:v>-5.7422165887665355E-2</c:v>
                </c:pt>
                <c:pt idx="648">
                  <c:v>-6.3213346190724606E-2</c:v>
                </c:pt>
                <c:pt idx="649">
                  <c:v>-8.1313092958392841E-2</c:v>
                </c:pt>
                <c:pt idx="650">
                  <c:v>-7.8700565743429318E-2</c:v>
                </c:pt>
                <c:pt idx="651">
                  <c:v>-9.0017619725350828E-2</c:v>
                </c:pt>
                <c:pt idx="652">
                  <c:v>-6.6265792873982043E-2</c:v>
                </c:pt>
                <c:pt idx="653">
                  <c:v>-3.9385358417994398E-2</c:v>
                </c:pt>
                <c:pt idx="654">
                  <c:v>-3.042525002253671E-2</c:v>
                </c:pt>
                <c:pt idx="655">
                  <c:v>-2.2284991545263533E-2</c:v>
                </c:pt>
                <c:pt idx="656">
                  <c:v>-5.469720023930047E-2</c:v>
                </c:pt>
                <c:pt idx="657">
                  <c:v>-4.5155012606981626E-2</c:v>
                </c:pt>
                <c:pt idx="658">
                  <c:v>-4.9533773871995979E-2</c:v>
                </c:pt>
                <c:pt idx="659">
                  <c:v>-4.4275501479237422E-2</c:v>
                </c:pt>
                <c:pt idx="660">
                  <c:v>-2.3796627393345871E-2</c:v>
                </c:pt>
                <c:pt idx="661">
                  <c:v>-3.8032709859124214E-2</c:v>
                </c:pt>
                <c:pt idx="662">
                  <c:v>-6.1259168403598241E-2</c:v>
                </c:pt>
                <c:pt idx="663">
                  <c:v>-6.7027183548366787E-2</c:v>
                </c:pt>
                <c:pt idx="664">
                  <c:v>-4.7903799031324801E-2</c:v>
                </c:pt>
                <c:pt idx="665">
                  <c:v>-4.7094766804983701E-2</c:v>
                </c:pt>
                <c:pt idx="666">
                  <c:v>-6.8902796482610995E-2</c:v>
                </c:pt>
                <c:pt idx="667">
                  <c:v>-8.0654962069784952E-2</c:v>
                </c:pt>
                <c:pt idx="668">
                  <c:v>-8.3572351509423104E-2</c:v>
                </c:pt>
                <c:pt idx="669">
                  <c:v>-9.2405597882354806E-2</c:v>
                </c:pt>
                <c:pt idx="670">
                  <c:v>-0.10967686243228691</c:v>
                </c:pt>
                <c:pt idx="671">
                  <c:v>-9.6203263337039213E-2</c:v>
                </c:pt>
                <c:pt idx="672">
                  <c:v>-7.7009181379364855E-2</c:v>
                </c:pt>
                <c:pt idx="673">
                  <c:v>-7.3026850276042277E-2</c:v>
                </c:pt>
                <c:pt idx="674">
                  <c:v>-8.7448909625833515E-2</c:v>
                </c:pt>
                <c:pt idx="675">
                  <c:v>-7.9603788377537454E-2</c:v>
                </c:pt>
                <c:pt idx="676">
                  <c:v>-9.2163019337990093E-2</c:v>
                </c:pt>
                <c:pt idx="677">
                  <c:v>-0.11156635260758274</c:v>
                </c:pt>
                <c:pt idx="678">
                  <c:v>-0.14263454504230089</c:v>
                </c:pt>
                <c:pt idx="679">
                  <c:v>-0.14863934744186169</c:v>
                </c:pt>
                <c:pt idx="680">
                  <c:v>-0.11414773798239108</c:v>
                </c:pt>
                <c:pt idx="681">
                  <c:v>-0.1195057735332602</c:v>
                </c:pt>
                <c:pt idx="682">
                  <c:v>-0.13421717882245587</c:v>
                </c:pt>
                <c:pt idx="683">
                  <c:v>-0.14466553936847615</c:v>
                </c:pt>
                <c:pt idx="684">
                  <c:v>-0.12728729986587139</c:v>
                </c:pt>
                <c:pt idx="685">
                  <c:v>-9.625188831552689E-2</c:v>
                </c:pt>
                <c:pt idx="686">
                  <c:v>-8.0097031417745823E-2</c:v>
                </c:pt>
                <c:pt idx="687">
                  <c:v>-6.302638588018028E-2</c:v>
                </c:pt>
                <c:pt idx="688">
                  <c:v>-6.5737911365952084E-2</c:v>
                </c:pt>
                <c:pt idx="689">
                  <c:v>-5.2111225540679595E-2</c:v>
                </c:pt>
                <c:pt idx="690">
                  <c:v>-6.1274793958483009E-2</c:v>
                </c:pt>
                <c:pt idx="691">
                  <c:v>-4.9368339675523898E-2</c:v>
                </c:pt>
                <c:pt idx="692">
                  <c:v>-5.1104415311950979E-2</c:v>
                </c:pt>
                <c:pt idx="693">
                  <c:v>-4.1959422728626183E-2</c:v>
                </c:pt>
                <c:pt idx="694">
                  <c:v>-2.173372633971371E-2</c:v>
                </c:pt>
                <c:pt idx="695">
                  <c:v>-2.8621099416226925E-2</c:v>
                </c:pt>
                <c:pt idx="696">
                  <c:v>-4.2950825941699189E-2</c:v>
                </c:pt>
                <c:pt idx="697">
                  <c:v>-4.2326568633610617E-2</c:v>
                </c:pt>
                <c:pt idx="698">
                  <c:v>-2.6035561796064477E-2</c:v>
                </c:pt>
                <c:pt idx="699">
                  <c:v>-4.1051720040320427E-2</c:v>
                </c:pt>
                <c:pt idx="700">
                  <c:v>-6.336391971961397E-2</c:v>
                </c:pt>
                <c:pt idx="701">
                  <c:v>-6.3165158290695356E-2</c:v>
                </c:pt>
                <c:pt idx="702">
                  <c:v>-7.0649908350110646E-2</c:v>
                </c:pt>
                <c:pt idx="703">
                  <c:v>-8.9792087240860297E-2</c:v>
                </c:pt>
                <c:pt idx="704">
                  <c:v>-9.5044349804817019E-2</c:v>
                </c:pt>
                <c:pt idx="705">
                  <c:v>-8.2366342773317336E-2</c:v>
                </c:pt>
                <c:pt idx="706">
                  <c:v>-9.5884851680156924E-2</c:v>
                </c:pt>
                <c:pt idx="707">
                  <c:v>-9.6509764605932635E-2</c:v>
                </c:pt>
                <c:pt idx="708">
                  <c:v>-9.8286597808597831E-2</c:v>
                </c:pt>
                <c:pt idx="709">
                  <c:v>-8.672773016961377E-2</c:v>
                </c:pt>
                <c:pt idx="710">
                  <c:v>-9.1440310107166023E-2</c:v>
                </c:pt>
                <c:pt idx="711">
                  <c:v>-0.1052309003543066</c:v>
                </c:pt>
                <c:pt idx="712">
                  <c:v>-0.12942712672816725</c:v>
                </c:pt>
                <c:pt idx="713">
                  <c:v>-0.12688092616925306</c:v>
                </c:pt>
                <c:pt idx="714">
                  <c:v>-0.15484225565265364</c:v>
                </c:pt>
                <c:pt idx="715">
                  <c:v>-0.15566101287469225</c:v>
                </c:pt>
                <c:pt idx="716">
                  <c:v>-0.13329243007427594</c:v>
                </c:pt>
                <c:pt idx="717">
                  <c:v>-0.15704239934219688</c:v>
                </c:pt>
                <c:pt idx="718">
                  <c:v>-0.15317567549109856</c:v>
                </c:pt>
                <c:pt idx="719">
                  <c:v>-0.1523087303690307</c:v>
                </c:pt>
                <c:pt idx="720">
                  <c:v>-0.13442238715863486</c:v>
                </c:pt>
                <c:pt idx="721">
                  <c:v>-0.16748103489251953</c:v>
                </c:pt>
                <c:pt idx="722">
                  <c:v>-0.17886823996700052</c:v>
                </c:pt>
                <c:pt idx="723">
                  <c:v>-0.21454203738659849</c:v>
                </c:pt>
                <c:pt idx="724">
                  <c:v>-0.20824078652268574</c:v>
                </c:pt>
                <c:pt idx="725">
                  <c:v>-0.22249435212679636</c:v>
                </c:pt>
                <c:pt idx="726">
                  <c:v>-0.22778638883045998</c:v>
                </c:pt>
                <c:pt idx="727">
                  <c:v>-0.20197625024927124</c:v>
                </c:pt>
                <c:pt idx="728">
                  <c:v>-0.20895377075781196</c:v>
                </c:pt>
                <c:pt idx="729">
                  <c:v>-0.1903924691381631</c:v>
                </c:pt>
                <c:pt idx="730">
                  <c:v>-0.2191333280519685</c:v>
                </c:pt>
                <c:pt idx="731">
                  <c:v>-0.22124955267751523</c:v>
                </c:pt>
                <c:pt idx="732">
                  <c:v>-0.22163560222582201</c:v>
                </c:pt>
                <c:pt idx="733">
                  <c:v>-0.20741809559452218</c:v>
                </c:pt>
                <c:pt idx="734">
                  <c:v>-0.22344576266093363</c:v>
                </c:pt>
                <c:pt idx="735">
                  <c:v>-0.21666394403210332</c:v>
                </c:pt>
                <c:pt idx="736">
                  <c:v>-0.19998284467051108</c:v>
                </c:pt>
                <c:pt idx="737">
                  <c:v>-0.17558272119584661</c:v>
                </c:pt>
                <c:pt idx="738">
                  <c:v>-0.17021583480619662</c:v>
                </c:pt>
                <c:pt idx="739">
                  <c:v>-0.17611103978233489</c:v>
                </c:pt>
                <c:pt idx="740">
                  <c:v>-0.18273791409769247</c:v>
                </c:pt>
                <c:pt idx="741">
                  <c:v>-0.16340669877372171</c:v>
                </c:pt>
                <c:pt idx="742">
                  <c:v>-0.17860872463237598</c:v>
                </c:pt>
                <c:pt idx="743">
                  <c:v>-0.1744480655180608</c:v>
                </c:pt>
                <c:pt idx="744">
                  <c:v>-0.17074732221150757</c:v>
                </c:pt>
                <c:pt idx="745">
                  <c:v>-0.17504282003021299</c:v>
                </c:pt>
                <c:pt idx="746">
                  <c:v>-0.19532675712369585</c:v>
                </c:pt>
                <c:pt idx="747">
                  <c:v>-0.22346215310312034</c:v>
                </c:pt>
                <c:pt idx="748">
                  <c:v>-0.25607476227029469</c:v>
                </c:pt>
                <c:pt idx="749">
                  <c:v>-0.26015915119363386</c:v>
                </c:pt>
                <c:pt idx="750">
                  <c:v>-0.24624322869857151</c:v>
                </c:pt>
                <c:pt idx="751">
                  <c:v>-0.26925923396536688</c:v>
                </c:pt>
                <c:pt idx="752">
                  <c:v>-0.26545512160342233</c:v>
                </c:pt>
                <c:pt idx="753">
                  <c:v>-0.26318351558594466</c:v>
                </c:pt>
                <c:pt idx="754">
                  <c:v>-0.24835344349531641</c:v>
                </c:pt>
                <c:pt idx="755">
                  <c:v>-0.2490465406605894</c:v>
                </c:pt>
                <c:pt idx="756">
                  <c:v>-0.24060327754208921</c:v>
                </c:pt>
                <c:pt idx="757">
                  <c:v>-0.21511242477469961</c:v>
                </c:pt>
                <c:pt idx="758">
                  <c:v>-0.21626543774773455</c:v>
                </c:pt>
                <c:pt idx="759">
                  <c:v>-0.23523639115243922</c:v>
                </c:pt>
                <c:pt idx="760">
                  <c:v>-0.23603853939306185</c:v>
                </c:pt>
                <c:pt idx="761">
                  <c:v>-0.24589640694189863</c:v>
                </c:pt>
                <c:pt idx="762">
                  <c:v>-0.24205962296519479</c:v>
                </c:pt>
                <c:pt idx="763">
                  <c:v>-0.23988373713008815</c:v>
                </c:pt>
                <c:pt idx="764">
                  <c:v>-0.23489120843998501</c:v>
                </c:pt>
                <c:pt idx="765">
                  <c:v>-0.22969762365905688</c:v>
                </c:pt>
                <c:pt idx="766">
                  <c:v>-0.21512455370191785</c:v>
                </c:pt>
                <c:pt idx="767">
                  <c:v>-0.21438873211734466</c:v>
                </c:pt>
                <c:pt idx="768">
                  <c:v>-0.22748371199807682</c:v>
                </c:pt>
                <c:pt idx="769">
                  <c:v>-0.23501195136409458</c:v>
                </c:pt>
                <c:pt idx="770">
                  <c:v>-0.23657734786254969</c:v>
                </c:pt>
                <c:pt idx="771">
                  <c:v>-0.23997978512130291</c:v>
                </c:pt>
                <c:pt idx="772">
                  <c:v>-0.22540595027686183</c:v>
                </c:pt>
                <c:pt idx="773">
                  <c:v>-0.22636260575249878</c:v>
                </c:pt>
                <c:pt idx="774">
                  <c:v>-0.20617733912098057</c:v>
                </c:pt>
                <c:pt idx="775">
                  <c:v>-0.19582174847773759</c:v>
                </c:pt>
                <c:pt idx="776">
                  <c:v>-0.18474443203020208</c:v>
                </c:pt>
                <c:pt idx="777">
                  <c:v>-0.19295123570275385</c:v>
                </c:pt>
                <c:pt idx="778">
                  <c:v>-0.19701289654626064</c:v>
                </c:pt>
                <c:pt idx="779">
                  <c:v>-0.20998298125752923</c:v>
                </c:pt>
                <c:pt idx="780">
                  <c:v>-0.18709438436133263</c:v>
                </c:pt>
                <c:pt idx="781">
                  <c:v>-0.17412801481695961</c:v>
                </c:pt>
                <c:pt idx="782">
                  <c:v>-0.15890632042768116</c:v>
                </c:pt>
              </c:numCache>
            </c:numRef>
          </c:val>
          <c:smooth val="0"/>
          <c:extLst>
            <c:ext xmlns:c16="http://schemas.microsoft.com/office/drawing/2014/chart" uri="{C3380CC4-5D6E-409C-BE32-E72D297353CC}">
              <c16:uniqueId val="{00000004-4CF4-4C29-A27E-ED09DD91B891}"/>
            </c:ext>
          </c:extLst>
        </c:ser>
        <c:ser>
          <c:idx val="5"/>
          <c:order val="5"/>
          <c:tx>
            <c:strRef>
              <c:f>Tabelle1!$K$2</c:f>
              <c:strCache>
                <c:ptCount val="1"/>
              </c:strCache>
            </c:strRef>
          </c:tx>
          <c:spPr>
            <a:ln w="28575" cap="rnd">
              <a:solidFill>
                <a:schemeClr val="tx2"/>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K$3:$K$1319</c:f>
              <c:numCache>
                <c:formatCode>General</c:formatCode>
                <c:ptCount val="1317"/>
                <c:pt idx="522">
                  <c:v>0</c:v>
                </c:pt>
                <c:pt idx="523">
                  <c:v>1.967754272184985E-3</c:v>
                </c:pt>
                <c:pt idx="524">
                  <c:v>8.4642824504137515E-3</c:v>
                </c:pt>
                <c:pt idx="525">
                  <c:v>1.4218357922595182E-3</c:v>
                </c:pt>
                <c:pt idx="526">
                  <c:v>5.4394420429055845E-3</c:v>
                </c:pt>
                <c:pt idx="527">
                  <c:v>8.6462552770556478E-3</c:v>
                </c:pt>
                <c:pt idx="528">
                  <c:v>7.5206501638069856E-3</c:v>
                </c:pt>
                <c:pt idx="529">
                  <c:v>1.2607402604560836E-2</c:v>
                </c:pt>
                <c:pt idx="530">
                  <c:v>2.0318154965272006E-2</c:v>
                </c:pt>
                <c:pt idx="531">
                  <c:v>2.0889354893376177E-2</c:v>
                </c:pt>
                <c:pt idx="532">
                  <c:v>2.3078120836210303E-2</c:v>
                </c:pt>
                <c:pt idx="533">
                  <c:v>2.2307349334852233E-2</c:v>
                </c:pt>
                <c:pt idx="534">
                  <c:v>1.5950360457170909E-2</c:v>
                </c:pt>
                <c:pt idx="535">
                  <c:v>8.1140048592194258E-3</c:v>
                </c:pt>
                <c:pt idx="536">
                  <c:v>4.9857159817801033E-4</c:v>
                </c:pt>
                <c:pt idx="537">
                  <c:v>3.736919642246983E-3</c:v>
                </c:pt>
                <c:pt idx="538">
                  <c:v>1.0887281457290676E-2</c:v>
                </c:pt>
                <c:pt idx="539">
                  <c:v>1.3608655152917537E-2</c:v>
                </c:pt>
                <c:pt idx="540">
                  <c:v>1.6209874969392191E-2</c:v>
                </c:pt>
                <c:pt idx="541">
                  <c:v>1.1476705468180803E-2</c:v>
                </c:pt>
                <c:pt idx="542">
                  <c:v>1.7970196299278429E-2</c:v>
                </c:pt>
                <c:pt idx="543">
                  <c:v>1.7499496827714456E-2</c:v>
                </c:pt>
                <c:pt idx="544">
                  <c:v>1.6271425915664217E-2</c:v>
                </c:pt>
                <c:pt idx="545">
                  <c:v>1.7220686227837234E-2</c:v>
                </c:pt>
                <c:pt idx="546">
                  <c:v>2.3172367931010074E-2</c:v>
                </c:pt>
                <c:pt idx="547">
                  <c:v>2.1711850629700269E-2</c:v>
                </c:pt>
                <c:pt idx="548">
                  <c:v>2.296395231758086E-2</c:v>
                </c:pt>
                <c:pt idx="549">
                  <c:v>1.5615894937805352E-2</c:v>
                </c:pt>
                <c:pt idx="550">
                  <c:v>1.3275350972161037E-2</c:v>
                </c:pt>
                <c:pt idx="551">
                  <c:v>9.264623419429352E-3</c:v>
                </c:pt>
                <c:pt idx="552">
                  <c:v>5.1068525320621116E-3</c:v>
                </c:pt>
                <c:pt idx="553">
                  <c:v>1.0746848819352062E-2</c:v>
                </c:pt>
                <c:pt idx="554">
                  <c:v>4.2286125425106125E-3</c:v>
                </c:pt>
                <c:pt idx="555">
                  <c:v>9.3685185580569819E-3</c:v>
                </c:pt>
                <c:pt idx="556">
                  <c:v>6.1667080132989938E-3</c:v>
                </c:pt>
                <c:pt idx="557">
                  <c:v>-1.0276060014047239E-3</c:v>
                </c:pt>
                <c:pt idx="558">
                  <c:v>-1.6751416096099425E-2</c:v>
                </c:pt>
                <c:pt idx="559">
                  <c:v>-1.756533579346542E-2</c:v>
                </c:pt>
                <c:pt idx="560">
                  <c:v>-9.3256383632664974E-3</c:v>
                </c:pt>
                <c:pt idx="561">
                  <c:v>1.8601071165131877E-3</c:v>
                </c:pt>
                <c:pt idx="562">
                  <c:v>2.2429021887571121E-3</c:v>
                </c:pt>
                <c:pt idx="563">
                  <c:v>7.4490045050110698E-3</c:v>
                </c:pt>
                <c:pt idx="564">
                  <c:v>-4.6268623516266816E-3</c:v>
                </c:pt>
                <c:pt idx="565">
                  <c:v>-3.13489957413704E-3</c:v>
                </c:pt>
                <c:pt idx="566">
                  <c:v>-1.4372994625056923E-2</c:v>
                </c:pt>
                <c:pt idx="567">
                  <c:v>-9.0428077451278899E-3</c:v>
                </c:pt>
                <c:pt idx="568">
                  <c:v>-1.0767842248051385E-2</c:v>
                </c:pt>
                <c:pt idx="569">
                  <c:v>-4.1444601602343978E-3</c:v>
                </c:pt>
                <c:pt idx="570">
                  <c:v>-6.0245780343163302E-3</c:v>
                </c:pt>
                <c:pt idx="571">
                  <c:v>2.9610561177575434E-3</c:v>
                </c:pt>
                <c:pt idx="572">
                  <c:v>4.6865372893767354E-3</c:v>
                </c:pt>
                <c:pt idx="573">
                  <c:v>1.4249624731295096E-3</c:v>
                </c:pt>
                <c:pt idx="574">
                  <c:v>-1.1653586271691552E-3</c:v>
                </c:pt>
                <c:pt idx="575">
                  <c:v>-5.0428895748322322E-4</c:v>
                </c:pt>
                <c:pt idx="576">
                  <c:v>1.3495737306636002E-2</c:v>
                </c:pt>
                <c:pt idx="577">
                  <c:v>2.1075079737062241E-2</c:v>
                </c:pt>
                <c:pt idx="578">
                  <c:v>1.8204250695842861E-2</c:v>
                </c:pt>
                <c:pt idx="579">
                  <c:v>2.5587148233885415E-2</c:v>
                </c:pt>
                <c:pt idx="580">
                  <c:v>3.3696239737451839E-2</c:v>
                </c:pt>
                <c:pt idx="581">
                  <c:v>3.1375438528158828E-2</c:v>
                </c:pt>
                <c:pt idx="582">
                  <c:v>3.4573139720916135E-2</c:v>
                </c:pt>
                <c:pt idx="583">
                  <c:v>3.5104050132665154E-2</c:v>
                </c:pt>
                <c:pt idx="584">
                  <c:v>3.718615159095795E-2</c:v>
                </c:pt>
                <c:pt idx="585">
                  <c:v>2.7313612076635296E-2</c:v>
                </c:pt>
                <c:pt idx="586">
                  <c:v>3.4320503906609234E-2</c:v>
                </c:pt>
                <c:pt idx="587">
                  <c:v>3.0381690013890461E-2</c:v>
                </c:pt>
                <c:pt idx="588">
                  <c:v>3.6652471833295452E-2</c:v>
                </c:pt>
                <c:pt idx="589">
                  <c:v>3.7951831069184649E-2</c:v>
                </c:pt>
                <c:pt idx="590">
                  <c:v>4.2184999632391751E-2</c:v>
                </c:pt>
                <c:pt idx="591">
                  <c:v>3.9258962340379622E-2</c:v>
                </c:pt>
                <c:pt idx="592">
                  <c:v>4.3375550374000094E-2</c:v>
                </c:pt>
                <c:pt idx="593">
                  <c:v>4.489029325497218E-2</c:v>
                </c:pt>
                <c:pt idx="594">
                  <c:v>4.3199294906663743E-2</c:v>
                </c:pt>
                <c:pt idx="595">
                  <c:v>4.0883853721719543E-2</c:v>
                </c:pt>
                <c:pt idx="596">
                  <c:v>4.0992126213565294E-2</c:v>
                </c:pt>
                <c:pt idx="597">
                  <c:v>4.3759328117374485E-2</c:v>
                </c:pt>
                <c:pt idx="598">
                  <c:v>4.4759240659643984E-2</c:v>
                </c:pt>
                <c:pt idx="599">
                  <c:v>4.2892522846433856E-2</c:v>
                </c:pt>
                <c:pt idx="600">
                  <c:v>3.8016955365022698E-2</c:v>
                </c:pt>
                <c:pt idx="601">
                  <c:v>3.4674265513630065E-2</c:v>
                </c:pt>
                <c:pt idx="602">
                  <c:v>2.7111360491206993E-2</c:v>
                </c:pt>
                <c:pt idx="603">
                  <c:v>2.9728392379510415E-2</c:v>
                </c:pt>
                <c:pt idx="604">
                  <c:v>3.4954505453333562E-2</c:v>
                </c:pt>
                <c:pt idx="605">
                  <c:v>3.3826041660431905E-2</c:v>
                </c:pt>
                <c:pt idx="606">
                  <c:v>3.5015073728474899E-2</c:v>
                </c:pt>
                <c:pt idx="607">
                  <c:v>1.0192354300468276E-2</c:v>
                </c:pt>
                <c:pt idx="608">
                  <c:v>1.2021462609497657E-2</c:v>
                </c:pt>
                <c:pt idx="609">
                  <c:v>-8.6616206801887197E-3</c:v>
                </c:pt>
                <c:pt idx="610">
                  <c:v>-7.70137231810053E-3</c:v>
                </c:pt>
                <c:pt idx="611">
                  <c:v>4.1635775804118591E-3</c:v>
                </c:pt>
                <c:pt idx="612">
                  <c:v>3.5048305879437081E-3</c:v>
                </c:pt>
                <c:pt idx="613">
                  <c:v>1.5631707009634344E-2</c:v>
                </c:pt>
                <c:pt idx="614">
                  <c:v>2.9229552780115187E-2</c:v>
                </c:pt>
                <c:pt idx="615">
                  <c:v>2.8987905015723126E-2</c:v>
                </c:pt>
                <c:pt idx="616">
                  <c:v>2.5388559331762206E-2</c:v>
                </c:pt>
                <c:pt idx="617">
                  <c:v>3.1243671262917383E-2</c:v>
                </c:pt>
                <c:pt idx="618">
                  <c:v>2.5946805867690159E-2</c:v>
                </c:pt>
                <c:pt idx="619">
                  <c:v>2.4205512624241976E-2</c:v>
                </c:pt>
                <c:pt idx="620">
                  <c:v>3.1127537402026562E-2</c:v>
                </c:pt>
                <c:pt idx="621">
                  <c:v>3.968160026028289E-2</c:v>
                </c:pt>
                <c:pt idx="622">
                  <c:v>2.7787974231504364E-2</c:v>
                </c:pt>
                <c:pt idx="623">
                  <c:v>1.5853433350196511E-2</c:v>
                </c:pt>
                <c:pt idx="624">
                  <c:v>2.8239198947934474E-2</c:v>
                </c:pt>
                <c:pt idx="625">
                  <c:v>3.5442893005248832E-2</c:v>
                </c:pt>
                <c:pt idx="626">
                  <c:v>4.2249319924577255E-2</c:v>
                </c:pt>
                <c:pt idx="627">
                  <c:v>4.244442481087396E-2</c:v>
                </c:pt>
                <c:pt idx="628">
                  <c:v>5.0725394428558612E-2</c:v>
                </c:pt>
                <c:pt idx="629">
                  <c:v>5.3747644157631669E-2</c:v>
                </c:pt>
                <c:pt idx="630">
                  <c:v>5.6996801584137335E-2</c:v>
                </c:pt>
                <c:pt idx="631">
                  <c:v>5.5382540917755962E-2</c:v>
                </c:pt>
                <c:pt idx="632">
                  <c:v>5.6514846061440638E-2</c:v>
                </c:pt>
                <c:pt idx="633">
                  <c:v>5.7692532744612279E-2</c:v>
                </c:pt>
                <c:pt idx="634">
                  <c:v>7.1246604982911022E-2</c:v>
                </c:pt>
                <c:pt idx="635">
                  <c:v>6.780332534123934E-2</c:v>
                </c:pt>
                <c:pt idx="636">
                  <c:v>6.6189511343553553E-2</c:v>
                </c:pt>
                <c:pt idx="637">
                  <c:v>6.9866577380572226E-2</c:v>
                </c:pt>
                <c:pt idx="638">
                  <c:v>6.8111616075034576E-2</c:v>
                </c:pt>
                <c:pt idx="639">
                  <c:v>7.52943167036495E-2</c:v>
                </c:pt>
                <c:pt idx="640">
                  <c:v>8.1210979581076703E-2</c:v>
                </c:pt>
                <c:pt idx="641">
                  <c:v>8.1542675754528338E-2</c:v>
                </c:pt>
                <c:pt idx="642">
                  <c:v>7.8251620804362876E-2</c:v>
                </c:pt>
                <c:pt idx="643">
                  <c:v>7.9274224116375525E-2</c:v>
                </c:pt>
                <c:pt idx="644">
                  <c:v>6.5476092102727756E-2</c:v>
                </c:pt>
                <c:pt idx="645">
                  <c:v>5.7584438920244452E-2</c:v>
                </c:pt>
                <c:pt idx="646">
                  <c:v>5.1605957095327781E-2</c:v>
                </c:pt>
                <c:pt idx="647">
                  <c:v>3.8671057003054843E-2</c:v>
                </c:pt>
                <c:pt idx="648">
                  <c:v>3.1698022660217706E-2</c:v>
                </c:pt>
                <c:pt idx="649">
                  <c:v>3.0178813092288204E-2</c:v>
                </c:pt>
                <c:pt idx="650">
                  <c:v>3.0335236469534177E-2</c:v>
                </c:pt>
                <c:pt idx="651">
                  <c:v>2.5761795693917344E-2</c:v>
                </c:pt>
                <c:pt idx="652">
                  <c:v>3.5052415231438205E-2</c:v>
                </c:pt>
                <c:pt idx="653">
                  <c:v>4.3181338825095228E-2</c:v>
                </c:pt>
                <c:pt idx="654">
                  <c:v>5.228373217423421E-2</c:v>
                </c:pt>
                <c:pt idx="655">
                  <c:v>6.1984750909395148E-2</c:v>
                </c:pt>
                <c:pt idx="656">
                  <c:v>5.427658922711931E-2</c:v>
                </c:pt>
                <c:pt idx="657">
                  <c:v>5.0781853351699269E-2</c:v>
                </c:pt>
                <c:pt idx="658">
                  <c:v>5.3860204668956468E-2</c:v>
                </c:pt>
                <c:pt idx="659">
                  <c:v>6.0205669494288072E-2</c:v>
                </c:pt>
                <c:pt idx="660">
                  <c:v>7.114574719141431E-2</c:v>
                </c:pt>
                <c:pt idx="661">
                  <c:v>6.1306529161793133E-2</c:v>
                </c:pt>
                <c:pt idx="662">
                  <c:v>5.2700116732397051E-2</c:v>
                </c:pt>
                <c:pt idx="663">
                  <c:v>4.0421104952939491E-2</c:v>
                </c:pt>
                <c:pt idx="664">
                  <c:v>4.9452209978239292E-2</c:v>
                </c:pt>
                <c:pt idx="665">
                  <c:v>5.279865184667587E-2</c:v>
                </c:pt>
                <c:pt idx="666">
                  <c:v>4.1309350321275584E-2</c:v>
                </c:pt>
                <c:pt idx="667">
                  <c:v>3.6492296439005312E-2</c:v>
                </c:pt>
                <c:pt idx="668">
                  <c:v>3.4393489571491909E-2</c:v>
                </c:pt>
                <c:pt idx="669">
                  <c:v>2.6062046391189586E-2</c:v>
                </c:pt>
                <c:pt idx="670">
                  <c:v>1.6929368904480047E-2</c:v>
                </c:pt>
                <c:pt idx="671">
                  <c:v>1.8130282359829497E-3</c:v>
                </c:pt>
                <c:pt idx="672">
                  <c:v>3.148165634400435E-2</c:v>
                </c:pt>
                <c:pt idx="673">
                  <c:v>2.6153345472597289E-2</c:v>
                </c:pt>
                <c:pt idx="674">
                  <c:v>9.6693052577641048E-3</c:v>
                </c:pt>
                <c:pt idx="675">
                  <c:v>2.3867384421571769E-2</c:v>
                </c:pt>
                <c:pt idx="676">
                  <c:v>2.2369436283559141E-2</c:v>
                </c:pt>
                <c:pt idx="677">
                  <c:v>1.1768737461451462E-2</c:v>
                </c:pt>
                <c:pt idx="678">
                  <c:v>-7.5534356460736918E-3</c:v>
                </c:pt>
                <c:pt idx="679">
                  <c:v>-1.5693347289645443E-2</c:v>
                </c:pt>
                <c:pt idx="680">
                  <c:v>5.0932738037119396E-3</c:v>
                </c:pt>
                <c:pt idx="681">
                  <c:v>4.2439779456440174E-3</c:v>
                </c:pt>
                <c:pt idx="682">
                  <c:v>-1.5953219136823904E-3</c:v>
                </c:pt>
                <c:pt idx="683">
                  <c:v>2.3074904821607234E-4</c:v>
                </c:pt>
                <c:pt idx="684">
                  <c:v>8.7030715351530397E-3</c:v>
                </c:pt>
                <c:pt idx="685">
                  <c:v>2.3952251473761121E-2</c:v>
                </c:pt>
                <c:pt idx="686">
                  <c:v>3.7694728567920555E-2</c:v>
                </c:pt>
                <c:pt idx="687">
                  <c:v>3.9798091456130003E-2</c:v>
                </c:pt>
                <c:pt idx="688">
                  <c:v>4.2252625272925837E-2</c:v>
                </c:pt>
                <c:pt idx="689">
                  <c:v>4.8526623106939892E-2</c:v>
                </c:pt>
                <c:pt idx="690">
                  <c:v>3.9675168231064317E-2</c:v>
                </c:pt>
                <c:pt idx="691">
                  <c:v>4.6782649851317526E-2</c:v>
                </c:pt>
                <c:pt idx="692">
                  <c:v>5.3721112037105057E-2</c:v>
                </c:pt>
                <c:pt idx="693">
                  <c:v>5.2804815874677002E-2</c:v>
                </c:pt>
                <c:pt idx="694">
                  <c:v>6.4855222615658015E-2</c:v>
                </c:pt>
                <c:pt idx="695">
                  <c:v>6.3797689811639025E-2</c:v>
                </c:pt>
                <c:pt idx="696">
                  <c:v>4.9633378801228867E-2</c:v>
                </c:pt>
                <c:pt idx="697">
                  <c:v>5.1665453365599578E-2</c:v>
                </c:pt>
                <c:pt idx="698">
                  <c:v>5.1305349063099248E-2</c:v>
                </c:pt>
                <c:pt idx="699">
                  <c:v>4.5504909380301717E-2</c:v>
                </c:pt>
                <c:pt idx="700">
                  <c:v>4.3551895175075739E-2</c:v>
                </c:pt>
                <c:pt idx="701">
                  <c:v>4.4892169263494264E-2</c:v>
                </c:pt>
                <c:pt idx="702">
                  <c:v>5.1402008168855762E-2</c:v>
                </c:pt>
                <c:pt idx="703">
                  <c:v>4.4649985496667544E-2</c:v>
                </c:pt>
                <c:pt idx="704">
                  <c:v>4.169375340082393E-2</c:v>
                </c:pt>
                <c:pt idx="705">
                  <c:v>4.5773178598959241E-2</c:v>
                </c:pt>
                <c:pt idx="706">
                  <c:v>4.3332402177992391E-2</c:v>
                </c:pt>
                <c:pt idx="707">
                  <c:v>4.3323736805294999E-2</c:v>
                </c:pt>
                <c:pt idx="708">
                  <c:v>4.1471580391565954E-2</c:v>
                </c:pt>
                <c:pt idx="709">
                  <c:v>5.0237721546556369E-2</c:v>
                </c:pt>
                <c:pt idx="710">
                  <c:v>6.1583285085669903E-2</c:v>
                </c:pt>
                <c:pt idx="711">
                  <c:v>5.2762829017277912E-2</c:v>
                </c:pt>
                <c:pt idx="712">
                  <c:v>2.6081163811366936E-2</c:v>
                </c:pt>
                <c:pt idx="713">
                  <c:v>2.046216095277642E-2</c:v>
                </c:pt>
                <c:pt idx="714">
                  <c:v>4.7763176972193122E-3</c:v>
                </c:pt>
                <c:pt idx="715">
                  <c:v>3.4447983152372519E-3</c:v>
                </c:pt>
                <c:pt idx="716">
                  <c:v>1.6796618968107913E-2</c:v>
                </c:pt>
                <c:pt idx="717">
                  <c:v>-2.6268585996095384E-3</c:v>
                </c:pt>
                <c:pt idx="718">
                  <c:v>-5.7237020008702455E-3</c:v>
                </c:pt>
                <c:pt idx="719">
                  <c:v>2.4288056999213214E-3</c:v>
                </c:pt>
                <c:pt idx="720">
                  <c:v>2.0524158567744477E-2</c:v>
                </c:pt>
                <c:pt idx="721">
                  <c:v>1.05878347636712E-3</c:v>
                </c:pt>
                <c:pt idx="722">
                  <c:v>-1.5799565105490965E-3</c:v>
                </c:pt>
                <c:pt idx="723">
                  <c:v>-2.5123238126496306E-2</c:v>
                </c:pt>
                <c:pt idx="724">
                  <c:v>-2.7835946449425997E-2</c:v>
                </c:pt>
                <c:pt idx="725">
                  <c:v>-2.9565447639306797E-2</c:v>
                </c:pt>
                <c:pt idx="726">
                  <c:v>-3.2205348964831848E-2</c:v>
                </c:pt>
                <c:pt idx="727">
                  <c:v>-1.7294118561415939E-2</c:v>
                </c:pt>
                <c:pt idx="728">
                  <c:v>-1.4949465243770721E-2</c:v>
                </c:pt>
                <c:pt idx="729">
                  <c:v>1.4428292209589522E-3</c:v>
                </c:pt>
                <c:pt idx="730">
                  <c:v>-2.3462881250715273E-2</c:v>
                </c:pt>
                <c:pt idx="731">
                  <c:v>-2.9857658300055712E-2</c:v>
                </c:pt>
                <c:pt idx="732">
                  <c:v>-2.6524527158751976E-2</c:v>
                </c:pt>
                <c:pt idx="733">
                  <c:v>-9.7867791247419067E-3</c:v>
                </c:pt>
                <c:pt idx="734">
                  <c:v>-7.8845958170906671E-3</c:v>
                </c:pt>
                <c:pt idx="735">
                  <c:v>-1.6729529330007376E-3</c:v>
                </c:pt>
                <c:pt idx="736">
                  <c:v>1.0630000288547992E-2</c:v>
                </c:pt>
                <c:pt idx="737">
                  <c:v>2.4984234828384189E-2</c:v>
                </c:pt>
                <c:pt idx="738">
                  <c:v>2.7718383248709122E-2</c:v>
                </c:pt>
                <c:pt idx="739">
                  <c:v>1.8041037954421801E-2</c:v>
                </c:pt>
                <c:pt idx="740">
                  <c:v>1.1407203819124634E-2</c:v>
                </c:pt>
                <c:pt idx="741">
                  <c:v>2.0048545740527279E-2</c:v>
                </c:pt>
                <c:pt idx="742">
                  <c:v>1.303450721142152E-2</c:v>
                </c:pt>
                <c:pt idx="743">
                  <c:v>1.5875498783765929E-2</c:v>
                </c:pt>
                <c:pt idx="744">
                  <c:v>2.2619570753170226E-2</c:v>
                </c:pt>
                <c:pt idx="745">
                  <c:v>1.2088552247596862E-2</c:v>
                </c:pt>
                <c:pt idx="746">
                  <c:v>-7.7283511073228395E-3</c:v>
                </c:pt>
                <c:pt idx="747">
                  <c:v>-3.1791019082669236E-2</c:v>
                </c:pt>
                <c:pt idx="748">
                  <c:v>-6.2365491305638399E-2</c:v>
                </c:pt>
                <c:pt idx="749">
                  <c:v>-7.086640058910243E-2</c:v>
                </c:pt>
                <c:pt idx="750">
                  <c:v>-6.514314525692777E-2</c:v>
                </c:pt>
                <c:pt idx="751">
                  <c:v>-8.5116293321615077E-2</c:v>
                </c:pt>
                <c:pt idx="752">
                  <c:v>-9.2828385688413229E-2</c:v>
                </c:pt>
                <c:pt idx="753">
                  <c:v>-8.8911637229263984E-2</c:v>
                </c:pt>
                <c:pt idx="754">
                  <c:v>-7.17826074177913E-2</c:v>
                </c:pt>
                <c:pt idx="755">
                  <c:v>-7.5273591276167173E-2</c:v>
                </c:pt>
                <c:pt idx="756">
                  <c:v>-7.6611453353628733E-2</c:v>
                </c:pt>
                <c:pt idx="757">
                  <c:v>-5.6275699641744836E-2</c:v>
                </c:pt>
                <c:pt idx="758">
                  <c:v>-5.227819348240681E-2</c:v>
                </c:pt>
                <c:pt idx="759">
                  <c:v>-5.7887190962212731E-2</c:v>
                </c:pt>
                <c:pt idx="760">
                  <c:v>-6.3532815275068821E-2</c:v>
                </c:pt>
                <c:pt idx="761">
                  <c:v>-7.1967796259042482E-2</c:v>
                </c:pt>
                <c:pt idx="762">
                  <c:v>-6.6659228143986948E-2</c:v>
                </c:pt>
                <c:pt idx="763">
                  <c:v>-6.3523077897501778E-2</c:v>
                </c:pt>
                <c:pt idx="764">
                  <c:v>-7.8902149092829221E-2</c:v>
                </c:pt>
                <c:pt idx="765">
                  <c:v>-7.9752963624462603E-2</c:v>
                </c:pt>
                <c:pt idx="766">
                  <c:v>-6.7525140077536294E-2</c:v>
                </c:pt>
                <c:pt idx="767">
                  <c:v>-6.7184242528952387E-2</c:v>
                </c:pt>
                <c:pt idx="768">
                  <c:v>-7.4161386223790537E-2</c:v>
                </c:pt>
                <c:pt idx="769">
                  <c:v>-7.8279760932193909E-2</c:v>
                </c:pt>
                <c:pt idx="770">
                  <c:v>-8.3171587154129867E-2</c:v>
                </c:pt>
                <c:pt idx="771">
                  <c:v>-9.5916295715759325E-2</c:v>
                </c:pt>
                <c:pt idx="772">
                  <c:v>-7.9017121615111097E-2</c:v>
                </c:pt>
                <c:pt idx="773">
                  <c:v>-7.8546422143546901E-2</c:v>
                </c:pt>
                <c:pt idx="774">
                  <c:v>-5.8944545098753465E-2</c:v>
                </c:pt>
                <c:pt idx="775">
                  <c:v>-5.9859858590050941E-2</c:v>
                </c:pt>
                <c:pt idx="776">
                  <c:v>-5.8498323071715541E-2</c:v>
                </c:pt>
                <c:pt idx="777">
                  <c:v>-5.8215581787316117E-2</c:v>
                </c:pt>
                <c:pt idx="778">
                  <c:v>-5.3203244351271217E-2</c:v>
                </c:pt>
                <c:pt idx="779">
                  <c:v>-5.7116955463289654E-2</c:v>
                </c:pt>
                <c:pt idx="780">
                  <c:v>-4.7767286324192693E-2</c:v>
                </c:pt>
                <c:pt idx="781">
                  <c:v>-3.8032946104329834E-2</c:v>
                </c:pt>
                <c:pt idx="782">
                  <c:v>-2.9571164998612232E-2</c:v>
                </c:pt>
              </c:numCache>
            </c:numRef>
          </c:val>
          <c:smooth val="0"/>
          <c:extLst>
            <c:ext xmlns:c16="http://schemas.microsoft.com/office/drawing/2014/chart" uri="{C3380CC4-5D6E-409C-BE32-E72D297353CC}">
              <c16:uniqueId val="{00000005-4CF4-4C29-A27E-ED09DD91B891}"/>
            </c:ext>
          </c:extLst>
        </c:ser>
        <c:ser>
          <c:idx val="6"/>
          <c:order val="6"/>
          <c:tx>
            <c:strRef>
              <c:f>Tabelle1!$L$2</c:f>
              <c:strCache>
                <c:ptCount val="1"/>
              </c:strCache>
            </c:strRef>
          </c:tx>
          <c:spPr>
            <a:ln w="28575" cap="rnd">
              <a:solidFill>
                <a:schemeClr val="accent2"/>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L$3:$L$1319</c:f>
              <c:numCache>
                <c:formatCode>General</c:formatCode>
                <c:ptCount val="1317"/>
                <c:pt idx="782">
                  <c:v>0</c:v>
                </c:pt>
                <c:pt idx="783">
                  <c:v>1.4834848473825879E-3</c:v>
                </c:pt>
                <c:pt idx="784">
                  <c:v>-4.9259387825733025E-3</c:v>
                </c:pt>
                <c:pt idx="785">
                  <c:v>1.0278903985441401E-2</c:v>
                </c:pt>
                <c:pt idx="786">
                  <c:v>1.7649689194399798E-2</c:v>
                </c:pt>
                <c:pt idx="787">
                  <c:v>1.0491962497544582E-2</c:v>
                </c:pt>
                <c:pt idx="788">
                  <c:v>1.1313406992684349E-2</c:v>
                </c:pt>
                <c:pt idx="789">
                  <c:v>1.1384339887567929E-3</c:v>
                </c:pt>
                <c:pt idx="790">
                  <c:v>2.8034213039804579E-2</c:v>
                </c:pt>
                <c:pt idx="791">
                  <c:v>2.46425553718288E-2</c:v>
                </c:pt>
                <c:pt idx="792">
                  <c:v>3.8410812147868789E-2</c:v>
                </c:pt>
                <c:pt idx="793">
                  <c:v>4.416248257856914E-2</c:v>
                </c:pt>
                <c:pt idx="794">
                  <c:v>4.1959145770476658E-2</c:v>
                </c:pt>
                <c:pt idx="795">
                  <c:v>3.3116048294648426E-2</c:v>
                </c:pt>
                <c:pt idx="796">
                  <c:v>3.347292130242141E-2</c:v>
                </c:pt>
                <c:pt idx="797">
                  <c:v>1.5017507173835876E-2</c:v>
                </c:pt>
                <c:pt idx="798">
                  <c:v>-7.2381432938014578E-3</c:v>
                </c:pt>
                <c:pt idx="799">
                  <c:v>-1.0454547344199705E-2</c:v>
                </c:pt>
                <c:pt idx="800">
                  <c:v>-7.3444127223993849E-3</c:v>
                </c:pt>
                <c:pt idx="801">
                  <c:v>6.5972788790420456E-3</c:v>
                </c:pt>
                <c:pt idx="802">
                  <c:v>-2.5604566519465743E-2</c:v>
                </c:pt>
                <c:pt idx="803">
                  <c:v>-3.8527864415798807E-2</c:v>
                </c:pt>
                <c:pt idx="804">
                  <c:v>-4.6636429679778324E-2</c:v>
                </c:pt>
                <c:pt idx="805">
                  <c:v>-5.2840979362425045E-2</c:v>
                </c:pt>
                <c:pt idx="806">
                  <c:v>-6.0990987105283168E-2</c:v>
                </c:pt>
                <c:pt idx="807">
                  <c:v>-6.4036944345998714E-2</c:v>
                </c:pt>
                <c:pt idx="808">
                  <c:v>-6.7378585229121102E-2</c:v>
                </c:pt>
                <c:pt idx="809">
                  <c:v>-7.1748753088049289E-2</c:v>
                </c:pt>
                <c:pt idx="810">
                  <c:v>-5.8948483491083281E-2</c:v>
                </c:pt>
                <c:pt idx="811">
                  <c:v>-5.1200168991776041E-2</c:v>
                </c:pt>
                <c:pt idx="812">
                  <c:v>-3.1070296837276357E-2</c:v>
                </c:pt>
                <c:pt idx="813">
                  <c:v>-1.7194211667915682E-2</c:v>
                </c:pt>
                <c:pt idx="814">
                  <c:v>-5.9779151860832269E-2</c:v>
                </c:pt>
                <c:pt idx="815">
                  <c:v>-5.9075798943437619E-2</c:v>
                </c:pt>
                <c:pt idx="816">
                  <c:v>-7.225606619156355E-2</c:v>
                </c:pt>
                <c:pt idx="817">
                  <c:v>-8.2599797126724162E-2</c:v>
                </c:pt>
                <c:pt idx="818">
                  <c:v>-7.794888570398173E-2</c:v>
                </c:pt>
                <c:pt idx="819">
                  <c:v>-8.6662069452917767E-2</c:v>
                </c:pt>
                <c:pt idx="820">
                  <c:v>-0.10059362778366154</c:v>
                </c:pt>
                <c:pt idx="821">
                  <c:v>-0.11423833660542704</c:v>
                </c:pt>
                <c:pt idx="822">
                  <c:v>-0.13058434155046317</c:v>
                </c:pt>
                <c:pt idx="823">
                  <c:v>-0.13761735106950168</c:v>
                </c:pt>
                <c:pt idx="824">
                  <c:v>-0.13671795833822675</c:v>
                </c:pt>
                <c:pt idx="825">
                  <c:v>-0.12314846956433179</c:v>
                </c:pt>
                <c:pt idx="826">
                  <c:v>-0.13943783212444283</c:v>
                </c:pt>
                <c:pt idx="827">
                  <c:v>-0.14871536110299877</c:v>
                </c:pt>
                <c:pt idx="828">
                  <c:v>-0.13253525598720406</c:v>
                </c:pt>
                <c:pt idx="829">
                  <c:v>-0.10116200033881506</c:v>
                </c:pt>
                <c:pt idx="830">
                  <c:v>-0.10415495277895859</c:v>
                </c:pt>
                <c:pt idx="831">
                  <c:v>-0.10887341933968486</c:v>
                </c:pt>
                <c:pt idx="832">
                  <c:v>-0.13732153751336806</c:v>
                </c:pt>
                <c:pt idx="833">
                  <c:v>-0.14718718593356528</c:v>
                </c:pt>
                <c:pt idx="834">
                  <c:v>-0.15793806648880615</c:v>
                </c:pt>
                <c:pt idx="835">
                  <c:v>-0.15961005615390933</c:v>
                </c:pt>
                <c:pt idx="836">
                  <c:v>-0.14761265338913732</c:v>
                </c:pt>
                <c:pt idx="837">
                  <c:v>-0.16328466591905644</c:v>
                </c:pt>
                <c:pt idx="838">
                  <c:v>-0.13928336470316793</c:v>
                </c:pt>
                <c:pt idx="839">
                  <c:v>-0.12957738025332133</c:v>
                </c:pt>
                <c:pt idx="840">
                  <c:v>-0.13680993725686652</c:v>
                </c:pt>
                <c:pt idx="841">
                  <c:v>-0.13978392229288383</c:v>
                </c:pt>
                <c:pt idx="842">
                  <c:v>-0.12877399376621967</c:v>
                </c:pt>
                <c:pt idx="843">
                  <c:v>-0.11846624893340829</c:v>
                </c:pt>
                <c:pt idx="844">
                  <c:v>-9.7723703642884852E-2</c:v>
                </c:pt>
                <c:pt idx="845">
                  <c:v>-0.10659213429545711</c:v>
                </c:pt>
                <c:pt idx="846">
                  <c:v>-0.11740823154159785</c:v>
                </c:pt>
                <c:pt idx="847">
                  <c:v>-0.1032242508395026</c:v>
                </c:pt>
                <c:pt idx="848">
                  <c:v>-0.1097164295134887</c:v>
                </c:pt>
                <c:pt idx="849">
                  <c:v>-0.11447062234911043</c:v>
                </c:pt>
                <c:pt idx="850">
                  <c:v>-0.13640213806815171</c:v>
                </c:pt>
                <c:pt idx="851">
                  <c:v>-0.1531148894642046</c:v>
                </c:pt>
                <c:pt idx="852">
                  <c:v>-0.13994956229467137</c:v>
                </c:pt>
                <c:pt idx="853">
                  <c:v>-0.13023214543685824</c:v>
                </c:pt>
                <c:pt idx="854">
                  <c:v>-0.12170707676446224</c:v>
                </c:pt>
                <c:pt idx="855">
                  <c:v>-0.13965712649543693</c:v>
                </c:pt>
                <c:pt idx="856">
                  <c:v>-8.2229932746261891E-2</c:v>
                </c:pt>
                <c:pt idx="857">
                  <c:v>-6.2128121956770976E-2</c:v>
                </c:pt>
                <c:pt idx="858">
                  <c:v>-7.0583426957825934E-2</c:v>
                </c:pt>
                <c:pt idx="859">
                  <c:v>-5.9136728481350098E-2</c:v>
                </c:pt>
                <c:pt idx="860">
                  <c:v>-6.8545989978974764E-2</c:v>
                </c:pt>
                <c:pt idx="861">
                  <c:v>-7.5633823090761942E-2</c:v>
                </c:pt>
                <c:pt idx="862">
                  <c:v>-7.2747399906670007E-2</c:v>
                </c:pt>
                <c:pt idx="863">
                  <c:v>-8.2868068972756559E-2</c:v>
                </c:pt>
                <c:pt idx="864">
                  <c:v>-7.1274567984892623E-2</c:v>
                </c:pt>
                <c:pt idx="865">
                  <c:v>-6.007925256995339E-2</c:v>
                </c:pt>
                <c:pt idx="866">
                  <c:v>-5.6781522526520578E-2</c:v>
                </c:pt>
                <c:pt idx="867">
                  <c:v>-6.0436905060087809E-2</c:v>
                </c:pt>
                <c:pt idx="868">
                  <c:v>-7.2714661647493184E-2</c:v>
                </c:pt>
                <c:pt idx="869">
                  <c:v>-7.9140064665856658E-2</c:v>
                </c:pt>
                <c:pt idx="870">
                  <c:v>-5.0503571588179752E-2</c:v>
                </c:pt>
                <c:pt idx="871">
                  <c:v>-4.0302615838873845E-2</c:v>
                </c:pt>
                <c:pt idx="872">
                  <c:v>-4.3267636827735378E-2</c:v>
                </c:pt>
                <c:pt idx="873">
                  <c:v>-5.7284288649593562E-2</c:v>
                </c:pt>
                <c:pt idx="874">
                  <c:v>-7.2658149176294984E-2</c:v>
                </c:pt>
                <c:pt idx="875">
                  <c:v>-7.7123673710762231E-2</c:v>
                </c:pt>
                <c:pt idx="876">
                  <c:v>-6.9497478114733613E-2</c:v>
                </c:pt>
                <c:pt idx="877">
                  <c:v>-7.1794222892461623E-2</c:v>
                </c:pt>
                <c:pt idx="878">
                  <c:v>-6.4590636650013522E-2</c:v>
                </c:pt>
                <c:pt idx="879">
                  <c:v>-5.1057523719648334E-2</c:v>
                </c:pt>
                <c:pt idx="880">
                  <c:v>-5.4795531383518892E-2</c:v>
                </c:pt>
                <c:pt idx="881">
                  <c:v>-8.3923358176302365E-2</c:v>
                </c:pt>
                <c:pt idx="882">
                  <c:v>-9.5571812670641632E-2</c:v>
                </c:pt>
                <c:pt idx="883">
                  <c:v>-0.10680947996054779</c:v>
                </c:pt>
                <c:pt idx="884">
                  <c:v>-0.105880856640722</c:v>
                </c:pt>
                <c:pt idx="885">
                  <c:v>-9.3593616351253517E-2</c:v>
                </c:pt>
                <c:pt idx="886">
                  <c:v>-0.10875584741684741</c:v>
                </c:pt>
                <c:pt idx="887">
                  <c:v>-0.10717921442728318</c:v>
                </c:pt>
                <c:pt idx="888">
                  <c:v>-0.10707541335949622</c:v>
                </c:pt>
                <c:pt idx="889">
                  <c:v>-0.11260220312894609</c:v>
                </c:pt>
                <c:pt idx="890">
                  <c:v>-0.12224608881733823</c:v>
                </c:pt>
                <c:pt idx="891">
                  <c:v>-0.10498575106243457</c:v>
                </c:pt>
                <c:pt idx="892">
                  <c:v>-0.10853330520268101</c:v>
                </c:pt>
                <c:pt idx="893">
                  <c:v>-0.10716245555651405</c:v>
                </c:pt>
                <c:pt idx="894">
                  <c:v>-0.11057541907570023</c:v>
                </c:pt>
                <c:pt idx="895">
                  <c:v>-0.10304834765329041</c:v>
                </c:pt>
                <c:pt idx="896">
                  <c:v>-0.11626018393705106</c:v>
                </c:pt>
                <c:pt idx="897">
                  <c:v>-9.7288752485249597E-2</c:v>
                </c:pt>
                <c:pt idx="898">
                  <c:v>-8.7662535063714908E-2</c:v>
                </c:pt>
                <c:pt idx="899">
                  <c:v>-8.3014092001783557E-2</c:v>
                </c:pt>
                <c:pt idx="900">
                  <c:v>-6.8715917133749915E-2</c:v>
                </c:pt>
                <c:pt idx="901">
                  <c:v>-6.1914933530940797E-2</c:v>
                </c:pt>
                <c:pt idx="902">
                  <c:v>-5.4383315128089693E-2</c:v>
                </c:pt>
                <c:pt idx="903">
                  <c:v>-5.3891981412983236E-2</c:v>
                </c:pt>
                <c:pt idx="904">
                  <c:v>-5.0889545270776604E-2</c:v>
                </c:pt>
                <c:pt idx="905">
                  <c:v>-5.6213020057640173E-2</c:v>
                </c:pt>
                <c:pt idx="906">
                  <c:v>-6.6502706882413554E-2</c:v>
                </c:pt>
                <c:pt idx="907">
                  <c:v>-4.8456001338631038E-2</c:v>
                </c:pt>
                <c:pt idx="908">
                  <c:v>-3.44602656268026E-2</c:v>
                </c:pt>
                <c:pt idx="909">
                  <c:v>-3.5413182813557209E-2</c:v>
                </c:pt>
                <c:pt idx="910">
                  <c:v>-3.6609688238234739E-2</c:v>
                </c:pt>
                <c:pt idx="911">
                  <c:v>-2.6220747326115679E-2</c:v>
                </c:pt>
                <c:pt idx="912">
                  <c:v>-1.9416256052680492E-2</c:v>
                </c:pt>
                <c:pt idx="913">
                  <c:v>-3.1989696282492708E-2</c:v>
                </c:pt>
                <c:pt idx="914">
                  <c:v>-2.2162632239182689E-2</c:v>
                </c:pt>
                <c:pt idx="915">
                  <c:v>-8.8146463696389121E-3</c:v>
                </c:pt>
                <c:pt idx="916">
                  <c:v>1.630079496807757E-2</c:v>
                </c:pt>
                <c:pt idx="917">
                  <c:v>5.2615059391358798E-3</c:v>
                </c:pt>
                <c:pt idx="918">
                  <c:v>-6.5731149258401178E-3</c:v>
                </c:pt>
                <c:pt idx="919">
                  <c:v>5.3633583010193053E-3</c:v>
                </c:pt>
                <c:pt idx="920">
                  <c:v>-3.7901030683543668E-3</c:v>
                </c:pt>
                <c:pt idx="921">
                  <c:v>-8.1739118686063872E-3</c:v>
                </c:pt>
                <c:pt idx="922">
                  <c:v>-1.5963798760519121E-2</c:v>
                </c:pt>
                <c:pt idx="923">
                  <c:v>-4.0018624431887861E-3</c:v>
                </c:pt>
                <c:pt idx="924">
                  <c:v>-3.903907493112424E-4</c:v>
                </c:pt>
                <c:pt idx="925">
                  <c:v>3.2419970545960464E-3</c:v>
                </c:pt>
                <c:pt idx="926">
                  <c:v>-9.33196283012383E-3</c:v>
                </c:pt>
                <c:pt idx="927">
                  <c:v>-1.588039414785436E-2</c:v>
                </c:pt>
                <c:pt idx="928">
                  <c:v>-1.5196918030674134E-2</c:v>
                </c:pt>
                <c:pt idx="929">
                  <c:v>-3.3086038223736458E-2</c:v>
                </c:pt>
                <c:pt idx="930">
                  <c:v>-3.4638767087552536E-2</c:v>
                </c:pt>
                <c:pt idx="931">
                  <c:v>-3.0789033618554562E-2</c:v>
                </c:pt>
                <c:pt idx="932">
                  <c:v>-4.550046405183239E-2</c:v>
                </c:pt>
                <c:pt idx="933">
                  <c:v>-3.8259852397220073E-2</c:v>
                </c:pt>
                <c:pt idx="934">
                  <c:v>-4.0406676734114466E-2</c:v>
                </c:pt>
                <c:pt idx="935">
                  <c:v>-4.4843230507484622E-2</c:v>
                </c:pt>
                <c:pt idx="936">
                  <c:v>-3.8790160230394166E-2</c:v>
                </c:pt>
                <c:pt idx="937">
                  <c:v>-2.2185237227661858E-2</c:v>
                </c:pt>
                <c:pt idx="938">
                  <c:v>-1.9007027812970034E-2</c:v>
                </c:pt>
                <c:pt idx="939">
                  <c:v>-3.164529499250146E-2</c:v>
                </c:pt>
                <c:pt idx="940">
                  <c:v>-3.0308352829053309E-2</c:v>
                </c:pt>
                <c:pt idx="941">
                  <c:v>-4.0046685796896075E-2</c:v>
                </c:pt>
                <c:pt idx="942">
                  <c:v>-5.2888917527648238E-2</c:v>
                </c:pt>
                <c:pt idx="943">
                  <c:v>-5.1060251907912968E-2</c:v>
                </c:pt>
                <c:pt idx="944">
                  <c:v>-3.6053657487135959E-2</c:v>
                </c:pt>
                <c:pt idx="945">
                  <c:v>-4.3078742268834125E-2</c:v>
                </c:pt>
                <c:pt idx="946">
                  <c:v>-2.2262146153982032E-2</c:v>
                </c:pt>
                <c:pt idx="947">
                  <c:v>-2.6240883953783989E-2</c:v>
                </c:pt>
                <c:pt idx="948">
                  <c:v>-2.1852398259363914E-2</c:v>
                </c:pt>
                <c:pt idx="949">
                  <c:v>-8.306423870036439E-3</c:v>
                </c:pt>
                <c:pt idx="950">
                  <c:v>-1.5861946398635696E-2</c:v>
                </c:pt>
                <c:pt idx="951">
                  <c:v>-6.5521988158104838E-3</c:v>
                </c:pt>
                <c:pt idx="952">
                  <c:v>-8.6419910265990163E-3</c:v>
                </c:pt>
                <c:pt idx="953">
                  <c:v>-9.3323525713044919E-3</c:v>
                </c:pt>
                <c:pt idx="954">
                  <c:v>-1.1623251231322351E-2</c:v>
                </c:pt>
                <c:pt idx="955">
                  <c:v>2.4579677128013788E-3</c:v>
                </c:pt>
                <c:pt idx="956">
                  <c:v>1.1802142433252838E-2</c:v>
                </c:pt>
                <c:pt idx="957">
                  <c:v>2.6105254022908531E-2</c:v>
                </c:pt>
                <c:pt idx="958">
                  <c:v>2.7119230661302396E-2</c:v>
                </c:pt>
                <c:pt idx="959">
                  <c:v>2.6666871064263686E-2</c:v>
                </c:pt>
                <c:pt idx="960">
                  <c:v>1.7075860262716791E-2</c:v>
                </c:pt>
                <c:pt idx="961">
                  <c:v>2.0825300334553765E-2</c:v>
                </c:pt>
                <c:pt idx="962">
                  <c:v>2.08962332294369E-2</c:v>
                </c:pt>
                <c:pt idx="963">
                  <c:v>1.7791165242985407E-2</c:v>
                </c:pt>
                <c:pt idx="964">
                  <c:v>1.8391886316135198E-2</c:v>
                </c:pt>
                <c:pt idx="965">
                  <c:v>1.6637921089363017E-2</c:v>
                </c:pt>
                <c:pt idx="966">
                  <c:v>3.4762704783007692E-2</c:v>
                </c:pt>
                <c:pt idx="967">
                  <c:v>3.3058236686181353E-2</c:v>
                </c:pt>
                <c:pt idx="968">
                  <c:v>3.2405030467367091E-2</c:v>
                </c:pt>
                <c:pt idx="969">
                  <c:v>3.5623253309941871E-2</c:v>
                </c:pt>
                <c:pt idx="970">
                  <c:v>3.4146523976357868E-2</c:v>
                </c:pt>
                <c:pt idx="971">
                  <c:v>3.0801635250063075E-2</c:v>
                </c:pt>
                <c:pt idx="972">
                  <c:v>3.2849465327065674E-2</c:v>
                </c:pt>
                <c:pt idx="973">
                  <c:v>3.3104356059228124E-2</c:v>
                </c:pt>
                <c:pt idx="974">
                  <c:v>1.6728341043279915E-2</c:v>
                </c:pt>
                <c:pt idx="975">
                  <c:v>1.7384925018993247E-2</c:v>
                </c:pt>
                <c:pt idx="976">
                  <c:v>3.5362126718888609E-2</c:v>
                </c:pt>
                <c:pt idx="977">
                  <c:v>4.2548174608206146E-2</c:v>
                </c:pt>
                <c:pt idx="978">
                  <c:v>4.141337820380242E-2</c:v>
                </c:pt>
                <c:pt idx="979">
                  <c:v>3.3600106841048971E-2</c:v>
                </c:pt>
                <c:pt idx="980">
                  <c:v>3.2833875679838531E-2</c:v>
                </c:pt>
                <c:pt idx="981">
                  <c:v>2.7963669886101883E-2</c:v>
                </c:pt>
                <c:pt idx="982">
                  <c:v>4.4262126407095481E-2</c:v>
                </c:pt>
                <c:pt idx="983">
                  <c:v>4.8082239546362038E-2</c:v>
                </c:pt>
                <c:pt idx="984">
                  <c:v>4.3265688121832069E-2</c:v>
                </c:pt>
                <c:pt idx="985">
                  <c:v>4.9772417133230107E-2</c:v>
                </c:pt>
                <c:pt idx="986">
                  <c:v>5.0083430595410094E-2</c:v>
                </c:pt>
                <c:pt idx="987">
                  <c:v>4.739252757029111E-2</c:v>
                </c:pt>
                <c:pt idx="988">
                  <c:v>5.1150412034376203E-2</c:v>
                </c:pt>
                <c:pt idx="989">
                  <c:v>4.9293685049632163E-2</c:v>
                </c:pt>
                <c:pt idx="990">
                  <c:v>5.654806755929509E-2</c:v>
                </c:pt>
                <c:pt idx="991">
                  <c:v>6.8680190858854351E-2</c:v>
                </c:pt>
                <c:pt idx="992">
                  <c:v>6.9016667411505139E-2</c:v>
                </c:pt>
                <c:pt idx="993">
                  <c:v>7.2041188887283614E-2</c:v>
                </c:pt>
                <c:pt idx="994">
                  <c:v>5.6366837910280632E-2</c:v>
                </c:pt>
                <c:pt idx="995">
                  <c:v>4.7354592762038461E-2</c:v>
                </c:pt>
                <c:pt idx="996">
                  <c:v>5.9434620657113912E-2</c:v>
                </c:pt>
                <c:pt idx="997">
                  <c:v>7.5036869515691995E-2</c:v>
                </c:pt>
                <c:pt idx="998">
                  <c:v>7.5464675418348337E-2</c:v>
                </c:pt>
                <c:pt idx="999">
                  <c:v>7.6209210987167708E-2</c:v>
                </c:pt>
                <c:pt idx="1000">
                  <c:v>6.7519411709072275E-2</c:v>
                </c:pt>
                <c:pt idx="1001">
                  <c:v>8.2001804241839116E-2</c:v>
                </c:pt>
                <c:pt idx="1002">
                  <c:v>9.420641940100416E-2</c:v>
                </c:pt>
                <c:pt idx="1003">
                  <c:v>9.4327628908194683E-2</c:v>
                </c:pt>
                <c:pt idx="1004">
                  <c:v>9.6382604240176084E-2</c:v>
                </c:pt>
                <c:pt idx="1005">
                  <c:v>8.1959452366872076E-2</c:v>
                </c:pt>
                <c:pt idx="1006">
                  <c:v>9.0208454369622215E-2</c:v>
                </c:pt>
                <c:pt idx="1007">
                  <c:v>9.3133072189420352E-2</c:v>
                </c:pt>
                <c:pt idx="1008">
                  <c:v>0.10590735904100823</c:v>
                </c:pt>
                <c:pt idx="1009">
                  <c:v>0.11470615593596611</c:v>
                </c:pt>
                <c:pt idx="1010">
                  <c:v>0.12057513846204992</c:v>
                </c:pt>
                <c:pt idx="1011">
                  <c:v>0.13174395147670337</c:v>
                </c:pt>
                <c:pt idx="1012">
                  <c:v>0.1284054285230265</c:v>
                </c:pt>
                <c:pt idx="1013">
                  <c:v>0.12524215918692727</c:v>
                </c:pt>
                <c:pt idx="1014">
                  <c:v>0.1218107479185222</c:v>
                </c:pt>
                <c:pt idx="1015">
                  <c:v>0.11367606999543733</c:v>
                </c:pt>
                <c:pt idx="1016">
                  <c:v>0.12009095000192271</c:v>
                </c:pt>
                <c:pt idx="1017">
                  <c:v>0.10972578330182503</c:v>
                </c:pt>
                <c:pt idx="1018">
                  <c:v>0.10021259082268652</c:v>
                </c:pt>
                <c:pt idx="1019">
                  <c:v>0.11221454056789959</c:v>
                </c:pt>
                <c:pt idx="1020">
                  <c:v>0.11667707708664832</c:v>
                </c:pt>
                <c:pt idx="1021">
                  <c:v>0.11778874884766521</c:v>
                </c:pt>
                <c:pt idx="1022">
                  <c:v>0.13293837828175059</c:v>
                </c:pt>
                <c:pt idx="1023">
                  <c:v>0.13232635471436116</c:v>
                </c:pt>
                <c:pt idx="1024">
                  <c:v>0.13195921852216386</c:v>
                </c:pt>
                <c:pt idx="1025">
                  <c:v>0.13015627582035316</c:v>
                </c:pt>
                <c:pt idx="1026">
                  <c:v>0.11753216923705301</c:v>
                </c:pt>
                <c:pt idx="1027">
                  <c:v>0.11624511394473158</c:v>
                </c:pt>
                <c:pt idx="1028">
                  <c:v>0.11644427168805738</c:v>
                </c:pt>
                <c:pt idx="1029">
                  <c:v>0.1231588626624831</c:v>
                </c:pt>
                <c:pt idx="1030">
                  <c:v>0.13852531810675162</c:v>
                </c:pt>
                <c:pt idx="1031">
                  <c:v>0.15559806044002311</c:v>
                </c:pt>
                <c:pt idx="1032">
                  <c:v>0.1578915573745785</c:v>
                </c:pt>
                <c:pt idx="1033">
                  <c:v>0.16159344902237316</c:v>
                </c:pt>
                <c:pt idx="1034">
                  <c:v>0.16931889870574746</c:v>
                </c:pt>
                <c:pt idx="1035">
                  <c:v>0.16896007699207094</c:v>
                </c:pt>
                <c:pt idx="1036">
                  <c:v>0.15038384309747577</c:v>
                </c:pt>
                <c:pt idx="1037">
                  <c:v>0.14761239356168354</c:v>
                </c:pt>
                <c:pt idx="1038">
                  <c:v>0.14951770828028521</c:v>
                </c:pt>
                <c:pt idx="1039">
                  <c:v>0.1549772027392049</c:v>
                </c:pt>
                <c:pt idx="1040">
                  <c:v>0.1535747840574031</c:v>
                </c:pt>
                <c:pt idx="1041">
                  <c:v>0.15007010144703092</c:v>
                </c:pt>
                <c:pt idx="1042">
                  <c:v>0.16351396364702109</c:v>
                </c:pt>
                <c:pt idx="1043">
                  <c:v>0.16602402676430628</c:v>
                </c:pt>
              </c:numCache>
            </c:numRef>
          </c:val>
          <c:smooth val="0"/>
          <c:extLst>
            <c:ext xmlns:c16="http://schemas.microsoft.com/office/drawing/2014/chart" uri="{C3380CC4-5D6E-409C-BE32-E72D297353CC}">
              <c16:uniqueId val="{00000006-4CF4-4C29-A27E-ED09DD91B891}"/>
            </c:ext>
          </c:extLst>
        </c:ser>
        <c:ser>
          <c:idx val="7"/>
          <c:order val="7"/>
          <c:tx>
            <c:strRef>
              <c:f>Tabelle1!$M$2</c:f>
              <c:strCache>
                <c:ptCount val="1"/>
              </c:strCache>
            </c:strRef>
          </c:tx>
          <c:spPr>
            <a:ln w="28575" cap="rnd">
              <a:solidFill>
                <a:schemeClr val="tx2"/>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M$3:$M$1319</c:f>
              <c:numCache>
                <c:formatCode>General</c:formatCode>
                <c:ptCount val="1317"/>
                <c:pt idx="782">
                  <c:v>0</c:v>
                </c:pt>
                <c:pt idx="783">
                  <c:v>6.331607591301136E-4</c:v>
                </c:pt>
                <c:pt idx="784">
                  <c:v>-8.214335687510621E-3</c:v>
                </c:pt>
                <c:pt idx="785">
                  <c:v>-3.7672973112300445E-3</c:v>
                </c:pt>
                <c:pt idx="786">
                  <c:v>-6.2233498052095548E-3</c:v>
                </c:pt>
                <c:pt idx="787">
                  <c:v>-5.9219586558360016E-3</c:v>
                </c:pt>
                <c:pt idx="788">
                  <c:v>-1.8165398749510064E-3</c:v>
                </c:pt>
                <c:pt idx="789">
                  <c:v>-2.5809724053110772E-3</c:v>
                </c:pt>
                <c:pt idx="790">
                  <c:v>1.4092935995345668E-2</c:v>
                </c:pt>
                <c:pt idx="791">
                  <c:v>1.7291971985536225E-2</c:v>
                </c:pt>
                <c:pt idx="792">
                  <c:v>2.7293941982664105E-2</c:v>
                </c:pt>
                <c:pt idx="793">
                  <c:v>2.741398292914643E-2</c:v>
                </c:pt>
                <c:pt idx="794">
                  <c:v>3.1100547180510807E-2</c:v>
                </c:pt>
                <c:pt idx="795">
                  <c:v>2.4514128745756203E-2</c:v>
                </c:pt>
                <c:pt idx="796">
                  <c:v>2.7168930015391668E-2</c:v>
                </c:pt>
                <c:pt idx="797">
                  <c:v>1.744128672111489E-2</c:v>
                </c:pt>
                <c:pt idx="798">
                  <c:v>2.2477299005061457E-3</c:v>
                </c:pt>
                <c:pt idx="799">
                  <c:v>1.3130859360617197E-3</c:v>
                </c:pt>
                <c:pt idx="800">
                  <c:v>2.3613269311497653E-3</c:v>
                </c:pt>
                <c:pt idx="801">
                  <c:v>1.2204132207059626E-2</c:v>
                </c:pt>
                <c:pt idx="802">
                  <c:v>-9.3974386355099027E-3</c:v>
                </c:pt>
                <c:pt idx="803">
                  <c:v>-1.524151796563733E-2</c:v>
                </c:pt>
                <c:pt idx="804">
                  <c:v>-2.4048417742493666E-2</c:v>
                </c:pt>
                <c:pt idx="805">
                  <c:v>-3.0761044871747578E-2</c:v>
                </c:pt>
                <c:pt idx="806">
                  <c:v>-3.4414837208274651E-2</c:v>
                </c:pt>
                <c:pt idx="807">
                  <c:v>-3.4941949523886517E-2</c:v>
                </c:pt>
                <c:pt idx="808">
                  <c:v>-3.7734098256828608E-2</c:v>
                </c:pt>
                <c:pt idx="809">
                  <c:v>-4.1832981065934027E-2</c:v>
                </c:pt>
                <c:pt idx="810">
                  <c:v>-3.332498692805641E-2</c:v>
                </c:pt>
                <c:pt idx="811">
                  <c:v>-2.4753658303077519E-2</c:v>
                </c:pt>
                <c:pt idx="812">
                  <c:v>-1.0691929271579692E-2</c:v>
                </c:pt>
                <c:pt idx="813">
                  <c:v>1.7888310368445737E-3</c:v>
                </c:pt>
                <c:pt idx="814">
                  <c:v>-2.8196918703557783E-2</c:v>
                </c:pt>
                <c:pt idx="815">
                  <c:v>-2.9849599004322824E-2</c:v>
                </c:pt>
                <c:pt idx="816">
                  <c:v>-3.5342208753415094E-2</c:v>
                </c:pt>
                <c:pt idx="817">
                  <c:v>-4.1539322615567031E-2</c:v>
                </c:pt>
                <c:pt idx="818">
                  <c:v>-3.7946747479508325E-2</c:v>
                </c:pt>
                <c:pt idx="819">
                  <c:v>-4.8590623550118894E-2</c:v>
                </c:pt>
                <c:pt idx="820">
                  <c:v>-6.1827715466134414E-2</c:v>
                </c:pt>
                <c:pt idx="821">
                  <c:v>-6.7996844322357752E-2</c:v>
                </c:pt>
                <c:pt idx="822">
                  <c:v>-8.8770924315287769E-2</c:v>
                </c:pt>
                <c:pt idx="823">
                  <c:v>-0.10370608011076154</c:v>
                </c:pt>
                <c:pt idx="824">
                  <c:v>-0.10788228990993232</c:v>
                </c:pt>
                <c:pt idx="825">
                  <c:v>-9.5879299932983275E-2</c:v>
                </c:pt>
                <c:pt idx="826">
                  <c:v>-0.10574797292818894</c:v>
                </c:pt>
                <c:pt idx="827">
                  <c:v>-0.112994064232953</c:v>
                </c:pt>
                <c:pt idx="828">
                  <c:v>-9.1660928513038753E-2</c:v>
                </c:pt>
                <c:pt idx="829">
                  <c:v>-6.3182594799207403E-2</c:v>
                </c:pt>
                <c:pt idx="830">
                  <c:v>-6.8621535934956901E-2</c:v>
                </c:pt>
                <c:pt idx="831">
                  <c:v>-7.9488003269826857E-2</c:v>
                </c:pt>
                <c:pt idx="832">
                  <c:v>-9.5307356374321528E-2</c:v>
                </c:pt>
                <c:pt idx="833">
                  <c:v>-0.10158179722653859</c:v>
                </c:pt>
                <c:pt idx="834">
                  <c:v>-0.10491468255429459</c:v>
                </c:pt>
                <c:pt idx="835">
                  <c:v>-0.10951619079882446</c:v>
                </c:pt>
                <c:pt idx="836">
                  <c:v>-8.9176706901249791E-2</c:v>
                </c:pt>
                <c:pt idx="837">
                  <c:v>-9.9064619588031144E-2</c:v>
                </c:pt>
                <c:pt idx="838">
                  <c:v>-8.2747796180782984E-2</c:v>
                </c:pt>
                <c:pt idx="839">
                  <c:v>-7.3412311193265745E-2</c:v>
                </c:pt>
                <c:pt idx="840">
                  <c:v>-7.9740052435063768E-2</c:v>
                </c:pt>
                <c:pt idx="841">
                  <c:v>-8.3993681280240207E-2</c:v>
                </c:pt>
                <c:pt idx="842">
                  <c:v>-7.0726671183544809E-2</c:v>
                </c:pt>
                <c:pt idx="843">
                  <c:v>-5.8619013602185799E-2</c:v>
                </c:pt>
                <c:pt idx="844">
                  <c:v>-4.6840732176128719E-2</c:v>
                </c:pt>
                <c:pt idx="845">
                  <c:v>-3.9225680661624462E-2</c:v>
                </c:pt>
                <c:pt idx="846">
                  <c:v>-3.7164087872918583E-2</c:v>
                </c:pt>
                <c:pt idx="847">
                  <c:v>-2.3854547931687065E-2</c:v>
                </c:pt>
                <c:pt idx="848">
                  <c:v>-2.6983713462997105E-2</c:v>
                </c:pt>
                <c:pt idx="849">
                  <c:v>-2.3152897552784935E-2</c:v>
                </c:pt>
                <c:pt idx="850">
                  <c:v>-3.5260923357905982E-2</c:v>
                </c:pt>
                <c:pt idx="851">
                  <c:v>-4.1711099000640739E-2</c:v>
                </c:pt>
                <c:pt idx="852">
                  <c:v>-2.5905186063467034E-2</c:v>
                </c:pt>
                <c:pt idx="853">
                  <c:v>-1.6177818937011645E-2</c:v>
                </c:pt>
                <c:pt idx="854">
                  <c:v>-9.1401422816616007E-3</c:v>
                </c:pt>
                <c:pt idx="855">
                  <c:v>-2.3989501940539171E-2</c:v>
                </c:pt>
                <c:pt idx="856">
                  <c:v>1.1443934249965038E-2</c:v>
                </c:pt>
                <c:pt idx="857">
                  <c:v>1.879349643191186E-2</c:v>
                </c:pt>
                <c:pt idx="858">
                  <c:v>1.2787950982052765E-2</c:v>
                </c:pt>
                <c:pt idx="859">
                  <c:v>1.9242545309934078E-2</c:v>
                </c:pt>
                <c:pt idx="860">
                  <c:v>1.377506683261287E-2</c:v>
                </c:pt>
                <c:pt idx="861">
                  <c:v>1.0064936260466784E-2</c:v>
                </c:pt>
                <c:pt idx="862">
                  <c:v>1.9379432493537685E-2</c:v>
                </c:pt>
                <c:pt idx="863">
                  <c:v>1.6229370263721954E-2</c:v>
                </c:pt>
                <c:pt idx="864">
                  <c:v>3.0319544580850843E-2</c:v>
                </c:pt>
                <c:pt idx="865">
                  <c:v>3.5201639332189449E-2</c:v>
                </c:pt>
                <c:pt idx="866">
                  <c:v>3.8335223548646047E-2</c:v>
                </c:pt>
                <c:pt idx="867">
                  <c:v>4.0345633234403877E-2</c:v>
                </c:pt>
                <c:pt idx="868">
                  <c:v>2.6837344517516515E-2</c:v>
                </c:pt>
                <c:pt idx="869">
                  <c:v>2.9592854986117967E-2</c:v>
                </c:pt>
                <c:pt idx="870">
                  <c:v>4.3376667133083524E-2</c:v>
                </c:pt>
                <c:pt idx="871">
                  <c:v>4.804252248006069E-2</c:v>
                </c:pt>
                <c:pt idx="872">
                  <c:v>4.5208856517928941E-2</c:v>
                </c:pt>
                <c:pt idx="873">
                  <c:v>3.2412896669047786E-2</c:v>
                </c:pt>
                <c:pt idx="874">
                  <c:v>2.3021533725614329E-2</c:v>
                </c:pt>
                <c:pt idx="875">
                  <c:v>2.196417919241167E-2</c:v>
                </c:pt>
                <c:pt idx="876">
                  <c:v>2.6041336799546455E-2</c:v>
                </c:pt>
                <c:pt idx="877">
                  <c:v>2.2933067966742104E-2</c:v>
                </c:pt>
                <c:pt idx="878">
                  <c:v>3.0908886712277317E-2</c:v>
                </c:pt>
                <c:pt idx="879">
                  <c:v>4.0709990647116667E-2</c:v>
                </c:pt>
                <c:pt idx="880">
                  <c:v>3.7204500430821907E-2</c:v>
                </c:pt>
                <c:pt idx="881">
                  <c:v>1.6603669718014302E-2</c:v>
                </c:pt>
                <c:pt idx="882">
                  <c:v>5.721000537606713E-3</c:v>
                </c:pt>
                <c:pt idx="883">
                  <c:v>2.462956689521123E-3</c:v>
                </c:pt>
                <c:pt idx="884">
                  <c:v>6.7627976168560533E-3</c:v>
                </c:pt>
                <c:pt idx="885">
                  <c:v>1.9540530389507094E-2</c:v>
                </c:pt>
                <c:pt idx="886">
                  <c:v>1.1778189370116543E-2</c:v>
                </c:pt>
                <c:pt idx="887">
                  <c:v>1.7638838769543641E-2</c:v>
                </c:pt>
                <c:pt idx="888">
                  <c:v>1.7748661506624464E-2</c:v>
                </c:pt>
                <c:pt idx="889">
                  <c:v>2.0232054614948369E-2</c:v>
                </c:pt>
                <c:pt idx="890">
                  <c:v>1.1015045622924324E-2</c:v>
                </c:pt>
                <c:pt idx="891">
                  <c:v>2.0921737721578682E-2</c:v>
                </c:pt>
                <c:pt idx="892">
                  <c:v>1.7724819018021032E-2</c:v>
                </c:pt>
                <c:pt idx="893">
                  <c:v>1.9765975387923795E-2</c:v>
                </c:pt>
                <c:pt idx="894">
                  <c:v>1.8654215793853623E-2</c:v>
                </c:pt>
                <c:pt idx="895">
                  <c:v>2.8398152989608905E-2</c:v>
                </c:pt>
                <c:pt idx="896">
                  <c:v>2.0195232238726879E-2</c:v>
                </c:pt>
                <c:pt idx="897">
                  <c:v>4.1645186947204094E-2</c:v>
                </c:pt>
                <c:pt idx="898">
                  <c:v>4.1817331556039949E-2</c:v>
                </c:pt>
                <c:pt idx="899">
                  <c:v>4.2963335959996352E-2</c:v>
                </c:pt>
                <c:pt idx="900">
                  <c:v>5.0151708190032895E-2</c:v>
                </c:pt>
                <c:pt idx="901">
                  <c:v>5.7668628071906758E-2</c:v>
                </c:pt>
                <c:pt idx="902">
                  <c:v>6.1525495813295805E-2</c:v>
                </c:pt>
                <c:pt idx="903">
                  <c:v>6.1142266932769918E-2</c:v>
                </c:pt>
                <c:pt idx="904">
                  <c:v>5.8412624183463935E-2</c:v>
                </c:pt>
                <c:pt idx="905">
                  <c:v>4.6795164485554652E-2</c:v>
                </c:pt>
                <c:pt idx="906">
                  <c:v>3.6541697658833305E-2</c:v>
                </c:pt>
                <c:pt idx="907">
                  <c:v>4.7704493066346609E-2</c:v>
                </c:pt>
                <c:pt idx="908">
                  <c:v>5.5278487631363893E-2</c:v>
                </c:pt>
                <c:pt idx="909">
                  <c:v>5.7057744850390835E-2</c:v>
                </c:pt>
                <c:pt idx="910">
                  <c:v>5.8947469198082469E-2</c:v>
                </c:pt>
                <c:pt idx="911">
                  <c:v>6.3785285042014417E-2</c:v>
                </c:pt>
                <c:pt idx="912">
                  <c:v>6.2846130336483119E-2</c:v>
                </c:pt>
                <c:pt idx="913">
                  <c:v>5.6235777357184435E-2</c:v>
                </c:pt>
                <c:pt idx="914">
                  <c:v>6.5226789015148778E-2</c:v>
                </c:pt>
                <c:pt idx="915">
                  <c:v>6.99412498987384E-2</c:v>
                </c:pt>
                <c:pt idx="916">
                  <c:v>7.2051264112175772E-2</c:v>
                </c:pt>
                <c:pt idx="917">
                  <c:v>6.3360170708536279E-2</c:v>
                </c:pt>
                <c:pt idx="918">
                  <c:v>5.5485889665431998E-2</c:v>
                </c:pt>
                <c:pt idx="919">
                  <c:v>6.3180661624456125E-2</c:v>
                </c:pt>
                <c:pt idx="920">
                  <c:v>5.8914973451066777E-2</c:v>
                </c:pt>
                <c:pt idx="921">
                  <c:v>5.5088484170060514E-2</c:v>
                </c:pt>
                <c:pt idx="922">
                  <c:v>5.8610544455654834E-2</c:v>
                </c:pt>
                <c:pt idx="923">
                  <c:v>6.582054983172192E-2</c:v>
                </c:pt>
                <c:pt idx="924">
                  <c:v>6.4071671073077763E-2</c:v>
                </c:pt>
                <c:pt idx="925">
                  <c:v>6.268733383902747E-2</c:v>
                </c:pt>
                <c:pt idx="926">
                  <c:v>5.7511028301678424E-2</c:v>
                </c:pt>
                <c:pt idx="927">
                  <c:v>5.6507618549640259E-2</c:v>
                </c:pt>
                <c:pt idx="928">
                  <c:v>5.8368069108235776E-2</c:v>
                </c:pt>
                <c:pt idx="929">
                  <c:v>4.495220455566451E-2</c:v>
                </c:pt>
                <c:pt idx="930">
                  <c:v>3.9551558691185651E-2</c:v>
                </c:pt>
                <c:pt idx="931">
                  <c:v>4.0744879848586546E-2</c:v>
                </c:pt>
                <c:pt idx="932">
                  <c:v>3.332305375330491E-2</c:v>
                </c:pt>
                <c:pt idx="933">
                  <c:v>3.7021769388822401E-2</c:v>
                </c:pt>
                <c:pt idx="934">
                  <c:v>3.4086197500497128E-2</c:v>
                </c:pt>
                <c:pt idx="935">
                  <c:v>3.2989719192558997E-2</c:v>
                </c:pt>
                <c:pt idx="936">
                  <c:v>3.6753702489929152E-2</c:v>
                </c:pt>
                <c:pt idx="937">
                  <c:v>4.820030636217032E-2</c:v>
                </c:pt>
                <c:pt idx="938">
                  <c:v>4.995130240744694E-2</c:v>
                </c:pt>
                <c:pt idx="939">
                  <c:v>3.3275276720157398E-2</c:v>
                </c:pt>
                <c:pt idx="940">
                  <c:v>3.2423206934389937E-2</c:v>
                </c:pt>
                <c:pt idx="941">
                  <c:v>1.7717914822479308E-2</c:v>
                </c:pt>
                <c:pt idx="942">
                  <c:v>5.877587692489028E-3</c:v>
                </c:pt>
                <c:pt idx="943">
                  <c:v>-6.432316790267123E-3</c:v>
                </c:pt>
                <c:pt idx="944">
                  <c:v>1.1650599836510178E-3</c:v>
                </c:pt>
                <c:pt idx="945">
                  <c:v>-1.8483912303828731E-2</c:v>
                </c:pt>
                <c:pt idx="946">
                  <c:v>-1.0125232901529557E-2</c:v>
                </c:pt>
                <c:pt idx="947">
                  <c:v>-2.2340687989277352E-2</c:v>
                </c:pt>
                <c:pt idx="948">
                  <c:v>-1.0248311694050161E-2</c:v>
                </c:pt>
                <c:pt idx="949">
                  <c:v>8.6689079219670617E-4</c:v>
                </c:pt>
                <c:pt idx="950">
                  <c:v>-1.044061655386741E-2</c:v>
                </c:pt>
                <c:pt idx="951">
                  <c:v>-1.1979331600226795E-2</c:v>
                </c:pt>
                <c:pt idx="952">
                  <c:v>-1.2866290587464135E-2</c:v>
                </c:pt>
                <c:pt idx="953">
                  <c:v>-4.5966292796806307E-3</c:v>
                </c:pt>
                <c:pt idx="954">
                  <c:v>-3.5717704934923322E-4</c:v>
                </c:pt>
                <c:pt idx="955">
                  <c:v>1.1004183021938729E-2</c:v>
                </c:pt>
                <c:pt idx="956">
                  <c:v>1.8097553521323917E-2</c:v>
                </c:pt>
                <c:pt idx="957">
                  <c:v>2.7046403558514509E-2</c:v>
                </c:pt>
                <c:pt idx="958">
                  <c:v>3.5300323300463177E-2</c:v>
                </c:pt>
                <c:pt idx="959">
                  <c:v>3.0687952454947931E-2</c:v>
                </c:pt>
                <c:pt idx="960">
                  <c:v>3.1474110187278637E-2</c:v>
                </c:pt>
                <c:pt idx="961">
                  <c:v>3.2483411519512284E-2</c:v>
                </c:pt>
                <c:pt idx="962">
                  <c:v>3.2620298703115891E-2</c:v>
                </c:pt>
                <c:pt idx="963">
                  <c:v>3.2816009632733678E-2</c:v>
                </c:pt>
                <c:pt idx="964">
                  <c:v>4.0420106490312024E-2</c:v>
                </c:pt>
                <c:pt idx="965">
                  <c:v>4.126407535331067E-2</c:v>
                </c:pt>
                <c:pt idx="966">
                  <c:v>4.7853071354400756E-2</c:v>
                </c:pt>
                <c:pt idx="967">
                  <c:v>4.7151513031439052E-2</c:v>
                </c:pt>
                <c:pt idx="968">
                  <c:v>4.9004138835087474E-2</c:v>
                </c:pt>
                <c:pt idx="969">
                  <c:v>5.2170863190143413E-2</c:v>
                </c:pt>
                <c:pt idx="970">
                  <c:v>5.1843880489296001E-2</c:v>
                </c:pt>
                <c:pt idx="971">
                  <c:v>4.7330101556113613E-2</c:v>
                </c:pt>
                <c:pt idx="972">
                  <c:v>4.5618689565275039E-2</c:v>
                </c:pt>
                <c:pt idx="973">
                  <c:v>4.8733862593620891E-2</c:v>
                </c:pt>
                <c:pt idx="974">
                  <c:v>3.8042301545803348E-2</c:v>
                </c:pt>
                <c:pt idx="975">
                  <c:v>3.0058565989380615E-2</c:v>
                </c:pt>
                <c:pt idx="976">
                  <c:v>3.8569782085177584E-2</c:v>
                </c:pt>
                <c:pt idx="977">
                  <c:v>4.6685433804414478E-2</c:v>
                </c:pt>
                <c:pt idx="978">
                  <c:v>4.6121499112580899E-2</c:v>
                </c:pt>
                <c:pt idx="979">
                  <c:v>3.1387209379395653E-2</c:v>
                </c:pt>
                <c:pt idx="980">
                  <c:v>2.7175650099052318E-2</c:v>
                </c:pt>
                <c:pt idx="981">
                  <c:v>1.9782269289401855E-2</c:v>
                </c:pt>
                <c:pt idx="982">
                  <c:v>3.523680470148105E-2</c:v>
                </c:pt>
                <c:pt idx="983">
                  <c:v>3.5504595432552577E-2</c:v>
                </c:pt>
                <c:pt idx="984">
                  <c:v>3.1752855575275962E-2</c:v>
                </c:pt>
                <c:pt idx="985">
                  <c:v>3.0523172321356151E-2</c:v>
                </c:pt>
                <c:pt idx="986">
                  <c:v>2.4912086576771131E-2</c:v>
                </c:pt>
                <c:pt idx="987">
                  <c:v>2.4066736874664096E-2</c:v>
                </c:pt>
                <c:pt idx="988">
                  <c:v>2.8127784692201896E-2</c:v>
                </c:pt>
                <c:pt idx="989">
                  <c:v>1.7205347345474964E-2</c:v>
                </c:pt>
                <c:pt idx="990">
                  <c:v>2.3864213805445456E-2</c:v>
                </c:pt>
                <c:pt idx="991">
                  <c:v>2.6044742869346882E-2</c:v>
                </c:pt>
                <c:pt idx="992">
                  <c:v>2.7775854831464164E-2</c:v>
                </c:pt>
                <c:pt idx="993">
                  <c:v>2.7254634096047559E-2</c:v>
                </c:pt>
                <c:pt idx="994">
                  <c:v>2.2119845787888393E-2</c:v>
                </c:pt>
                <c:pt idx="995">
                  <c:v>1.0381608695972488E-2</c:v>
                </c:pt>
                <c:pt idx="996">
                  <c:v>3.7457562211404838E-3</c:v>
                </c:pt>
                <c:pt idx="997">
                  <c:v>1.0919951836332098E-2</c:v>
                </c:pt>
                <c:pt idx="998">
                  <c:v>1.239395155648193E-2</c:v>
                </c:pt>
                <c:pt idx="999">
                  <c:v>8.2803397968878034E-3</c:v>
                </c:pt>
                <c:pt idx="1000">
                  <c:v>-1.3284592781339644E-3</c:v>
                </c:pt>
                <c:pt idx="1001">
                  <c:v>7.3560060977855279E-3</c:v>
                </c:pt>
                <c:pt idx="1002">
                  <c:v>2.6133392740100403E-2</c:v>
                </c:pt>
                <c:pt idx="1003">
                  <c:v>2.3737452775302481E-2</c:v>
                </c:pt>
                <c:pt idx="1004">
                  <c:v>2.745550015833631E-2</c:v>
                </c:pt>
                <c:pt idx="1005">
                  <c:v>3.379161849072454E-2</c:v>
                </c:pt>
                <c:pt idx="1006">
                  <c:v>3.7172280851627937E-2</c:v>
                </c:pt>
                <c:pt idx="1007">
                  <c:v>3.6844561703255785E-2</c:v>
                </c:pt>
                <c:pt idx="1008">
                  <c:v>3.9015793117161524E-2</c:v>
                </c:pt>
                <c:pt idx="1009">
                  <c:v>4.7787711636607444E-2</c:v>
                </c:pt>
                <c:pt idx="1010">
                  <c:v>4.9453740048752914E-2</c:v>
                </c:pt>
                <c:pt idx="1011">
                  <c:v>5.8325355151818803E-2</c:v>
                </c:pt>
                <c:pt idx="1012">
                  <c:v>5.8715672339767488E-2</c:v>
                </c:pt>
                <c:pt idx="1013">
                  <c:v>5.6590192728317223E-2</c:v>
                </c:pt>
                <c:pt idx="1014">
                  <c:v>4.8464598967500772E-2</c:v>
                </c:pt>
                <c:pt idx="1015">
                  <c:v>4.8095362589938739E-2</c:v>
                </c:pt>
                <c:pt idx="1016">
                  <c:v>4.3643353192868384E-2</c:v>
                </c:pt>
                <c:pt idx="1017">
                  <c:v>3.3314124327071148E-2</c:v>
                </c:pt>
                <c:pt idx="1018">
                  <c:v>3.7565267661852975E-2</c:v>
                </c:pt>
                <c:pt idx="1019">
                  <c:v>4.491860413736215E-2</c:v>
                </c:pt>
                <c:pt idx="1020">
                  <c:v>4.3126919366360594E-2</c:v>
                </c:pt>
                <c:pt idx="1021">
                  <c:v>4.9099784957322923E-2</c:v>
                </c:pt>
                <c:pt idx="1022">
                  <c:v>5.818625862564164E-2</c:v>
                </c:pt>
                <c:pt idx="1023">
                  <c:v>6.2906150809724171E-2</c:v>
                </c:pt>
                <c:pt idx="1024">
                  <c:v>6.3103518746271847E-2</c:v>
                </c:pt>
                <c:pt idx="1025">
                  <c:v>5.6908061891050021E-2</c:v>
                </c:pt>
                <c:pt idx="1026">
                  <c:v>4.2848266034303695E-2</c:v>
                </c:pt>
                <c:pt idx="1027">
                  <c:v>4.4108511860487587E-2</c:v>
                </c:pt>
                <c:pt idx="1028">
                  <c:v>4.9050258861304874E-2</c:v>
                </c:pt>
                <c:pt idx="1029">
                  <c:v>5.8721287752141249E-2</c:v>
                </c:pt>
                <c:pt idx="1030">
                  <c:v>6.8486121646402109E-2</c:v>
                </c:pt>
                <c:pt idx="1031">
                  <c:v>7.549139461067722E-2</c:v>
                </c:pt>
                <c:pt idx="1032">
                  <c:v>7.1842757406821001E-2</c:v>
                </c:pt>
                <c:pt idx="1033">
                  <c:v>7.1060834247755666E-2</c:v>
                </c:pt>
                <c:pt idx="1034">
                  <c:v>7.8538630354894057E-2</c:v>
                </c:pt>
                <c:pt idx="1035">
                  <c:v>8.3015034576211288E-2</c:v>
                </c:pt>
                <c:pt idx="1036">
                  <c:v>8.8496413500556148E-2</c:v>
                </c:pt>
                <c:pt idx="1037">
                  <c:v>9.0604586595182113E-2</c:v>
                </c:pt>
                <c:pt idx="1038">
                  <c:v>9.5282685382253263E-2</c:v>
                </c:pt>
                <c:pt idx="1039">
                  <c:v>9.569481982811312E-2</c:v>
                </c:pt>
                <c:pt idx="1040">
                  <c:v>9.6643364239581198E-2</c:v>
                </c:pt>
                <c:pt idx="1041">
                  <c:v>9.2666731719531326E-2</c:v>
                </c:pt>
                <c:pt idx="1042">
                  <c:v>9.653961719457671E-2</c:v>
                </c:pt>
                <c:pt idx="1043">
                  <c:v>9.8838161974268646E-2</c:v>
                </c:pt>
              </c:numCache>
            </c:numRef>
          </c:val>
          <c:smooth val="0"/>
          <c:extLst>
            <c:ext xmlns:c16="http://schemas.microsoft.com/office/drawing/2014/chart" uri="{C3380CC4-5D6E-409C-BE32-E72D297353CC}">
              <c16:uniqueId val="{00000007-4CF4-4C29-A27E-ED09DD91B891}"/>
            </c:ext>
          </c:extLst>
        </c:ser>
        <c:ser>
          <c:idx val="8"/>
          <c:order val="8"/>
          <c:tx>
            <c:strRef>
              <c:f>Tabelle1!$N$2</c:f>
              <c:strCache>
                <c:ptCount val="1"/>
              </c:strCache>
            </c:strRef>
          </c:tx>
          <c:spPr>
            <a:ln w="28575" cap="rnd">
              <a:solidFill>
                <a:schemeClr val="accent2"/>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N$3:$N$1319</c:f>
              <c:numCache>
                <c:formatCode>General</c:formatCode>
                <c:ptCount val="1317"/>
                <c:pt idx="1043">
                  <c:v>0</c:v>
                </c:pt>
                <c:pt idx="1044">
                  <c:v>-5.3002817042012706E-3</c:v>
                </c:pt>
                <c:pt idx="1045">
                  <c:v>-2.5034171285602258E-2</c:v>
                </c:pt>
                <c:pt idx="1046">
                  <c:v>-2.8014771978253306E-2</c:v>
                </c:pt>
                <c:pt idx="1047">
                  <c:v>-3.0125325167580597E-2</c:v>
                </c:pt>
                <c:pt idx="1048">
                  <c:v>-2.5216113605096124E-2</c:v>
                </c:pt>
                <c:pt idx="1049">
                  <c:v>-2.9186645411465872E-2</c:v>
                </c:pt>
                <c:pt idx="1050">
                  <c:v>-3.5793168238597795E-2</c:v>
                </c:pt>
                <c:pt idx="1051">
                  <c:v>-3.1965360321555503E-2</c:v>
                </c:pt>
                <c:pt idx="1052">
                  <c:v>-3.8629150970009851E-2</c:v>
                </c:pt>
                <c:pt idx="1053">
                  <c:v>-3.313634242680974E-2</c:v>
                </c:pt>
                <c:pt idx="1054">
                  <c:v>-4.1804618237550439E-2</c:v>
                </c:pt>
                <c:pt idx="1055">
                  <c:v>-4.961666212832172E-2</c:v>
                </c:pt>
                <c:pt idx="1056">
                  <c:v>-6.0515040490800698E-2</c:v>
                </c:pt>
                <c:pt idx="1057">
                  <c:v>-6.3102899801813161E-2</c:v>
                </c:pt>
                <c:pt idx="1058">
                  <c:v>-5.4094805206959529E-2</c:v>
                </c:pt>
                <c:pt idx="1059">
                  <c:v>-5.3094512405725269E-2</c:v>
                </c:pt>
                <c:pt idx="1060">
                  <c:v>-4.0392086255589099E-2</c:v>
                </c:pt>
                <c:pt idx="1061">
                  <c:v>-5.4710712826164687E-2</c:v>
                </c:pt>
                <c:pt idx="1062">
                  <c:v>-5.1939462787726209E-2</c:v>
                </c:pt>
                <c:pt idx="1063">
                  <c:v>-4.3395861475156505E-2</c:v>
                </c:pt>
                <c:pt idx="1064">
                  <c:v>-2.6814041802389887E-2</c:v>
                </c:pt>
                <c:pt idx="1065">
                  <c:v>-1.9964297858629187E-2</c:v>
                </c:pt>
                <c:pt idx="1066">
                  <c:v>-2.047291187485023E-2</c:v>
                </c:pt>
                <c:pt idx="1067">
                  <c:v>-2.0187575512190303E-2</c:v>
                </c:pt>
                <c:pt idx="1068">
                  <c:v>-2.0262781308674427E-2</c:v>
                </c:pt>
                <c:pt idx="1069">
                  <c:v>-2.2522409099032248E-2</c:v>
                </c:pt>
                <c:pt idx="1070">
                  <c:v>-3.0588481457927252E-2</c:v>
                </c:pt>
                <c:pt idx="1071">
                  <c:v>-3.5308508661256566E-2</c:v>
                </c:pt>
                <c:pt idx="1072">
                  <c:v>-3.5147735380773093E-2</c:v>
                </c:pt>
                <c:pt idx="1073">
                  <c:v>-2.671610714296857E-2</c:v>
                </c:pt>
                <c:pt idx="1074">
                  <c:v>-3.5571784656947769E-2</c:v>
                </c:pt>
                <c:pt idx="1075">
                  <c:v>-3.4795438005243651E-2</c:v>
                </c:pt>
                <c:pt idx="1076">
                  <c:v>-2.8316152244163173E-2</c:v>
                </c:pt>
                <c:pt idx="1077">
                  <c:v>-3.8295237233621049E-2</c:v>
                </c:pt>
                <c:pt idx="1078">
                  <c:v>-3.9971602291247632E-2</c:v>
                </c:pt>
                <c:pt idx="1079">
                  <c:v>-4.2811595998472285E-2</c:v>
                </c:pt>
                <c:pt idx="1080">
                  <c:v>-5.1088356003517243E-2</c:v>
                </c:pt>
                <c:pt idx="1081">
                  <c:v>-7.0375244613816612E-2</c:v>
                </c:pt>
                <c:pt idx="1082">
                  <c:v>-7.1709451151439563E-2</c:v>
                </c:pt>
                <c:pt idx="1083">
                  <c:v>-7.0453124394175393E-2</c:v>
                </c:pt>
                <c:pt idx="1084">
                  <c:v>-8.3569572380955304E-2</c:v>
                </c:pt>
                <c:pt idx="1085">
                  <c:v>-8.3858028391469386E-2</c:v>
                </c:pt>
                <c:pt idx="1086">
                  <c:v>-7.7629094370684548E-2</c:v>
                </c:pt>
                <c:pt idx="1087">
                  <c:v>-7.5945264441406923E-2</c:v>
                </c:pt>
                <c:pt idx="1088">
                  <c:v>-7.4625876231091071E-2</c:v>
                </c:pt>
                <c:pt idx="1089">
                  <c:v>-8.9094802978639698E-2</c:v>
                </c:pt>
                <c:pt idx="1090">
                  <c:v>-8.0419842208211412E-2</c:v>
                </c:pt>
                <c:pt idx="1091">
                  <c:v>-7.7767138788230716E-2</c:v>
                </c:pt>
                <c:pt idx="1092">
                  <c:v>-6.5537673535982499E-2</c:v>
                </c:pt>
                <c:pt idx="1093">
                  <c:v>-6.2544260003930763E-2</c:v>
                </c:pt>
                <c:pt idx="1094">
                  <c:v>-5.3467755988275467E-2</c:v>
                </c:pt>
                <c:pt idx="1095">
                  <c:v>-4.7256202862677954E-2</c:v>
                </c:pt>
                <c:pt idx="1096">
                  <c:v>-5.1350963503239755E-2</c:v>
                </c:pt>
                <c:pt idx="1097">
                  <c:v>-6.2539914780133876E-2</c:v>
                </c:pt>
                <c:pt idx="1098">
                  <c:v>-5.4689878035138695E-2</c:v>
                </c:pt>
                <c:pt idx="1099">
                  <c:v>-5.540015500193185E-2</c:v>
                </c:pt>
                <c:pt idx="1100">
                  <c:v>-6.963655656835166E-2</c:v>
                </c:pt>
                <c:pt idx="1101">
                  <c:v>-7.7781177203574359E-2</c:v>
                </c:pt>
                <c:pt idx="1102">
                  <c:v>-9.0146904217451862E-2</c:v>
                </c:pt>
                <c:pt idx="1103">
                  <c:v>-8.7850174900828581E-2</c:v>
                </c:pt>
                <c:pt idx="1104">
                  <c:v>-8.2151803847238747E-2</c:v>
                </c:pt>
                <c:pt idx="1105">
                  <c:v>-9.7271400004367514E-2</c:v>
                </c:pt>
                <c:pt idx="1106">
                  <c:v>-0.11352665939640161</c:v>
                </c:pt>
                <c:pt idx="1107">
                  <c:v>-0.11133298987495999</c:v>
                </c:pt>
                <c:pt idx="1108">
                  <c:v>-0.10147066884804323</c:v>
                </c:pt>
                <c:pt idx="1109">
                  <c:v>-9.830990849181509E-2</c:v>
                </c:pt>
                <c:pt idx="1110">
                  <c:v>-8.591042243151592E-2</c:v>
                </c:pt>
                <c:pt idx="1111">
                  <c:v>-6.7057276288938206E-2</c:v>
                </c:pt>
                <c:pt idx="1112">
                  <c:v>-5.6271650913187754E-2</c:v>
                </c:pt>
                <c:pt idx="1113">
                  <c:v>-5.1143395504943845E-2</c:v>
                </c:pt>
                <c:pt idx="1114">
                  <c:v>-4.658013060628563E-2</c:v>
                </c:pt>
                <c:pt idx="1115">
                  <c:v>-4.2939724392481948E-2</c:v>
                </c:pt>
                <c:pt idx="1116">
                  <c:v>-4.591575702934636E-2</c:v>
                </c:pt>
                <c:pt idx="1117">
                  <c:v>-3.6506342021255467E-2</c:v>
                </c:pt>
                <c:pt idx="1118">
                  <c:v>-3.5247786944095361E-2</c:v>
                </c:pt>
                <c:pt idx="1119">
                  <c:v>-1.5730044392588849E-2</c:v>
                </c:pt>
                <c:pt idx="1120">
                  <c:v>-1.2859299870801921E-2</c:v>
                </c:pt>
                <c:pt idx="1121">
                  <c:v>-1.0923224129317344E-2</c:v>
                </c:pt>
                <c:pt idx="1122">
                  <c:v>-9.1630742436079604E-3</c:v>
                </c:pt>
                <c:pt idx="1123">
                  <c:v>3.5563985537323539E-4</c:v>
                </c:pt>
                <c:pt idx="1124">
                  <c:v>-1.2125402713113465E-3</c:v>
                </c:pt>
                <c:pt idx="1125">
                  <c:v>1.500216369861862E-3</c:v>
                </c:pt>
                <c:pt idx="1126">
                  <c:v>2.5637934561375531E-3</c:v>
                </c:pt>
                <c:pt idx="1127">
                  <c:v>2.3142216278055905E-3</c:v>
                </c:pt>
                <c:pt idx="1128">
                  <c:v>9.1038009343802351E-4</c:v>
                </c:pt>
                <c:pt idx="1129">
                  <c:v>2.6310887169913588E-3</c:v>
                </c:pt>
                <c:pt idx="1130">
                  <c:v>2.4705382684975241E-3</c:v>
                </c:pt>
                <c:pt idx="1131">
                  <c:v>2.7862911977352134E-3</c:v>
                </c:pt>
                <c:pt idx="1132">
                  <c:v>6.1730031913997951E-3</c:v>
                </c:pt>
                <c:pt idx="1133">
                  <c:v>-2.3282600431491218E-3</c:v>
                </c:pt>
                <c:pt idx="1134">
                  <c:v>6.4543285782492354E-4</c:v>
                </c:pt>
                <c:pt idx="1135">
                  <c:v>-1.4320297810496152E-3</c:v>
                </c:pt>
                <c:pt idx="1136">
                  <c:v>6.8535320875837691E-3</c:v>
                </c:pt>
                <c:pt idx="1137">
                  <c:v>1.123552316271681E-2</c:v>
                </c:pt>
                <c:pt idx="1138">
                  <c:v>1.0452380135330452E-2</c:v>
                </c:pt>
                <c:pt idx="1139">
                  <c:v>1.6954394759348235E-2</c:v>
                </c:pt>
                <c:pt idx="1140">
                  <c:v>2.6211058438580626E-2</c:v>
                </c:pt>
                <c:pt idx="1141">
                  <c:v>3.0460575895907116E-2</c:v>
                </c:pt>
                <c:pt idx="1142">
                  <c:v>3.310068930847665E-2</c:v>
                </c:pt>
                <c:pt idx="1143">
                  <c:v>3.6985653630846826E-2</c:v>
                </c:pt>
                <c:pt idx="1144">
                  <c:v>4.3799744456274325E-2</c:v>
                </c:pt>
                <c:pt idx="1145">
                  <c:v>3.4368826161188526E-2</c:v>
                </c:pt>
                <c:pt idx="1146">
                  <c:v>4.251801485219775E-2</c:v>
                </c:pt>
                <c:pt idx="1147">
                  <c:v>4.2674999988858486E-2</c:v>
                </c:pt>
                <c:pt idx="1148">
                  <c:v>4.2881453827206428E-2</c:v>
                </c:pt>
                <c:pt idx="1149">
                  <c:v>4.5363802191151548E-2</c:v>
                </c:pt>
                <c:pt idx="1150">
                  <c:v>5.007848142673077E-2</c:v>
                </c:pt>
                <c:pt idx="1151">
                  <c:v>5.1184285175032374E-2</c:v>
                </c:pt>
                <c:pt idx="1152">
                  <c:v>4.7382548600771068E-2</c:v>
                </c:pt>
                <c:pt idx="1153">
                  <c:v>4.7387116656557593E-2</c:v>
                </c:pt>
                <c:pt idx="1154">
                  <c:v>3.0236963994361599E-2</c:v>
                </c:pt>
                <c:pt idx="1155">
                  <c:v>1.9309617473237006E-2</c:v>
                </c:pt>
                <c:pt idx="1156">
                  <c:v>1.6357539275252408E-2</c:v>
                </c:pt>
                <c:pt idx="1157">
                  <c:v>1.7388694307043817E-2</c:v>
                </c:pt>
                <c:pt idx="1158">
                  <c:v>3.4136969476028289E-2</c:v>
                </c:pt>
                <c:pt idx="1159">
                  <c:v>3.5765537071889675E-2</c:v>
                </c:pt>
                <c:pt idx="1160">
                  <c:v>4.5414830716765886E-2</c:v>
                </c:pt>
                <c:pt idx="1161">
                  <c:v>4.611352042010064E-2</c:v>
                </c:pt>
                <c:pt idx="1162">
                  <c:v>5.0684027358420591E-2</c:v>
                </c:pt>
                <c:pt idx="1163">
                  <c:v>4.9171332397141887E-2</c:v>
                </c:pt>
                <c:pt idx="1164">
                  <c:v>4.4824325944373244E-2</c:v>
                </c:pt>
                <c:pt idx="1165">
                  <c:v>3.6929611385466909E-2</c:v>
                </c:pt>
                <c:pt idx="1166">
                  <c:v>4.9010447700663651E-2</c:v>
                </c:pt>
                <c:pt idx="1167">
                  <c:v>6.2449444992363601E-2</c:v>
                </c:pt>
                <c:pt idx="1168">
                  <c:v>6.7050034249276802E-2</c:v>
                </c:pt>
                <c:pt idx="1169">
                  <c:v>6.7822592757158073E-2</c:v>
                </c:pt>
                <c:pt idx="1170">
                  <c:v>7.5742932994866452E-2</c:v>
                </c:pt>
                <c:pt idx="1171">
                  <c:v>7.6507803799107377E-2</c:v>
                </c:pt>
                <c:pt idx="1172">
                  <c:v>7.7831537233220116E-2</c:v>
                </c:pt>
                <c:pt idx="1173">
                  <c:v>8.7601828648439239E-2</c:v>
                </c:pt>
                <c:pt idx="1174">
                  <c:v>8.4928624685417065E-2</c:v>
                </c:pt>
                <c:pt idx="1175">
                  <c:v>6.9572715203336521E-2</c:v>
                </c:pt>
                <c:pt idx="1176">
                  <c:v>7.9515701410482142E-2</c:v>
                </c:pt>
                <c:pt idx="1177">
                  <c:v>9.533153611906009E-2</c:v>
                </c:pt>
                <c:pt idx="1178">
                  <c:v>9.45646598269132E-2</c:v>
                </c:pt>
                <c:pt idx="1179">
                  <c:v>9.6587528628339969E-2</c:v>
                </c:pt>
                <c:pt idx="1180">
                  <c:v>0.10773971262695303</c:v>
                </c:pt>
                <c:pt idx="1181">
                  <c:v>0.10933830932021538</c:v>
                </c:pt>
                <c:pt idx="1182">
                  <c:v>0.11972484260262428</c:v>
                </c:pt>
                <c:pt idx="1183">
                  <c:v>0.11469006521401015</c:v>
                </c:pt>
                <c:pt idx="1184">
                  <c:v>0.10006972412954029</c:v>
                </c:pt>
                <c:pt idx="1185">
                  <c:v>0.11260279796759409</c:v>
                </c:pt>
                <c:pt idx="1186">
                  <c:v>0.11721809413581985</c:v>
                </c:pt>
                <c:pt idx="1187">
                  <c:v>0.11383015656621276</c:v>
                </c:pt>
                <c:pt idx="1188">
                  <c:v>0.11395750504825886</c:v>
                </c:pt>
                <c:pt idx="1189">
                  <c:v>0.10540733019199644</c:v>
                </c:pt>
                <c:pt idx="1190">
                  <c:v>0.10141451518666855</c:v>
                </c:pt>
                <c:pt idx="1191">
                  <c:v>0.13119979873814702</c:v>
                </c:pt>
                <c:pt idx="1192">
                  <c:v>0.13087981200110699</c:v>
                </c:pt>
                <c:pt idx="1193">
                  <c:v>0.12936410880796934</c:v>
                </c:pt>
                <c:pt idx="1194">
                  <c:v>0.13104727024127816</c:v>
                </c:pt>
                <c:pt idx="1195">
                  <c:v>0.12638395377929745</c:v>
                </c:pt>
                <c:pt idx="1196">
                  <c:v>0.13361552033720714</c:v>
                </c:pt>
                <c:pt idx="1197">
                  <c:v>0.14445183999058764</c:v>
                </c:pt>
                <c:pt idx="1198">
                  <c:v>0.14210920728411036</c:v>
                </c:pt>
                <c:pt idx="1199">
                  <c:v>0.12765476461588432</c:v>
                </c:pt>
                <c:pt idx="1200">
                  <c:v>0.13402274579816864</c:v>
                </c:pt>
                <c:pt idx="1201">
                  <c:v>0.15008826375107343</c:v>
                </c:pt>
                <c:pt idx="1202">
                  <c:v>0.14304699571226709</c:v>
                </c:pt>
                <c:pt idx="1203">
                  <c:v>0.13486571921475798</c:v>
                </c:pt>
                <c:pt idx="1204">
                  <c:v>0.15195581865576169</c:v>
                </c:pt>
                <c:pt idx="1205">
                  <c:v>0.1497129032646225</c:v>
                </c:pt>
                <c:pt idx="1206">
                  <c:v>0.14829212649904666</c:v>
                </c:pt>
                <c:pt idx="1207">
                  <c:v>0.13634320672168232</c:v>
                </c:pt>
                <c:pt idx="1208">
                  <c:v>0.14553536053993077</c:v>
                </c:pt>
                <c:pt idx="1209">
                  <c:v>0.14927281008519766</c:v>
                </c:pt>
                <c:pt idx="1210">
                  <c:v>0.15755636646592475</c:v>
                </c:pt>
                <c:pt idx="1211">
                  <c:v>0.16131476221821228</c:v>
                </c:pt>
                <c:pt idx="1212">
                  <c:v>0.16119320736789522</c:v>
                </c:pt>
                <c:pt idx="1213">
                  <c:v>0.1573542578513738</c:v>
                </c:pt>
                <c:pt idx="1214">
                  <c:v>0.15416085260867174</c:v>
                </c:pt>
                <c:pt idx="1215">
                  <c:v>0.15689466687286058</c:v>
                </c:pt>
                <c:pt idx="1216">
                  <c:v>0.15445677349083708</c:v>
                </c:pt>
                <c:pt idx="1217">
                  <c:v>0.15460618233985191</c:v>
                </c:pt>
                <c:pt idx="1218">
                  <c:v>0.15268793315753371</c:v>
                </c:pt>
                <c:pt idx="1219">
                  <c:v>0.144047399929496</c:v>
                </c:pt>
                <c:pt idx="1220">
                  <c:v>0.14682756324751778</c:v>
                </c:pt>
                <c:pt idx="1221">
                  <c:v>0.13697114726832504</c:v>
                </c:pt>
                <c:pt idx="1222">
                  <c:v>0.14581624026279916</c:v>
                </c:pt>
                <c:pt idx="1223">
                  <c:v>0.14746152025787906</c:v>
                </c:pt>
                <c:pt idx="1224">
                  <c:v>0.14767020241612272</c:v>
                </c:pt>
                <c:pt idx="1225">
                  <c:v>0.14023207060387022</c:v>
                </c:pt>
                <c:pt idx="1226">
                  <c:v>0.15109902965581812</c:v>
                </c:pt>
                <c:pt idx="1227">
                  <c:v>0.1372464561914537</c:v>
                </c:pt>
                <c:pt idx="1228">
                  <c:v>0.12089315072400364</c:v>
                </c:pt>
                <c:pt idx="1229">
                  <c:v>0.11640163772599088</c:v>
                </c:pt>
                <c:pt idx="1230">
                  <c:v>0.10764278071148481</c:v>
                </c:pt>
                <c:pt idx="1231">
                  <c:v>0.1045614599595428</c:v>
                </c:pt>
                <c:pt idx="1232">
                  <c:v>8.4160077153348167E-2</c:v>
                </c:pt>
                <c:pt idx="1233">
                  <c:v>9.3311452717503185E-2</c:v>
                </c:pt>
                <c:pt idx="1234">
                  <c:v>0.11134402005844457</c:v>
                </c:pt>
                <c:pt idx="1235">
                  <c:v>0.11153799530537567</c:v>
                </c:pt>
                <c:pt idx="1236">
                  <c:v>0.10356595804608459</c:v>
                </c:pt>
                <c:pt idx="1237">
                  <c:v>0.12173088758883743</c:v>
                </c:pt>
                <c:pt idx="1238">
                  <c:v>0.12432754876343854</c:v>
                </c:pt>
                <c:pt idx="1239">
                  <c:v>0.10826359063446067</c:v>
                </c:pt>
                <c:pt idx="1240">
                  <c:v>0.10430977122730978</c:v>
                </c:pt>
                <c:pt idx="1241">
                  <c:v>0.11671148560750466</c:v>
                </c:pt>
                <c:pt idx="1242">
                  <c:v>0.13563504665879034</c:v>
                </c:pt>
                <c:pt idx="1243">
                  <c:v>0.14861088766014374</c:v>
                </c:pt>
                <c:pt idx="1244">
                  <c:v>0.15169722213185155</c:v>
                </c:pt>
                <c:pt idx="1245">
                  <c:v>0.14832477138552025</c:v>
                </c:pt>
                <c:pt idx="1246">
                  <c:v>0.15173532640207021</c:v>
                </c:pt>
                <c:pt idx="1247">
                  <c:v>0.15280815101591338</c:v>
                </c:pt>
                <c:pt idx="1248">
                  <c:v>0.15355007012522703</c:v>
                </c:pt>
                <c:pt idx="1249">
                  <c:v>0.15902349228533375</c:v>
                </c:pt>
                <c:pt idx="1250">
                  <c:v>0.17514204425175928</c:v>
                </c:pt>
                <c:pt idx="1251">
                  <c:v>0.17401975093622868</c:v>
                </c:pt>
                <c:pt idx="1252">
                  <c:v>0.17389006271829199</c:v>
                </c:pt>
                <c:pt idx="1253">
                  <c:v>0.17981694797719805</c:v>
                </c:pt>
                <c:pt idx="1254">
                  <c:v>0.18151570764977776</c:v>
                </c:pt>
                <c:pt idx="1255">
                  <c:v>0.17725616275291989</c:v>
                </c:pt>
                <c:pt idx="1256">
                  <c:v>0.17633430681201867</c:v>
                </c:pt>
                <c:pt idx="1257">
                  <c:v>0.18355239203455875</c:v>
                </c:pt>
                <c:pt idx="1258">
                  <c:v>0.18527332349010162</c:v>
                </c:pt>
                <c:pt idx="1259">
                  <c:v>0.18857480224775092</c:v>
                </c:pt>
                <c:pt idx="1260">
                  <c:v>0.17996724815417142</c:v>
                </c:pt>
                <c:pt idx="1261">
                  <c:v>0.16805565273506229</c:v>
                </c:pt>
                <c:pt idx="1262">
                  <c:v>0.17140114081065394</c:v>
                </c:pt>
                <c:pt idx="1263">
                  <c:v>0.17877643400184429</c:v>
                </c:pt>
                <c:pt idx="1264">
                  <c:v>0.1820362431774416</c:v>
                </c:pt>
                <c:pt idx="1265">
                  <c:v>0.19983327710539478</c:v>
                </c:pt>
                <c:pt idx="1266">
                  <c:v>0.20356872116275526</c:v>
                </c:pt>
                <c:pt idx="1267">
                  <c:v>0.20059079445397932</c:v>
                </c:pt>
                <c:pt idx="1268">
                  <c:v>0.20271761437854607</c:v>
                </c:pt>
                <c:pt idx="1269">
                  <c:v>0.20913628983846033</c:v>
                </c:pt>
                <c:pt idx="1270">
                  <c:v>0.22730367053309886</c:v>
                </c:pt>
                <c:pt idx="1271">
                  <c:v>0.22393255677870516</c:v>
                </c:pt>
                <c:pt idx="1272">
                  <c:v>0.22201631308429337</c:v>
                </c:pt>
                <c:pt idx="1273">
                  <c:v>0.22865648354185208</c:v>
                </c:pt>
                <c:pt idx="1274">
                  <c:v>0.23302878142543837</c:v>
                </c:pt>
                <c:pt idx="1275">
                  <c:v>0.23283703449840298</c:v>
                </c:pt>
                <c:pt idx="1276">
                  <c:v>0.22863219485498787</c:v>
                </c:pt>
                <c:pt idx="1277">
                  <c:v>0.22419494144643815</c:v>
                </c:pt>
                <c:pt idx="1278">
                  <c:v>0.21673363510726928</c:v>
                </c:pt>
                <c:pt idx="1279">
                  <c:v>0.23053640562196209</c:v>
                </c:pt>
                <c:pt idx="1280">
                  <c:v>0.23451707628385776</c:v>
                </c:pt>
                <c:pt idx="1281">
                  <c:v>0.2367552007872209</c:v>
                </c:pt>
                <c:pt idx="1282">
                  <c:v>0.22788370220198129</c:v>
                </c:pt>
                <c:pt idx="1283">
                  <c:v>0.23522534776274462</c:v>
                </c:pt>
                <c:pt idx="1284">
                  <c:v>0.24394821741093287</c:v>
                </c:pt>
                <c:pt idx="1285">
                  <c:v>0.25577769924188121</c:v>
                </c:pt>
                <c:pt idx="1286">
                  <c:v>0.25764725963447543</c:v>
                </c:pt>
                <c:pt idx="1287">
                  <c:v>0.26810075392975352</c:v>
                </c:pt>
                <c:pt idx="1288">
                  <c:v>0.26879766097717184</c:v>
                </c:pt>
                <c:pt idx="1289">
                  <c:v>0.2690033349035561</c:v>
                </c:pt>
                <c:pt idx="1290">
                  <c:v>0.28192859304327444</c:v>
                </c:pt>
                <c:pt idx="1291">
                  <c:v>0.2651280637727329</c:v>
                </c:pt>
                <c:pt idx="1292">
                  <c:v>0.27239628619292877</c:v>
                </c:pt>
                <c:pt idx="1293">
                  <c:v>0.27314021079014883</c:v>
                </c:pt>
                <c:pt idx="1294">
                  <c:v>0.27069529820045357</c:v>
                </c:pt>
                <c:pt idx="1295">
                  <c:v>0.24213258235981772</c:v>
                </c:pt>
                <c:pt idx="1296">
                  <c:v>0.23026477342666141</c:v>
                </c:pt>
                <c:pt idx="1297">
                  <c:v>0.22271166030778455</c:v>
                </c:pt>
                <c:pt idx="1298">
                  <c:v>0.23802812852770905</c:v>
                </c:pt>
                <c:pt idx="1299">
                  <c:v>0.23964065222032049</c:v>
                </c:pt>
                <c:pt idx="1300">
                  <c:v>0.20245422696686011</c:v>
                </c:pt>
                <c:pt idx="1301">
                  <c:v>0.1861907227912114</c:v>
                </c:pt>
                <c:pt idx="1302">
                  <c:v>0.19575311196015055</c:v>
                </c:pt>
                <c:pt idx="1303">
                  <c:v>0.19790979137132148</c:v>
                </c:pt>
                <c:pt idx="1304">
                  <c:v>0.18739746943079361</c:v>
                </c:pt>
                <c:pt idx="1305">
                  <c:v>0.21607148985022584</c:v>
                </c:pt>
                <c:pt idx="1306">
                  <c:v>0.19571567618590091</c:v>
                </c:pt>
                <c:pt idx="1307">
                  <c:v>0.16677002357116799</c:v>
                </c:pt>
                <c:pt idx="1308">
                  <c:v>0.12704754744427316</c:v>
                </c:pt>
                <c:pt idx="1309">
                  <c:v>0.14343784302199403</c:v>
                </c:pt>
                <c:pt idx="1310">
                  <c:v>0.13835303985171876</c:v>
                </c:pt>
                <c:pt idx="1311">
                  <c:v>0.16187707874392299</c:v>
                </c:pt>
                <c:pt idx="1312">
                  <c:v>0.17185794638929752</c:v>
                </c:pt>
                <c:pt idx="1313">
                  <c:v>0.17431177225857608</c:v>
                </c:pt>
                <c:pt idx="1314">
                  <c:v>0.19902060883938866</c:v>
                </c:pt>
                <c:pt idx="1315">
                  <c:v>0.20548496485716705</c:v>
                </c:pt>
                <c:pt idx="1316">
                  <c:v>0.22597614895516327</c:v>
                </c:pt>
              </c:numCache>
            </c:numRef>
          </c:val>
          <c:smooth val="0"/>
          <c:extLst>
            <c:ext xmlns:c16="http://schemas.microsoft.com/office/drawing/2014/chart" uri="{C3380CC4-5D6E-409C-BE32-E72D297353CC}">
              <c16:uniqueId val="{00000000-5B14-4065-87DF-4FBA120D31D5}"/>
            </c:ext>
          </c:extLst>
        </c:ser>
        <c:ser>
          <c:idx val="9"/>
          <c:order val="9"/>
          <c:tx>
            <c:strRef>
              <c:f>Tabelle1!$O$2</c:f>
              <c:strCache>
                <c:ptCount val="1"/>
              </c:strCache>
            </c:strRef>
          </c:tx>
          <c:spPr>
            <a:ln w="28575" cap="rnd">
              <a:solidFill>
                <a:schemeClr val="tx2"/>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O$3:$O$1319</c:f>
              <c:numCache>
                <c:formatCode>General</c:formatCode>
                <c:ptCount val="1317"/>
                <c:pt idx="1043">
                  <c:v>0</c:v>
                </c:pt>
                <c:pt idx="1044">
                  <c:v>-4.8737353533888639E-3</c:v>
                </c:pt>
                <c:pt idx="1045">
                  <c:v>-1.6105795309984794E-2</c:v>
                </c:pt>
                <c:pt idx="1046">
                  <c:v>-1.9774417161955715E-2</c:v>
                </c:pt>
                <c:pt idx="1047">
                  <c:v>-1.9821750434691143E-2</c:v>
                </c:pt>
                <c:pt idx="1048">
                  <c:v>-1.3347899135727981E-2</c:v>
                </c:pt>
                <c:pt idx="1049">
                  <c:v>-1.969307095341355E-2</c:v>
                </c:pt>
                <c:pt idx="1050">
                  <c:v>-2.0446800961912648E-2</c:v>
                </c:pt>
                <c:pt idx="1051">
                  <c:v>-1.82868957624992E-2</c:v>
                </c:pt>
                <c:pt idx="1052">
                  <c:v>-1.9074722482508744E-2</c:v>
                </c:pt>
                <c:pt idx="1053">
                  <c:v>-2.2080008310549792E-2</c:v>
                </c:pt>
                <c:pt idx="1054">
                  <c:v>-3.2027116519856791E-2</c:v>
                </c:pt>
                <c:pt idx="1055">
                  <c:v>-3.868058292810328E-2</c:v>
                </c:pt>
                <c:pt idx="1056">
                  <c:v>-4.2743620794302606E-2</c:v>
                </c:pt>
                <c:pt idx="1057">
                  <c:v>-4.2765151150219505E-2</c:v>
                </c:pt>
                <c:pt idx="1058">
                  <c:v>-4.3676798360676949E-2</c:v>
                </c:pt>
                <c:pt idx="1059">
                  <c:v>-4.5644857198029354E-2</c:v>
                </c:pt>
                <c:pt idx="1060">
                  <c:v>-3.9994185966145457E-2</c:v>
                </c:pt>
                <c:pt idx="1061">
                  <c:v>-4.572075798581432E-2</c:v>
                </c:pt>
                <c:pt idx="1062">
                  <c:v>-4.4706820640825429E-2</c:v>
                </c:pt>
                <c:pt idx="1063">
                  <c:v>-3.7778151045080866E-2</c:v>
                </c:pt>
                <c:pt idx="1064">
                  <c:v>-2.8590804694958005E-2</c:v>
                </c:pt>
                <c:pt idx="1065">
                  <c:v>-2.4872671401948709E-2</c:v>
                </c:pt>
                <c:pt idx="1066">
                  <c:v>-2.7617163463572458E-2</c:v>
                </c:pt>
                <c:pt idx="1067">
                  <c:v>-2.5475605143325586E-2</c:v>
                </c:pt>
                <c:pt idx="1068">
                  <c:v>-2.4874179364619997E-2</c:v>
                </c:pt>
                <c:pt idx="1069">
                  <c:v>-3.3781044657895665E-2</c:v>
                </c:pt>
                <c:pt idx="1070">
                  <c:v>-3.698211430608378E-2</c:v>
                </c:pt>
                <c:pt idx="1071">
                  <c:v>-3.7470945538671474E-2</c:v>
                </c:pt>
                <c:pt idx="1072">
                  <c:v>-3.6415706771632084E-2</c:v>
                </c:pt>
                <c:pt idx="1073">
                  <c:v>-3.1460708985404984E-2</c:v>
                </c:pt>
                <c:pt idx="1074">
                  <c:v>-3.1016530203026194E-2</c:v>
                </c:pt>
                <c:pt idx="1075">
                  <c:v>-3.116489697473368E-2</c:v>
                </c:pt>
                <c:pt idx="1076">
                  <c:v>-2.0193798335963242E-2</c:v>
                </c:pt>
                <c:pt idx="1077">
                  <c:v>-2.409875144879603E-2</c:v>
                </c:pt>
                <c:pt idx="1078">
                  <c:v>-2.5542709482194947E-2</c:v>
                </c:pt>
                <c:pt idx="1079">
                  <c:v>-2.5824028296081769E-2</c:v>
                </c:pt>
                <c:pt idx="1080">
                  <c:v>-2.6748995843468459E-2</c:v>
                </c:pt>
                <c:pt idx="1081">
                  <c:v>-4.0056431314185348E-2</c:v>
                </c:pt>
                <c:pt idx="1082">
                  <c:v>-4.2834852535911461E-2</c:v>
                </c:pt>
                <c:pt idx="1083">
                  <c:v>-4.4236671390220139E-2</c:v>
                </c:pt>
                <c:pt idx="1084">
                  <c:v>-5.3767079248046135E-2</c:v>
                </c:pt>
                <c:pt idx="1085">
                  <c:v>-5.6168844904782689E-2</c:v>
                </c:pt>
                <c:pt idx="1086">
                  <c:v>-5.147505976349287E-2</c:v>
                </c:pt>
                <c:pt idx="1087">
                  <c:v>-5.5074734211107312E-2</c:v>
                </c:pt>
                <c:pt idx="1088">
                  <c:v>-6.6441589275369473E-2</c:v>
                </c:pt>
                <c:pt idx="1089">
                  <c:v>-7.7365773519924241E-2</c:v>
                </c:pt>
                <c:pt idx="1090">
                  <c:v>-7.9166029622251166E-2</c:v>
                </c:pt>
                <c:pt idx="1091">
                  <c:v>-7.8034722516018951E-2</c:v>
                </c:pt>
                <c:pt idx="1092">
                  <c:v>-7.1530963290743155E-2</c:v>
                </c:pt>
                <c:pt idx="1093">
                  <c:v>-6.552843410224074E-2</c:v>
                </c:pt>
                <c:pt idx="1094">
                  <c:v>-5.5423073588159566E-2</c:v>
                </c:pt>
                <c:pt idx="1095">
                  <c:v>-5.4218797843780919E-2</c:v>
                </c:pt>
                <c:pt idx="1096">
                  <c:v>-6.0193345947161747E-2</c:v>
                </c:pt>
                <c:pt idx="1097">
                  <c:v>-6.2958781934774666E-2</c:v>
                </c:pt>
                <c:pt idx="1098">
                  <c:v>-5.560369400589027E-2</c:v>
                </c:pt>
                <c:pt idx="1099">
                  <c:v>-5.257754802756387E-2</c:v>
                </c:pt>
                <c:pt idx="1100">
                  <c:v>-6.2179584112272868E-2</c:v>
                </c:pt>
                <c:pt idx="1101">
                  <c:v>-7.1966178072798592E-2</c:v>
                </c:pt>
                <c:pt idx="1102">
                  <c:v>-8.1177568049957238E-2</c:v>
                </c:pt>
                <c:pt idx="1103">
                  <c:v>-8.676817210210408E-2</c:v>
                </c:pt>
                <c:pt idx="1104">
                  <c:v>-8.2550065407880902E-2</c:v>
                </c:pt>
                <c:pt idx="1105">
                  <c:v>-8.6395872873720303E-2</c:v>
                </c:pt>
                <c:pt idx="1106">
                  <c:v>-8.9930621150768331E-2</c:v>
                </c:pt>
                <c:pt idx="1107">
                  <c:v>-9.8455720561112847E-2</c:v>
                </c:pt>
                <c:pt idx="1108">
                  <c:v>-9.160303552885718E-2</c:v>
                </c:pt>
                <c:pt idx="1109">
                  <c:v>-8.736440378716448E-2</c:v>
                </c:pt>
                <c:pt idx="1110">
                  <c:v>-8.1106526253001854E-2</c:v>
                </c:pt>
                <c:pt idx="1111">
                  <c:v>-6.3891121744109713E-2</c:v>
                </c:pt>
                <c:pt idx="1112">
                  <c:v>-5.4207236796634861E-2</c:v>
                </c:pt>
                <c:pt idx="1113">
                  <c:v>-5.589632253981125E-2</c:v>
                </c:pt>
                <c:pt idx="1114">
                  <c:v>-6.2289497835864127E-2</c:v>
                </c:pt>
                <c:pt idx="1115">
                  <c:v>-6.5539324943755028E-2</c:v>
                </c:pt>
                <c:pt idx="1116">
                  <c:v>-6.8385855812798213E-2</c:v>
                </c:pt>
                <c:pt idx="1117">
                  <c:v>-6.3572857844777841E-2</c:v>
                </c:pt>
                <c:pt idx="1118">
                  <c:v>-6.219349087912962E-2</c:v>
                </c:pt>
                <c:pt idx="1119">
                  <c:v>-4.2891484911786293E-2</c:v>
                </c:pt>
                <c:pt idx="1120">
                  <c:v>-3.7725791230107886E-2</c:v>
                </c:pt>
                <c:pt idx="1121">
                  <c:v>-4.0869306969677832E-2</c:v>
                </c:pt>
                <c:pt idx="1122">
                  <c:v>-3.4343933612781208E-2</c:v>
                </c:pt>
                <c:pt idx="1123">
                  <c:v>-3.1027253493132734E-2</c:v>
                </c:pt>
                <c:pt idx="1124">
                  <c:v>-3.2711815348295481E-2</c:v>
                </c:pt>
                <c:pt idx="1125">
                  <c:v>-3.2276265463424214E-2</c:v>
                </c:pt>
                <c:pt idx="1126">
                  <c:v>-3.0601505365624448E-2</c:v>
                </c:pt>
                <c:pt idx="1127">
                  <c:v>-2.5843883137919521E-2</c:v>
                </c:pt>
                <c:pt idx="1128">
                  <c:v>-2.9232777914378727E-2</c:v>
                </c:pt>
                <c:pt idx="1129">
                  <c:v>-2.7960141195571442E-2</c:v>
                </c:pt>
                <c:pt idx="1130">
                  <c:v>-2.6657261447635805E-2</c:v>
                </c:pt>
                <c:pt idx="1131">
                  <c:v>-1.9982097132064447E-2</c:v>
                </c:pt>
                <c:pt idx="1132">
                  <c:v>-1.2074257108473208E-2</c:v>
                </c:pt>
                <c:pt idx="1133">
                  <c:v>-1.2720754215907681E-2</c:v>
                </c:pt>
                <c:pt idx="1134">
                  <c:v>-1.7885442589138378E-2</c:v>
                </c:pt>
                <c:pt idx="1135">
                  <c:v>-1.7218420434234716E-2</c:v>
                </c:pt>
                <c:pt idx="1136">
                  <c:v>-1.4547650992092764E-2</c:v>
                </c:pt>
                <c:pt idx="1137">
                  <c:v>-1.2503775142659657E-2</c:v>
                </c:pt>
                <c:pt idx="1138">
                  <c:v>-5.637853549178673E-3</c:v>
                </c:pt>
                <c:pt idx="1139">
                  <c:v>-4.872897596349457E-3</c:v>
                </c:pt>
                <c:pt idx="1140">
                  <c:v>7.9711744557824371E-3</c:v>
                </c:pt>
                <c:pt idx="1141">
                  <c:v>2.2311899459102058E-2</c:v>
                </c:pt>
                <c:pt idx="1142">
                  <c:v>1.7882929318019603E-2</c:v>
                </c:pt>
                <c:pt idx="1143">
                  <c:v>1.7408423730808531E-2</c:v>
                </c:pt>
                <c:pt idx="1144">
                  <c:v>2.5112605018080991E-2</c:v>
                </c:pt>
                <c:pt idx="1145">
                  <c:v>1.3956864727789675E-2</c:v>
                </c:pt>
                <c:pt idx="1146">
                  <c:v>2.1162245473703489E-2</c:v>
                </c:pt>
                <c:pt idx="1147">
                  <c:v>2.573489094707182E-2</c:v>
                </c:pt>
                <c:pt idx="1148">
                  <c:v>2.5680688066611612E-2</c:v>
                </c:pt>
                <c:pt idx="1149">
                  <c:v>2.9879442573220949E-2</c:v>
                </c:pt>
                <c:pt idx="1150">
                  <c:v>3.3950020252776492E-2</c:v>
                </c:pt>
                <c:pt idx="1151">
                  <c:v>3.4778813292020816E-2</c:v>
                </c:pt>
                <c:pt idx="1152">
                  <c:v>3.2814859464162183E-2</c:v>
                </c:pt>
                <c:pt idx="1153">
                  <c:v>3.2858339054515628E-2</c:v>
                </c:pt>
                <c:pt idx="1154">
                  <c:v>3.456744719093785E-2</c:v>
                </c:pt>
                <c:pt idx="1155">
                  <c:v>2.6031289387670853E-2</c:v>
                </c:pt>
                <c:pt idx="1156">
                  <c:v>2.8121912079912104E-2</c:v>
                </c:pt>
                <c:pt idx="1157">
                  <c:v>3.1324238363659385E-2</c:v>
                </c:pt>
                <c:pt idx="1158">
                  <c:v>3.6242793718665345E-2</c:v>
                </c:pt>
                <c:pt idx="1159">
                  <c:v>3.0397595302193547E-2</c:v>
                </c:pt>
                <c:pt idx="1160">
                  <c:v>3.0250485166045449E-2</c:v>
                </c:pt>
                <c:pt idx="1161">
                  <c:v>2.6841484220636591E-2</c:v>
                </c:pt>
                <c:pt idx="1162">
                  <c:v>2.955590080454007E-2</c:v>
                </c:pt>
                <c:pt idx="1163">
                  <c:v>2.9003902691168815E-2</c:v>
                </c:pt>
                <c:pt idx="1164">
                  <c:v>2.0813068339611718E-2</c:v>
                </c:pt>
                <c:pt idx="1165">
                  <c:v>1.1916842560738328E-2</c:v>
                </c:pt>
                <c:pt idx="1166">
                  <c:v>1.4835420535184163E-2</c:v>
                </c:pt>
                <c:pt idx="1167">
                  <c:v>2.2540523355200071E-2</c:v>
                </c:pt>
                <c:pt idx="1168">
                  <c:v>2.7017161871834006E-2</c:v>
                </c:pt>
                <c:pt idx="1169">
                  <c:v>2.7450952466922196E-2</c:v>
                </c:pt>
                <c:pt idx="1170">
                  <c:v>2.784101214454493E-2</c:v>
                </c:pt>
                <c:pt idx="1171">
                  <c:v>3.2919160215588272E-2</c:v>
                </c:pt>
                <c:pt idx="1172">
                  <c:v>3.4165323811945258E-2</c:v>
                </c:pt>
                <c:pt idx="1173">
                  <c:v>3.7595436234751256E-2</c:v>
                </c:pt>
                <c:pt idx="1174">
                  <c:v>4.0678968570287966E-2</c:v>
                </c:pt>
                <c:pt idx="1175">
                  <c:v>3.5478591747171606E-2</c:v>
                </c:pt>
                <c:pt idx="1176">
                  <c:v>3.9662350402772661E-2</c:v>
                </c:pt>
                <c:pt idx="1177">
                  <c:v>3.7486527819607485E-2</c:v>
                </c:pt>
                <c:pt idx="1178">
                  <c:v>2.8975335176119499E-2</c:v>
                </c:pt>
                <c:pt idx="1179">
                  <c:v>3.4215254131503503E-2</c:v>
                </c:pt>
                <c:pt idx="1180">
                  <c:v>3.6528552644861767E-2</c:v>
                </c:pt>
                <c:pt idx="1181">
                  <c:v>3.5759826785354498E-2</c:v>
                </c:pt>
                <c:pt idx="1182">
                  <c:v>3.5556335600443578E-2</c:v>
                </c:pt>
                <c:pt idx="1183">
                  <c:v>4.0387261569110544E-2</c:v>
                </c:pt>
                <c:pt idx="1184">
                  <c:v>2.8390245659685398E-2</c:v>
                </c:pt>
                <c:pt idx="1185">
                  <c:v>3.2749263087963998E-2</c:v>
                </c:pt>
                <c:pt idx="1186">
                  <c:v>4.4392410423875761E-2</c:v>
                </c:pt>
                <c:pt idx="1187">
                  <c:v>4.4933685247140476E-2</c:v>
                </c:pt>
                <c:pt idx="1188">
                  <c:v>4.5956586592452497E-2</c:v>
                </c:pt>
                <c:pt idx="1189">
                  <c:v>4.6391298720284135E-2</c:v>
                </c:pt>
                <c:pt idx="1190">
                  <c:v>4.9147435604758094E-2</c:v>
                </c:pt>
                <c:pt idx="1191">
                  <c:v>5.7381581995260778E-2</c:v>
                </c:pt>
                <c:pt idx="1192">
                  <c:v>6.0502143191946356E-2</c:v>
                </c:pt>
                <c:pt idx="1193">
                  <c:v>5.6650555202534036E-2</c:v>
                </c:pt>
                <c:pt idx="1194">
                  <c:v>5.9021156297398569E-2</c:v>
                </c:pt>
                <c:pt idx="1195">
                  <c:v>5.7840337750127979E-2</c:v>
                </c:pt>
                <c:pt idx="1196">
                  <c:v>6.047391077971298E-2</c:v>
                </c:pt>
                <c:pt idx="1197">
                  <c:v>6.7381133795244574E-2</c:v>
                </c:pt>
                <c:pt idx="1198">
                  <c:v>6.8623276157811608E-2</c:v>
                </c:pt>
                <c:pt idx="1199">
                  <c:v>6.6715116948788289E-2</c:v>
                </c:pt>
                <c:pt idx="1200">
                  <c:v>7.3506561941451665E-2</c:v>
                </c:pt>
                <c:pt idx="1201">
                  <c:v>8.0754500744975477E-2</c:v>
                </c:pt>
                <c:pt idx="1202">
                  <c:v>8.0614846646479554E-2</c:v>
                </c:pt>
                <c:pt idx="1203">
                  <c:v>8.0275806372566372E-2</c:v>
                </c:pt>
                <c:pt idx="1204">
                  <c:v>8.3010915555346898E-2</c:v>
                </c:pt>
                <c:pt idx="1205">
                  <c:v>8.4653757109939276E-2</c:v>
                </c:pt>
                <c:pt idx="1206">
                  <c:v>7.7624891772262394E-2</c:v>
                </c:pt>
                <c:pt idx="1207">
                  <c:v>7.6904001839714464E-2</c:v>
                </c:pt>
                <c:pt idx="1208">
                  <c:v>7.9313223534103194E-2</c:v>
                </c:pt>
                <c:pt idx="1209">
                  <c:v>8.3948868336847005E-2</c:v>
                </c:pt>
                <c:pt idx="1210">
                  <c:v>9.005050418313032E-2</c:v>
                </c:pt>
                <c:pt idx="1211">
                  <c:v>9.9519839552771661E-2</c:v>
                </c:pt>
                <c:pt idx="1212">
                  <c:v>9.5544514848615147E-2</c:v>
                </c:pt>
                <c:pt idx="1213">
                  <c:v>9.4221780258841648E-2</c:v>
                </c:pt>
                <c:pt idx="1214">
                  <c:v>9.356824599227509E-2</c:v>
                </c:pt>
                <c:pt idx="1215">
                  <c:v>0.10608643055601519</c:v>
                </c:pt>
                <c:pt idx="1216">
                  <c:v>0.1096753817135232</c:v>
                </c:pt>
                <c:pt idx="1217">
                  <c:v>0.1101735958249539</c:v>
                </c:pt>
                <c:pt idx="1218">
                  <c:v>0.10350680907977838</c:v>
                </c:pt>
                <c:pt idx="1219">
                  <c:v>9.8180433597910843E-2</c:v>
                </c:pt>
                <c:pt idx="1220">
                  <c:v>9.9540029497425353E-2</c:v>
                </c:pt>
                <c:pt idx="1221">
                  <c:v>9.4228901193678105E-2</c:v>
                </c:pt>
                <c:pt idx="1222">
                  <c:v>9.5959120807497245E-2</c:v>
                </c:pt>
                <c:pt idx="1223">
                  <c:v>9.8535056152760037E-2</c:v>
                </c:pt>
                <c:pt idx="1224">
                  <c:v>0.10081936827254911</c:v>
                </c:pt>
                <c:pt idx="1225">
                  <c:v>8.6911009677350437E-2</c:v>
                </c:pt>
                <c:pt idx="1226">
                  <c:v>8.3655653372998184E-2</c:v>
                </c:pt>
                <c:pt idx="1227">
                  <c:v>7.1399854314050826E-2</c:v>
                </c:pt>
                <c:pt idx="1228">
                  <c:v>6.5881883797234364E-2</c:v>
                </c:pt>
                <c:pt idx="1229">
                  <c:v>5.6914197342885942E-2</c:v>
                </c:pt>
                <c:pt idx="1230">
                  <c:v>5.515959899921552E-2</c:v>
                </c:pt>
                <c:pt idx="1231">
                  <c:v>5.7727324325490326E-2</c:v>
                </c:pt>
                <c:pt idx="1232">
                  <c:v>6.2248782843741024E-2</c:v>
                </c:pt>
                <c:pt idx="1233">
                  <c:v>7.0980556915747117E-2</c:v>
                </c:pt>
                <c:pt idx="1234">
                  <c:v>7.9705545155732693E-2</c:v>
                </c:pt>
                <c:pt idx="1235">
                  <c:v>8.0137995339557566E-2</c:v>
                </c:pt>
                <c:pt idx="1236">
                  <c:v>7.7314251461990668E-2</c:v>
                </c:pt>
                <c:pt idx="1237">
                  <c:v>7.8062703601140537E-2</c:v>
                </c:pt>
                <c:pt idx="1238">
                  <c:v>8.3583271164779704E-2</c:v>
                </c:pt>
                <c:pt idx="1239">
                  <c:v>7.2442107846977022E-2</c:v>
                </c:pt>
                <c:pt idx="1240">
                  <c:v>6.8961143571869332E-2</c:v>
                </c:pt>
                <c:pt idx="1241">
                  <c:v>7.5093273774392788E-2</c:v>
                </c:pt>
                <c:pt idx="1242">
                  <c:v>8.2363832017984917E-2</c:v>
                </c:pt>
                <c:pt idx="1243">
                  <c:v>8.9110959663255107E-2</c:v>
                </c:pt>
                <c:pt idx="1244">
                  <c:v>9.3204910764214555E-2</c:v>
                </c:pt>
                <c:pt idx="1245">
                  <c:v>9.2662379305390452E-2</c:v>
                </c:pt>
                <c:pt idx="1246">
                  <c:v>0.1003717546863081</c:v>
                </c:pt>
                <c:pt idx="1247">
                  <c:v>0.1053882438392395</c:v>
                </c:pt>
                <c:pt idx="1248">
                  <c:v>0.10576179970318278</c:v>
                </c:pt>
                <c:pt idx="1249">
                  <c:v>0.10979074085787155</c:v>
                </c:pt>
                <c:pt idx="1250">
                  <c:v>0.11839475698134372</c:v>
                </c:pt>
                <c:pt idx="1251">
                  <c:v>0.11784301019508425</c:v>
                </c:pt>
                <c:pt idx="1252">
                  <c:v>0.12067697470853367</c:v>
                </c:pt>
                <c:pt idx="1253">
                  <c:v>0.11800804833187928</c:v>
                </c:pt>
                <c:pt idx="1254">
                  <c:v>0.11833117122204051</c:v>
                </c:pt>
                <c:pt idx="1255">
                  <c:v>0.11319111290577277</c:v>
                </c:pt>
                <c:pt idx="1256">
                  <c:v>0.10146653558561525</c:v>
                </c:pt>
                <c:pt idx="1257">
                  <c:v>0.10467321820596842</c:v>
                </c:pt>
                <c:pt idx="1258">
                  <c:v>0.1069927998971234</c:v>
                </c:pt>
                <c:pt idx="1259">
                  <c:v>0.10145455565994932</c:v>
                </c:pt>
                <c:pt idx="1260">
                  <c:v>8.7290764943386501E-2</c:v>
                </c:pt>
                <c:pt idx="1261">
                  <c:v>9.3160593416821369E-2</c:v>
                </c:pt>
                <c:pt idx="1262">
                  <c:v>0.10647933860757242</c:v>
                </c:pt>
                <c:pt idx="1263">
                  <c:v>0.10479201215417899</c:v>
                </c:pt>
                <c:pt idx="1264">
                  <c:v>0.1018509822910727</c:v>
                </c:pt>
                <c:pt idx="1265">
                  <c:v>0.1038672959339042</c:v>
                </c:pt>
                <c:pt idx="1266">
                  <c:v>0.10462823065294358</c:v>
                </c:pt>
                <c:pt idx="1267">
                  <c:v>0.10043835637095389</c:v>
                </c:pt>
                <c:pt idx="1268">
                  <c:v>0.10080898008525851</c:v>
                </c:pt>
                <c:pt idx="1269">
                  <c:v>9.2993125784611719E-2</c:v>
                </c:pt>
                <c:pt idx="1270">
                  <c:v>9.8996995384377451E-2</c:v>
                </c:pt>
                <c:pt idx="1271">
                  <c:v>9.4599273580870946E-2</c:v>
                </c:pt>
                <c:pt idx="1272">
                  <c:v>8.8654214525282882E-2</c:v>
                </c:pt>
                <c:pt idx="1273">
                  <c:v>9.2911863351773816E-2</c:v>
                </c:pt>
                <c:pt idx="1274">
                  <c:v>9.8137707988892986E-2</c:v>
                </c:pt>
                <c:pt idx="1275">
                  <c:v>9.9020201254373497E-2</c:v>
                </c:pt>
                <c:pt idx="1276">
                  <c:v>0.10060272430211703</c:v>
                </c:pt>
                <c:pt idx="1277">
                  <c:v>9.7240302648108123E-2</c:v>
                </c:pt>
                <c:pt idx="1278">
                  <c:v>0.10545895053337895</c:v>
                </c:pt>
                <c:pt idx="1279">
                  <c:v>9.958820052720041E-2</c:v>
                </c:pt>
                <c:pt idx="1280">
                  <c:v>9.5322760560241582E-2</c:v>
                </c:pt>
                <c:pt idx="1281">
                  <c:v>9.449296221254988E-2</c:v>
                </c:pt>
                <c:pt idx="1282">
                  <c:v>9.6814722072007697E-2</c:v>
                </c:pt>
                <c:pt idx="1283">
                  <c:v>9.5064731392054735E-2</c:v>
                </c:pt>
                <c:pt idx="1284">
                  <c:v>9.7985822637619346E-2</c:v>
                </c:pt>
                <c:pt idx="1285">
                  <c:v>0.10262448336570573</c:v>
                </c:pt>
                <c:pt idx="1286">
                  <c:v>0.10549572806741581</c:v>
                </c:pt>
                <c:pt idx="1287">
                  <c:v>0.10295087350832133</c:v>
                </c:pt>
                <c:pt idx="1288">
                  <c:v>0.10348058728443976</c:v>
                </c:pt>
                <c:pt idx="1289">
                  <c:v>0.10109624697412634</c:v>
                </c:pt>
                <c:pt idx="1290">
                  <c:v>0.11105684307177022</c:v>
                </c:pt>
                <c:pt idx="1291">
                  <c:v>0.12278100151340809</c:v>
                </c:pt>
                <c:pt idx="1292">
                  <c:v>0.1296635944719764</c:v>
                </c:pt>
                <c:pt idx="1293">
                  <c:v>0.13040752272311251</c:v>
                </c:pt>
                <c:pt idx="1294">
                  <c:v>0.14162014671639023</c:v>
                </c:pt>
                <c:pt idx="1295">
                  <c:v>0.14668933078711044</c:v>
                </c:pt>
                <c:pt idx="1296">
                  <c:v>0.14005940535167571</c:v>
                </c:pt>
                <c:pt idx="1297">
                  <c:v>0.13043835218216859</c:v>
                </c:pt>
                <c:pt idx="1298">
                  <c:v>0.13576456011262805</c:v>
                </c:pt>
                <c:pt idx="1299">
                  <c:v>0.13167672463805746</c:v>
                </c:pt>
                <c:pt idx="1300">
                  <c:v>0.12571650218005326</c:v>
                </c:pt>
                <c:pt idx="1301">
                  <c:v>0.12529603192189409</c:v>
                </c:pt>
                <c:pt idx="1302">
                  <c:v>0.13782376691588549</c:v>
                </c:pt>
                <c:pt idx="1303">
                  <c:v>0.13732932271113252</c:v>
                </c:pt>
                <c:pt idx="1304">
                  <c:v>0.13975027300407517</c:v>
                </c:pt>
                <c:pt idx="1305">
                  <c:v>0.14917503969921175</c:v>
                </c:pt>
                <c:pt idx="1306">
                  <c:v>0.13418019399939762</c:v>
                </c:pt>
                <c:pt idx="1307">
                  <c:v>0.11723990890229952</c:v>
                </c:pt>
                <c:pt idx="1308">
                  <c:v>8.6752589821168069E-2</c:v>
                </c:pt>
                <c:pt idx="1309">
                  <c:v>9.5714495751943574E-2</c:v>
                </c:pt>
                <c:pt idx="1310">
                  <c:v>9.5122369076376945E-2</c:v>
                </c:pt>
                <c:pt idx="1311">
                  <c:v>0.10861210047890379</c:v>
                </c:pt>
                <c:pt idx="1312">
                  <c:v>0.11205335507033598</c:v>
                </c:pt>
                <c:pt idx="1313">
                  <c:v>0.10892073017228054</c:v>
                </c:pt>
                <c:pt idx="1314">
                  <c:v>0.12112651513596573</c:v>
                </c:pt>
                <c:pt idx="1315">
                  <c:v>0.12828975670278941</c:v>
                </c:pt>
                <c:pt idx="1316">
                  <c:v>0.13889500684238065</c:v>
                </c:pt>
              </c:numCache>
            </c:numRef>
          </c:val>
          <c:smooth val="0"/>
          <c:extLst>
            <c:ext xmlns:c16="http://schemas.microsoft.com/office/drawing/2014/chart" uri="{C3380CC4-5D6E-409C-BE32-E72D297353CC}">
              <c16:uniqueId val="{00000001-5B14-4065-87DF-4FBA120D31D5}"/>
            </c:ext>
          </c:extLst>
        </c:ser>
        <c:ser>
          <c:idx val="10"/>
          <c:order val="10"/>
          <c:tx>
            <c:strRef>
              <c:f>Tabelle1!$P$2</c:f>
              <c:strCache>
                <c:ptCount val="1"/>
              </c:strCache>
            </c:strRef>
          </c:tx>
          <c:spPr>
            <a:ln w="28575" cap="rnd">
              <a:solidFill>
                <a:schemeClr val="accent5">
                  <a:lumMod val="6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P$3:$P$1319</c:f>
              <c:numCache>
                <c:formatCode>General</c:formatCode>
                <c:ptCount val="1317"/>
              </c:numCache>
            </c:numRef>
          </c:val>
          <c:smooth val="0"/>
          <c:extLst>
            <c:ext xmlns:c16="http://schemas.microsoft.com/office/drawing/2014/chart" uri="{C3380CC4-5D6E-409C-BE32-E72D297353CC}">
              <c16:uniqueId val="{00000002-5B14-4065-87DF-4FBA120D31D5}"/>
            </c:ext>
          </c:extLst>
        </c:ser>
        <c:ser>
          <c:idx val="11"/>
          <c:order val="11"/>
          <c:tx>
            <c:strRef>
              <c:f>Tabelle1!$Q$2</c:f>
              <c:strCache>
                <c:ptCount val="1"/>
              </c:strCache>
            </c:strRef>
          </c:tx>
          <c:spPr>
            <a:ln w="28575" cap="rnd">
              <a:solidFill>
                <a:schemeClr val="accent6">
                  <a:lumMod val="6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Q$3:$Q$1319</c:f>
              <c:numCache>
                <c:formatCode>General</c:formatCode>
                <c:ptCount val="1317"/>
              </c:numCache>
            </c:numRef>
          </c:val>
          <c:smooth val="0"/>
          <c:extLst>
            <c:ext xmlns:c16="http://schemas.microsoft.com/office/drawing/2014/chart" uri="{C3380CC4-5D6E-409C-BE32-E72D297353CC}">
              <c16:uniqueId val="{00000003-5B14-4065-87DF-4FBA120D31D5}"/>
            </c:ext>
          </c:extLst>
        </c:ser>
        <c:ser>
          <c:idx val="12"/>
          <c:order val="12"/>
          <c:tx>
            <c:strRef>
              <c:f>Tabelle1!$R$2</c:f>
              <c:strCache>
                <c:ptCount val="1"/>
              </c:strCache>
            </c:strRef>
          </c:tx>
          <c:spPr>
            <a:ln w="28575" cap="rnd">
              <a:solidFill>
                <a:schemeClr val="accent1">
                  <a:lumMod val="80000"/>
                  <a:lumOff val="2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R$3:$R$1319</c:f>
              <c:numCache>
                <c:formatCode>General</c:formatCode>
                <c:ptCount val="1317"/>
              </c:numCache>
            </c:numRef>
          </c:val>
          <c:smooth val="0"/>
          <c:extLst>
            <c:ext xmlns:c16="http://schemas.microsoft.com/office/drawing/2014/chart" uri="{C3380CC4-5D6E-409C-BE32-E72D297353CC}">
              <c16:uniqueId val="{00000004-5B14-4065-87DF-4FBA120D31D5}"/>
            </c:ext>
          </c:extLst>
        </c:ser>
        <c:ser>
          <c:idx val="13"/>
          <c:order val="13"/>
          <c:tx>
            <c:strRef>
              <c:f>Tabelle1!$S$2</c:f>
              <c:strCache>
                <c:ptCount val="1"/>
              </c:strCache>
            </c:strRef>
          </c:tx>
          <c:spPr>
            <a:ln w="28575" cap="rnd">
              <a:solidFill>
                <a:schemeClr val="accent2">
                  <a:lumMod val="80000"/>
                  <a:lumOff val="2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S$3:$S$1319</c:f>
              <c:numCache>
                <c:formatCode>General</c:formatCode>
                <c:ptCount val="1317"/>
              </c:numCache>
            </c:numRef>
          </c:val>
          <c:smooth val="0"/>
          <c:extLst>
            <c:ext xmlns:c16="http://schemas.microsoft.com/office/drawing/2014/chart" uri="{C3380CC4-5D6E-409C-BE32-E72D297353CC}">
              <c16:uniqueId val="{00000005-5B14-4065-87DF-4FBA120D31D5}"/>
            </c:ext>
          </c:extLst>
        </c:ser>
        <c:ser>
          <c:idx val="14"/>
          <c:order val="14"/>
          <c:tx>
            <c:strRef>
              <c:f>Tabelle1!$T$2</c:f>
              <c:strCache>
                <c:ptCount val="1"/>
              </c:strCache>
            </c:strRef>
          </c:tx>
          <c:spPr>
            <a:ln w="28575" cap="rnd">
              <a:solidFill>
                <a:schemeClr val="accent3">
                  <a:lumMod val="80000"/>
                  <a:lumOff val="2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T$3:$T$1319</c:f>
              <c:numCache>
                <c:formatCode>General</c:formatCode>
                <c:ptCount val="1317"/>
              </c:numCache>
            </c:numRef>
          </c:val>
          <c:smooth val="0"/>
          <c:extLst>
            <c:ext xmlns:c16="http://schemas.microsoft.com/office/drawing/2014/chart" uri="{C3380CC4-5D6E-409C-BE32-E72D297353CC}">
              <c16:uniqueId val="{00000006-5B14-4065-87DF-4FBA120D31D5}"/>
            </c:ext>
          </c:extLst>
        </c:ser>
        <c:ser>
          <c:idx val="15"/>
          <c:order val="15"/>
          <c:tx>
            <c:strRef>
              <c:f>Tabelle1!$U$2</c:f>
              <c:strCache>
                <c:ptCount val="1"/>
              </c:strCache>
            </c:strRef>
          </c:tx>
          <c:spPr>
            <a:ln w="28575" cap="rnd">
              <a:solidFill>
                <a:schemeClr val="accent4">
                  <a:lumMod val="80000"/>
                  <a:lumOff val="2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U$3:$U$1319</c:f>
              <c:numCache>
                <c:formatCode>General</c:formatCode>
                <c:ptCount val="1317"/>
              </c:numCache>
            </c:numRef>
          </c:val>
          <c:smooth val="0"/>
          <c:extLst>
            <c:ext xmlns:c16="http://schemas.microsoft.com/office/drawing/2014/chart" uri="{C3380CC4-5D6E-409C-BE32-E72D297353CC}">
              <c16:uniqueId val="{00000007-5B14-4065-87DF-4FBA120D31D5}"/>
            </c:ext>
          </c:extLst>
        </c:ser>
        <c:ser>
          <c:idx val="16"/>
          <c:order val="16"/>
          <c:tx>
            <c:strRef>
              <c:f>Tabelle1!$V$2</c:f>
              <c:strCache>
                <c:ptCount val="1"/>
              </c:strCache>
            </c:strRef>
          </c:tx>
          <c:spPr>
            <a:ln w="28575" cap="rnd">
              <a:solidFill>
                <a:schemeClr val="accent5">
                  <a:lumMod val="80000"/>
                  <a:lumOff val="2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V$3:$V$1319</c:f>
              <c:numCache>
                <c:formatCode>General</c:formatCode>
                <c:ptCount val="1317"/>
              </c:numCache>
            </c:numRef>
          </c:val>
          <c:smooth val="0"/>
          <c:extLst>
            <c:ext xmlns:c16="http://schemas.microsoft.com/office/drawing/2014/chart" uri="{C3380CC4-5D6E-409C-BE32-E72D297353CC}">
              <c16:uniqueId val="{00000008-5B14-4065-87DF-4FBA120D31D5}"/>
            </c:ext>
          </c:extLst>
        </c:ser>
        <c:ser>
          <c:idx val="17"/>
          <c:order val="17"/>
          <c:tx>
            <c:strRef>
              <c:f>Tabelle1!$W$2</c:f>
              <c:strCache>
                <c:ptCount val="1"/>
              </c:strCache>
            </c:strRef>
          </c:tx>
          <c:spPr>
            <a:ln w="28575" cap="rnd">
              <a:solidFill>
                <a:schemeClr val="accent6">
                  <a:lumMod val="80000"/>
                  <a:lumOff val="2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W$3:$W$1319</c:f>
              <c:numCache>
                <c:formatCode>General</c:formatCode>
                <c:ptCount val="1317"/>
              </c:numCache>
            </c:numRef>
          </c:val>
          <c:smooth val="0"/>
          <c:extLst>
            <c:ext xmlns:c16="http://schemas.microsoft.com/office/drawing/2014/chart" uri="{C3380CC4-5D6E-409C-BE32-E72D297353CC}">
              <c16:uniqueId val="{00000009-5B14-4065-87DF-4FBA120D31D5}"/>
            </c:ext>
          </c:extLst>
        </c:ser>
        <c:ser>
          <c:idx val="18"/>
          <c:order val="18"/>
          <c:tx>
            <c:strRef>
              <c:f>Tabelle1!$X$2</c:f>
              <c:strCache>
                <c:ptCount val="1"/>
              </c:strCache>
            </c:strRef>
          </c:tx>
          <c:spPr>
            <a:ln w="28575" cap="rnd">
              <a:solidFill>
                <a:schemeClr val="accent1">
                  <a:lumMod val="8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X$3:$X$1319</c:f>
              <c:numCache>
                <c:formatCode>General</c:formatCode>
                <c:ptCount val="1317"/>
              </c:numCache>
            </c:numRef>
          </c:val>
          <c:smooth val="0"/>
          <c:extLst>
            <c:ext xmlns:c16="http://schemas.microsoft.com/office/drawing/2014/chart" uri="{C3380CC4-5D6E-409C-BE32-E72D297353CC}">
              <c16:uniqueId val="{0000000A-5B14-4065-87DF-4FBA120D31D5}"/>
            </c:ext>
          </c:extLst>
        </c:ser>
        <c:ser>
          <c:idx val="19"/>
          <c:order val="19"/>
          <c:tx>
            <c:strRef>
              <c:f>Tabelle1!$Y$2</c:f>
              <c:strCache>
                <c:ptCount val="1"/>
              </c:strCache>
            </c:strRef>
          </c:tx>
          <c:spPr>
            <a:ln w="28575" cap="rnd">
              <a:solidFill>
                <a:schemeClr val="accent2">
                  <a:lumMod val="8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Y$3:$Y$1319</c:f>
              <c:numCache>
                <c:formatCode>General</c:formatCode>
                <c:ptCount val="1317"/>
              </c:numCache>
            </c:numRef>
          </c:val>
          <c:smooth val="0"/>
          <c:extLst>
            <c:ext xmlns:c16="http://schemas.microsoft.com/office/drawing/2014/chart" uri="{C3380CC4-5D6E-409C-BE32-E72D297353CC}">
              <c16:uniqueId val="{0000000B-5B14-4065-87DF-4FBA120D31D5}"/>
            </c:ext>
          </c:extLst>
        </c:ser>
        <c:ser>
          <c:idx val="20"/>
          <c:order val="20"/>
          <c:tx>
            <c:strRef>
              <c:f>Tabelle1!$Z$2</c:f>
              <c:strCache>
                <c:ptCount val="1"/>
              </c:strCache>
            </c:strRef>
          </c:tx>
          <c:spPr>
            <a:ln w="28575" cap="rnd">
              <a:solidFill>
                <a:schemeClr val="accent3">
                  <a:lumMod val="8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Z$3:$Z$1319</c:f>
              <c:numCache>
                <c:formatCode>General</c:formatCode>
                <c:ptCount val="1317"/>
              </c:numCache>
            </c:numRef>
          </c:val>
          <c:smooth val="0"/>
          <c:extLst>
            <c:ext xmlns:c16="http://schemas.microsoft.com/office/drawing/2014/chart" uri="{C3380CC4-5D6E-409C-BE32-E72D297353CC}">
              <c16:uniqueId val="{0000000C-5B14-4065-87DF-4FBA120D31D5}"/>
            </c:ext>
          </c:extLst>
        </c:ser>
        <c:ser>
          <c:idx val="21"/>
          <c:order val="21"/>
          <c:tx>
            <c:strRef>
              <c:f>Tabelle1!$AA$2</c:f>
              <c:strCache>
                <c:ptCount val="1"/>
              </c:strCache>
            </c:strRef>
          </c:tx>
          <c:spPr>
            <a:ln w="28575" cap="rnd">
              <a:solidFill>
                <a:schemeClr val="accent4">
                  <a:lumMod val="8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AA$3:$AA$1319</c:f>
              <c:numCache>
                <c:formatCode>General</c:formatCode>
                <c:ptCount val="1317"/>
              </c:numCache>
            </c:numRef>
          </c:val>
          <c:smooth val="0"/>
          <c:extLst>
            <c:ext xmlns:c16="http://schemas.microsoft.com/office/drawing/2014/chart" uri="{C3380CC4-5D6E-409C-BE32-E72D297353CC}">
              <c16:uniqueId val="{0000000D-5B14-4065-87DF-4FBA120D31D5}"/>
            </c:ext>
          </c:extLst>
        </c:ser>
        <c:ser>
          <c:idx val="22"/>
          <c:order val="22"/>
          <c:tx>
            <c:strRef>
              <c:f>Tabelle1!$AB$2</c:f>
              <c:strCache>
                <c:ptCount val="1"/>
              </c:strCache>
            </c:strRef>
          </c:tx>
          <c:spPr>
            <a:ln w="28575" cap="rnd">
              <a:solidFill>
                <a:schemeClr val="accent5">
                  <a:lumMod val="8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AB$3:$AB$1319</c:f>
              <c:numCache>
                <c:formatCode>General</c:formatCode>
                <c:ptCount val="1317"/>
              </c:numCache>
            </c:numRef>
          </c:val>
          <c:smooth val="0"/>
          <c:extLst>
            <c:ext xmlns:c16="http://schemas.microsoft.com/office/drawing/2014/chart" uri="{C3380CC4-5D6E-409C-BE32-E72D297353CC}">
              <c16:uniqueId val="{0000000E-5B14-4065-87DF-4FBA120D31D5}"/>
            </c:ext>
          </c:extLst>
        </c:ser>
        <c:ser>
          <c:idx val="23"/>
          <c:order val="23"/>
          <c:tx>
            <c:strRef>
              <c:f>Tabelle1!$AC$2</c:f>
              <c:strCache>
                <c:ptCount val="1"/>
              </c:strCache>
            </c:strRef>
          </c:tx>
          <c:spPr>
            <a:ln w="28575" cap="rnd">
              <a:solidFill>
                <a:schemeClr val="accent6">
                  <a:lumMod val="8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AC$3:$AC$1319</c:f>
              <c:numCache>
                <c:formatCode>General</c:formatCode>
                <c:ptCount val="1317"/>
              </c:numCache>
            </c:numRef>
          </c:val>
          <c:smooth val="0"/>
          <c:extLst>
            <c:ext xmlns:c16="http://schemas.microsoft.com/office/drawing/2014/chart" uri="{C3380CC4-5D6E-409C-BE32-E72D297353CC}">
              <c16:uniqueId val="{0000000F-5B14-4065-87DF-4FBA120D31D5}"/>
            </c:ext>
          </c:extLst>
        </c:ser>
        <c:ser>
          <c:idx val="24"/>
          <c:order val="24"/>
          <c:tx>
            <c:strRef>
              <c:f>Tabelle1!$AD$2</c:f>
              <c:strCache>
                <c:ptCount val="1"/>
              </c:strCache>
            </c:strRef>
          </c:tx>
          <c:spPr>
            <a:ln w="28575" cap="rnd">
              <a:solidFill>
                <a:schemeClr val="accent1">
                  <a:lumMod val="60000"/>
                  <a:lumOff val="4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AD$3:$AD$1319</c:f>
              <c:numCache>
                <c:formatCode>General</c:formatCode>
                <c:ptCount val="1317"/>
              </c:numCache>
            </c:numRef>
          </c:val>
          <c:smooth val="0"/>
          <c:extLst>
            <c:ext xmlns:c16="http://schemas.microsoft.com/office/drawing/2014/chart" uri="{C3380CC4-5D6E-409C-BE32-E72D297353CC}">
              <c16:uniqueId val="{00000010-5B14-4065-87DF-4FBA120D31D5}"/>
            </c:ext>
          </c:extLst>
        </c:ser>
        <c:ser>
          <c:idx val="25"/>
          <c:order val="25"/>
          <c:tx>
            <c:strRef>
              <c:f>Tabelle1!$AE$2</c:f>
              <c:strCache>
                <c:ptCount val="1"/>
              </c:strCache>
            </c:strRef>
          </c:tx>
          <c:spPr>
            <a:ln w="28575" cap="rnd">
              <a:solidFill>
                <a:schemeClr val="accent2">
                  <a:lumMod val="60000"/>
                  <a:lumOff val="4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AE$3:$AE$1319</c:f>
              <c:numCache>
                <c:formatCode>General</c:formatCode>
                <c:ptCount val="1317"/>
              </c:numCache>
            </c:numRef>
          </c:val>
          <c:smooth val="0"/>
          <c:extLst>
            <c:ext xmlns:c16="http://schemas.microsoft.com/office/drawing/2014/chart" uri="{C3380CC4-5D6E-409C-BE32-E72D297353CC}">
              <c16:uniqueId val="{00000011-5B14-4065-87DF-4FBA120D31D5}"/>
            </c:ext>
          </c:extLst>
        </c:ser>
        <c:ser>
          <c:idx val="26"/>
          <c:order val="26"/>
          <c:tx>
            <c:strRef>
              <c:f>Tabelle1!$AF$2</c:f>
              <c:strCache>
                <c:ptCount val="1"/>
              </c:strCache>
            </c:strRef>
          </c:tx>
          <c:spPr>
            <a:ln w="28575" cap="rnd">
              <a:solidFill>
                <a:schemeClr val="accent3">
                  <a:lumMod val="60000"/>
                  <a:lumOff val="4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AF$3:$AF$1319</c:f>
              <c:numCache>
                <c:formatCode>General</c:formatCode>
                <c:ptCount val="1317"/>
              </c:numCache>
            </c:numRef>
          </c:val>
          <c:smooth val="0"/>
          <c:extLst>
            <c:ext xmlns:c16="http://schemas.microsoft.com/office/drawing/2014/chart" uri="{C3380CC4-5D6E-409C-BE32-E72D297353CC}">
              <c16:uniqueId val="{00000012-5B14-4065-87DF-4FBA120D31D5}"/>
            </c:ext>
          </c:extLst>
        </c:ser>
        <c:ser>
          <c:idx val="27"/>
          <c:order val="27"/>
          <c:tx>
            <c:strRef>
              <c:f>Tabelle1!$AG$2</c:f>
              <c:strCache>
                <c:ptCount val="1"/>
              </c:strCache>
            </c:strRef>
          </c:tx>
          <c:spPr>
            <a:ln w="28575" cap="rnd">
              <a:solidFill>
                <a:schemeClr val="accent4">
                  <a:lumMod val="60000"/>
                  <a:lumOff val="4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AG$3:$AG$1319</c:f>
              <c:numCache>
                <c:formatCode>General</c:formatCode>
                <c:ptCount val="1317"/>
              </c:numCache>
            </c:numRef>
          </c:val>
          <c:smooth val="0"/>
          <c:extLst>
            <c:ext xmlns:c16="http://schemas.microsoft.com/office/drawing/2014/chart" uri="{C3380CC4-5D6E-409C-BE32-E72D297353CC}">
              <c16:uniqueId val="{00000013-5B14-4065-87DF-4FBA120D31D5}"/>
            </c:ext>
          </c:extLst>
        </c:ser>
        <c:ser>
          <c:idx val="28"/>
          <c:order val="28"/>
          <c:tx>
            <c:strRef>
              <c:f>Tabelle1!$AH$2</c:f>
              <c:strCache>
                <c:ptCount val="1"/>
              </c:strCache>
            </c:strRef>
          </c:tx>
          <c:spPr>
            <a:ln w="28575" cap="rnd">
              <a:solidFill>
                <a:schemeClr val="accent5">
                  <a:lumMod val="60000"/>
                  <a:lumOff val="4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AH$3:$AH$1319</c:f>
              <c:numCache>
                <c:formatCode>General</c:formatCode>
                <c:ptCount val="1317"/>
              </c:numCache>
            </c:numRef>
          </c:val>
          <c:smooth val="0"/>
          <c:extLst>
            <c:ext xmlns:c16="http://schemas.microsoft.com/office/drawing/2014/chart" uri="{C3380CC4-5D6E-409C-BE32-E72D297353CC}">
              <c16:uniqueId val="{00000014-5B14-4065-87DF-4FBA120D31D5}"/>
            </c:ext>
          </c:extLst>
        </c:ser>
        <c:ser>
          <c:idx val="29"/>
          <c:order val="29"/>
          <c:tx>
            <c:strRef>
              <c:f>Tabelle1!$AI$2</c:f>
              <c:strCache>
                <c:ptCount val="1"/>
              </c:strCache>
            </c:strRef>
          </c:tx>
          <c:spPr>
            <a:ln w="28575" cap="rnd">
              <a:solidFill>
                <a:schemeClr val="accent6">
                  <a:lumMod val="60000"/>
                  <a:lumOff val="4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AI$3:$AI$1319</c:f>
              <c:numCache>
                <c:formatCode>General</c:formatCode>
                <c:ptCount val="1317"/>
              </c:numCache>
            </c:numRef>
          </c:val>
          <c:smooth val="0"/>
          <c:extLst>
            <c:ext xmlns:c16="http://schemas.microsoft.com/office/drawing/2014/chart" uri="{C3380CC4-5D6E-409C-BE32-E72D297353CC}">
              <c16:uniqueId val="{00000015-5B14-4065-87DF-4FBA120D31D5}"/>
            </c:ext>
          </c:extLst>
        </c:ser>
        <c:ser>
          <c:idx val="30"/>
          <c:order val="30"/>
          <c:tx>
            <c:strRef>
              <c:f>Tabelle1!$AJ$2</c:f>
              <c:strCache>
                <c:ptCount val="1"/>
              </c:strCache>
            </c:strRef>
          </c:tx>
          <c:spPr>
            <a:ln w="28575" cap="rnd">
              <a:solidFill>
                <a:schemeClr val="accent1">
                  <a:lumMod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AJ$3:$AJ$1319</c:f>
              <c:numCache>
                <c:formatCode>General</c:formatCode>
                <c:ptCount val="1317"/>
              </c:numCache>
            </c:numRef>
          </c:val>
          <c:smooth val="0"/>
          <c:extLst>
            <c:ext xmlns:c16="http://schemas.microsoft.com/office/drawing/2014/chart" uri="{C3380CC4-5D6E-409C-BE32-E72D297353CC}">
              <c16:uniqueId val="{00000016-5B14-4065-87DF-4FBA120D31D5}"/>
            </c:ext>
          </c:extLst>
        </c:ser>
        <c:ser>
          <c:idx val="31"/>
          <c:order val="31"/>
          <c:tx>
            <c:strRef>
              <c:f>Tabelle1!$AK$2</c:f>
              <c:strCache>
                <c:ptCount val="1"/>
              </c:strCache>
            </c:strRef>
          </c:tx>
          <c:spPr>
            <a:ln w="28575" cap="rnd">
              <a:solidFill>
                <a:schemeClr val="accent2">
                  <a:lumMod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AK$3:$AK$1319</c:f>
              <c:numCache>
                <c:formatCode>General</c:formatCode>
                <c:ptCount val="1317"/>
              </c:numCache>
            </c:numRef>
          </c:val>
          <c:smooth val="0"/>
          <c:extLst>
            <c:ext xmlns:c16="http://schemas.microsoft.com/office/drawing/2014/chart" uri="{C3380CC4-5D6E-409C-BE32-E72D297353CC}">
              <c16:uniqueId val="{00000017-5B14-4065-87DF-4FBA120D31D5}"/>
            </c:ext>
          </c:extLst>
        </c:ser>
        <c:ser>
          <c:idx val="32"/>
          <c:order val="32"/>
          <c:tx>
            <c:strRef>
              <c:f>Tabelle1!$AL$2</c:f>
              <c:strCache>
                <c:ptCount val="1"/>
              </c:strCache>
            </c:strRef>
          </c:tx>
          <c:spPr>
            <a:ln w="28575" cap="rnd">
              <a:solidFill>
                <a:schemeClr val="accent3">
                  <a:lumMod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AL$3:$AL$1319</c:f>
              <c:numCache>
                <c:formatCode>General</c:formatCode>
                <c:ptCount val="1317"/>
              </c:numCache>
            </c:numRef>
          </c:val>
          <c:smooth val="0"/>
          <c:extLst>
            <c:ext xmlns:c16="http://schemas.microsoft.com/office/drawing/2014/chart" uri="{C3380CC4-5D6E-409C-BE32-E72D297353CC}">
              <c16:uniqueId val="{00000018-5B14-4065-87DF-4FBA120D31D5}"/>
            </c:ext>
          </c:extLst>
        </c:ser>
        <c:ser>
          <c:idx val="33"/>
          <c:order val="33"/>
          <c:tx>
            <c:strRef>
              <c:f>Tabelle1!$AM$2</c:f>
              <c:strCache>
                <c:ptCount val="1"/>
              </c:strCache>
            </c:strRef>
          </c:tx>
          <c:spPr>
            <a:ln w="28575" cap="rnd">
              <a:solidFill>
                <a:schemeClr val="accent4">
                  <a:lumMod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AM$3:$AM$1319</c:f>
              <c:numCache>
                <c:formatCode>General</c:formatCode>
                <c:ptCount val="1317"/>
              </c:numCache>
            </c:numRef>
          </c:val>
          <c:smooth val="0"/>
          <c:extLst>
            <c:ext xmlns:c16="http://schemas.microsoft.com/office/drawing/2014/chart" uri="{C3380CC4-5D6E-409C-BE32-E72D297353CC}">
              <c16:uniqueId val="{00000019-5B14-4065-87DF-4FBA120D31D5}"/>
            </c:ext>
          </c:extLst>
        </c:ser>
        <c:ser>
          <c:idx val="34"/>
          <c:order val="34"/>
          <c:tx>
            <c:strRef>
              <c:f>Tabelle1!$AN$2</c:f>
              <c:strCache>
                <c:ptCount val="1"/>
              </c:strCache>
            </c:strRef>
          </c:tx>
          <c:spPr>
            <a:ln w="28575" cap="rnd">
              <a:solidFill>
                <a:schemeClr val="accent5">
                  <a:lumMod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AN$3:$AN$1319</c:f>
              <c:numCache>
                <c:formatCode>General</c:formatCode>
                <c:ptCount val="1317"/>
              </c:numCache>
            </c:numRef>
          </c:val>
          <c:smooth val="0"/>
          <c:extLst>
            <c:ext xmlns:c16="http://schemas.microsoft.com/office/drawing/2014/chart" uri="{C3380CC4-5D6E-409C-BE32-E72D297353CC}">
              <c16:uniqueId val="{0000001A-5B14-4065-87DF-4FBA120D31D5}"/>
            </c:ext>
          </c:extLst>
        </c:ser>
        <c:ser>
          <c:idx val="35"/>
          <c:order val="35"/>
          <c:tx>
            <c:strRef>
              <c:f>Tabelle1!$AO$2</c:f>
              <c:strCache>
                <c:ptCount val="1"/>
              </c:strCache>
            </c:strRef>
          </c:tx>
          <c:spPr>
            <a:ln w="28575" cap="rnd">
              <a:solidFill>
                <a:schemeClr val="accent6">
                  <a:lumMod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AO$3:$AO$1319</c:f>
              <c:numCache>
                <c:formatCode>General</c:formatCode>
                <c:ptCount val="1317"/>
              </c:numCache>
            </c:numRef>
          </c:val>
          <c:smooth val="0"/>
          <c:extLst>
            <c:ext xmlns:c16="http://schemas.microsoft.com/office/drawing/2014/chart" uri="{C3380CC4-5D6E-409C-BE32-E72D297353CC}">
              <c16:uniqueId val="{0000001B-5B14-4065-87DF-4FBA120D31D5}"/>
            </c:ext>
          </c:extLst>
        </c:ser>
        <c:ser>
          <c:idx val="36"/>
          <c:order val="36"/>
          <c:tx>
            <c:strRef>
              <c:f>Tabelle1!$AP$2</c:f>
              <c:strCache>
                <c:ptCount val="1"/>
              </c:strCache>
            </c:strRef>
          </c:tx>
          <c:spPr>
            <a:ln w="28575" cap="rnd">
              <a:solidFill>
                <a:schemeClr val="accent1">
                  <a:lumMod val="70000"/>
                  <a:lumOff val="3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AP$3:$AP$1319</c:f>
              <c:numCache>
                <c:formatCode>General</c:formatCode>
                <c:ptCount val="1317"/>
              </c:numCache>
            </c:numRef>
          </c:val>
          <c:smooth val="0"/>
          <c:extLst>
            <c:ext xmlns:c16="http://schemas.microsoft.com/office/drawing/2014/chart" uri="{C3380CC4-5D6E-409C-BE32-E72D297353CC}">
              <c16:uniqueId val="{0000001C-5B14-4065-87DF-4FBA120D31D5}"/>
            </c:ext>
          </c:extLst>
        </c:ser>
        <c:ser>
          <c:idx val="37"/>
          <c:order val="37"/>
          <c:tx>
            <c:strRef>
              <c:f>Tabelle1!$AQ$2</c:f>
              <c:strCache>
                <c:ptCount val="1"/>
              </c:strCache>
            </c:strRef>
          </c:tx>
          <c:spPr>
            <a:ln w="28575" cap="rnd">
              <a:solidFill>
                <a:schemeClr val="accent2">
                  <a:lumMod val="70000"/>
                  <a:lumOff val="3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AQ$3:$AQ$1319</c:f>
              <c:numCache>
                <c:formatCode>General</c:formatCode>
                <c:ptCount val="1317"/>
              </c:numCache>
            </c:numRef>
          </c:val>
          <c:smooth val="0"/>
          <c:extLst>
            <c:ext xmlns:c16="http://schemas.microsoft.com/office/drawing/2014/chart" uri="{C3380CC4-5D6E-409C-BE32-E72D297353CC}">
              <c16:uniqueId val="{0000001D-5B14-4065-87DF-4FBA120D31D5}"/>
            </c:ext>
          </c:extLst>
        </c:ser>
        <c:ser>
          <c:idx val="38"/>
          <c:order val="38"/>
          <c:tx>
            <c:strRef>
              <c:f>Tabelle1!$AR$2</c:f>
              <c:strCache>
                <c:ptCount val="1"/>
              </c:strCache>
            </c:strRef>
          </c:tx>
          <c:spPr>
            <a:ln w="28575" cap="rnd">
              <a:solidFill>
                <a:schemeClr val="accent3">
                  <a:lumMod val="70000"/>
                  <a:lumOff val="3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AR$3:$AR$1319</c:f>
              <c:numCache>
                <c:formatCode>General</c:formatCode>
                <c:ptCount val="1317"/>
              </c:numCache>
            </c:numRef>
          </c:val>
          <c:smooth val="0"/>
          <c:extLst>
            <c:ext xmlns:c16="http://schemas.microsoft.com/office/drawing/2014/chart" uri="{C3380CC4-5D6E-409C-BE32-E72D297353CC}">
              <c16:uniqueId val="{0000001E-5B14-4065-87DF-4FBA120D31D5}"/>
            </c:ext>
          </c:extLst>
        </c:ser>
        <c:ser>
          <c:idx val="39"/>
          <c:order val="39"/>
          <c:tx>
            <c:strRef>
              <c:f>Tabelle1!$AS$2</c:f>
              <c:strCache>
                <c:ptCount val="1"/>
              </c:strCache>
            </c:strRef>
          </c:tx>
          <c:spPr>
            <a:ln w="28575" cap="rnd">
              <a:solidFill>
                <a:schemeClr val="accent4">
                  <a:lumMod val="70000"/>
                  <a:lumOff val="3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AS$3:$AS$1319</c:f>
              <c:numCache>
                <c:formatCode>General</c:formatCode>
                <c:ptCount val="1317"/>
              </c:numCache>
            </c:numRef>
          </c:val>
          <c:smooth val="0"/>
          <c:extLst>
            <c:ext xmlns:c16="http://schemas.microsoft.com/office/drawing/2014/chart" uri="{C3380CC4-5D6E-409C-BE32-E72D297353CC}">
              <c16:uniqueId val="{0000001F-5B14-4065-87DF-4FBA120D31D5}"/>
            </c:ext>
          </c:extLst>
        </c:ser>
        <c:ser>
          <c:idx val="40"/>
          <c:order val="40"/>
          <c:tx>
            <c:strRef>
              <c:f>Tabelle1!$AT$2</c:f>
              <c:strCache>
                <c:ptCount val="1"/>
              </c:strCache>
            </c:strRef>
          </c:tx>
          <c:spPr>
            <a:ln w="28575" cap="rnd">
              <a:solidFill>
                <a:schemeClr val="accent5">
                  <a:lumMod val="70000"/>
                  <a:lumOff val="3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AT$3:$AT$1319</c:f>
              <c:numCache>
                <c:formatCode>General</c:formatCode>
                <c:ptCount val="1317"/>
              </c:numCache>
            </c:numRef>
          </c:val>
          <c:smooth val="0"/>
          <c:extLst>
            <c:ext xmlns:c16="http://schemas.microsoft.com/office/drawing/2014/chart" uri="{C3380CC4-5D6E-409C-BE32-E72D297353CC}">
              <c16:uniqueId val="{00000020-5B14-4065-87DF-4FBA120D31D5}"/>
            </c:ext>
          </c:extLst>
        </c:ser>
        <c:ser>
          <c:idx val="41"/>
          <c:order val="41"/>
          <c:tx>
            <c:strRef>
              <c:f>Tabelle1!$AU$2</c:f>
              <c:strCache>
                <c:ptCount val="1"/>
              </c:strCache>
            </c:strRef>
          </c:tx>
          <c:spPr>
            <a:ln w="28575" cap="rnd">
              <a:solidFill>
                <a:schemeClr val="accent6">
                  <a:lumMod val="70000"/>
                  <a:lumOff val="3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AU$3:$AU$1319</c:f>
              <c:numCache>
                <c:formatCode>General</c:formatCode>
                <c:ptCount val="1317"/>
              </c:numCache>
            </c:numRef>
          </c:val>
          <c:smooth val="0"/>
          <c:extLst>
            <c:ext xmlns:c16="http://schemas.microsoft.com/office/drawing/2014/chart" uri="{C3380CC4-5D6E-409C-BE32-E72D297353CC}">
              <c16:uniqueId val="{00000021-5B14-4065-87DF-4FBA120D31D5}"/>
            </c:ext>
          </c:extLst>
        </c:ser>
        <c:ser>
          <c:idx val="42"/>
          <c:order val="42"/>
          <c:tx>
            <c:strRef>
              <c:f>Tabelle1!$AV$2</c:f>
              <c:strCache>
                <c:ptCount val="1"/>
              </c:strCache>
            </c:strRef>
          </c:tx>
          <c:spPr>
            <a:ln w="28575" cap="rnd">
              <a:solidFill>
                <a:schemeClr val="accent1">
                  <a:lumMod val="7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AV$3:$AV$1319</c:f>
              <c:numCache>
                <c:formatCode>General</c:formatCode>
                <c:ptCount val="1317"/>
              </c:numCache>
            </c:numRef>
          </c:val>
          <c:smooth val="0"/>
          <c:extLst>
            <c:ext xmlns:c16="http://schemas.microsoft.com/office/drawing/2014/chart" uri="{C3380CC4-5D6E-409C-BE32-E72D297353CC}">
              <c16:uniqueId val="{00000022-5B14-4065-87DF-4FBA120D31D5}"/>
            </c:ext>
          </c:extLst>
        </c:ser>
        <c:ser>
          <c:idx val="43"/>
          <c:order val="43"/>
          <c:tx>
            <c:strRef>
              <c:f>Tabelle1!$AW$2</c:f>
              <c:strCache>
                <c:ptCount val="1"/>
              </c:strCache>
            </c:strRef>
          </c:tx>
          <c:spPr>
            <a:ln w="28575" cap="rnd">
              <a:solidFill>
                <a:schemeClr val="accent2">
                  <a:lumMod val="7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AW$3:$AW$1319</c:f>
              <c:numCache>
                <c:formatCode>General</c:formatCode>
                <c:ptCount val="1317"/>
              </c:numCache>
            </c:numRef>
          </c:val>
          <c:smooth val="0"/>
          <c:extLst>
            <c:ext xmlns:c16="http://schemas.microsoft.com/office/drawing/2014/chart" uri="{C3380CC4-5D6E-409C-BE32-E72D297353CC}">
              <c16:uniqueId val="{00000023-5B14-4065-87DF-4FBA120D31D5}"/>
            </c:ext>
          </c:extLst>
        </c:ser>
        <c:ser>
          <c:idx val="44"/>
          <c:order val="44"/>
          <c:tx>
            <c:strRef>
              <c:f>Tabelle1!$AX$2</c:f>
              <c:strCache>
                <c:ptCount val="1"/>
              </c:strCache>
            </c:strRef>
          </c:tx>
          <c:spPr>
            <a:ln w="28575" cap="rnd">
              <a:solidFill>
                <a:schemeClr val="accent3">
                  <a:lumMod val="7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AX$3:$AX$1319</c:f>
              <c:numCache>
                <c:formatCode>General</c:formatCode>
                <c:ptCount val="1317"/>
              </c:numCache>
            </c:numRef>
          </c:val>
          <c:smooth val="0"/>
          <c:extLst>
            <c:ext xmlns:c16="http://schemas.microsoft.com/office/drawing/2014/chart" uri="{C3380CC4-5D6E-409C-BE32-E72D297353CC}">
              <c16:uniqueId val="{00000024-5B14-4065-87DF-4FBA120D31D5}"/>
            </c:ext>
          </c:extLst>
        </c:ser>
        <c:ser>
          <c:idx val="45"/>
          <c:order val="45"/>
          <c:tx>
            <c:strRef>
              <c:f>Tabelle1!$AY$2</c:f>
              <c:strCache>
                <c:ptCount val="1"/>
              </c:strCache>
            </c:strRef>
          </c:tx>
          <c:spPr>
            <a:ln w="28575" cap="rnd">
              <a:solidFill>
                <a:schemeClr val="accent4">
                  <a:lumMod val="7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AY$3:$AY$1319</c:f>
              <c:numCache>
                <c:formatCode>General</c:formatCode>
                <c:ptCount val="1317"/>
              </c:numCache>
            </c:numRef>
          </c:val>
          <c:smooth val="0"/>
          <c:extLst>
            <c:ext xmlns:c16="http://schemas.microsoft.com/office/drawing/2014/chart" uri="{C3380CC4-5D6E-409C-BE32-E72D297353CC}">
              <c16:uniqueId val="{00000025-5B14-4065-87DF-4FBA120D31D5}"/>
            </c:ext>
          </c:extLst>
        </c:ser>
        <c:ser>
          <c:idx val="46"/>
          <c:order val="46"/>
          <c:tx>
            <c:strRef>
              <c:f>Tabelle1!$AZ$2</c:f>
              <c:strCache>
                <c:ptCount val="1"/>
              </c:strCache>
            </c:strRef>
          </c:tx>
          <c:spPr>
            <a:ln w="28575" cap="rnd">
              <a:solidFill>
                <a:schemeClr val="accent5">
                  <a:lumMod val="7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AZ$3:$AZ$1319</c:f>
              <c:numCache>
                <c:formatCode>General</c:formatCode>
                <c:ptCount val="1317"/>
              </c:numCache>
            </c:numRef>
          </c:val>
          <c:smooth val="0"/>
          <c:extLst>
            <c:ext xmlns:c16="http://schemas.microsoft.com/office/drawing/2014/chart" uri="{C3380CC4-5D6E-409C-BE32-E72D297353CC}">
              <c16:uniqueId val="{00000026-5B14-4065-87DF-4FBA120D31D5}"/>
            </c:ext>
          </c:extLst>
        </c:ser>
        <c:ser>
          <c:idx val="47"/>
          <c:order val="47"/>
          <c:tx>
            <c:strRef>
              <c:f>Tabelle1!$BA$2</c:f>
              <c:strCache>
                <c:ptCount val="1"/>
              </c:strCache>
            </c:strRef>
          </c:tx>
          <c:spPr>
            <a:ln w="28575" cap="rnd">
              <a:solidFill>
                <a:schemeClr val="accent6">
                  <a:lumMod val="7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BA$3:$BA$1319</c:f>
              <c:numCache>
                <c:formatCode>General</c:formatCode>
                <c:ptCount val="1317"/>
              </c:numCache>
            </c:numRef>
          </c:val>
          <c:smooth val="0"/>
          <c:extLst>
            <c:ext xmlns:c16="http://schemas.microsoft.com/office/drawing/2014/chart" uri="{C3380CC4-5D6E-409C-BE32-E72D297353CC}">
              <c16:uniqueId val="{00000027-5B14-4065-87DF-4FBA120D31D5}"/>
            </c:ext>
          </c:extLst>
        </c:ser>
        <c:ser>
          <c:idx val="48"/>
          <c:order val="48"/>
          <c:tx>
            <c:strRef>
              <c:f>Tabelle1!$BB$2</c:f>
              <c:strCache>
                <c:ptCount val="1"/>
              </c:strCache>
            </c:strRef>
          </c:tx>
          <c:spPr>
            <a:ln w="28575" cap="rnd">
              <a:solidFill>
                <a:schemeClr val="accent1">
                  <a:lumMod val="50000"/>
                  <a:lumOff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BB$3:$BB$1319</c:f>
              <c:numCache>
                <c:formatCode>General</c:formatCode>
                <c:ptCount val="1317"/>
              </c:numCache>
            </c:numRef>
          </c:val>
          <c:smooth val="0"/>
          <c:extLst>
            <c:ext xmlns:c16="http://schemas.microsoft.com/office/drawing/2014/chart" uri="{C3380CC4-5D6E-409C-BE32-E72D297353CC}">
              <c16:uniqueId val="{00000028-5B14-4065-87DF-4FBA120D31D5}"/>
            </c:ext>
          </c:extLst>
        </c:ser>
        <c:ser>
          <c:idx val="49"/>
          <c:order val="49"/>
          <c:tx>
            <c:strRef>
              <c:f>Tabelle1!$BC$2</c:f>
              <c:strCache>
                <c:ptCount val="1"/>
              </c:strCache>
            </c:strRef>
          </c:tx>
          <c:spPr>
            <a:ln w="28575" cap="rnd">
              <a:solidFill>
                <a:schemeClr val="accent2">
                  <a:lumMod val="50000"/>
                  <a:lumOff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BC$3:$BC$1319</c:f>
              <c:numCache>
                <c:formatCode>General</c:formatCode>
                <c:ptCount val="1317"/>
              </c:numCache>
            </c:numRef>
          </c:val>
          <c:smooth val="0"/>
          <c:extLst>
            <c:ext xmlns:c16="http://schemas.microsoft.com/office/drawing/2014/chart" uri="{C3380CC4-5D6E-409C-BE32-E72D297353CC}">
              <c16:uniqueId val="{00000029-5B14-4065-87DF-4FBA120D31D5}"/>
            </c:ext>
          </c:extLst>
        </c:ser>
        <c:ser>
          <c:idx val="50"/>
          <c:order val="50"/>
          <c:tx>
            <c:strRef>
              <c:f>Tabelle1!$BD$2</c:f>
              <c:strCache>
                <c:ptCount val="1"/>
              </c:strCache>
            </c:strRef>
          </c:tx>
          <c:spPr>
            <a:ln w="28575" cap="rnd">
              <a:solidFill>
                <a:schemeClr val="accent3">
                  <a:lumMod val="50000"/>
                  <a:lumOff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BD$3:$BD$1319</c:f>
              <c:numCache>
                <c:formatCode>General</c:formatCode>
                <c:ptCount val="1317"/>
              </c:numCache>
            </c:numRef>
          </c:val>
          <c:smooth val="0"/>
          <c:extLst>
            <c:ext xmlns:c16="http://schemas.microsoft.com/office/drawing/2014/chart" uri="{C3380CC4-5D6E-409C-BE32-E72D297353CC}">
              <c16:uniqueId val="{0000002A-5B14-4065-87DF-4FBA120D31D5}"/>
            </c:ext>
          </c:extLst>
        </c:ser>
        <c:ser>
          <c:idx val="51"/>
          <c:order val="51"/>
          <c:tx>
            <c:strRef>
              <c:f>Tabelle1!$BE$2</c:f>
              <c:strCache>
                <c:ptCount val="1"/>
              </c:strCache>
            </c:strRef>
          </c:tx>
          <c:spPr>
            <a:ln w="28575" cap="rnd">
              <a:solidFill>
                <a:schemeClr val="accent4">
                  <a:lumMod val="50000"/>
                  <a:lumOff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BE$3:$BE$1319</c:f>
              <c:numCache>
                <c:formatCode>General</c:formatCode>
                <c:ptCount val="1317"/>
              </c:numCache>
            </c:numRef>
          </c:val>
          <c:smooth val="0"/>
          <c:extLst>
            <c:ext xmlns:c16="http://schemas.microsoft.com/office/drawing/2014/chart" uri="{C3380CC4-5D6E-409C-BE32-E72D297353CC}">
              <c16:uniqueId val="{0000002B-5B14-4065-87DF-4FBA120D31D5}"/>
            </c:ext>
          </c:extLst>
        </c:ser>
        <c:ser>
          <c:idx val="52"/>
          <c:order val="52"/>
          <c:tx>
            <c:strRef>
              <c:f>Tabelle1!$BF$2</c:f>
              <c:strCache>
                <c:ptCount val="1"/>
              </c:strCache>
            </c:strRef>
          </c:tx>
          <c:spPr>
            <a:ln w="28575" cap="rnd">
              <a:solidFill>
                <a:schemeClr val="accent5">
                  <a:lumMod val="50000"/>
                  <a:lumOff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BF$3:$BF$1319</c:f>
              <c:numCache>
                <c:formatCode>General</c:formatCode>
                <c:ptCount val="1317"/>
              </c:numCache>
            </c:numRef>
          </c:val>
          <c:smooth val="0"/>
          <c:extLst>
            <c:ext xmlns:c16="http://schemas.microsoft.com/office/drawing/2014/chart" uri="{C3380CC4-5D6E-409C-BE32-E72D297353CC}">
              <c16:uniqueId val="{0000002C-5B14-4065-87DF-4FBA120D31D5}"/>
            </c:ext>
          </c:extLst>
        </c:ser>
        <c:ser>
          <c:idx val="53"/>
          <c:order val="53"/>
          <c:tx>
            <c:strRef>
              <c:f>Tabelle1!$BG$2</c:f>
              <c:strCache>
                <c:ptCount val="1"/>
              </c:strCache>
            </c:strRef>
          </c:tx>
          <c:spPr>
            <a:ln w="28575" cap="rnd">
              <a:solidFill>
                <a:schemeClr val="accent6">
                  <a:lumMod val="50000"/>
                  <a:lumOff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BG$3:$BG$1319</c:f>
              <c:numCache>
                <c:formatCode>General</c:formatCode>
                <c:ptCount val="1317"/>
              </c:numCache>
            </c:numRef>
          </c:val>
          <c:smooth val="0"/>
          <c:extLst>
            <c:ext xmlns:c16="http://schemas.microsoft.com/office/drawing/2014/chart" uri="{C3380CC4-5D6E-409C-BE32-E72D297353CC}">
              <c16:uniqueId val="{0000002D-5B14-4065-87DF-4FBA120D31D5}"/>
            </c:ext>
          </c:extLst>
        </c:ser>
        <c:ser>
          <c:idx val="54"/>
          <c:order val="54"/>
          <c:tx>
            <c:strRef>
              <c:f>Tabelle1!$BH$2</c:f>
              <c:strCache>
                <c:ptCount val="1"/>
              </c:strCache>
            </c:strRef>
          </c:tx>
          <c:spPr>
            <a:ln w="28575" cap="rnd">
              <a:solidFill>
                <a:schemeClr val="accent1"/>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BH$3:$BH$1319</c:f>
              <c:numCache>
                <c:formatCode>General</c:formatCode>
                <c:ptCount val="1317"/>
              </c:numCache>
            </c:numRef>
          </c:val>
          <c:smooth val="0"/>
          <c:extLst>
            <c:ext xmlns:c16="http://schemas.microsoft.com/office/drawing/2014/chart" uri="{C3380CC4-5D6E-409C-BE32-E72D297353CC}">
              <c16:uniqueId val="{0000002E-5B14-4065-87DF-4FBA120D31D5}"/>
            </c:ext>
          </c:extLst>
        </c:ser>
        <c:ser>
          <c:idx val="55"/>
          <c:order val="55"/>
          <c:tx>
            <c:strRef>
              <c:f>Tabelle1!$BI$2</c:f>
              <c:strCache>
                <c:ptCount val="1"/>
              </c:strCache>
            </c:strRef>
          </c:tx>
          <c:spPr>
            <a:ln w="28575" cap="rnd">
              <a:solidFill>
                <a:schemeClr val="accent2"/>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BI$3:$BI$1319</c:f>
              <c:numCache>
                <c:formatCode>General</c:formatCode>
                <c:ptCount val="1317"/>
              </c:numCache>
            </c:numRef>
          </c:val>
          <c:smooth val="0"/>
          <c:extLst>
            <c:ext xmlns:c16="http://schemas.microsoft.com/office/drawing/2014/chart" uri="{C3380CC4-5D6E-409C-BE32-E72D297353CC}">
              <c16:uniqueId val="{0000002F-5B14-4065-87DF-4FBA120D31D5}"/>
            </c:ext>
          </c:extLst>
        </c:ser>
        <c:ser>
          <c:idx val="56"/>
          <c:order val="56"/>
          <c:tx>
            <c:strRef>
              <c:f>Tabelle1!$BJ$2</c:f>
              <c:strCache>
                <c:ptCount val="1"/>
              </c:strCache>
            </c:strRef>
          </c:tx>
          <c:spPr>
            <a:ln w="28575" cap="rnd">
              <a:solidFill>
                <a:schemeClr val="accent3"/>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BJ$3:$BJ$1319</c:f>
              <c:numCache>
                <c:formatCode>General</c:formatCode>
                <c:ptCount val="1317"/>
              </c:numCache>
            </c:numRef>
          </c:val>
          <c:smooth val="0"/>
          <c:extLst>
            <c:ext xmlns:c16="http://schemas.microsoft.com/office/drawing/2014/chart" uri="{C3380CC4-5D6E-409C-BE32-E72D297353CC}">
              <c16:uniqueId val="{00000030-5B14-4065-87DF-4FBA120D31D5}"/>
            </c:ext>
          </c:extLst>
        </c:ser>
        <c:ser>
          <c:idx val="57"/>
          <c:order val="57"/>
          <c:tx>
            <c:strRef>
              <c:f>Tabelle1!$BK$2</c:f>
              <c:strCache>
                <c:ptCount val="1"/>
              </c:strCache>
            </c:strRef>
          </c:tx>
          <c:spPr>
            <a:ln w="28575" cap="rnd">
              <a:solidFill>
                <a:schemeClr val="accent4"/>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BK$3:$BK$1319</c:f>
              <c:numCache>
                <c:formatCode>General</c:formatCode>
                <c:ptCount val="1317"/>
              </c:numCache>
            </c:numRef>
          </c:val>
          <c:smooth val="0"/>
          <c:extLst>
            <c:ext xmlns:c16="http://schemas.microsoft.com/office/drawing/2014/chart" uri="{C3380CC4-5D6E-409C-BE32-E72D297353CC}">
              <c16:uniqueId val="{00000031-5B14-4065-87DF-4FBA120D31D5}"/>
            </c:ext>
          </c:extLst>
        </c:ser>
        <c:ser>
          <c:idx val="58"/>
          <c:order val="58"/>
          <c:tx>
            <c:strRef>
              <c:f>Tabelle1!$BL$2</c:f>
              <c:strCache>
                <c:ptCount val="1"/>
              </c:strCache>
            </c:strRef>
          </c:tx>
          <c:spPr>
            <a:ln w="28575" cap="rnd">
              <a:solidFill>
                <a:schemeClr val="accent5"/>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BL$3:$BL$1319</c:f>
              <c:numCache>
                <c:formatCode>General</c:formatCode>
                <c:ptCount val="1317"/>
              </c:numCache>
            </c:numRef>
          </c:val>
          <c:smooth val="0"/>
          <c:extLst>
            <c:ext xmlns:c16="http://schemas.microsoft.com/office/drawing/2014/chart" uri="{C3380CC4-5D6E-409C-BE32-E72D297353CC}">
              <c16:uniqueId val="{00000032-5B14-4065-87DF-4FBA120D31D5}"/>
            </c:ext>
          </c:extLst>
        </c:ser>
        <c:ser>
          <c:idx val="59"/>
          <c:order val="59"/>
          <c:tx>
            <c:strRef>
              <c:f>Tabelle1!$BM$2</c:f>
              <c:strCache>
                <c:ptCount val="1"/>
              </c:strCache>
            </c:strRef>
          </c:tx>
          <c:spPr>
            <a:ln w="28575" cap="rnd">
              <a:solidFill>
                <a:schemeClr val="accent6"/>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BM$3:$BM$1319</c:f>
              <c:numCache>
                <c:formatCode>General</c:formatCode>
                <c:ptCount val="1317"/>
              </c:numCache>
            </c:numRef>
          </c:val>
          <c:smooth val="0"/>
          <c:extLst>
            <c:ext xmlns:c16="http://schemas.microsoft.com/office/drawing/2014/chart" uri="{C3380CC4-5D6E-409C-BE32-E72D297353CC}">
              <c16:uniqueId val="{00000033-5B14-4065-87DF-4FBA120D31D5}"/>
            </c:ext>
          </c:extLst>
        </c:ser>
        <c:ser>
          <c:idx val="60"/>
          <c:order val="60"/>
          <c:tx>
            <c:strRef>
              <c:f>Tabelle1!$BN$2</c:f>
              <c:strCache>
                <c:ptCount val="1"/>
              </c:strCache>
            </c:strRef>
          </c:tx>
          <c:spPr>
            <a:ln w="28575" cap="rnd">
              <a:solidFill>
                <a:schemeClr val="accent1">
                  <a:lumMod val="6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BN$3:$BN$1319</c:f>
              <c:numCache>
                <c:formatCode>General</c:formatCode>
                <c:ptCount val="1317"/>
              </c:numCache>
            </c:numRef>
          </c:val>
          <c:smooth val="0"/>
          <c:extLst>
            <c:ext xmlns:c16="http://schemas.microsoft.com/office/drawing/2014/chart" uri="{C3380CC4-5D6E-409C-BE32-E72D297353CC}">
              <c16:uniqueId val="{00000034-5B14-4065-87DF-4FBA120D31D5}"/>
            </c:ext>
          </c:extLst>
        </c:ser>
        <c:ser>
          <c:idx val="61"/>
          <c:order val="61"/>
          <c:tx>
            <c:strRef>
              <c:f>Tabelle1!$BO$2</c:f>
              <c:strCache>
                <c:ptCount val="1"/>
              </c:strCache>
            </c:strRef>
          </c:tx>
          <c:spPr>
            <a:ln w="28575" cap="rnd">
              <a:solidFill>
                <a:schemeClr val="accent2">
                  <a:lumMod val="6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BO$3:$BO$1319</c:f>
              <c:numCache>
                <c:formatCode>General</c:formatCode>
                <c:ptCount val="1317"/>
              </c:numCache>
            </c:numRef>
          </c:val>
          <c:smooth val="0"/>
          <c:extLst>
            <c:ext xmlns:c16="http://schemas.microsoft.com/office/drawing/2014/chart" uri="{C3380CC4-5D6E-409C-BE32-E72D297353CC}">
              <c16:uniqueId val="{00000035-5B14-4065-87DF-4FBA120D31D5}"/>
            </c:ext>
          </c:extLst>
        </c:ser>
        <c:ser>
          <c:idx val="62"/>
          <c:order val="62"/>
          <c:tx>
            <c:strRef>
              <c:f>Tabelle1!$BP$2</c:f>
              <c:strCache>
                <c:ptCount val="1"/>
              </c:strCache>
            </c:strRef>
          </c:tx>
          <c:spPr>
            <a:ln w="28575" cap="rnd">
              <a:solidFill>
                <a:schemeClr val="accent3">
                  <a:lumMod val="6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BP$3:$BP$1319</c:f>
              <c:numCache>
                <c:formatCode>General</c:formatCode>
                <c:ptCount val="1317"/>
              </c:numCache>
            </c:numRef>
          </c:val>
          <c:smooth val="0"/>
          <c:extLst>
            <c:ext xmlns:c16="http://schemas.microsoft.com/office/drawing/2014/chart" uri="{C3380CC4-5D6E-409C-BE32-E72D297353CC}">
              <c16:uniqueId val="{00000036-5B14-4065-87DF-4FBA120D31D5}"/>
            </c:ext>
          </c:extLst>
        </c:ser>
        <c:ser>
          <c:idx val="63"/>
          <c:order val="63"/>
          <c:tx>
            <c:strRef>
              <c:f>Tabelle1!$BQ$2</c:f>
              <c:strCache>
                <c:ptCount val="1"/>
              </c:strCache>
            </c:strRef>
          </c:tx>
          <c:spPr>
            <a:ln w="28575" cap="rnd">
              <a:solidFill>
                <a:schemeClr val="accent4">
                  <a:lumMod val="6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BQ$3:$BQ$1319</c:f>
              <c:numCache>
                <c:formatCode>General</c:formatCode>
                <c:ptCount val="1317"/>
              </c:numCache>
            </c:numRef>
          </c:val>
          <c:smooth val="0"/>
          <c:extLst>
            <c:ext xmlns:c16="http://schemas.microsoft.com/office/drawing/2014/chart" uri="{C3380CC4-5D6E-409C-BE32-E72D297353CC}">
              <c16:uniqueId val="{00000037-5B14-4065-87DF-4FBA120D31D5}"/>
            </c:ext>
          </c:extLst>
        </c:ser>
        <c:ser>
          <c:idx val="64"/>
          <c:order val="64"/>
          <c:tx>
            <c:strRef>
              <c:f>Tabelle1!$BR$2</c:f>
              <c:strCache>
                <c:ptCount val="1"/>
              </c:strCache>
            </c:strRef>
          </c:tx>
          <c:spPr>
            <a:ln w="28575" cap="rnd">
              <a:solidFill>
                <a:schemeClr val="accent5">
                  <a:lumMod val="6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BR$3:$BR$1319</c:f>
              <c:numCache>
                <c:formatCode>General</c:formatCode>
                <c:ptCount val="1317"/>
              </c:numCache>
            </c:numRef>
          </c:val>
          <c:smooth val="0"/>
          <c:extLst>
            <c:ext xmlns:c16="http://schemas.microsoft.com/office/drawing/2014/chart" uri="{C3380CC4-5D6E-409C-BE32-E72D297353CC}">
              <c16:uniqueId val="{00000038-5B14-4065-87DF-4FBA120D31D5}"/>
            </c:ext>
          </c:extLst>
        </c:ser>
        <c:ser>
          <c:idx val="65"/>
          <c:order val="65"/>
          <c:tx>
            <c:strRef>
              <c:f>Tabelle1!$BS$2</c:f>
              <c:strCache>
                <c:ptCount val="1"/>
              </c:strCache>
            </c:strRef>
          </c:tx>
          <c:spPr>
            <a:ln w="28575" cap="rnd">
              <a:solidFill>
                <a:schemeClr val="accent6">
                  <a:lumMod val="6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BS$3:$BS$1319</c:f>
              <c:numCache>
                <c:formatCode>General</c:formatCode>
                <c:ptCount val="1317"/>
              </c:numCache>
            </c:numRef>
          </c:val>
          <c:smooth val="0"/>
          <c:extLst>
            <c:ext xmlns:c16="http://schemas.microsoft.com/office/drawing/2014/chart" uri="{C3380CC4-5D6E-409C-BE32-E72D297353CC}">
              <c16:uniqueId val="{00000039-5B14-4065-87DF-4FBA120D31D5}"/>
            </c:ext>
          </c:extLst>
        </c:ser>
        <c:ser>
          <c:idx val="66"/>
          <c:order val="66"/>
          <c:tx>
            <c:strRef>
              <c:f>Tabelle1!$BT$2</c:f>
              <c:strCache>
                <c:ptCount val="1"/>
              </c:strCache>
            </c:strRef>
          </c:tx>
          <c:spPr>
            <a:ln w="28575" cap="rnd">
              <a:solidFill>
                <a:schemeClr val="accent1">
                  <a:lumMod val="80000"/>
                  <a:lumOff val="2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BT$3:$BT$1319</c:f>
              <c:numCache>
                <c:formatCode>General</c:formatCode>
                <c:ptCount val="1317"/>
              </c:numCache>
            </c:numRef>
          </c:val>
          <c:smooth val="0"/>
          <c:extLst>
            <c:ext xmlns:c16="http://schemas.microsoft.com/office/drawing/2014/chart" uri="{C3380CC4-5D6E-409C-BE32-E72D297353CC}">
              <c16:uniqueId val="{0000003A-5B14-4065-87DF-4FBA120D31D5}"/>
            </c:ext>
          </c:extLst>
        </c:ser>
        <c:ser>
          <c:idx val="67"/>
          <c:order val="67"/>
          <c:tx>
            <c:strRef>
              <c:f>Tabelle1!$BU$2</c:f>
              <c:strCache>
                <c:ptCount val="1"/>
              </c:strCache>
            </c:strRef>
          </c:tx>
          <c:spPr>
            <a:ln w="28575" cap="rnd">
              <a:solidFill>
                <a:schemeClr val="accent2">
                  <a:lumMod val="80000"/>
                  <a:lumOff val="2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BU$3:$BU$1319</c:f>
              <c:numCache>
                <c:formatCode>General</c:formatCode>
                <c:ptCount val="1317"/>
              </c:numCache>
            </c:numRef>
          </c:val>
          <c:smooth val="0"/>
          <c:extLst>
            <c:ext xmlns:c16="http://schemas.microsoft.com/office/drawing/2014/chart" uri="{C3380CC4-5D6E-409C-BE32-E72D297353CC}">
              <c16:uniqueId val="{0000003B-5B14-4065-87DF-4FBA120D31D5}"/>
            </c:ext>
          </c:extLst>
        </c:ser>
        <c:ser>
          <c:idx val="68"/>
          <c:order val="68"/>
          <c:tx>
            <c:strRef>
              <c:f>Tabelle1!$BV$2</c:f>
              <c:strCache>
                <c:ptCount val="1"/>
              </c:strCache>
            </c:strRef>
          </c:tx>
          <c:spPr>
            <a:ln w="28575" cap="rnd">
              <a:solidFill>
                <a:schemeClr val="accent3">
                  <a:lumMod val="80000"/>
                  <a:lumOff val="2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BV$3:$BV$1319</c:f>
              <c:numCache>
                <c:formatCode>General</c:formatCode>
                <c:ptCount val="1317"/>
              </c:numCache>
            </c:numRef>
          </c:val>
          <c:smooth val="0"/>
          <c:extLst>
            <c:ext xmlns:c16="http://schemas.microsoft.com/office/drawing/2014/chart" uri="{C3380CC4-5D6E-409C-BE32-E72D297353CC}">
              <c16:uniqueId val="{0000003C-5B14-4065-87DF-4FBA120D31D5}"/>
            </c:ext>
          </c:extLst>
        </c:ser>
        <c:ser>
          <c:idx val="69"/>
          <c:order val="69"/>
          <c:tx>
            <c:strRef>
              <c:f>Tabelle1!$BW$2</c:f>
              <c:strCache>
                <c:ptCount val="1"/>
              </c:strCache>
            </c:strRef>
          </c:tx>
          <c:spPr>
            <a:ln w="28575" cap="rnd">
              <a:solidFill>
                <a:schemeClr val="accent4">
                  <a:lumMod val="80000"/>
                  <a:lumOff val="2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BW$3:$BW$1319</c:f>
              <c:numCache>
                <c:formatCode>General</c:formatCode>
                <c:ptCount val="1317"/>
              </c:numCache>
            </c:numRef>
          </c:val>
          <c:smooth val="0"/>
          <c:extLst>
            <c:ext xmlns:c16="http://schemas.microsoft.com/office/drawing/2014/chart" uri="{C3380CC4-5D6E-409C-BE32-E72D297353CC}">
              <c16:uniqueId val="{0000003D-5B14-4065-87DF-4FBA120D31D5}"/>
            </c:ext>
          </c:extLst>
        </c:ser>
        <c:ser>
          <c:idx val="70"/>
          <c:order val="70"/>
          <c:tx>
            <c:strRef>
              <c:f>Tabelle1!$BX$2</c:f>
              <c:strCache>
                <c:ptCount val="1"/>
              </c:strCache>
            </c:strRef>
          </c:tx>
          <c:spPr>
            <a:ln w="28575" cap="rnd">
              <a:solidFill>
                <a:schemeClr val="accent5">
                  <a:lumMod val="80000"/>
                  <a:lumOff val="2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BX$3:$BX$1319</c:f>
              <c:numCache>
                <c:formatCode>General</c:formatCode>
                <c:ptCount val="1317"/>
              </c:numCache>
            </c:numRef>
          </c:val>
          <c:smooth val="0"/>
          <c:extLst>
            <c:ext xmlns:c16="http://schemas.microsoft.com/office/drawing/2014/chart" uri="{C3380CC4-5D6E-409C-BE32-E72D297353CC}">
              <c16:uniqueId val="{0000003E-5B14-4065-87DF-4FBA120D31D5}"/>
            </c:ext>
          </c:extLst>
        </c:ser>
        <c:ser>
          <c:idx val="71"/>
          <c:order val="71"/>
          <c:tx>
            <c:strRef>
              <c:f>Tabelle1!$BY$2</c:f>
              <c:strCache>
                <c:ptCount val="1"/>
              </c:strCache>
            </c:strRef>
          </c:tx>
          <c:spPr>
            <a:ln w="28575" cap="rnd">
              <a:solidFill>
                <a:schemeClr val="accent6">
                  <a:lumMod val="80000"/>
                  <a:lumOff val="2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BY$3:$BY$1319</c:f>
              <c:numCache>
                <c:formatCode>General</c:formatCode>
                <c:ptCount val="1317"/>
              </c:numCache>
            </c:numRef>
          </c:val>
          <c:smooth val="0"/>
          <c:extLst>
            <c:ext xmlns:c16="http://schemas.microsoft.com/office/drawing/2014/chart" uri="{C3380CC4-5D6E-409C-BE32-E72D297353CC}">
              <c16:uniqueId val="{0000003F-5B14-4065-87DF-4FBA120D31D5}"/>
            </c:ext>
          </c:extLst>
        </c:ser>
        <c:ser>
          <c:idx val="72"/>
          <c:order val="72"/>
          <c:tx>
            <c:strRef>
              <c:f>Tabelle1!$BZ$2</c:f>
              <c:strCache>
                <c:ptCount val="1"/>
              </c:strCache>
            </c:strRef>
          </c:tx>
          <c:spPr>
            <a:ln w="28575" cap="rnd">
              <a:solidFill>
                <a:schemeClr val="accent1">
                  <a:lumMod val="8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BZ$3:$BZ$1319</c:f>
              <c:numCache>
                <c:formatCode>General</c:formatCode>
                <c:ptCount val="1317"/>
              </c:numCache>
            </c:numRef>
          </c:val>
          <c:smooth val="0"/>
          <c:extLst>
            <c:ext xmlns:c16="http://schemas.microsoft.com/office/drawing/2014/chart" uri="{C3380CC4-5D6E-409C-BE32-E72D297353CC}">
              <c16:uniqueId val="{00000040-5B14-4065-87DF-4FBA120D31D5}"/>
            </c:ext>
          </c:extLst>
        </c:ser>
        <c:ser>
          <c:idx val="73"/>
          <c:order val="73"/>
          <c:tx>
            <c:strRef>
              <c:f>Tabelle1!$CA$2</c:f>
              <c:strCache>
                <c:ptCount val="1"/>
              </c:strCache>
            </c:strRef>
          </c:tx>
          <c:spPr>
            <a:ln w="28575" cap="rnd">
              <a:solidFill>
                <a:schemeClr val="accent2">
                  <a:lumMod val="8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CA$3:$CA$1319</c:f>
              <c:numCache>
                <c:formatCode>General</c:formatCode>
                <c:ptCount val="1317"/>
              </c:numCache>
            </c:numRef>
          </c:val>
          <c:smooth val="0"/>
          <c:extLst>
            <c:ext xmlns:c16="http://schemas.microsoft.com/office/drawing/2014/chart" uri="{C3380CC4-5D6E-409C-BE32-E72D297353CC}">
              <c16:uniqueId val="{00000041-5B14-4065-87DF-4FBA120D31D5}"/>
            </c:ext>
          </c:extLst>
        </c:ser>
        <c:ser>
          <c:idx val="74"/>
          <c:order val="74"/>
          <c:tx>
            <c:strRef>
              <c:f>Tabelle1!$CB$2</c:f>
              <c:strCache>
                <c:ptCount val="1"/>
              </c:strCache>
            </c:strRef>
          </c:tx>
          <c:spPr>
            <a:ln w="28575" cap="rnd">
              <a:solidFill>
                <a:schemeClr val="accent3">
                  <a:lumMod val="8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CB$3:$CB$1319</c:f>
              <c:numCache>
                <c:formatCode>General</c:formatCode>
                <c:ptCount val="1317"/>
              </c:numCache>
            </c:numRef>
          </c:val>
          <c:smooth val="0"/>
          <c:extLst>
            <c:ext xmlns:c16="http://schemas.microsoft.com/office/drawing/2014/chart" uri="{C3380CC4-5D6E-409C-BE32-E72D297353CC}">
              <c16:uniqueId val="{00000042-5B14-4065-87DF-4FBA120D31D5}"/>
            </c:ext>
          </c:extLst>
        </c:ser>
        <c:ser>
          <c:idx val="75"/>
          <c:order val="75"/>
          <c:tx>
            <c:strRef>
              <c:f>Tabelle1!$CC$2</c:f>
              <c:strCache>
                <c:ptCount val="1"/>
              </c:strCache>
            </c:strRef>
          </c:tx>
          <c:spPr>
            <a:ln w="28575" cap="rnd">
              <a:solidFill>
                <a:schemeClr val="accent4">
                  <a:lumMod val="8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CC$3:$CC$1319</c:f>
              <c:numCache>
                <c:formatCode>General</c:formatCode>
                <c:ptCount val="1317"/>
              </c:numCache>
            </c:numRef>
          </c:val>
          <c:smooth val="0"/>
          <c:extLst>
            <c:ext xmlns:c16="http://schemas.microsoft.com/office/drawing/2014/chart" uri="{C3380CC4-5D6E-409C-BE32-E72D297353CC}">
              <c16:uniqueId val="{00000043-5B14-4065-87DF-4FBA120D31D5}"/>
            </c:ext>
          </c:extLst>
        </c:ser>
        <c:ser>
          <c:idx val="76"/>
          <c:order val="76"/>
          <c:tx>
            <c:strRef>
              <c:f>Tabelle1!$CD$2</c:f>
              <c:strCache>
                <c:ptCount val="1"/>
              </c:strCache>
            </c:strRef>
          </c:tx>
          <c:spPr>
            <a:ln w="28575" cap="rnd">
              <a:solidFill>
                <a:schemeClr val="accent5">
                  <a:lumMod val="8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CD$3:$CD$1319</c:f>
              <c:numCache>
                <c:formatCode>General</c:formatCode>
                <c:ptCount val="1317"/>
              </c:numCache>
            </c:numRef>
          </c:val>
          <c:smooth val="0"/>
          <c:extLst>
            <c:ext xmlns:c16="http://schemas.microsoft.com/office/drawing/2014/chart" uri="{C3380CC4-5D6E-409C-BE32-E72D297353CC}">
              <c16:uniqueId val="{00000044-5B14-4065-87DF-4FBA120D31D5}"/>
            </c:ext>
          </c:extLst>
        </c:ser>
        <c:ser>
          <c:idx val="77"/>
          <c:order val="77"/>
          <c:tx>
            <c:strRef>
              <c:f>Tabelle1!$CE$2</c:f>
              <c:strCache>
                <c:ptCount val="1"/>
              </c:strCache>
            </c:strRef>
          </c:tx>
          <c:spPr>
            <a:ln w="28575" cap="rnd">
              <a:solidFill>
                <a:schemeClr val="accent6">
                  <a:lumMod val="8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CE$3:$CE$1319</c:f>
              <c:numCache>
                <c:formatCode>General</c:formatCode>
                <c:ptCount val="1317"/>
              </c:numCache>
            </c:numRef>
          </c:val>
          <c:smooth val="0"/>
          <c:extLst>
            <c:ext xmlns:c16="http://schemas.microsoft.com/office/drawing/2014/chart" uri="{C3380CC4-5D6E-409C-BE32-E72D297353CC}">
              <c16:uniqueId val="{00000045-5B14-4065-87DF-4FBA120D31D5}"/>
            </c:ext>
          </c:extLst>
        </c:ser>
        <c:ser>
          <c:idx val="78"/>
          <c:order val="78"/>
          <c:tx>
            <c:strRef>
              <c:f>Tabelle1!$CF$2</c:f>
              <c:strCache>
                <c:ptCount val="1"/>
              </c:strCache>
            </c:strRef>
          </c:tx>
          <c:spPr>
            <a:ln w="28575" cap="rnd">
              <a:solidFill>
                <a:schemeClr val="accent1">
                  <a:lumMod val="60000"/>
                  <a:lumOff val="4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CF$3:$CF$1319</c:f>
              <c:numCache>
                <c:formatCode>General</c:formatCode>
                <c:ptCount val="1317"/>
              </c:numCache>
            </c:numRef>
          </c:val>
          <c:smooth val="0"/>
          <c:extLst>
            <c:ext xmlns:c16="http://schemas.microsoft.com/office/drawing/2014/chart" uri="{C3380CC4-5D6E-409C-BE32-E72D297353CC}">
              <c16:uniqueId val="{00000046-5B14-4065-87DF-4FBA120D31D5}"/>
            </c:ext>
          </c:extLst>
        </c:ser>
        <c:ser>
          <c:idx val="79"/>
          <c:order val="79"/>
          <c:tx>
            <c:strRef>
              <c:f>Tabelle1!$CG$2</c:f>
              <c:strCache>
                <c:ptCount val="1"/>
              </c:strCache>
            </c:strRef>
          </c:tx>
          <c:spPr>
            <a:ln w="28575" cap="rnd">
              <a:solidFill>
                <a:schemeClr val="accent2">
                  <a:lumMod val="60000"/>
                  <a:lumOff val="4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CG$3:$CG$1319</c:f>
              <c:numCache>
                <c:formatCode>General</c:formatCode>
                <c:ptCount val="1317"/>
              </c:numCache>
            </c:numRef>
          </c:val>
          <c:smooth val="0"/>
          <c:extLst>
            <c:ext xmlns:c16="http://schemas.microsoft.com/office/drawing/2014/chart" uri="{C3380CC4-5D6E-409C-BE32-E72D297353CC}">
              <c16:uniqueId val="{00000047-5B14-4065-87DF-4FBA120D31D5}"/>
            </c:ext>
          </c:extLst>
        </c:ser>
        <c:ser>
          <c:idx val="80"/>
          <c:order val="80"/>
          <c:tx>
            <c:strRef>
              <c:f>Tabelle1!$CH$2</c:f>
              <c:strCache>
                <c:ptCount val="1"/>
              </c:strCache>
            </c:strRef>
          </c:tx>
          <c:spPr>
            <a:ln w="28575" cap="rnd">
              <a:solidFill>
                <a:schemeClr val="accent3">
                  <a:lumMod val="60000"/>
                  <a:lumOff val="4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CH$3:$CH$1319</c:f>
              <c:numCache>
                <c:formatCode>General</c:formatCode>
                <c:ptCount val="1317"/>
              </c:numCache>
            </c:numRef>
          </c:val>
          <c:smooth val="0"/>
          <c:extLst>
            <c:ext xmlns:c16="http://schemas.microsoft.com/office/drawing/2014/chart" uri="{C3380CC4-5D6E-409C-BE32-E72D297353CC}">
              <c16:uniqueId val="{00000048-5B14-4065-87DF-4FBA120D31D5}"/>
            </c:ext>
          </c:extLst>
        </c:ser>
        <c:ser>
          <c:idx val="81"/>
          <c:order val="81"/>
          <c:tx>
            <c:strRef>
              <c:f>Tabelle1!$CI$2</c:f>
              <c:strCache>
                <c:ptCount val="1"/>
              </c:strCache>
            </c:strRef>
          </c:tx>
          <c:spPr>
            <a:ln w="28575" cap="rnd">
              <a:solidFill>
                <a:schemeClr val="accent4">
                  <a:lumMod val="60000"/>
                  <a:lumOff val="4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CI$3:$CI$1319</c:f>
              <c:numCache>
                <c:formatCode>General</c:formatCode>
                <c:ptCount val="1317"/>
              </c:numCache>
            </c:numRef>
          </c:val>
          <c:smooth val="0"/>
          <c:extLst>
            <c:ext xmlns:c16="http://schemas.microsoft.com/office/drawing/2014/chart" uri="{C3380CC4-5D6E-409C-BE32-E72D297353CC}">
              <c16:uniqueId val="{00000049-5B14-4065-87DF-4FBA120D31D5}"/>
            </c:ext>
          </c:extLst>
        </c:ser>
        <c:ser>
          <c:idx val="82"/>
          <c:order val="82"/>
          <c:tx>
            <c:strRef>
              <c:f>Tabelle1!$CJ$2</c:f>
              <c:strCache>
                <c:ptCount val="1"/>
              </c:strCache>
            </c:strRef>
          </c:tx>
          <c:spPr>
            <a:ln w="28575" cap="rnd">
              <a:solidFill>
                <a:schemeClr val="accent5">
                  <a:lumMod val="60000"/>
                  <a:lumOff val="4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CJ$3:$CJ$1319</c:f>
              <c:numCache>
                <c:formatCode>General</c:formatCode>
                <c:ptCount val="1317"/>
              </c:numCache>
            </c:numRef>
          </c:val>
          <c:smooth val="0"/>
          <c:extLst>
            <c:ext xmlns:c16="http://schemas.microsoft.com/office/drawing/2014/chart" uri="{C3380CC4-5D6E-409C-BE32-E72D297353CC}">
              <c16:uniqueId val="{0000004A-5B14-4065-87DF-4FBA120D31D5}"/>
            </c:ext>
          </c:extLst>
        </c:ser>
        <c:ser>
          <c:idx val="83"/>
          <c:order val="83"/>
          <c:tx>
            <c:strRef>
              <c:f>Tabelle1!$CK$2</c:f>
              <c:strCache>
                <c:ptCount val="1"/>
              </c:strCache>
            </c:strRef>
          </c:tx>
          <c:spPr>
            <a:ln w="28575" cap="rnd">
              <a:solidFill>
                <a:schemeClr val="accent6">
                  <a:lumMod val="60000"/>
                  <a:lumOff val="4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CK$3:$CK$1319</c:f>
              <c:numCache>
                <c:formatCode>General</c:formatCode>
                <c:ptCount val="1317"/>
              </c:numCache>
            </c:numRef>
          </c:val>
          <c:smooth val="0"/>
          <c:extLst>
            <c:ext xmlns:c16="http://schemas.microsoft.com/office/drawing/2014/chart" uri="{C3380CC4-5D6E-409C-BE32-E72D297353CC}">
              <c16:uniqueId val="{0000004B-5B14-4065-87DF-4FBA120D31D5}"/>
            </c:ext>
          </c:extLst>
        </c:ser>
        <c:ser>
          <c:idx val="84"/>
          <c:order val="84"/>
          <c:tx>
            <c:strRef>
              <c:f>Tabelle1!$CL$2</c:f>
              <c:strCache>
                <c:ptCount val="1"/>
              </c:strCache>
            </c:strRef>
          </c:tx>
          <c:spPr>
            <a:ln w="28575" cap="rnd">
              <a:solidFill>
                <a:schemeClr val="accent1">
                  <a:lumMod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CL$3:$CL$1319</c:f>
              <c:numCache>
                <c:formatCode>General</c:formatCode>
                <c:ptCount val="1317"/>
              </c:numCache>
            </c:numRef>
          </c:val>
          <c:smooth val="0"/>
          <c:extLst>
            <c:ext xmlns:c16="http://schemas.microsoft.com/office/drawing/2014/chart" uri="{C3380CC4-5D6E-409C-BE32-E72D297353CC}">
              <c16:uniqueId val="{0000004C-5B14-4065-87DF-4FBA120D31D5}"/>
            </c:ext>
          </c:extLst>
        </c:ser>
        <c:ser>
          <c:idx val="85"/>
          <c:order val="85"/>
          <c:tx>
            <c:strRef>
              <c:f>Tabelle1!$CM$2</c:f>
              <c:strCache>
                <c:ptCount val="1"/>
              </c:strCache>
            </c:strRef>
          </c:tx>
          <c:spPr>
            <a:ln w="28575" cap="rnd">
              <a:solidFill>
                <a:schemeClr val="accent2">
                  <a:lumMod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CM$3:$CM$1319</c:f>
              <c:numCache>
                <c:formatCode>General</c:formatCode>
                <c:ptCount val="1317"/>
              </c:numCache>
            </c:numRef>
          </c:val>
          <c:smooth val="0"/>
          <c:extLst>
            <c:ext xmlns:c16="http://schemas.microsoft.com/office/drawing/2014/chart" uri="{C3380CC4-5D6E-409C-BE32-E72D297353CC}">
              <c16:uniqueId val="{0000004D-5B14-4065-87DF-4FBA120D31D5}"/>
            </c:ext>
          </c:extLst>
        </c:ser>
        <c:ser>
          <c:idx val="86"/>
          <c:order val="86"/>
          <c:tx>
            <c:strRef>
              <c:f>Tabelle1!$CN$2</c:f>
              <c:strCache>
                <c:ptCount val="1"/>
              </c:strCache>
            </c:strRef>
          </c:tx>
          <c:spPr>
            <a:ln w="28575" cap="rnd">
              <a:solidFill>
                <a:schemeClr val="accent3">
                  <a:lumMod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CN$3:$CN$1319</c:f>
              <c:numCache>
                <c:formatCode>General</c:formatCode>
                <c:ptCount val="1317"/>
              </c:numCache>
            </c:numRef>
          </c:val>
          <c:smooth val="0"/>
          <c:extLst>
            <c:ext xmlns:c16="http://schemas.microsoft.com/office/drawing/2014/chart" uri="{C3380CC4-5D6E-409C-BE32-E72D297353CC}">
              <c16:uniqueId val="{0000004E-5B14-4065-87DF-4FBA120D31D5}"/>
            </c:ext>
          </c:extLst>
        </c:ser>
        <c:ser>
          <c:idx val="87"/>
          <c:order val="87"/>
          <c:tx>
            <c:strRef>
              <c:f>Tabelle1!$CO$2</c:f>
              <c:strCache>
                <c:ptCount val="1"/>
              </c:strCache>
            </c:strRef>
          </c:tx>
          <c:spPr>
            <a:ln w="28575" cap="rnd">
              <a:solidFill>
                <a:schemeClr val="accent4">
                  <a:lumMod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CO$3:$CO$1319</c:f>
              <c:numCache>
                <c:formatCode>General</c:formatCode>
                <c:ptCount val="1317"/>
              </c:numCache>
            </c:numRef>
          </c:val>
          <c:smooth val="0"/>
          <c:extLst>
            <c:ext xmlns:c16="http://schemas.microsoft.com/office/drawing/2014/chart" uri="{C3380CC4-5D6E-409C-BE32-E72D297353CC}">
              <c16:uniqueId val="{0000004F-5B14-4065-87DF-4FBA120D31D5}"/>
            </c:ext>
          </c:extLst>
        </c:ser>
        <c:ser>
          <c:idx val="88"/>
          <c:order val="88"/>
          <c:tx>
            <c:strRef>
              <c:f>Tabelle1!$CP$2</c:f>
              <c:strCache>
                <c:ptCount val="1"/>
              </c:strCache>
            </c:strRef>
          </c:tx>
          <c:spPr>
            <a:ln w="28575" cap="rnd">
              <a:solidFill>
                <a:schemeClr val="accent5">
                  <a:lumMod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CP$3:$CP$1319</c:f>
              <c:numCache>
                <c:formatCode>General</c:formatCode>
                <c:ptCount val="1317"/>
              </c:numCache>
            </c:numRef>
          </c:val>
          <c:smooth val="0"/>
          <c:extLst>
            <c:ext xmlns:c16="http://schemas.microsoft.com/office/drawing/2014/chart" uri="{C3380CC4-5D6E-409C-BE32-E72D297353CC}">
              <c16:uniqueId val="{00000050-5B14-4065-87DF-4FBA120D31D5}"/>
            </c:ext>
          </c:extLst>
        </c:ser>
        <c:ser>
          <c:idx val="89"/>
          <c:order val="89"/>
          <c:tx>
            <c:strRef>
              <c:f>Tabelle1!$CQ$2</c:f>
              <c:strCache>
                <c:ptCount val="1"/>
              </c:strCache>
            </c:strRef>
          </c:tx>
          <c:spPr>
            <a:ln w="28575" cap="rnd">
              <a:solidFill>
                <a:schemeClr val="accent6">
                  <a:lumMod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CQ$3:$CQ$1319</c:f>
              <c:numCache>
                <c:formatCode>General</c:formatCode>
                <c:ptCount val="1317"/>
              </c:numCache>
            </c:numRef>
          </c:val>
          <c:smooth val="0"/>
          <c:extLst>
            <c:ext xmlns:c16="http://schemas.microsoft.com/office/drawing/2014/chart" uri="{C3380CC4-5D6E-409C-BE32-E72D297353CC}">
              <c16:uniqueId val="{00000051-5B14-4065-87DF-4FBA120D31D5}"/>
            </c:ext>
          </c:extLst>
        </c:ser>
        <c:ser>
          <c:idx val="90"/>
          <c:order val="90"/>
          <c:tx>
            <c:strRef>
              <c:f>Tabelle1!$CR$2</c:f>
              <c:strCache>
                <c:ptCount val="1"/>
              </c:strCache>
            </c:strRef>
          </c:tx>
          <c:spPr>
            <a:ln w="28575" cap="rnd">
              <a:solidFill>
                <a:schemeClr val="accent1">
                  <a:lumMod val="70000"/>
                  <a:lumOff val="3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CR$3:$CR$1319</c:f>
              <c:numCache>
                <c:formatCode>General</c:formatCode>
                <c:ptCount val="1317"/>
              </c:numCache>
            </c:numRef>
          </c:val>
          <c:smooth val="0"/>
          <c:extLst>
            <c:ext xmlns:c16="http://schemas.microsoft.com/office/drawing/2014/chart" uri="{C3380CC4-5D6E-409C-BE32-E72D297353CC}">
              <c16:uniqueId val="{00000052-5B14-4065-87DF-4FBA120D31D5}"/>
            </c:ext>
          </c:extLst>
        </c:ser>
        <c:ser>
          <c:idx val="91"/>
          <c:order val="91"/>
          <c:tx>
            <c:strRef>
              <c:f>Tabelle1!$CS$2</c:f>
              <c:strCache>
                <c:ptCount val="1"/>
              </c:strCache>
            </c:strRef>
          </c:tx>
          <c:spPr>
            <a:ln w="28575" cap="rnd">
              <a:solidFill>
                <a:schemeClr val="accent2">
                  <a:lumMod val="70000"/>
                  <a:lumOff val="3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CS$3:$CS$1319</c:f>
              <c:numCache>
                <c:formatCode>General</c:formatCode>
                <c:ptCount val="1317"/>
              </c:numCache>
            </c:numRef>
          </c:val>
          <c:smooth val="0"/>
          <c:extLst>
            <c:ext xmlns:c16="http://schemas.microsoft.com/office/drawing/2014/chart" uri="{C3380CC4-5D6E-409C-BE32-E72D297353CC}">
              <c16:uniqueId val="{00000053-5B14-4065-87DF-4FBA120D31D5}"/>
            </c:ext>
          </c:extLst>
        </c:ser>
        <c:ser>
          <c:idx val="92"/>
          <c:order val="92"/>
          <c:tx>
            <c:strRef>
              <c:f>Tabelle1!$CT$2</c:f>
              <c:strCache>
                <c:ptCount val="1"/>
              </c:strCache>
            </c:strRef>
          </c:tx>
          <c:spPr>
            <a:ln w="28575" cap="rnd">
              <a:solidFill>
                <a:schemeClr val="accent3">
                  <a:lumMod val="70000"/>
                  <a:lumOff val="3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CT$3:$CT$1319</c:f>
              <c:numCache>
                <c:formatCode>General</c:formatCode>
                <c:ptCount val="1317"/>
              </c:numCache>
            </c:numRef>
          </c:val>
          <c:smooth val="0"/>
          <c:extLst>
            <c:ext xmlns:c16="http://schemas.microsoft.com/office/drawing/2014/chart" uri="{C3380CC4-5D6E-409C-BE32-E72D297353CC}">
              <c16:uniqueId val="{00000054-5B14-4065-87DF-4FBA120D31D5}"/>
            </c:ext>
          </c:extLst>
        </c:ser>
        <c:ser>
          <c:idx val="93"/>
          <c:order val="93"/>
          <c:tx>
            <c:strRef>
              <c:f>Tabelle1!$CU$2</c:f>
              <c:strCache>
                <c:ptCount val="1"/>
              </c:strCache>
            </c:strRef>
          </c:tx>
          <c:spPr>
            <a:ln w="28575" cap="rnd">
              <a:solidFill>
                <a:schemeClr val="accent4">
                  <a:lumMod val="70000"/>
                  <a:lumOff val="3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CU$3:$CU$1319</c:f>
              <c:numCache>
                <c:formatCode>General</c:formatCode>
                <c:ptCount val="1317"/>
              </c:numCache>
            </c:numRef>
          </c:val>
          <c:smooth val="0"/>
          <c:extLst>
            <c:ext xmlns:c16="http://schemas.microsoft.com/office/drawing/2014/chart" uri="{C3380CC4-5D6E-409C-BE32-E72D297353CC}">
              <c16:uniqueId val="{00000055-5B14-4065-87DF-4FBA120D31D5}"/>
            </c:ext>
          </c:extLst>
        </c:ser>
        <c:ser>
          <c:idx val="94"/>
          <c:order val="94"/>
          <c:tx>
            <c:strRef>
              <c:f>Tabelle1!$CV$2</c:f>
              <c:strCache>
                <c:ptCount val="1"/>
              </c:strCache>
            </c:strRef>
          </c:tx>
          <c:spPr>
            <a:ln w="28575" cap="rnd">
              <a:solidFill>
                <a:schemeClr val="accent5">
                  <a:lumMod val="70000"/>
                  <a:lumOff val="3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CV$3:$CV$1319</c:f>
              <c:numCache>
                <c:formatCode>General</c:formatCode>
                <c:ptCount val="1317"/>
              </c:numCache>
            </c:numRef>
          </c:val>
          <c:smooth val="0"/>
          <c:extLst>
            <c:ext xmlns:c16="http://schemas.microsoft.com/office/drawing/2014/chart" uri="{C3380CC4-5D6E-409C-BE32-E72D297353CC}">
              <c16:uniqueId val="{00000056-5B14-4065-87DF-4FBA120D31D5}"/>
            </c:ext>
          </c:extLst>
        </c:ser>
        <c:ser>
          <c:idx val="95"/>
          <c:order val="95"/>
          <c:tx>
            <c:strRef>
              <c:f>Tabelle1!$CW$2</c:f>
              <c:strCache>
                <c:ptCount val="1"/>
              </c:strCache>
            </c:strRef>
          </c:tx>
          <c:spPr>
            <a:ln w="28575" cap="rnd">
              <a:solidFill>
                <a:schemeClr val="accent6">
                  <a:lumMod val="70000"/>
                  <a:lumOff val="3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CW$3:$CW$1319</c:f>
              <c:numCache>
                <c:formatCode>General</c:formatCode>
                <c:ptCount val="1317"/>
              </c:numCache>
            </c:numRef>
          </c:val>
          <c:smooth val="0"/>
          <c:extLst>
            <c:ext xmlns:c16="http://schemas.microsoft.com/office/drawing/2014/chart" uri="{C3380CC4-5D6E-409C-BE32-E72D297353CC}">
              <c16:uniqueId val="{00000057-5B14-4065-87DF-4FBA120D31D5}"/>
            </c:ext>
          </c:extLst>
        </c:ser>
        <c:ser>
          <c:idx val="96"/>
          <c:order val="96"/>
          <c:tx>
            <c:strRef>
              <c:f>Tabelle1!$CX$2</c:f>
              <c:strCache>
                <c:ptCount val="1"/>
              </c:strCache>
            </c:strRef>
          </c:tx>
          <c:spPr>
            <a:ln w="28575" cap="rnd">
              <a:solidFill>
                <a:schemeClr val="accent1">
                  <a:lumMod val="7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CX$3:$CX$1319</c:f>
              <c:numCache>
                <c:formatCode>General</c:formatCode>
                <c:ptCount val="1317"/>
              </c:numCache>
            </c:numRef>
          </c:val>
          <c:smooth val="0"/>
          <c:extLst>
            <c:ext xmlns:c16="http://schemas.microsoft.com/office/drawing/2014/chart" uri="{C3380CC4-5D6E-409C-BE32-E72D297353CC}">
              <c16:uniqueId val="{00000058-5B14-4065-87DF-4FBA120D31D5}"/>
            </c:ext>
          </c:extLst>
        </c:ser>
        <c:ser>
          <c:idx val="97"/>
          <c:order val="97"/>
          <c:tx>
            <c:strRef>
              <c:f>Tabelle1!$CY$2</c:f>
              <c:strCache>
                <c:ptCount val="1"/>
              </c:strCache>
            </c:strRef>
          </c:tx>
          <c:spPr>
            <a:ln w="28575" cap="rnd">
              <a:solidFill>
                <a:schemeClr val="accent2">
                  <a:lumMod val="7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CY$3:$CY$1319</c:f>
              <c:numCache>
                <c:formatCode>General</c:formatCode>
                <c:ptCount val="1317"/>
              </c:numCache>
            </c:numRef>
          </c:val>
          <c:smooth val="0"/>
          <c:extLst>
            <c:ext xmlns:c16="http://schemas.microsoft.com/office/drawing/2014/chart" uri="{C3380CC4-5D6E-409C-BE32-E72D297353CC}">
              <c16:uniqueId val="{00000059-5B14-4065-87DF-4FBA120D31D5}"/>
            </c:ext>
          </c:extLst>
        </c:ser>
        <c:ser>
          <c:idx val="98"/>
          <c:order val="98"/>
          <c:tx>
            <c:strRef>
              <c:f>Tabelle1!$CZ$2</c:f>
              <c:strCache>
                <c:ptCount val="1"/>
              </c:strCache>
            </c:strRef>
          </c:tx>
          <c:spPr>
            <a:ln w="28575" cap="rnd">
              <a:solidFill>
                <a:schemeClr val="accent3">
                  <a:lumMod val="7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CZ$3:$CZ$1319</c:f>
              <c:numCache>
                <c:formatCode>General</c:formatCode>
                <c:ptCount val="1317"/>
              </c:numCache>
            </c:numRef>
          </c:val>
          <c:smooth val="0"/>
          <c:extLst>
            <c:ext xmlns:c16="http://schemas.microsoft.com/office/drawing/2014/chart" uri="{C3380CC4-5D6E-409C-BE32-E72D297353CC}">
              <c16:uniqueId val="{0000005A-5B14-4065-87DF-4FBA120D31D5}"/>
            </c:ext>
          </c:extLst>
        </c:ser>
        <c:ser>
          <c:idx val="99"/>
          <c:order val="99"/>
          <c:tx>
            <c:strRef>
              <c:f>Tabelle1!$DA$2</c:f>
              <c:strCache>
                <c:ptCount val="1"/>
              </c:strCache>
            </c:strRef>
          </c:tx>
          <c:spPr>
            <a:ln w="28575" cap="rnd">
              <a:solidFill>
                <a:schemeClr val="accent4">
                  <a:lumMod val="7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DA$3:$DA$1319</c:f>
              <c:numCache>
                <c:formatCode>General</c:formatCode>
                <c:ptCount val="1317"/>
              </c:numCache>
            </c:numRef>
          </c:val>
          <c:smooth val="0"/>
          <c:extLst>
            <c:ext xmlns:c16="http://schemas.microsoft.com/office/drawing/2014/chart" uri="{C3380CC4-5D6E-409C-BE32-E72D297353CC}">
              <c16:uniqueId val="{0000005B-5B14-4065-87DF-4FBA120D31D5}"/>
            </c:ext>
          </c:extLst>
        </c:ser>
        <c:ser>
          <c:idx val="100"/>
          <c:order val="100"/>
          <c:tx>
            <c:strRef>
              <c:f>Tabelle1!$DB$2</c:f>
              <c:strCache>
                <c:ptCount val="1"/>
              </c:strCache>
            </c:strRef>
          </c:tx>
          <c:spPr>
            <a:ln w="28575" cap="rnd">
              <a:solidFill>
                <a:schemeClr val="accent5">
                  <a:lumMod val="7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DB$3:$DB$1319</c:f>
              <c:numCache>
                <c:formatCode>General</c:formatCode>
                <c:ptCount val="1317"/>
              </c:numCache>
            </c:numRef>
          </c:val>
          <c:smooth val="0"/>
          <c:extLst>
            <c:ext xmlns:c16="http://schemas.microsoft.com/office/drawing/2014/chart" uri="{C3380CC4-5D6E-409C-BE32-E72D297353CC}">
              <c16:uniqueId val="{0000005C-5B14-4065-87DF-4FBA120D31D5}"/>
            </c:ext>
          </c:extLst>
        </c:ser>
        <c:ser>
          <c:idx val="101"/>
          <c:order val="101"/>
          <c:tx>
            <c:strRef>
              <c:f>Tabelle1!$DC$2</c:f>
              <c:strCache>
                <c:ptCount val="1"/>
              </c:strCache>
            </c:strRef>
          </c:tx>
          <c:spPr>
            <a:ln w="28575" cap="rnd">
              <a:solidFill>
                <a:schemeClr val="accent6">
                  <a:lumMod val="7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DC$3:$DC$1319</c:f>
              <c:numCache>
                <c:formatCode>General</c:formatCode>
                <c:ptCount val="1317"/>
              </c:numCache>
            </c:numRef>
          </c:val>
          <c:smooth val="0"/>
          <c:extLst>
            <c:ext xmlns:c16="http://schemas.microsoft.com/office/drawing/2014/chart" uri="{C3380CC4-5D6E-409C-BE32-E72D297353CC}">
              <c16:uniqueId val="{0000005D-5B14-4065-87DF-4FBA120D31D5}"/>
            </c:ext>
          </c:extLst>
        </c:ser>
        <c:ser>
          <c:idx val="102"/>
          <c:order val="102"/>
          <c:tx>
            <c:strRef>
              <c:f>Tabelle1!$DD$2</c:f>
              <c:strCache>
                <c:ptCount val="1"/>
              </c:strCache>
            </c:strRef>
          </c:tx>
          <c:spPr>
            <a:ln w="28575" cap="rnd">
              <a:solidFill>
                <a:schemeClr val="accent1">
                  <a:lumMod val="50000"/>
                  <a:lumOff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DD$3:$DD$1319</c:f>
              <c:numCache>
                <c:formatCode>General</c:formatCode>
                <c:ptCount val="1317"/>
              </c:numCache>
            </c:numRef>
          </c:val>
          <c:smooth val="0"/>
          <c:extLst>
            <c:ext xmlns:c16="http://schemas.microsoft.com/office/drawing/2014/chart" uri="{C3380CC4-5D6E-409C-BE32-E72D297353CC}">
              <c16:uniqueId val="{0000005E-5B14-4065-87DF-4FBA120D31D5}"/>
            </c:ext>
          </c:extLst>
        </c:ser>
        <c:ser>
          <c:idx val="103"/>
          <c:order val="103"/>
          <c:tx>
            <c:strRef>
              <c:f>Tabelle1!$DE$2</c:f>
              <c:strCache>
                <c:ptCount val="1"/>
              </c:strCache>
            </c:strRef>
          </c:tx>
          <c:spPr>
            <a:ln w="28575" cap="rnd">
              <a:solidFill>
                <a:schemeClr val="accent2">
                  <a:lumMod val="50000"/>
                  <a:lumOff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DE$3:$DE$1319</c:f>
              <c:numCache>
                <c:formatCode>General</c:formatCode>
                <c:ptCount val="1317"/>
              </c:numCache>
            </c:numRef>
          </c:val>
          <c:smooth val="0"/>
          <c:extLst>
            <c:ext xmlns:c16="http://schemas.microsoft.com/office/drawing/2014/chart" uri="{C3380CC4-5D6E-409C-BE32-E72D297353CC}">
              <c16:uniqueId val="{0000005F-5B14-4065-87DF-4FBA120D31D5}"/>
            </c:ext>
          </c:extLst>
        </c:ser>
        <c:ser>
          <c:idx val="104"/>
          <c:order val="104"/>
          <c:tx>
            <c:strRef>
              <c:f>Tabelle1!$DF$2</c:f>
              <c:strCache>
                <c:ptCount val="1"/>
              </c:strCache>
            </c:strRef>
          </c:tx>
          <c:spPr>
            <a:ln w="28575" cap="rnd">
              <a:solidFill>
                <a:schemeClr val="accent3">
                  <a:lumMod val="50000"/>
                  <a:lumOff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DF$3:$DF$1319</c:f>
              <c:numCache>
                <c:formatCode>General</c:formatCode>
                <c:ptCount val="1317"/>
              </c:numCache>
            </c:numRef>
          </c:val>
          <c:smooth val="0"/>
          <c:extLst>
            <c:ext xmlns:c16="http://schemas.microsoft.com/office/drawing/2014/chart" uri="{C3380CC4-5D6E-409C-BE32-E72D297353CC}">
              <c16:uniqueId val="{00000060-5B14-4065-87DF-4FBA120D31D5}"/>
            </c:ext>
          </c:extLst>
        </c:ser>
        <c:ser>
          <c:idx val="105"/>
          <c:order val="105"/>
          <c:tx>
            <c:strRef>
              <c:f>Tabelle1!$DG$2</c:f>
              <c:strCache>
                <c:ptCount val="1"/>
              </c:strCache>
            </c:strRef>
          </c:tx>
          <c:spPr>
            <a:ln w="28575" cap="rnd">
              <a:solidFill>
                <a:schemeClr val="accent4">
                  <a:lumMod val="50000"/>
                  <a:lumOff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DG$3:$DG$1319</c:f>
              <c:numCache>
                <c:formatCode>General</c:formatCode>
                <c:ptCount val="1317"/>
              </c:numCache>
            </c:numRef>
          </c:val>
          <c:smooth val="0"/>
          <c:extLst>
            <c:ext xmlns:c16="http://schemas.microsoft.com/office/drawing/2014/chart" uri="{C3380CC4-5D6E-409C-BE32-E72D297353CC}">
              <c16:uniqueId val="{00000061-5B14-4065-87DF-4FBA120D31D5}"/>
            </c:ext>
          </c:extLst>
        </c:ser>
        <c:ser>
          <c:idx val="106"/>
          <c:order val="106"/>
          <c:tx>
            <c:strRef>
              <c:f>Tabelle1!$DH$2</c:f>
              <c:strCache>
                <c:ptCount val="1"/>
              </c:strCache>
            </c:strRef>
          </c:tx>
          <c:spPr>
            <a:ln w="28575" cap="rnd">
              <a:solidFill>
                <a:schemeClr val="accent5">
                  <a:lumMod val="50000"/>
                  <a:lumOff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DH$3:$DH$1319</c:f>
              <c:numCache>
                <c:formatCode>General</c:formatCode>
                <c:ptCount val="1317"/>
              </c:numCache>
            </c:numRef>
          </c:val>
          <c:smooth val="0"/>
          <c:extLst>
            <c:ext xmlns:c16="http://schemas.microsoft.com/office/drawing/2014/chart" uri="{C3380CC4-5D6E-409C-BE32-E72D297353CC}">
              <c16:uniqueId val="{00000062-5B14-4065-87DF-4FBA120D31D5}"/>
            </c:ext>
          </c:extLst>
        </c:ser>
        <c:ser>
          <c:idx val="107"/>
          <c:order val="107"/>
          <c:tx>
            <c:strRef>
              <c:f>Tabelle1!$DI$2</c:f>
              <c:strCache>
                <c:ptCount val="1"/>
              </c:strCache>
            </c:strRef>
          </c:tx>
          <c:spPr>
            <a:ln w="28575" cap="rnd">
              <a:solidFill>
                <a:schemeClr val="accent6">
                  <a:lumMod val="50000"/>
                  <a:lumOff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DI$3:$DI$1319</c:f>
              <c:numCache>
                <c:formatCode>General</c:formatCode>
                <c:ptCount val="1317"/>
              </c:numCache>
            </c:numRef>
          </c:val>
          <c:smooth val="0"/>
          <c:extLst>
            <c:ext xmlns:c16="http://schemas.microsoft.com/office/drawing/2014/chart" uri="{C3380CC4-5D6E-409C-BE32-E72D297353CC}">
              <c16:uniqueId val="{00000063-5B14-4065-87DF-4FBA120D31D5}"/>
            </c:ext>
          </c:extLst>
        </c:ser>
        <c:ser>
          <c:idx val="108"/>
          <c:order val="108"/>
          <c:tx>
            <c:strRef>
              <c:f>Tabelle1!$DJ$2</c:f>
              <c:strCache>
                <c:ptCount val="1"/>
              </c:strCache>
            </c:strRef>
          </c:tx>
          <c:spPr>
            <a:ln w="28575" cap="rnd">
              <a:solidFill>
                <a:schemeClr val="accent1"/>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DJ$3:$DJ$1319</c:f>
              <c:numCache>
                <c:formatCode>General</c:formatCode>
                <c:ptCount val="1317"/>
              </c:numCache>
            </c:numRef>
          </c:val>
          <c:smooth val="0"/>
          <c:extLst>
            <c:ext xmlns:c16="http://schemas.microsoft.com/office/drawing/2014/chart" uri="{C3380CC4-5D6E-409C-BE32-E72D297353CC}">
              <c16:uniqueId val="{00000064-5B14-4065-87DF-4FBA120D31D5}"/>
            </c:ext>
          </c:extLst>
        </c:ser>
        <c:ser>
          <c:idx val="109"/>
          <c:order val="109"/>
          <c:tx>
            <c:strRef>
              <c:f>Tabelle1!$DK$2</c:f>
              <c:strCache>
                <c:ptCount val="1"/>
              </c:strCache>
            </c:strRef>
          </c:tx>
          <c:spPr>
            <a:ln w="28575" cap="rnd">
              <a:solidFill>
                <a:schemeClr val="accent2"/>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DK$3:$DK$1319</c:f>
              <c:numCache>
                <c:formatCode>General</c:formatCode>
                <c:ptCount val="1317"/>
              </c:numCache>
            </c:numRef>
          </c:val>
          <c:smooth val="0"/>
          <c:extLst>
            <c:ext xmlns:c16="http://schemas.microsoft.com/office/drawing/2014/chart" uri="{C3380CC4-5D6E-409C-BE32-E72D297353CC}">
              <c16:uniqueId val="{00000065-5B14-4065-87DF-4FBA120D31D5}"/>
            </c:ext>
          </c:extLst>
        </c:ser>
        <c:ser>
          <c:idx val="110"/>
          <c:order val="110"/>
          <c:tx>
            <c:strRef>
              <c:f>Tabelle1!$DL$2</c:f>
              <c:strCache>
                <c:ptCount val="1"/>
              </c:strCache>
            </c:strRef>
          </c:tx>
          <c:spPr>
            <a:ln w="28575" cap="rnd">
              <a:solidFill>
                <a:schemeClr val="accent3"/>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DL$3:$DL$1319</c:f>
              <c:numCache>
                <c:formatCode>General</c:formatCode>
                <c:ptCount val="1317"/>
              </c:numCache>
            </c:numRef>
          </c:val>
          <c:smooth val="0"/>
          <c:extLst>
            <c:ext xmlns:c16="http://schemas.microsoft.com/office/drawing/2014/chart" uri="{C3380CC4-5D6E-409C-BE32-E72D297353CC}">
              <c16:uniqueId val="{00000066-5B14-4065-87DF-4FBA120D31D5}"/>
            </c:ext>
          </c:extLst>
        </c:ser>
        <c:ser>
          <c:idx val="111"/>
          <c:order val="111"/>
          <c:tx>
            <c:strRef>
              <c:f>Tabelle1!$DM$2</c:f>
              <c:strCache>
                <c:ptCount val="1"/>
              </c:strCache>
            </c:strRef>
          </c:tx>
          <c:spPr>
            <a:ln w="28575" cap="rnd">
              <a:solidFill>
                <a:schemeClr val="accent4"/>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DM$3:$DM$1319</c:f>
              <c:numCache>
                <c:formatCode>General</c:formatCode>
                <c:ptCount val="1317"/>
              </c:numCache>
            </c:numRef>
          </c:val>
          <c:smooth val="0"/>
          <c:extLst>
            <c:ext xmlns:c16="http://schemas.microsoft.com/office/drawing/2014/chart" uri="{C3380CC4-5D6E-409C-BE32-E72D297353CC}">
              <c16:uniqueId val="{00000067-5B14-4065-87DF-4FBA120D31D5}"/>
            </c:ext>
          </c:extLst>
        </c:ser>
        <c:ser>
          <c:idx val="112"/>
          <c:order val="112"/>
          <c:tx>
            <c:strRef>
              <c:f>Tabelle1!$DN$2</c:f>
              <c:strCache>
                <c:ptCount val="1"/>
              </c:strCache>
            </c:strRef>
          </c:tx>
          <c:spPr>
            <a:ln w="28575" cap="rnd">
              <a:solidFill>
                <a:schemeClr val="accent5"/>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DN$3:$DN$1319</c:f>
              <c:numCache>
                <c:formatCode>General</c:formatCode>
                <c:ptCount val="1317"/>
              </c:numCache>
            </c:numRef>
          </c:val>
          <c:smooth val="0"/>
          <c:extLst>
            <c:ext xmlns:c16="http://schemas.microsoft.com/office/drawing/2014/chart" uri="{C3380CC4-5D6E-409C-BE32-E72D297353CC}">
              <c16:uniqueId val="{00000068-5B14-4065-87DF-4FBA120D31D5}"/>
            </c:ext>
          </c:extLst>
        </c:ser>
        <c:ser>
          <c:idx val="113"/>
          <c:order val="113"/>
          <c:tx>
            <c:strRef>
              <c:f>Tabelle1!$DO$2</c:f>
              <c:strCache>
                <c:ptCount val="1"/>
              </c:strCache>
            </c:strRef>
          </c:tx>
          <c:spPr>
            <a:ln w="28575" cap="rnd">
              <a:solidFill>
                <a:schemeClr val="accent6"/>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DO$3:$DO$1319</c:f>
              <c:numCache>
                <c:formatCode>General</c:formatCode>
                <c:ptCount val="1317"/>
              </c:numCache>
            </c:numRef>
          </c:val>
          <c:smooth val="0"/>
          <c:extLst>
            <c:ext xmlns:c16="http://schemas.microsoft.com/office/drawing/2014/chart" uri="{C3380CC4-5D6E-409C-BE32-E72D297353CC}">
              <c16:uniqueId val="{00000069-5B14-4065-87DF-4FBA120D31D5}"/>
            </c:ext>
          </c:extLst>
        </c:ser>
        <c:ser>
          <c:idx val="114"/>
          <c:order val="114"/>
          <c:tx>
            <c:strRef>
              <c:f>Tabelle1!$DP$2</c:f>
              <c:strCache>
                <c:ptCount val="1"/>
              </c:strCache>
            </c:strRef>
          </c:tx>
          <c:spPr>
            <a:ln w="28575" cap="rnd">
              <a:solidFill>
                <a:schemeClr val="accent1">
                  <a:lumMod val="6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DP$3:$DP$1319</c:f>
              <c:numCache>
                <c:formatCode>General</c:formatCode>
                <c:ptCount val="1317"/>
              </c:numCache>
            </c:numRef>
          </c:val>
          <c:smooth val="0"/>
          <c:extLst>
            <c:ext xmlns:c16="http://schemas.microsoft.com/office/drawing/2014/chart" uri="{C3380CC4-5D6E-409C-BE32-E72D297353CC}">
              <c16:uniqueId val="{0000006A-5B14-4065-87DF-4FBA120D31D5}"/>
            </c:ext>
          </c:extLst>
        </c:ser>
        <c:ser>
          <c:idx val="115"/>
          <c:order val="115"/>
          <c:tx>
            <c:strRef>
              <c:f>Tabelle1!$DQ$2</c:f>
              <c:strCache>
                <c:ptCount val="1"/>
              </c:strCache>
            </c:strRef>
          </c:tx>
          <c:spPr>
            <a:ln w="28575" cap="rnd">
              <a:solidFill>
                <a:schemeClr val="accent2">
                  <a:lumMod val="6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DQ$3:$DQ$1319</c:f>
              <c:numCache>
                <c:formatCode>General</c:formatCode>
                <c:ptCount val="1317"/>
              </c:numCache>
            </c:numRef>
          </c:val>
          <c:smooth val="0"/>
          <c:extLst>
            <c:ext xmlns:c16="http://schemas.microsoft.com/office/drawing/2014/chart" uri="{C3380CC4-5D6E-409C-BE32-E72D297353CC}">
              <c16:uniqueId val="{0000006B-5B14-4065-87DF-4FBA120D31D5}"/>
            </c:ext>
          </c:extLst>
        </c:ser>
        <c:ser>
          <c:idx val="116"/>
          <c:order val="116"/>
          <c:tx>
            <c:strRef>
              <c:f>Tabelle1!$DR$2</c:f>
              <c:strCache>
                <c:ptCount val="1"/>
              </c:strCache>
            </c:strRef>
          </c:tx>
          <c:spPr>
            <a:ln w="28575" cap="rnd">
              <a:solidFill>
                <a:schemeClr val="accent3">
                  <a:lumMod val="6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DR$3:$DR$1319</c:f>
              <c:numCache>
                <c:formatCode>General</c:formatCode>
                <c:ptCount val="1317"/>
              </c:numCache>
            </c:numRef>
          </c:val>
          <c:smooth val="0"/>
          <c:extLst>
            <c:ext xmlns:c16="http://schemas.microsoft.com/office/drawing/2014/chart" uri="{C3380CC4-5D6E-409C-BE32-E72D297353CC}">
              <c16:uniqueId val="{0000006C-5B14-4065-87DF-4FBA120D31D5}"/>
            </c:ext>
          </c:extLst>
        </c:ser>
        <c:ser>
          <c:idx val="117"/>
          <c:order val="117"/>
          <c:tx>
            <c:strRef>
              <c:f>Tabelle1!$DS$2</c:f>
              <c:strCache>
                <c:ptCount val="1"/>
              </c:strCache>
            </c:strRef>
          </c:tx>
          <c:spPr>
            <a:ln w="28575" cap="rnd">
              <a:solidFill>
                <a:schemeClr val="accent4">
                  <a:lumMod val="6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DS$3:$DS$1319</c:f>
              <c:numCache>
                <c:formatCode>General</c:formatCode>
                <c:ptCount val="1317"/>
              </c:numCache>
            </c:numRef>
          </c:val>
          <c:smooth val="0"/>
          <c:extLst>
            <c:ext xmlns:c16="http://schemas.microsoft.com/office/drawing/2014/chart" uri="{C3380CC4-5D6E-409C-BE32-E72D297353CC}">
              <c16:uniqueId val="{0000006D-5B14-4065-87DF-4FBA120D31D5}"/>
            </c:ext>
          </c:extLst>
        </c:ser>
        <c:ser>
          <c:idx val="118"/>
          <c:order val="118"/>
          <c:tx>
            <c:strRef>
              <c:f>Tabelle1!$DT$2</c:f>
              <c:strCache>
                <c:ptCount val="1"/>
              </c:strCache>
            </c:strRef>
          </c:tx>
          <c:spPr>
            <a:ln w="28575" cap="rnd">
              <a:solidFill>
                <a:schemeClr val="accent5">
                  <a:lumMod val="6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DT$3:$DT$1319</c:f>
              <c:numCache>
                <c:formatCode>General</c:formatCode>
                <c:ptCount val="1317"/>
              </c:numCache>
            </c:numRef>
          </c:val>
          <c:smooth val="0"/>
          <c:extLst>
            <c:ext xmlns:c16="http://schemas.microsoft.com/office/drawing/2014/chart" uri="{C3380CC4-5D6E-409C-BE32-E72D297353CC}">
              <c16:uniqueId val="{0000006E-5B14-4065-87DF-4FBA120D31D5}"/>
            </c:ext>
          </c:extLst>
        </c:ser>
        <c:ser>
          <c:idx val="119"/>
          <c:order val="119"/>
          <c:tx>
            <c:strRef>
              <c:f>Tabelle1!$DU$2</c:f>
              <c:strCache>
                <c:ptCount val="1"/>
              </c:strCache>
            </c:strRef>
          </c:tx>
          <c:spPr>
            <a:ln w="28575" cap="rnd">
              <a:solidFill>
                <a:schemeClr val="accent6">
                  <a:lumMod val="6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DU$3:$DU$1319</c:f>
              <c:numCache>
                <c:formatCode>General</c:formatCode>
                <c:ptCount val="1317"/>
              </c:numCache>
            </c:numRef>
          </c:val>
          <c:smooth val="0"/>
          <c:extLst>
            <c:ext xmlns:c16="http://schemas.microsoft.com/office/drawing/2014/chart" uri="{C3380CC4-5D6E-409C-BE32-E72D297353CC}">
              <c16:uniqueId val="{0000006F-5B14-4065-87DF-4FBA120D31D5}"/>
            </c:ext>
          </c:extLst>
        </c:ser>
        <c:ser>
          <c:idx val="120"/>
          <c:order val="120"/>
          <c:tx>
            <c:strRef>
              <c:f>Tabelle1!$DV$2</c:f>
              <c:strCache>
                <c:ptCount val="1"/>
              </c:strCache>
            </c:strRef>
          </c:tx>
          <c:spPr>
            <a:ln w="28575" cap="rnd">
              <a:solidFill>
                <a:schemeClr val="accent1">
                  <a:lumMod val="80000"/>
                  <a:lumOff val="2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DV$3:$DV$1319</c:f>
              <c:numCache>
                <c:formatCode>General</c:formatCode>
                <c:ptCount val="1317"/>
              </c:numCache>
            </c:numRef>
          </c:val>
          <c:smooth val="0"/>
          <c:extLst>
            <c:ext xmlns:c16="http://schemas.microsoft.com/office/drawing/2014/chart" uri="{C3380CC4-5D6E-409C-BE32-E72D297353CC}">
              <c16:uniqueId val="{00000070-5B14-4065-87DF-4FBA120D31D5}"/>
            </c:ext>
          </c:extLst>
        </c:ser>
        <c:ser>
          <c:idx val="121"/>
          <c:order val="121"/>
          <c:tx>
            <c:strRef>
              <c:f>Tabelle1!$DW$2</c:f>
              <c:strCache>
                <c:ptCount val="1"/>
              </c:strCache>
            </c:strRef>
          </c:tx>
          <c:spPr>
            <a:ln w="28575" cap="rnd">
              <a:solidFill>
                <a:schemeClr val="accent2">
                  <a:lumMod val="80000"/>
                  <a:lumOff val="2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DW$3:$DW$1319</c:f>
              <c:numCache>
                <c:formatCode>General</c:formatCode>
                <c:ptCount val="1317"/>
              </c:numCache>
            </c:numRef>
          </c:val>
          <c:smooth val="0"/>
          <c:extLst>
            <c:ext xmlns:c16="http://schemas.microsoft.com/office/drawing/2014/chart" uri="{C3380CC4-5D6E-409C-BE32-E72D297353CC}">
              <c16:uniqueId val="{00000071-5B14-4065-87DF-4FBA120D31D5}"/>
            </c:ext>
          </c:extLst>
        </c:ser>
        <c:ser>
          <c:idx val="122"/>
          <c:order val="122"/>
          <c:tx>
            <c:strRef>
              <c:f>Tabelle1!$DX$2</c:f>
              <c:strCache>
                <c:ptCount val="1"/>
              </c:strCache>
            </c:strRef>
          </c:tx>
          <c:spPr>
            <a:ln w="28575" cap="rnd">
              <a:solidFill>
                <a:schemeClr val="accent3">
                  <a:lumMod val="80000"/>
                  <a:lumOff val="2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DX$3:$DX$1319</c:f>
              <c:numCache>
                <c:formatCode>General</c:formatCode>
                <c:ptCount val="1317"/>
              </c:numCache>
            </c:numRef>
          </c:val>
          <c:smooth val="0"/>
          <c:extLst>
            <c:ext xmlns:c16="http://schemas.microsoft.com/office/drawing/2014/chart" uri="{C3380CC4-5D6E-409C-BE32-E72D297353CC}">
              <c16:uniqueId val="{00000072-5B14-4065-87DF-4FBA120D31D5}"/>
            </c:ext>
          </c:extLst>
        </c:ser>
        <c:ser>
          <c:idx val="123"/>
          <c:order val="123"/>
          <c:tx>
            <c:strRef>
              <c:f>Tabelle1!$DY$2</c:f>
              <c:strCache>
                <c:ptCount val="1"/>
              </c:strCache>
            </c:strRef>
          </c:tx>
          <c:spPr>
            <a:ln w="28575" cap="rnd">
              <a:solidFill>
                <a:schemeClr val="accent4">
                  <a:lumMod val="80000"/>
                  <a:lumOff val="2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DY$3:$DY$1319</c:f>
              <c:numCache>
                <c:formatCode>General</c:formatCode>
                <c:ptCount val="1317"/>
              </c:numCache>
            </c:numRef>
          </c:val>
          <c:smooth val="0"/>
          <c:extLst>
            <c:ext xmlns:c16="http://schemas.microsoft.com/office/drawing/2014/chart" uri="{C3380CC4-5D6E-409C-BE32-E72D297353CC}">
              <c16:uniqueId val="{00000073-5B14-4065-87DF-4FBA120D31D5}"/>
            </c:ext>
          </c:extLst>
        </c:ser>
        <c:ser>
          <c:idx val="124"/>
          <c:order val="124"/>
          <c:tx>
            <c:strRef>
              <c:f>Tabelle1!$DZ$2</c:f>
              <c:strCache>
                <c:ptCount val="1"/>
              </c:strCache>
            </c:strRef>
          </c:tx>
          <c:spPr>
            <a:ln w="28575" cap="rnd">
              <a:solidFill>
                <a:schemeClr val="accent5">
                  <a:lumMod val="80000"/>
                  <a:lumOff val="2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DZ$3:$DZ$1319</c:f>
              <c:numCache>
                <c:formatCode>General</c:formatCode>
                <c:ptCount val="1317"/>
              </c:numCache>
            </c:numRef>
          </c:val>
          <c:smooth val="0"/>
          <c:extLst>
            <c:ext xmlns:c16="http://schemas.microsoft.com/office/drawing/2014/chart" uri="{C3380CC4-5D6E-409C-BE32-E72D297353CC}">
              <c16:uniqueId val="{00000074-5B14-4065-87DF-4FBA120D31D5}"/>
            </c:ext>
          </c:extLst>
        </c:ser>
        <c:ser>
          <c:idx val="125"/>
          <c:order val="125"/>
          <c:tx>
            <c:strRef>
              <c:f>Tabelle1!$EA$2</c:f>
              <c:strCache>
                <c:ptCount val="1"/>
              </c:strCache>
            </c:strRef>
          </c:tx>
          <c:spPr>
            <a:ln w="28575" cap="rnd">
              <a:solidFill>
                <a:schemeClr val="accent6">
                  <a:lumMod val="80000"/>
                  <a:lumOff val="2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EA$3:$EA$1319</c:f>
              <c:numCache>
                <c:formatCode>General</c:formatCode>
                <c:ptCount val="1317"/>
              </c:numCache>
            </c:numRef>
          </c:val>
          <c:smooth val="0"/>
          <c:extLst>
            <c:ext xmlns:c16="http://schemas.microsoft.com/office/drawing/2014/chart" uri="{C3380CC4-5D6E-409C-BE32-E72D297353CC}">
              <c16:uniqueId val="{00000075-5B14-4065-87DF-4FBA120D31D5}"/>
            </c:ext>
          </c:extLst>
        </c:ser>
        <c:ser>
          <c:idx val="126"/>
          <c:order val="126"/>
          <c:tx>
            <c:strRef>
              <c:f>Tabelle1!$EB$2</c:f>
              <c:strCache>
                <c:ptCount val="1"/>
              </c:strCache>
            </c:strRef>
          </c:tx>
          <c:spPr>
            <a:ln w="28575" cap="rnd">
              <a:solidFill>
                <a:schemeClr val="accent1">
                  <a:lumMod val="8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EB$3:$EB$1319</c:f>
              <c:numCache>
                <c:formatCode>General</c:formatCode>
                <c:ptCount val="1317"/>
              </c:numCache>
            </c:numRef>
          </c:val>
          <c:smooth val="0"/>
          <c:extLst>
            <c:ext xmlns:c16="http://schemas.microsoft.com/office/drawing/2014/chart" uri="{C3380CC4-5D6E-409C-BE32-E72D297353CC}">
              <c16:uniqueId val="{00000076-5B14-4065-87DF-4FBA120D31D5}"/>
            </c:ext>
          </c:extLst>
        </c:ser>
        <c:ser>
          <c:idx val="127"/>
          <c:order val="127"/>
          <c:tx>
            <c:strRef>
              <c:f>Tabelle1!$EC$2</c:f>
              <c:strCache>
                <c:ptCount val="1"/>
              </c:strCache>
            </c:strRef>
          </c:tx>
          <c:spPr>
            <a:ln w="28575" cap="rnd">
              <a:solidFill>
                <a:schemeClr val="accent2">
                  <a:lumMod val="8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EC$3:$EC$1319</c:f>
              <c:numCache>
                <c:formatCode>General</c:formatCode>
                <c:ptCount val="1317"/>
              </c:numCache>
            </c:numRef>
          </c:val>
          <c:smooth val="0"/>
          <c:extLst>
            <c:ext xmlns:c16="http://schemas.microsoft.com/office/drawing/2014/chart" uri="{C3380CC4-5D6E-409C-BE32-E72D297353CC}">
              <c16:uniqueId val="{00000077-5B14-4065-87DF-4FBA120D31D5}"/>
            </c:ext>
          </c:extLst>
        </c:ser>
        <c:ser>
          <c:idx val="128"/>
          <c:order val="128"/>
          <c:tx>
            <c:strRef>
              <c:f>Tabelle1!$ED$2</c:f>
              <c:strCache>
                <c:ptCount val="1"/>
              </c:strCache>
            </c:strRef>
          </c:tx>
          <c:spPr>
            <a:ln w="28575" cap="rnd">
              <a:solidFill>
                <a:schemeClr val="accent3">
                  <a:lumMod val="8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ED$3:$ED$1319</c:f>
              <c:numCache>
                <c:formatCode>General</c:formatCode>
                <c:ptCount val="1317"/>
              </c:numCache>
            </c:numRef>
          </c:val>
          <c:smooth val="0"/>
          <c:extLst>
            <c:ext xmlns:c16="http://schemas.microsoft.com/office/drawing/2014/chart" uri="{C3380CC4-5D6E-409C-BE32-E72D297353CC}">
              <c16:uniqueId val="{00000078-5B14-4065-87DF-4FBA120D31D5}"/>
            </c:ext>
          </c:extLst>
        </c:ser>
        <c:ser>
          <c:idx val="129"/>
          <c:order val="129"/>
          <c:tx>
            <c:strRef>
              <c:f>Tabelle1!$EE$2</c:f>
              <c:strCache>
                <c:ptCount val="1"/>
              </c:strCache>
            </c:strRef>
          </c:tx>
          <c:spPr>
            <a:ln w="28575" cap="rnd">
              <a:solidFill>
                <a:schemeClr val="accent4">
                  <a:lumMod val="8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EE$3:$EE$1319</c:f>
              <c:numCache>
                <c:formatCode>General</c:formatCode>
                <c:ptCount val="1317"/>
              </c:numCache>
            </c:numRef>
          </c:val>
          <c:smooth val="0"/>
          <c:extLst>
            <c:ext xmlns:c16="http://schemas.microsoft.com/office/drawing/2014/chart" uri="{C3380CC4-5D6E-409C-BE32-E72D297353CC}">
              <c16:uniqueId val="{00000079-5B14-4065-87DF-4FBA120D31D5}"/>
            </c:ext>
          </c:extLst>
        </c:ser>
        <c:ser>
          <c:idx val="130"/>
          <c:order val="130"/>
          <c:tx>
            <c:strRef>
              <c:f>Tabelle1!$EF$2</c:f>
              <c:strCache>
                <c:ptCount val="1"/>
              </c:strCache>
            </c:strRef>
          </c:tx>
          <c:spPr>
            <a:ln w="28575" cap="rnd">
              <a:solidFill>
                <a:schemeClr val="accent5">
                  <a:lumMod val="8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EF$3:$EF$1319</c:f>
              <c:numCache>
                <c:formatCode>General</c:formatCode>
                <c:ptCount val="1317"/>
              </c:numCache>
            </c:numRef>
          </c:val>
          <c:smooth val="0"/>
          <c:extLst>
            <c:ext xmlns:c16="http://schemas.microsoft.com/office/drawing/2014/chart" uri="{C3380CC4-5D6E-409C-BE32-E72D297353CC}">
              <c16:uniqueId val="{0000007A-5B14-4065-87DF-4FBA120D31D5}"/>
            </c:ext>
          </c:extLst>
        </c:ser>
        <c:ser>
          <c:idx val="131"/>
          <c:order val="131"/>
          <c:tx>
            <c:strRef>
              <c:f>Tabelle1!$EG$2</c:f>
              <c:strCache>
                <c:ptCount val="1"/>
              </c:strCache>
            </c:strRef>
          </c:tx>
          <c:spPr>
            <a:ln w="28575" cap="rnd">
              <a:solidFill>
                <a:schemeClr val="accent6">
                  <a:lumMod val="8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EG$3:$EG$1319</c:f>
              <c:numCache>
                <c:formatCode>General</c:formatCode>
                <c:ptCount val="1317"/>
              </c:numCache>
            </c:numRef>
          </c:val>
          <c:smooth val="0"/>
          <c:extLst>
            <c:ext xmlns:c16="http://schemas.microsoft.com/office/drawing/2014/chart" uri="{C3380CC4-5D6E-409C-BE32-E72D297353CC}">
              <c16:uniqueId val="{0000007B-5B14-4065-87DF-4FBA120D31D5}"/>
            </c:ext>
          </c:extLst>
        </c:ser>
        <c:ser>
          <c:idx val="132"/>
          <c:order val="132"/>
          <c:tx>
            <c:strRef>
              <c:f>Tabelle1!$EH$2</c:f>
              <c:strCache>
                <c:ptCount val="1"/>
              </c:strCache>
            </c:strRef>
          </c:tx>
          <c:spPr>
            <a:ln w="28575" cap="rnd">
              <a:solidFill>
                <a:schemeClr val="accent1">
                  <a:lumMod val="60000"/>
                  <a:lumOff val="4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EH$3:$EH$1319</c:f>
              <c:numCache>
                <c:formatCode>General</c:formatCode>
                <c:ptCount val="1317"/>
              </c:numCache>
            </c:numRef>
          </c:val>
          <c:smooth val="0"/>
          <c:extLst>
            <c:ext xmlns:c16="http://schemas.microsoft.com/office/drawing/2014/chart" uri="{C3380CC4-5D6E-409C-BE32-E72D297353CC}">
              <c16:uniqueId val="{0000007C-5B14-4065-87DF-4FBA120D31D5}"/>
            </c:ext>
          </c:extLst>
        </c:ser>
        <c:ser>
          <c:idx val="133"/>
          <c:order val="133"/>
          <c:tx>
            <c:strRef>
              <c:f>Tabelle1!$EI$2</c:f>
              <c:strCache>
                <c:ptCount val="1"/>
              </c:strCache>
            </c:strRef>
          </c:tx>
          <c:spPr>
            <a:ln w="28575" cap="rnd">
              <a:solidFill>
                <a:schemeClr val="accent2">
                  <a:lumMod val="60000"/>
                  <a:lumOff val="4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EI$3:$EI$1319</c:f>
              <c:numCache>
                <c:formatCode>General</c:formatCode>
                <c:ptCount val="1317"/>
              </c:numCache>
            </c:numRef>
          </c:val>
          <c:smooth val="0"/>
          <c:extLst>
            <c:ext xmlns:c16="http://schemas.microsoft.com/office/drawing/2014/chart" uri="{C3380CC4-5D6E-409C-BE32-E72D297353CC}">
              <c16:uniqueId val="{0000007D-5B14-4065-87DF-4FBA120D31D5}"/>
            </c:ext>
          </c:extLst>
        </c:ser>
        <c:ser>
          <c:idx val="134"/>
          <c:order val="134"/>
          <c:tx>
            <c:strRef>
              <c:f>Tabelle1!$EJ$2</c:f>
              <c:strCache>
                <c:ptCount val="1"/>
              </c:strCache>
            </c:strRef>
          </c:tx>
          <c:spPr>
            <a:ln w="28575" cap="rnd">
              <a:solidFill>
                <a:schemeClr val="accent3">
                  <a:lumMod val="60000"/>
                  <a:lumOff val="4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EJ$3:$EJ$1319</c:f>
              <c:numCache>
                <c:formatCode>General</c:formatCode>
                <c:ptCount val="1317"/>
              </c:numCache>
            </c:numRef>
          </c:val>
          <c:smooth val="0"/>
          <c:extLst>
            <c:ext xmlns:c16="http://schemas.microsoft.com/office/drawing/2014/chart" uri="{C3380CC4-5D6E-409C-BE32-E72D297353CC}">
              <c16:uniqueId val="{0000007E-5B14-4065-87DF-4FBA120D31D5}"/>
            </c:ext>
          </c:extLst>
        </c:ser>
        <c:ser>
          <c:idx val="135"/>
          <c:order val="135"/>
          <c:tx>
            <c:strRef>
              <c:f>Tabelle1!$EK$2</c:f>
              <c:strCache>
                <c:ptCount val="1"/>
              </c:strCache>
            </c:strRef>
          </c:tx>
          <c:spPr>
            <a:ln w="28575" cap="rnd">
              <a:solidFill>
                <a:schemeClr val="accent4">
                  <a:lumMod val="60000"/>
                  <a:lumOff val="4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EK$3:$EK$1319</c:f>
              <c:numCache>
                <c:formatCode>General</c:formatCode>
                <c:ptCount val="1317"/>
              </c:numCache>
            </c:numRef>
          </c:val>
          <c:smooth val="0"/>
          <c:extLst>
            <c:ext xmlns:c16="http://schemas.microsoft.com/office/drawing/2014/chart" uri="{C3380CC4-5D6E-409C-BE32-E72D297353CC}">
              <c16:uniqueId val="{0000007F-5B14-4065-87DF-4FBA120D31D5}"/>
            </c:ext>
          </c:extLst>
        </c:ser>
        <c:ser>
          <c:idx val="136"/>
          <c:order val="136"/>
          <c:tx>
            <c:strRef>
              <c:f>Tabelle1!$EL$2</c:f>
              <c:strCache>
                <c:ptCount val="1"/>
              </c:strCache>
            </c:strRef>
          </c:tx>
          <c:spPr>
            <a:ln w="28575" cap="rnd">
              <a:solidFill>
                <a:schemeClr val="accent5">
                  <a:lumMod val="60000"/>
                  <a:lumOff val="4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EL$3:$EL$1319</c:f>
              <c:numCache>
                <c:formatCode>General</c:formatCode>
                <c:ptCount val="1317"/>
              </c:numCache>
            </c:numRef>
          </c:val>
          <c:smooth val="0"/>
          <c:extLst>
            <c:ext xmlns:c16="http://schemas.microsoft.com/office/drawing/2014/chart" uri="{C3380CC4-5D6E-409C-BE32-E72D297353CC}">
              <c16:uniqueId val="{00000080-5B14-4065-87DF-4FBA120D31D5}"/>
            </c:ext>
          </c:extLst>
        </c:ser>
        <c:ser>
          <c:idx val="137"/>
          <c:order val="137"/>
          <c:tx>
            <c:strRef>
              <c:f>Tabelle1!$EM$2</c:f>
              <c:strCache>
                <c:ptCount val="1"/>
              </c:strCache>
            </c:strRef>
          </c:tx>
          <c:spPr>
            <a:ln w="28575" cap="rnd">
              <a:solidFill>
                <a:schemeClr val="accent6">
                  <a:lumMod val="60000"/>
                  <a:lumOff val="4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EM$3:$EM$1319</c:f>
              <c:numCache>
                <c:formatCode>General</c:formatCode>
                <c:ptCount val="1317"/>
              </c:numCache>
            </c:numRef>
          </c:val>
          <c:smooth val="0"/>
          <c:extLst>
            <c:ext xmlns:c16="http://schemas.microsoft.com/office/drawing/2014/chart" uri="{C3380CC4-5D6E-409C-BE32-E72D297353CC}">
              <c16:uniqueId val="{00000081-5B14-4065-87DF-4FBA120D31D5}"/>
            </c:ext>
          </c:extLst>
        </c:ser>
        <c:ser>
          <c:idx val="138"/>
          <c:order val="138"/>
          <c:tx>
            <c:strRef>
              <c:f>Tabelle1!$EN$2</c:f>
              <c:strCache>
                <c:ptCount val="1"/>
              </c:strCache>
            </c:strRef>
          </c:tx>
          <c:spPr>
            <a:ln w="28575" cap="rnd">
              <a:solidFill>
                <a:schemeClr val="accent1">
                  <a:lumMod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EN$3:$EN$1319</c:f>
              <c:numCache>
                <c:formatCode>General</c:formatCode>
                <c:ptCount val="1317"/>
              </c:numCache>
            </c:numRef>
          </c:val>
          <c:smooth val="0"/>
          <c:extLst>
            <c:ext xmlns:c16="http://schemas.microsoft.com/office/drawing/2014/chart" uri="{C3380CC4-5D6E-409C-BE32-E72D297353CC}">
              <c16:uniqueId val="{00000082-5B14-4065-87DF-4FBA120D31D5}"/>
            </c:ext>
          </c:extLst>
        </c:ser>
        <c:ser>
          <c:idx val="139"/>
          <c:order val="139"/>
          <c:tx>
            <c:strRef>
              <c:f>Tabelle1!$EO$2</c:f>
              <c:strCache>
                <c:ptCount val="1"/>
              </c:strCache>
            </c:strRef>
          </c:tx>
          <c:spPr>
            <a:ln w="28575" cap="rnd">
              <a:solidFill>
                <a:schemeClr val="accent2">
                  <a:lumMod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EO$3:$EO$1319</c:f>
              <c:numCache>
                <c:formatCode>General</c:formatCode>
                <c:ptCount val="1317"/>
              </c:numCache>
            </c:numRef>
          </c:val>
          <c:smooth val="0"/>
          <c:extLst>
            <c:ext xmlns:c16="http://schemas.microsoft.com/office/drawing/2014/chart" uri="{C3380CC4-5D6E-409C-BE32-E72D297353CC}">
              <c16:uniqueId val="{00000083-5B14-4065-87DF-4FBA120D31D5}"/>
            </c:ext>
          </c:extLst>
        </c:ser>
        <c:ser>
          <c:idx val="140"/>
          <c:order val="140"/>
          <c:tx>
            <c:strRef>
              <c:f>Tabelle1!$EP$2</c:f>
              <c:strCache>
                <c:ptCount val="1"/>
              </c:strCache>
            </c:strRef>
          </c:tx>
          <c:spPr>
            <a:ln w="28575" cap="rnd">
              <a:solidFill>
                <a:schemeClr val="accent3">
                  <a:lumMod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EP$3:$EP$1319</c:f>
              <c:numCache>
                <c:formatCode>General</c:formatCode>
                <c:ptCount val="1317"/>
              </c:numCache>
            </c:numRef>
          </c:val>
          <c:smooth val="0"/>
          <c:extLst>
            <c:ext xmlns:c16="http://schemas.microsoft.com/office/drawing/2014/chart" uri="{C3380CC4-5D6E-409C-BE32-E72D297353CC}">
              <c16:uniqueId val="{00000084-5B14-4065-87DF-4FBA120D31D5}"/>
            </c:ext>
          </c:extLst>
        </c:ser>
        <c:ser>
          <c:idx val="141"/>
          <c:order val="141"/>
          <c:tx>
            <c:strRef>
              <c:f>Tabelle1!$EQ$2</c:f>
              <c:strCache>
                <c:ptCount val="1"/>
              </c:strCache>
            </c:strRef>
          </c:tx>
          <c:spPr>
            <a:ln w="28575" cap="rnd">
              <a:solidFill>
                <a:schemeClr val="accent4">
                  <a:lumMod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EQ$3:$EQ$1319</c:f>
              <c:numCache>
                <c:formatCode>General</c:formatCode>
                <c:ptCount val="1317"/>
              </c:numCache>
            </c:numRef>
          </c:val>
          <c:smooth val="0"/>
          <c:extLst>
            <c:ext xmlns:c16="http://schemas.microsoft.com/office/drawing/2014/chart" uri="{C3380CC4-5D6E-409C-BE32-E72D297353CC}">
              <c16:uniqueId val="{00000085-5B14-4065-87DF-4FBA120D31D5}"/>
            </c:ext>
          </c:extLst>
        </c:ser>
        <c:ser>
          <c:idx val="142"/>
          <c:order val="142"/>
          <c:tx>
            <c:strRef>
              <c:f>Tabelle1!$ER$2</c:f>
              <c:strCache>
                <c:ptCount val="1"/>
              </c:strCache>
            </c:strRef>
          </c:tx>
          <c:spPr>
            <a:ln w="28575" cap="rnd">
              <a:solidFill>
                <a:schemeClr val="accent5">
                  <a:lumMod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ER$3:$ER$1319</c:f>
              <c:numCache>
                <c:formatCode>General</c:formatCode>
                <c:ptCount val="1317"/>
              </c:numCache>
            </c:numRef>
          </c:val>
          <c:smooth val="0"/>
          <c:extLst>
            <c:ext xmlns:c16="http://schemas.microsoft.com/office/drawing/2014/chart" uri="{C3380CC4-5D6E-409C-BE32-E72D297353CC}">
              <c16:uniqueId val="{00000086-5B14-4065-87DF-4FBA120D31D5}"/>
            </c:ext>
          </c:extLst>
        </c:ser>
        <c:ser>
          <c:idx val="143"/>
          <c:order val="143"/>
          <c:tx>
            <c:strRef>
              <c:f>Tabelle1!$ES$2</c:f>
              <c:strCache>
                <c:ptCount val="1"/>
              </c:strCache>
            </c:strRef>
          </c:tx>
          <c:spPr>
            <a:ln w="28575" cap="rnd">
              <a:solidFill>
                <a:schemeClr val="accent6">
                  <a:lumMod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ES$3:$ES$1319</c:f>
              <c:numCache>
                <c:formatCode>General</c:formatCode>
                <c:ptCount val="1317"/>
              </c:numCache>
            </c:numRef>
          </c:val>
          <c:smooth val="0"/>
          <c:extLst>
            <c:ext xmlns:c16="http://schemas.microsoft.com/office/drawing/2014/chart" uri="{C3380CC4-5D6E-409C-BE32-E72D297353CC}">
              <c16:uniqueId val="{00000087-5B14-4065-87DF-4FBA120D31D5}"/>
            </c:ext>
          </c:extLst>
        </c:ser>
        <c:ser>
          <c:idx val="144"/>
          <c:order val="144"/>
          <c:tx>
            <c:strRef>
              <c:f>Tabelle1!$ET$2</c:f>
              <c:strCache>
                <c:ptCount val="1"/>
              </c:strCache>
            </c:strRef>
          </c:tx>
          <c:spPr>
            <a:ln w="28575" cap="rnd">
              <a:solidFill>
                <a:schemeClr val="accent1">
                  <a:lumMod val="70000"/>
                  <a:lumOff val="3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ET$3:$ET$1319</c:f>
              <c:numCache>
                <c:formatCode>General</c:formatCode>
                <c:ptCount val="1317"/>
              </c:numCache>
            </c:numRef>
          </c:val>
          <c:smooth val="0"/>
          <c:extLst>
            <c:ext xmlns:c16="http://schemas.microsoft.com/office/drawing/2014/chart" uri="{C3380CC4-5D6E-409C-BE32-E72D297353CC}">
              <c16:uniqueId val="{00000088-5B14-4065-87DF-4FBA120D31D5}"/>
            </c:ext>
          </c:extLst>
        </c:ser>
        <c:ser>
          <c:idx val="145"/>
          <c:order val="145"/>
          <c:tx>
            <c:strRef>
              <c:f>Tabelle1!$EU$2</c:f>
              <c:strCache>
                <c:ptCount val="1"/>
              </c:strCache>
            </c:strRef>
          </c:tx>
          <c:spPr>
            <a:ln w="28575" cap="rnd">
              <a:solidFill>
                <a:schemeClr val="accent2">
                  <a:lumMod val="70000"/>
                  <a:lumOff val="3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EU$3:$EU$1319</c:f>
              <c:numCache>
                <c:formatCode>General</c:formatCode>
                <c:ptCount val="1317"/>
              </c:numCache>
            </c:numRef>
          </c:val>
          <c:smooth val="0"/>
          <c:extLst>
            <c:ext xmlns:c16="http://schemas.microsoft.com/office/drawing/2014/chart" uri="{C3380CC4-5D6E-409C-BE32-E72D297353CC}">
              <c16:uniqueId val="{00000089-5B14-4065-87DF-4FBA120D31D5}"/>
            </c:ext>
          </c:extLst>
        </c:ser>
        <c:ser>
          <c:idx val="146"/>
          <c:order val="146"/>
          <c:tx>
            <c:strRef>
              <c:f>Tabelle1!$EV$2</c:f>
              <c:strCache>
                <c:ptCount val="1"/>
              </c:strCache>
            </c:strRef>
          </c:tx>
          <c:spPr>
            <a:ln w="28575" cap="rnd">
              <a:solidFill>
                <a:schemeClr val="accent3">
                  <a:lumMod val="70000"/>
                  <a:lumOff val="3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EV$3:$EV$1319</c:f>
              <c:numCache>
                <c:formatCode>General</c:formatCode>
                <c:ptCount val="1317"/>
              </c:numCache>
            </c:numRef>
          </c:val>
          <c:smooth val="0"/>
          <c:extLst>
            <c:ext xmlns:c16="http://schemas.microsoft.com/office/drawing/2014/chart" uri="{C3380CC4-5D6E-409C-BE32-E72D297353CC}">
              <c16:uniqueId val="{0000008A-5B14-4065-87DF-4FBA120D31D5}"/>
            </c:ext>
          </c:extLst>
        </c:ser>
        <c:ser>
          <c:idx val="147"/>
          <c:order val="147"/>
          <c:tx>
            <c:strRef>
              <c:f>Tabelle1!$EW$2</c:f>
              <c:strCache>
                <c:ptCount val="1"/>
              </c:strCache>
            </c:strRef>
          </c:tx>
          <c:spPr>
            <a:ln w="28575" cap="rnd">
              <a:solidFill>
                <a:schemeClr val="accent4">
                  <a:lumMod val="70000"/>
                  <a:lumOff val="3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EW$3:$EW$1319</c:f>
              <c:numCache>
                <c:formatCode>General</c:formatCode>
                <c:ptCount val="1317"/>
              </c:numCache>
            </c:numRef>
          </c:val>
          <c:smooth val="0"/>
          <c:extLst>
            <c:ext xmlns:c16="http://schemas.microsoft.com/office/drawing/2014/chart" uri="{C3380CC4-5D6E-409C-BE32-E72D297353CC}">
              <c16:uniqueId val="{0000008B-5B14-4065-87DF-4FBA120D31D5}"/>
            </c:ext>
          </c:extLst>
        </c:ser>
        <c:ser>
          <c:idx val="148"/>
          <c:order val="148"/>
          <c:tx>
            <c:strRef>
              <c:f>Tabelle1!$EX$2</c:f>
              <c:strCache>
                <c:ptCount val="1"/>
              </c:strCache>
            </c:strRef>
          </c:tx>
          <c:spPr>
            <a:ln w="28575" cap="rnd">
              <a:solidFill>
                <a:schemeClr val="accent5">
                  <a:lumMod val="70000"/>
                  <a:lumOff val="3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EX$3:$EX$1319</c:f>
              <c:numCache>
                <c:formatCode>General</c:formatCode>
                <c:ptCount val="1317"/>
              </c:numCache>
            </c:numRef>
          </c:val>
          <c:smooth val="0"/>
          <c:extLst>
            <c:ext xmlns:c16="http://schemas.microsoft.com/office/drawing/2014/chart" uri="{C3380CC4-5D6E-409C-BE32-E72D297353CC}">
              <c16:uniqueId val="{0000008C-5B14-4065-87DF-4FBA120D31D5}"/>
            </c:ext>
          </c:extLst>
        </c:ser>
        <c:ser>
          <c:idx val="149"/>
          <c:order val="149"/>
          <c:tx>
            <c:strRef>
              <c:f>Tabelle1!$EY$2</c:f>
              <c:strCache>
                <c:ptCount val="1"/>
              </c:strCache>
            </c:strRef>
          </c:tx>
          <c:spPr>
            <a:ln w="28575" cap="rnd">
              <a:solidFill>
                <a:schemeClr val="accent6">
                  <a:lumMod val="70000"/>
                  <a:lumOff val="3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EY$3:$EY$1319</c:f>
              <c:numCache>
                <c:formatCode>General</c:formatCode>
                <c:ptCount val="1317"/>
              </c:numCache>
            </c:numRef>
          </c:val>
          <c:smooth val="0"/>
          <c:extLst>
            <c:ext xmlns:c16="http://schemas.microsoft.com/office/drawing/2014/chart" uri="{C3380CC4-5D6E-409C-BE32-E72D297353CC}">
              <c16:uniqueId val="{0000008D-5B14-4065-87DF-4FBA120D31D5}"/>
            </c:ext>
          </c:extLst>
        </c:ser>
        <c:ser>
          <c:idx val="150"/>
          <c:order val="150"/>
          <c:tx>
            <c:strRef>
              <c:f>Tabelle1!$EZ$2</c:f>
              <c:strCache>
                <c:ptCount val="1"/>
              </c:strCache>
            </c:strRef>
          </c:tx>
          <c:spPr>
            <a:ln w="28575" cap="rnd">
              <a:solidFill>
                <a:schemeClr val="accent1">
                  <a:lumMod val="7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EZ$3:$EZ$1319</c:f>
              <c:numCache>
                <c:formatCode>General</c:formatCode>
                <c:ptCount val="1317"/>
              </c:numCache>
            </c:numRef>
          </c:val>
          <c:smooth val="0"/>
          <c:extLst>
            <c:ext xmlns:c16="http://schemas.microsoft.com/office/drawing/2014/chart" uri="{C3380CC4-5D6E-409C-BE32-E72D297353CC}">
              <c16:uniqueId val="{0000008E-5B14-4065-87DF-4FBA120D31D5}"/>
            </c:ext>
          </c:extLst>
        </c:ser>
        <c:ser>
          <c:idx val="151"/>
          <c:order val="151"/>
          <c:tx>
            <c:strRef>
              <c:f>Tabelle1!$FA$2</c:f>
              <c:strCache>
                <c:ptCount val="1"/>
              </c:strCache>
            </c:strRef>
          </c:tx>
          <c:spPr>
            <a:ln w="28575" cap="rnd">
              <a:solidFill>
                <a:schemeClr val="accent2">
                  <a:lumMod val="7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FA$3:$FA$1319</c:f>
              <c:numCache>
                <c:formatCode>General</c:formatCode>
                <c:ptCount val="1317"/>
              </c:numCache>
            </c:numRef>
          </c:val>
          <c:smooth val="0"/>
          <c:extLst>
            <c:ext xmlns:c16="http://schemas.microsoft.com/office/drawing/2014/chart" uri="{C3380CC4-5D6E-409C-BE32-E72D297353CC}">
              <c16:uniqueId val="{0000008F-5B14-4065-87DF-4FBA120D31D5}"/>
            </c:ext>
          </c:extLst>
        </c:ser>
        <c:ser>
          <c:idx val="152"/>
          <c:order val="152"/>
          <c:tx>
            <c:strRef>
              <c:f>Tabelle1!$FB$2</c:f>
              <c:strCache>
                <c:ptCount val="1"/>
              </c:strCache>
            </c:strRef>
          </c:tx>
          <c:spPr>
            <a:ln w="28575" cap="rnd">
              <a:solidFill>
                <a:schemeClr val="accent3">
                  <a:lumMod val="7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FB$3:$FB$1319</c:f>
              <c:numCache>
                <c:formatCode>General</c:formatCode>
                <c:ptCount val="1317"/>
              </c:numCache>
            </c:numRef>
          </c:val>
          <c:smooth val="0"/>
          <c:extLst>
            <c:ext xmlns:c16="http://schemas.microsoft.com/office/drawing/2014/chart" uri="{C3380CC4-5D6E-409C-BE32-E72D297353CC}">
              <c16:uniqueId val="{00000090-5B14-4065-87DF-4FBA120D31D5}"/>
            </c:ext>
          </c:extLst>
        </c:ser>
        <c:ser>
          <c:idx val="153"/>
          <c:order val="153"/>
          <c:tx>
            <c:strRef>
              <c:f>Tabelle1!$FC$2</c:f>
              <c:strCache>
                <c:ptCount val="1"/>
              </c:strCache>
            </c:strRef>
          </c:tx>
          <c:spPr>
            <a:ln w="28575" cap="rnd">
              <a:solidFill>
                <a:schemeClr val="accent4">
                  <a:lumMod val="7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FC$3:$FC$1319</c:f>
              <c:numCache>
                <c:formatCode>General</c:formatCode>
                <c:ptCount val="1317"/>
              </c:numCache>
            </c:numRef>
          </c:val>
          <c:smooth val="0"/>
          <c:extLst>
            <c:ext xmlns:c16="http://schemas.microsoft.com/office/drawing/2014/chart" uri="{C3380CC4-5D6E-409C-BE32-E72D297353CC}">
              <c16:uniqueId val="{00000091-5B14-4065-87DF-4FBA120D31D5}"/>
            </c:ext>
          </c:extLst>
        </c:ser>
        <c:ser>
          <c:idx val="154"/>
          <c:order val="154"/>
          <c:tx>
            <c:strRef>
              <c:f>Tabelle1!$FD$2</c:f>
              <c:strCache>
                <c:ptCount val="1"/>
              </c:strCache>
            </c:strRef>
          </c:tx>
          <c:spPr>
            <a:ln w="28575" cap="rnd">
              <a:solidFill>
                <a:schemeClr val="accent5">
                  <a:lumMod val="7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FD$3:$FD$1319</c:f>
              <c:numCache>
                <c:formatCode>General</c:formatCode>
                <c:ptCount val="1317"/>
              </c:numCache>
            </c:numRef>
          </c:val>
          <c:smooth val="0"/>
          <c:extLst>
            <c:ext xmlns:c16="http://schemas.microsoft.com/office/drawing/2014/chart" uri="{C3380CC4-5D6E-409C-BE32-E72D297353CC}">
              <c16:uniqueId val="{00000092-5B14-4065-87DF-4FBA120D31D5}"/>
            </c:ext>
          </c:extLst>
        </c:ser>
        <c:ser>
          <c:idx val="155"/>
          <c:order val="155"/>
          <c:tx>
            <c:strRef>
              <c:f>Tabelle1!$FE$2</c:f>
              <c:strCache>
                <c:ptCount val="1"/>
              </c:strCache>
            </c:strRef>
          </c:tx>
          <c:spPr>
            <a:ln w="28575" cap="rnd">
              <a:solidFill>
                <a:schemeClr val="accent6">
                  <a:lumMod val="7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FE$3:$FE$1319</c:f>
              <c:numCache>
                <c:formatCode>General</c:formatCode>
                <c:ptCount val="1317"/>
              </c:numCache>
            </c:numRef>
          </c:val>
          <c:smooth val="0"/>
          <c:extLst>
            <c:ext xmlns:c16="http://schemas.microsoft.com/office/drawing/2014/chart" uri="{C3380CC4-5D6E-409C-BE32-E72D297353CC}">
              <c16:uniqueId val="{00000093-5B14-4065-87DF-4FBA120D31D5}"/>
            </c:ext>
          </c:extLst>
        </c:ser>
        <c:ser>
          <c:idx val="156"/>
          <c:order val="156"/>
          <c:tx>
            <c:strRef>
              <c:f>Tabelle1!$FF$2</c:f>
              <c:strCache>
                <c:ptCount val="1"/>
              </c:strCache>
            </c:strRef>
          </c:tx>
          <c:spPr>
            <a:ln w="28575" cap="rnd">
              <a:solidFill>
                <a:schemeClr val="accent1">
                  <a:lumMod val="50000"/>
                  <a:lumOff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FF$3:$FF$1319</c:f>
              <c:numCache>
                <c:formatCode>General</c:formatCode>
                <c:ptCount val="1317"/>
              </c:numCache>
            </c:numRef>
          </c:val>
          <c:smooth val="0"/>
          <c:extLst>
            <c:ext xmlns:c16="http://schemas.microsoft.com/office/drawing/2014/chart" uri="{C3380CC4-5D6E-409C-BE32-E72D297353CC}">
              <c16:uniqueId val="{00000094-5B14-4065-87DF-4FBA120D31D5}"/>
            </c:ext>
          </c:extLst>
        </c:ser>
        <c:ser>
          <c:idx val="157"/>
          <c:order val="157"/>
          <c:tx>
            <c:strRef>
              <c:f>Tabelle1!$FG$2</c:f>
              <c:strCache>
                <c:ptCount val="1"/>
              </c:strCache>
            </c:strRef>
          </c:tx>
          <c:spPr>
            <a:ln w="28575" cap="rnd">
              <a:solidFill>
                <a:schemeClr val="accent2">
                  <a:lumMod val="50000"/>
                  <a:lumOff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FG$3:$FG$1319</c:f>
              <c:numCache>
                <c:formatCode>General</c:formatCode>
                <c:ptCount val="1317"/>
              </c:numCache>
            </c:numRef>
          </c:val>
          <c:smooth val="0"/>
          <c:extLst>
            <c:ext xmlns:c16="http://schemas.microsoft.com/office/drawing/2014/chart" uri="{C3380CC4-5D6E-409C-BE32-E72D297353CC}">
              <c16:uniqueId val="{00000095-5B14-4065-87DF-4FBA120D31D5}"/>
            </c:ext>
          </c:extLst>
        </c:ser>
        <c:ser>
          <c:idx val="158"/>
          <c:order val="158"/>
          <c:tx>
            <c:strRef>
              <c:f>Tabelle1!$FH$2</c:f>
              <c:strCache>
                <c:ptCount val="1"/>
              </c:strCache>
            </c:strRef>
          </c:tx>
          <c:spPr>
            <a:ln w="28575" cap="rnd">
              <a:solidFill>
                <a:schemeClr val="accent3">
                  <a:lumMod val="50000"/>
                  <a:lumOff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FH$3:$FH$1319</c:f>
              <c:numCache>
                <c:formatCode>General</c:formatCode>
                <c:ptCount val="1317"/>
              </c:numCache>
            </c:numRef>
          </c:val>
          <c:smooth val="0"/>
          <c:extLst>
            <c:ext xmlns:c16="http://schemas.microsoft.com/office/drawing/2014/chart" uri="{C3380CC4-5D6E-409C-BE32-E72D297353CC}">
              <c16:uniqueId val="{00000096-5B14-4065-87DF-4FBA120D31D5}"/>
            </c:ext>
          </c:extLst>
        </c:ser>
        <c:ser>
          <c:idx val="159"/>
          <c:order val="159"/>
          <c:tx>
            <c:strRef>
              <c:f>Tabelle1!$FI$2</c:f>
              <c:strCache>
                <c:ptCount val="1"/>
              </c:strCache>
            </c:strRef>
          </c:tx>
          <c:spPr>
            <a:ln w="28575" cap="rnd">
              <a:solidFill>
                <a:schemeClr val="accent4">
                  <a:lumMod val="50000"/>
                  <a:lumOff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FI$3:$FI$1319</c:f>
              <c:numCache>
                <c:formatCode>General</c:formatCode>
                <c:ptCount val="1317"/>
              </c:numCache>
            </c:numRef>
          </c:val>
          <c:smooth val="0"/>
          <c:extLst>
            <c:ext xmlns:c16="http://schemas.microsoft.com/office/drawing/2014/chart" uri="{C3380CC4-5D6E-409C-BE32-E72D297353CC}">
              <c16:uniqueId val="{00000097-5B14-4065-87DF-4FBA120D31D5}"/>
            </c:ext>
          </c:extLst>
        </c:ser>
        <c:ser>
          <c:idx val="160"/>
          <c:order val="160"/>
          <c:tx>
            <c:strRef>
              <c:f>Tabelle1!$FJ$2</c:f>
              <c:strCache>
                <c:ptCount val="1"/>
              </c:strCache>
            </c:strRef>
          </c:tx>
          <c:spPr>
            <a:ln w="28575" cap="rnd">
              <a:solidFill>
                <a:schemeClr val="accent5">
                  <a:lumMod val="50000"/>
                  <a:lumOff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FJ$3:$FJ$1319</c:f>
              <c:numCache>
                <c:formatCode>General</c:formatCode>
                <c:ptCount val="1317"/>
              </c:numCache>
            </c:numRef>
          </c:val>
          <c:smooth val="0"/>
          <c:extLst>
            <c:ext xmlns:c16="http://schemas.microsoft.com/office/drawing/2014/chart" uri="{C3380CC4-5D6E-409C-BE32-E72D297353CC}">
              <c16:uniqueId val="{00000098-5B14-4065-87DF-4FBA120D31D5}"/>
            </c:ext>
          </c:extLst>
        </c:ser>
        <c:ser>
          <c:idx val="161"/>
          <c:order val="161"/>
          <c:tx>
            <c:strRef>
              <c:f>Tabelle1!$FK$2</c:f>
              <c:strCache>
                <c:ptCount val="1"/>
              </c:strCache>
            </c:strRef>
          </c:tx>
          <c:spPr>
            <a:ln w="28575" cap="rnd">
              <a:solidFill>
                <a:schemeClr val="accent6">
                  <a:lumMod val="50000"/>
                  <a:lumOff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FK$3:$FK$1319</c:f>
              <c:numCache>
                <c:formatCode>General</c:formatCode>
                <c:ptCount val="1317"/>
              </c:numCache>
            </c:numRef>
          </c:val>
          <c:smooth val="0"/>
          <c:extLst>
            <c:ext xmlns:c16="http://schemas.microsoft.com/office/drawing/2014/chart" uri="{C3380CC4-5D6E-409C-BE32-E72D297353CC}">
              <c16:uniqueId val="{00000099-5B14-4065-87DF-4FBA120D31D5}"/>
            </c:ext>
          </c:extLst>
        </c:ser>
        <c:ser>
          <c:idx val="162"/>
          <c:order val="162"/>
          <c:tx>
            <c:strRef>
              <c:f>Tabelle1!$FL$2</c:f>
              <c:strCache>
                <c:ptCount val="1"/>
              </c:strCache>
            </c:strRef>
          </c:tx>
          <c:spPr>
            <a:ln w="28575" cap="rnd">
              <a:solidFill>
                <a:schemeClr val="accent1"/>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FL$3:$FL$1319</c:f>
              <c:numCache>
                <c:formatCode>General</c:formatCode>
                <c:ptCount val="1317"/>
              </c:numCache>
            </c:numRef>
          </c:val>
          <c:smooth val="0"/>
          <c:extLst>
            <c:ext xmlns:c16="http://schemas.microsoft.com/office/drawing/2014/chart" uri="{C3380CC4-5D6E-409C-BE32-E72D297353CC}">
              <c16:uniqueId val="{0000009A-5B14-4065-87DF-4FBA120D31D5}"/>
            </c:ext>
          </c:extLst>
        </c:ser>
        <c:ser>
          <c:idx val="163"/>
          <c:order val="163"/>
          <c:tx>
            <c:strRef>
              <c:f>Tabelle1!$FM$2</c:f>
              <c:strCache>
                <c:ptCount val="1"/>
              </c:strCache>
            </c:strRef>
          </c:tx>
          <c:spPr>
            <a:ln w="28575" cap="rnd">
              <a:solidFill>
                <a:schemeClr val="accent2"/>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FM$3:$FM$1319</c:f>
              <c:numCache>
                <c:formatCode>General</c:formatCode>
                <c:ptCount val="1317"/>
              </c:numCache>
            </c:numRef>
          </c:val>
          <c:smooth val="0"/>
          <c:extLst>
            <c:ext xmlns:c16="http://schemas.microsoft.com/office/drawing/2014/chart" uri="{C3380CC4-5D6E-409C-BE32-E72D297353CC}">
              <c16:uniqueId val="{0000009B-5B14-4065-87DF-4FBA120D31D5}"/>
            </c:ext>
          </c:extLst>
        </c:ser>
        <c:ser>
          <c:idx val="164"/>
          <c:order val="164"/>
          <c:tx>
            <c:strRef>
              <c:f>Tabelle1!$FN$2</c:f>
              <c:strCache>
                <c:ptCount val="1"/>
              </c:strCache>
            </c:strRef>
          </c:tx>
          <c:spPr>
            <a:ln w="28575" cap="rnd">
              <a:solidFill>
                <a:schemeClr val="accent3"/>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FN$3:$FN$1319</c:f>
              <c:numCache>
                <c:formatCode>General</c:formatCode>
                <c:ptCount val="1317"/>
              </c:numCache>
            </c:numRef>
          </c:val>
          <c:smooth val="0"/>
          <c:extLst>
            <c:ext xmlns:c16="http://schemas.microsoft.com/office/drawing/2014/chart" uri="{C3380CC4-5D6E-409C-BE32-E72D297353CC}">
              <c16:uniqueId val="{0000009C-5B14-4065-87DF-4FBA120D31D5}"/>
            </c:ext>
          </c:extLst>
        </c:ser>
        <c:ser>
          <c:idx val="165"/>
          <c:order val="165"/>
          <c:tx>
            <c:strRef>
              <c:f>Tabelle1!$FO$2</c:f>
              <c:strCache>
                <c:ptCount val="1"/>
              </c:strCache>
            </c:strRef>
          </c:tx>
          <c:spPr>
            <a:ln w="28575" cap="rnd">
              <a:solidFill>
                <a:schemeClr val="accent4"/>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FO$3:$FO$1319</c:f>
              <c:numCache>
                <c:formatCode>General</c:formatCode>
                <c:ptCount val="1317"/>
              </c:numCache>
            </c:numRef>
          </c:val>
          <c:smooth val="0"/>
          <c:extLst>
            <c:ext xmlns:c16="http://schemas.microsoft.com/office/drawing/2014/chart" uri="{C3380CC4-5D6E-409C-BE32-E72D297353CC}">
              <c16:uniqueId val="{0000009D-5B14-4065-87DF-4FBA120D31D5}"/>
            </c:ext>
          </c:extLst>
        </c:ser>
        <c:ser>
          <c:idx val="166"/>
          <c:order val="166"/>
          <c:tx>
            <c:strRef>
              <c:f>Tabelle1!$FP$2</c:f>
              <c:strCache>
                <c:ptCount val="1"/>
              </c:strCache>
            </c:strRef>
          </c:tx>
          <c:spPr>
            <a:ln w="28575" cap="rnd">
              <a:solidFill>
                <a:schemeClr val="accent5"/>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FP$3:$FP$1319</c:f>
              <c:numCache>
                <c:formatCode>General</c:formatCode>
                <c:ptCount val="1317"/>
              </c:numCache>
            </c:numRef>
          </c:val>
          <c:smooth val="0"/>
          <c:extLst>
            <c:ext xmlns:c16="http://schemas.microsoft.com/office/drawing/2014/chart" uri="{C3380CC4-5D6E-409C-BE32-E72D297353CC}">
              <c16:uniqueId val="{0000009E-5B14-4065-87DF-4FBA120D31D5}"/>
            </c:ext>
          </c:extLst>
        </c:ser>
        <c:ser>
          <c:idx val="167"/>
          <c:order val="167"/>
          <c:tx>
            <c:strRef>
              <c:f>Tabelle1!$FQ$2</c:f>
              <c:strCache>
                <c:ptCount val="1"/>
              </c:strCache>
            </c:strRef>
          </c:tx>
          <c:spPr>
            <a:ln w="28575" cap="rnd">
              <a:solidFill>
                <a:schemeClr val="accent6"/>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FQ$3:$FQ$1319</c:f>
              <c:numCache>
                <c:formatCode>General</c:formatCode>
                <c:ptCount val="1317"/>
              </c:numCache>
            </c:numRef>
          </c:val>
          <c:smooth val="0"/>
          <c:extLst>
            <c:ext xmlns:c16="http://schemas.microsoft.com/office/drawing/2014/chart" uri="{C3380CC4-5D6E-409C-BE32-E72D297353CC}">
              <c16:uniqueId val="{0000009F-5B14-4065-87DF-4FBA120D31D5}"/>
            </c:ext>
          </c:extLst>
        </c:ser>
        <c:ser>
          <c:idx val="168"/>
          <c:order val="168"/>
          <c:tx>
            <c:strRef>
              <c:f>Tabelle1!$FR$2</c:f>
              <c:strCache>
                <c:ptCount val="1"/>
              </c:strCache>
            </c:strRef>
          </c:tx>
          <c:spPr>
            <a:ln w="28575" cap="rnd">
              <a:solidFill>
                <a:schemeClr val="accent1">
                  <a:lumMod val="6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FR$3:$FR$1319</c:f>
              <c:numCache>
                <c:formatCode>General</c:formatCode>
                <c:ptCount val="1317"/>
              </c:numCache>
            </c:numRef>
          </c:val>
          <c:smooth val="0"/>
          <c:extLst>
            <c:ext xmlns:c16="http://schemas.microsoft.com/office/drawing/2014/chart" uri="{C3380CC4-5D6E-409C-BE32-E72D297353CC}">
              <c16:uniqueId val="{000000A0-5B14-4065-87DF-4FBA120D31D5}"/>
            </c:ext>
          </c:extLst>
        </c:ser>
        <c:ser>
          <c:idx val="169"/>
          <c:order val="169"/>
          <c:tx>
            <c:strRef>
              <c:f>Tabelle1!$FS$2</c:f>
              <c:strCache>
                <c:ptCount val="1"/>
              </c:strCache>
            </c:strRef>
          </c:tx>
          <c:spPr>
            <a:ln w="28575" cap="rnd">
              <a:solidFill>
                <a:schemeClr val="accent2">
                  <a:lumMod val="6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FS$3:$FS$1319</c:f>
              <c:numCache>
                <c:formatCode>General</c:formatCode>
                <c:ptCount val="1317"/>
              </c:numCache>
            </c:numRef>
          </c:val>
          <c:smooth val="0"/>
          <c:extLst>
            <c:ext xmlns:c16="http://schemas.microsoft.com/office/drawing/2014/chart" uri="{C3380CC4-5D6E-409C-BE32-E72D297353CC}">
              <c16:uniqueId val="{000000A1-5B14-4065-87DF-4FBA120D31D5}"/>
            </c:ext>
          </c:extLst>
        </c:ser>
        <c:ser>
          <c:idx val="170"/>
          <c:order val="170"/>
          <c:tx>
            <c:strRef>
              <c:f>Tabelle1!$FT$2</c:f>
              <c:strCache>
                <c:ptCount val="1"/>
              </c:strCache>
            </c:strRef>
          </c:tx>
          <c:spPr>
            <a:ln w="28575" cap="rnd">
              <a:solidFill>
                <a:schemeClr val="accent3">
                  <a:lumMod val="6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FT$3:$FT$1319</c:f>
              <c:numCache>
                <c:formatCode>General</c:formatCode>
                <c:ptCount val="1317"/>
              </c:numCache>
            </c:numRef>
          </c:val>
          <c:smooth val="0"/>
          <c:extLst>
            <c:ext xmlns:c16="http://schemas.microsoft.com/office/drawing/2014/chart" uri="{C3380CC4-5D6E-409C-BE32-E72D297353CC}">
              <c16:uniqueId val="{000000A2-5B14-4065-87DF-4FBA120D31D5}"/>
            </c:ext>
          </c:extLst>
        </c:ser>
        <c:ser>
          <c:idx val="171"/>
          <c:order val="171"/>
          <c:tx>
            <c:strRef>
              <c:f>Tabelle1!$FU$2</c:f>
              <c:strCache>
                <c:ptCount val="1"/>
              </c:strCache>
            </c:strRef>
          </c:tx>
          <c:spPr>
            <a:ln w="28575" cap="rnd">
              <a:solidFill>
                <a:schemeClr val="accent4">
                  <a:lumMod val="6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FU$3:$FU$1319</c:f>
              <c:numCache>
                <c:formatCode>General</c:formatCode>
                <c:ptCount val="1317"/>
              </c:numCache>
            </c:numRef>
          </c:val>
          <c:smooth val="0"/>
          <c:extLst>
            <c:ext xmlns:c16="http://schemas.microsoft.com/office/drawing/2014/chart" uri="{C3380CC4-5D6E-409C-BE32-E72D297353CC}">
              <c16:uniqueId val="{000000A3-5B14-4065-87DF-4FBA120D31D5}"/>
            </c:ext>
          </c:extLst>
        </c:ser>
        <c:ser>
          <c:idx val="172"/>
          <c:order val="172"/>
          <c:tx>
            <c:strRef>
              <c:f>Tabelle1!$FV$2</c:f>
              <c:strCache>
                <c:ptCount val="1"/>
              </c:strCache>
            </c:strRef>
          </c:tx>
          <c:spPr>
            <a:ln w="28575" cap="rnd">
              <a:solidFill>
                <a:schemeClr val="accent5">
                  <a:lumMod val="6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FV$3:$FV$1319</c:f>
              <c:numCache>
                <c:formatCode>General</c:formatCode>
                <c:ptCount val="1317"/>
              </c:numCache>
            </c:numRef>
          </c:val>
          <c:smooth val="0"/>
          <c:extLst>
            <c:ext xmlns:c16="http://schemas.microsoft.com/office/drawing/2014/chart" uri="{C3380CC4-5D6E-409C-BE32-E72D297353CC}">
              <c16:uniqueId val="{000000A4-5B14-4065-87DF-4FBA120D31D5}"/>
            </c:ext>
          </c:extLst>
        </c:ser>
        <c:ser>
          <c:idx val="173"/>
          <c:order val="173"/>
          <c:tx>
            <c:strRef>
              <c:f>Tabelle1!$FW$2</c:f>
              <c:strCache>
                <c:ptCount val="1"/>
              </c:strCache>
            </c:strRef>
          </c:tx>
          <c:spPr>
            <a:ln w="28575" cap="rnd">
              <a:solidFill>
                <a:schemeClr val="accent6">
                  <a:lumMod val="6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FW$3:$FW$1319</c:f>
              <c:numCache>
                <c:formatCode>General</c:formatCode>
                <c:ptCount val="1317"/>
              </c:numCache>
            </c:numRef>
          </c:val>
          <c:smooth val="0"/>
          <c:extLst>
            <c:ext xmlns:c16="http://schemas.microsoft.com/office/drawing/2014/chart" uri="{C3380CC4-5D6E-409C-BE32-E72D297353CC}">
              <c16:uniqueId val="{000000A5-5B14-4065-87DF-4FBA120D31D5}"/>
            </c:ext>
          </c:extLst>
        </c:ser>
        <c:ser>
          <c:idx val="174"/>
          <c:order val="174"/>
          <c:tx>
            <c:strRef>
              <c:f>Tabelle1!$FX$2</c:f>
              <c:strCache>
                <c:ptCount val="1"/>
              </c:strCache>
            </c:strRef>
          </c:tx>
          <c:spPr>
            <a:ln w="28575" cap="rnd">
              <a:solidFill>
                <a:schemeClr val="accent1">
                  <a:lumMod val="80000"/>
                  <a:lumOff val="2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FX$3:$FX$1319</c:f>
              <c:numCache>
                <c:formatCode>General</c:formatCode>
                <c:ptCount val="1317"/>
              </c:numCache>
            </c:numRef>
          </c:val>
          <c:smooth val="0"/>
          <c:extLst>
            <c:ext xmlns:c16="http://schemas.microsoft.com/office/drawing/2014/chart" uri="{C3380CC4-5D6E-409C-BE32-E72D297353CC}">
              <c16:uniqueId val="{000000A6-5B14-4065-87DF-4FBA120D31D5}"/>
            </c:ext>
          </c:extLst>
        </c:ser>
        <c:ser>
          <c:idx val="175"/>
          <c:order val="175"/>
          <c:tx>
            <c:strRef>
              <c:f>Tabelle1!$FY$2</c:f>
              <c:strCache>
                <c:ptCount val="1"/>
              </c:strCache>
            </c:strRef>
          </c:tx>
          <c:spPr>
            <a:ln w="28575" cap="rnd">
              <a:solidFill>
                <a:schemeClr val="accent2">
                  <a:lumMod val="80000"/>
                  <a:lumOff val="2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FY$3:$FY$1319</c:f>
              <c:numCache>
                <c:formatCode>General</c:formatCode>
                <c:ptCount val="1317"/>
              </c:numCache>
            </c:numRef>
          </c:val>
          <c:smooth val="0"/>
          <c:extLst>
            <c:ext xmlns:c16="http://schemas.microsoft.com/office/drawing/2014/chart" uri="{C3380CC4-5D6E-409C-BE32-E72D297353CC}">
              <c16:uniqueId val="{000000A7-5B14-4065-87DF-4FBA120D31D5}"/>
            </c:ext>
          </c:extLst>
        </c:ser>
        <c:ser>
          <c:idx val="176"/>
          <c:order val="176"/>
          <c:tx>
            <c:strRef>
              <c:f>Tabelle1!$FZ$2</c:f>
              <c:strCache>
                <c:ptCount val="1"/>
              </c:strCache>
            </c:strRef>
          </c:tx>
          <c:spPr>
            <a:ln w="28575" cap="rnd">
              <a:solidFill>
                <a:schemeClr val="accent3">
                  <a:lumMod val="80000"/>
                  <a:lumOff val="2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FZ$3:$FZ$1319</c:f>
              <c:numCache>
                <c:formatCode>General</c:formatCode>
                <c:ptCount val="1317"/>
              </c:numCache>
            </c:numRef>
          </c:val>
          <c:smooth val="0"/>
          <c:extLst>
            <c:ext xmlns:c16="http://schemas.microsoft.com/office/drawing/2014/chart" uri="{C3380CC4-5D6E-409C-BE32-E72D297353CC}">
              <c16:uniqueId val="{000000A8-5B14-4065-87DF-4FBA120D31D5}"/>
            </c:ext>
          </c:extLst>
        </c:ser>
        <c:ser>
          <c:idx val="177"/>
          <c:order val="177"/>
          <c:tx>
            <c:strRef>
              <c:f>Tabelle1!$GA$2</c:f>
              <c:strCache>
                <c:ptCount val="1"/>
              </c:strCache>
            </c:strRef>
          </c:tx>
          <c:spPr>
            <a:ln w="28575" cap="rnd">
              <a:solidFill>
                <a:schemeClr val="accent4">
                  <a:lumMod val="80000"/>
                  <a:lumOff val="2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GA$3:$GA$1319</c:f>
              <c:numCache>
                <c:formatCode>General</c:formatCode>
                <c:ptCount val="1317"/>
              </c:numCache>
            </c:numRef>
          </c:val>
          <c:smooth val="0"/>
          <c:extLst>
            <c:ext xmlns:c16="http://schemas.microsoft.com/office/drawing/2014/chart" uri="{C3380CC4-5D6E-409C-BE32-E72D297353CC}">
              <c16:uniqueId val="{000000A9-5B14-4065-87DF-4FBA120D31D5}"/>
            </c:ext>
          </c:extLst>
        </c:ser>
        <c:ser>
          <c:idx val="178"/>
          <c:order val="178"/>
          <c:tx>
            <c:strRef>
              <c:f>Tabelle1!$GB$2</c:f>
              <c:strCache>
                <c:ptCount val="1"/>
              </c:strCache>
            </c:strRef>
          </c:tx>
          <c:spPr>
            <a:ln w="28575" cap="rnd">
              <a:solidFill>
                <a:schemeClr val="accent5">
                  <a:lumMod val="80000"/>
                  <a:lumOff val="2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GB$3:$GB$1319</c:f>
              <c:numCache>
                <c:formatCode>General</c:formatCode>
                <c:ptCount val="1317"/>
              </c:numCache>
            </c:numRef>
          </c:val>
          <c:smooth val="0"/>
          <c:extLst>
            <c:ext xmlns:c16="http://schemas.microsoft.com/office/drawing/2014/chart" uri="{C3380CC4-5D6E-409C-BE32-E72D297353CC}">
              <c16:uniqueId val="{000000AA-5B14-4065-87DF-4FBA120D31D5}"/>
            </c:ext>
          </c:extLst>
        </c:ser>
        <c:ser>
          <c:idx val="179"/>
          <c:order val="179"/>
          <c:tx>
            <c:strRef>
              <c:f>Tabelle1!$GC$2</c:f>
              <c:strCache>
                <c:ptCount val="1"/>
              </c:strCache>
            </c:strRef>
          </c:tx>
          <c:spPr>
            <a:ln w="28575" cap="rnd">
              <a:solidFill>
                <a:schemeClr val="accent6">
                  <a:lumMod val="80000"/>
                  <a:lumOff val="2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GC$3:$GC$1319</c:f>
              <c:numCache>
                <c:formatCode>General</c:formatCode>
                <c:ptCount val="1317"/>
              </c:numCache>
            </c:numRef>
          </c:val>
          <c:smooth val="0"/>
          <c:extLst>
            <c:ext xmlns:c16="http://schemas.microsoft.com/office/drawing/2014/chart" uri="{C3380CC4-5D6E-409C-BE32-E72D297353CC}">
              <c16:uniqueId val="{000000AB-5B14-4065-87DF-4FBA120D31D5}"/>
            </c:ext>
          </c:extLst>
        </c:ser>
        <c:ser>
          <c:idx val="180"/>
          <c:order val="180"/>
          <c:tx>
            <c:strRef>
              <c:f>Tabelle1!$GD$2</c:f>
              <c:strCache>
                <c:ptCount val="1"/>
              </c:strCache>
            </c:strRef>
          </c:tx>
          <c:spPr>
            <a:ln w="28575" cap="rnd">
              <a:solidFill>
                <a:schemeClr val="accent1">
                  <a:lumMod val="8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GD$3:$GD$1319</c:f>
              <c:numCache>
                <c:formatCode>General</c:formatCode>
                <c:ptCount val="1317"/>
              </c:numCache>
            </c:numRef>
          </c:val>
          <c:smooth val="0"/>
          <c:extLst>
            <c:ext xmlns:c16="http://schemas.microsoft.com/office/drawing/2014/chart" uri="{C3380CC4-5D6E-409C-BE32-E72D297353CC}">
              <c16:uniqueId val="{000000AC-5B14-4065-87DF-4FBA120D31D5}"/>
            </c:ext>
          </c:extLst>
        </c:ser>
        <c:ser>
          <c:idx val="181"/>
          <c:order val="181"/>
          <c:tx>
            <c:strRef>
              <c:f>Tabelle1!$GE$2</c:f>
              <c:strCache>
                <c:ptCount val="1"/>
              </c:strCache>
            </c:strRef>
          </c:tx>
          <c:spPr>
            <a:ln w="28575" cap="rnd">
              <a:solidFill>
                <a:schemeClr val="accent2">
                  <a:lumMod val="8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GE$3:$GE$1319</c:f>
              <c:numCache>
                <c:formatCode>General</c:formatCode>
                <c:ptCount val="1317"/>
              </c:numCache>
            </c:numRef>
          </c:val>
          <c:smooth val="0"/>
          <c:extLst>
            <c:ext xmlns:c16="http://schemas.microsoft.com/office/drawing/2014/chart" uri="{C3380CC4-5D6E-409C-BE32-E72D297353CC}">
              <c16:uniqueId val="{000000AD-5B14-4065-87DF-4FBA120D31D5}"/>
            </c:ext>
          </c:extLst>
        </c:ser>
        <c:ser>
          <c:idx val="182"/>
          <c:order val="182"/>
          <c:tx>
            <c:strRef>
              <c:f>Tabelle1!$GF$2</c:f>
              <c:strCache>
                <c:ptCount val="1"/>
              </c:strCache>
            </c:strRef>
          </c:tx>
          <c:spPr>
            <a:ln w="28575" cap="rnd">
              <a:solidFill>
                <a:schemeClr val="accent3">
                  <a:lumMod val="8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GF$3:$GF$1319</c:f>
              <c:numCache>
                <c:formatCode>General</c:formatCode>
                <c:ptCount val="1317"/>
              </c:numCache>
            </c:numRef>
          </c:val>
          <c:smooth val="0"/>
          <c:extLst>
            <c:ext xmlns:c16="http://schemas.microsoft.com/office/drawing/2014/chart" uri="{C3380CC4-5D6E-409C-BE32-E72D297353CC}">
              <c16:uniqueId val="{000000AE-5B14-4065-87DF-4FBA120D31D5}"/>
            </c:ext>
          </c:extLst>
        </c:ser>
        <c:ser>
          <c:idx val="183"/>
          <c:order val="183"/>
          <c:tx>
            <c:strRef>
              <c:f>Tabelle1!$GG$2</c:f>
              <c:strCache>
                <c:ptCount val="1"/>
              </c:strCache>
            </c:strRef>
          </c:tx>
          <c:spPr>
            <a:ln w="28575" cap="rnd">
              <a:solidFill>
                <a:schemeClr val="accent4">
                  <a:lumMod val="8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GG$3:$GG$1319</c:f>
              <c:numCache>
                <c:formatCode>General</c:formatCode>
                <c:ptCount val="1317"/>
              </c:numCache>
            </c:numRef>
          </c:val>
          <c:smooth val="0"/>
          <c:extLst>
            <c:ext xmlns:c16="http://schemas.microsoft.com/office/drawing/2014/chart" uri="{C3380CC4-5D6E-409C-BE32-E72D297353CC}">
              <c16:uniqueId val="{000000AF-5B14-4065-87DF-4FBA120D31D5}"/>
            </c:ext>
          </c:extLst>
        </c:ser>
        <c:ser>
          <c:idx val="184"/>
          <c:order val="184"/>
          <c:tx>
            <c:strRef>
              <c:f>Tabelle1!$GH$2</c:f>
              <c:strCache>
                <c:ptCount val="1"/>
              </c:strCache>
            </c:strRef>
          </c:tx>
          <c:spPr>
            <a:ln w="28575" cap="rnd">
              <a:solidFill>
                <a:schemeClr val="accent5">
                  <a:lumMod val="8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GH$3:$GH$1319</c:f>
              <c:numCache>
                <c:formatCode>General</c:formatCode>
                <c:ptCount val="1317"/>
              </c:numCache>
            </c:numRef>
          </c:val>
          <c:smooth val="0"/>
          <c:extLst>
            <c:ext xmlns:c16="http://schemas.microsoft.com/office/drawing/2014/chart" uri="{C3380CC4-5D6E-409C-BE32-E72D297353CC}">
              <c16:uniqueId val="{000000B0-5B14-4065-87DF-4FBA120D31D5}"/>
            </c:ext>
          </c:extLst>
        </c:ser>
        <c:ser>
          <c:idx val="185"/>
          <c:order val="185"/>
          <c:tx>
            <c:strRef>
              <c:f>Tabelle1!$GI$2</c:f>
              <c:strCache>
                <c:ptCount val="1"/>
              </c:strCache>
            </c:strRef>
          </c:tx>
          <c:spPr>
            <a:ln w="28575" cap="rnd">
              <a:solidFill>
                <a:schemeClr val="accent6">
                  <a:lumMod val="8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GI$3:$GI$1319</c:f>
              <c:numCache>
                <c:formatCode>General</c:formatCode>
                <c:ptCount val="1317"/>
              </c:numCache>
            </c:numRef>
          </c:val>
          <c:smooth val="0"/>
          <c:extLst>
            <c:ext xmlns:c16="http://schemas.microsoft.com/office/drawing/2014/chart" uri="{C3380CC4-5D6E-409C-BE32-E72D297353CC}">
              <c16:uniqueId val="{000000B1-5B14-4065-87DF-4FBA120D31D5}"/>
            </c:ext>
          </c:extLst>
        </c:ser>
        <c:ser>
          <c:idx val="186"/>
          <c:order val="186"/>
          <c:tx>
            <c:strRef>
              <c:f>Tabelle1!$GJ$2</c:f>
              <c:strCache>
                <c:ptCount val="1"/>
              </c:strCache>
            </c:strRef>
          </c:tx>
          <c:spPr>
            <a:ln w="28575" cap="rnd">
              <a:solidFill>
                <a:schemeClr val="accent1">
                  <a:lumMod val="60000"/>
                  <a:lumOff val="4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GJ$3:$GJ$1319</c:f>
              <c:numCache>
                <c:formatCode>General</c:formatCode>
                <c:ptCount val="1317"/>
              </c:numCache>
            </c:numRef>
          </c:val>
          <c:smooth val="0"/>
          <c:extLst>
            <c:ext xmlns:c16="http://schemas.microsoft.com/office/drawing/2014/chart" uri="{C3380CC4-5D6E-409C-BE32-E72D297353CC}">
              <c16:uniqueId val="{000000B2-5B14-4065-87DF-4FBA120D31D5}"/>
            </c:ext>
          </c:extLst>
        </c:ser>
        <c:ser>
          <c:idx val="187"/>
          <c:order val="187"/>
          <c:tx>
            <c:strRef>
              <c:f>Tabelle1!$GK$2</c:f>
              <c:strCache>
                <c:ptCount val="1"/>
              </c:strCache>
            </c:strRef>
          </c:tx>
          <c:spPr>
            <a:ln w="28575" cap="rnd">
              <a:solidFill>
                <a:schemeClr val="accent2">
                  <a:lumMod val="60000"/>
                  <a:lumOff val="4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GK$3:$GK$1319</c:f>
              <c:numCache>
                <c:formatCode>General</c:formatCode>
                <c:ptCount val="1317"/>
              </c:numCache>
            </c:numRef>
          </c:val>
          <c:smooth val="0"/>
          <c:extLst>
            <c:ext xmlns:c16="http://schemas.microsoft.com/office/drawing/2014/chart" uri="{C3380CC4-5D6E-409C-BE32-E72D297353CC}">
              <c16:uniqueId val="{000000B3-5B14-4065-87DF-4FBA120D31D5}"/>
            </c:ext>
          </c:extLst>
        </c:ser>
        <c:ser>
          <c:idx val="188"/>
          <c:order val="188"/>
          <c:tx>
            <c:strRef>
              <c:f>Tabelle1!$GL$2</c:f>
              <c:strCache>
                <c:ptCount val="1"/>
              </c:strCache>
            </c:strRef>
          </c:tx>
          <c:spPr>
            <a:ln w="28575" cap="rnd">
              <a:solidFill>
                <a:schemeClr val="accent3">
                  <a:lumMod val="60000"/>
                  <a:lumOff val="4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GL$3:$GL$1319</c:f>
              <c:numCache>
                <c:formatCode>General</c:formatCode>
                <c:ptCount val="1317"/>
              </c:numCache>
            </c:numRef>
          </c:val>
          <c:smooth val="0"/>
          <c:extLst>
            <c:ext xmlns:c16="http://schemas.microsoft.com/office/drawing/2014/chart" uri="{C3380CC4-5D6E-409C-BE32-E72D297353CC}">
              <c16:uniqueId val="{000000B4-5B14-4065-87DF-4FBA120D31D5}"/>
            </c:ext>
          </c:extLst>
        </c:ser>
        <c:ser>
          <c:idx val="189"/>
          <c:order val="189"/>
          <c:tx>
            <c:strRef>
              <c:f>Tabelle1!$GM$2</c:f>
              <c:strCache>
                <c:ptCount val="1"/>
              </c:strCache>
            </c:strRef>
          </c:tx>
          <c:spPr>
            <a:ln w="28575" cap="rnd">
              <a:solidFill>
                <a:schemeClr val="accent4">
                  <a:lumMod val="60000"/>
                  <a:lumOff val="4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GM$3:$GM$1319</c:f>
              <c:numCache>
                <c:formatCode>General</c:formatCode>
                <c:ptCount val="1317"/>
              </c:numCache>
            </c:numRef>
          </c:val>
          <c:smooth val="0"/>
          <c:extLst>
            <c:ext xmlns:c16="http://schemas.microsoft.com/office/drawing/2014/chart" uri="{C3380CC4-5D6E-409C-BE32-E72D297353CC}">
              <c16:uniqueId val="{000000B5-5B14-4065-87DF-4FBA120D31D5}"/>
            </c:ext>
          </c:extLst>
        </c:ser>
        <c:ser>
          <c:idx val="190"/>
          <c:order val="190"/>
          <c:tx>
            <c:strRef>
              <c:f>Tabelle1!$GN$2</c:f>
              <c:strCache>
                <c:ptCount val="1"/>
              </c:strCache>
            </c:strRef>
          </c:tx>
          <c:spPr>
            <a:ln w="28575" cap="rnd">
              <a:solidFill>
                <a:schemeClr val="accent5">
                  <a:lumMod val="60000"/>
                  <a:lumOff val="4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GN$3:$GN$1319</c:f>
              <c:numCache>
                <c:formatCode>General</c:formatCode>
                <c:ptCount val="1317"/>
              </c:numCache>
            </c:numRef>
          </c:val>
          <c:smooth val="0"/>
          <c:extLst>
            <c:ext xmlns:c16="http://schemas.microsoft.com/office/drawing/2014/chart" uri="{C3380CC4-5D6E-409C-BE32-E72D297353CC}">
              <c16:uniqueId val="{000000B6-5B14-4065-87DF-4FBA120D31D5}"/>
            </c:ext>
          </c:extLst>
        </c:ser>
        <c:ser>
          <c:idx val="191"/>
          <c:order val="191"/>
          <c:tx>
            <c:strRef>
              <c:f>Tabelle1!$GO$2</c:f>
              <c:strCache>
                <c:ptCount val="1"/>
              </c:strCache>
            </c:strRef>
          </c:tx>
          <c:spPr>
            <a:ln w="28575" cap="rnd">
              <a:solidFill>
                <a:schemeClr val="accent6">
                  <a:lumMod val="60000"/>
                  <a:lumOff val="4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GO$3:$GO$1319</c:f>
              <c:numCache>
                <c:formatCode>General</c:formatCode>
                <c:ptCount val="1317"/>
              </c:numCache>
            </c:numRef>
          </c:val>
          <c:smooth val="0"/>
          <c:extLst>
            <c:ext xmlns:c16="http://schemas.microsoft.com/office/drawing/2014/chart" uri="{C3380CC4-5D6E-409C-BE32-E72D297353CC}">
              <c16:uniqueId val="{000000B7-5B14-4065-87DF-4FBA120D31D5}"/>
            </c:ext>
          </c:extLst>
        </c:ser>
        <c:ser>
          <c:idx val="192"/>
          <c:order val="192"/>
          <c:tx>
            <c:strRef>
              <c:f>Tabelle1!$GP$2</c:f>
              <c:strCache>
                <c:ptCount val="1"/>
              </c:strCache>
            </c:strRef>
          </c:tx>
          <c:spPr>
            <a:ln w="28575" cap="rnd">
              <a:solidFill>
                <a:schemeClr val="accent1">
                  <a:lumMod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GP$3:$GP$1319</c:f>
              <c:numCache>
                <c:formatCode>General</c:formatCode>
                <c:ptCount val="1317"/>
              </c:numCache>
            </c:numRef>
          </c:val>
          <c:smooth val="0"/>
          <c:extLst>
            <c:ext xmlns:c16="http://schemas.microsoft.com/office/drawing/2014/chart" uri="{C3380CC4-5D6E-409C-BE32-E72D297353CC}">
              <c16:uniqueId val="{000000B8-5B14-4065-87DF-4FBA120D31D5}"/>
            </c:ext>
          </c:extLst>
        </c:ser>
        <c:ser>
          <c:idx val="193"/>
          <c:order val="193"/>
          <c:tx>
            <c:strRef>
              <c:f>Tabelle1!$GQ$2</c:f>
              <c:strCache>
                <c:ptCount val="1"/>
              </c:strCache>
            </c:strRef>
          </c:tx>
          <c:spPr>
            <a:ln w="28575" cap="rnd">
              <a:solidFill>
                <a:schemeClr val="accent2">
                  <a:lumMod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GQ$3:$GQ$1319</c:f>
              <c:numCache>
                <c:formatCode>General</c:formatCode>
                <c:ptCount val="1317"/>
              </c:numCache>
            </c:numRef>
          </c:val>
          <c:smooth val="0"/>
          <c:extLst>
            <c:ext xmlns:c16="http://schemas.microsoft.com/office/drawing/2014/chart" uri="{C3380CC4-5D6E-409C-BE32-E72D297353CC}">
              <c16:uniqueId val="{000000B9-5B14-4065-87DF-4FBA120D31D5}"/>
            </c:ext>
          </c:extLst>
        </c:ser>
        <c:ser>
          <c:idx val="194"/>
          <c:order val="194"/>
          <c:tx>
            <c:strRef>
              <c:f>Tabelle1!$GR$2</c:f>
              <c:strCache>
                <c:ptCount val="1"/>
              </c:strCache>
            </c:strRef>
          </c:tx>
          <c:spPr>
            <a:ln w="28575" cap="rnd">
              <a:solidFill>
                <a:schemeClr val="accent3">
                  <a:lumMod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GR$3:$GR$1319</c:f>
              <c:numCache>
                <c:formatCode>General</c:formatCode>
                <c:ptCount val="1317"/>
              </c:numCache>
            </c:numRef>
          </c:val>
          <c:smooth val="0"/>
          <c:extLst>
            <c:ext xmlns:c16="http://schemas.microsoft.com/office/drawing/2014/chart" uri="{C3380CC4-5D6E-409C-BE32-E72D297353CC}">
              <c16:uniqueId val="{000000BA-5B14-4065-87DF-4FBA120D31D5}"/>
            </c:ext>
          </c:extLst>
        </c:ser>
        <c:ser>
          <c:idx val="195"/>
          <c:order val="195"/>
          <c:tx>
            <c:strRef>
              <c:f>Tabelle1!$GS$2</c:f>
              <c:strCache>
                <c:ptCount val="1"/>
              </c:strCache>
            </c:strRef>
          </c:tx>
          <c:spPr>
            <a:ln w="28575" cap="rnd">
              <a:solidFill>
                <a:schemeClr val="accent4">
                  <a:lumMod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GS$3:$GS$1319</c:f>
              <c:numCache>
                <c:formatCode>General</c:formatCode>
                <c:ptCount val="1317"/>
              </c:numCache>
            </c:numRef>
          </c:val>
          <c:smooth val="0"/>
          <c:extLst>
            <c:ext xmlns:c16="http://schemas.microsoft.com/office/drawing/2014/chart" uri="{C3380CC4-5D6E-409C-BE32-E72D297353CC}">
              <c16:uniqueId val="{000000BB-5B14-4065-87DF-4FBA120D31D5}"/>
            </c:ext>
          </c:extLst>
        </c:ser>
        <c:ser>
          <c:idx val="196"/>
          <c:order val="196"/>
          <c:tx>
            <c:strRef>
              <c:f>Tabelle1!$GT$2</c:f>
              <c:strCache>
                <c:ptCount val="1"/>
              </c:strCache>
            </c:strRef>
          </c:tx>
          <c:spPr>
            <a:ln w="28575" cap="rnd">
              <a:solidFill>
                <a:schemeClr val="accent5">
                  <a:lumMod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GT$3:$GT$1319</c:f>
              <c:numCache>
                <c:formatCode>General</c:formatCode>
                <c:ptCount val="1317"/>
              </c:numCache>
            </c:numRef>
          </c:val>
          <c:smooth val="0"/>
          <c:extLst>
            <c:ext xmlns:c16="http://schemas.microsoft.com/office/drawing/2014/chart" uri="{C3380CC4-5D6E-409C-BE32-E72D297353CC}">
              <c16:uniqueId val="{000000BC-5B14-4065-87DF-4FBA120D31D5}"/>
            </c:ext>
          </c:extLst>
        </c:ser>
        <c:ser>
          <c:idx val="197"/>
          <c:order val="197"/>
          <c:tx>
            <c:strRef>
              <c:f>Tabelle1!$GU$2</c:f>
              <c:strCache>
                <c:ptCount val="1"/>
              </c:strCache>
            </c:strRef>
          </c:tx>
          <c:spPr>
            <a:ln w="28575" cap="rnd">
              <a:solidFill>
                <a:schemeClr val="accent6">
                  <a:lumMod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GU$3:$GU$1319</c:f>
              <c:numCache>
                <c:formatCode>General</c:formatCode>
                <c:ptCount val="1317"/>
              </c:numCache>
            </c:numRef>
          </c:val>
          <c:smooth val="0"/>
          <c:extLst>
            <c:ext xmlns:c16="http://schemas.microsoft.com/office/drawing/2014/chart" uri="{C3380CC4-5D6E-409C-BE32-E72D297353CC}">
              <c16:uniqueId val="{000000BD-5B14-4065-87DF-4FBA120D31D5}"/>
            </c:ext>
          </c:extLst>
        </c:ser>
        <c:ser>
          <c:idx val="198"/>
          <c:order val="198"/>
          <c:tx>
            <c:strRef>
              <c:f>Tabelle1!$GV$2</c:f>
              <c:strCache>
                <c:ptCount val="1"/>
              </c:strCache>
            </c:strRef>
          </c:tx>
          <c:spPr>
            <a:ln w="28575" cap="rnd">
              <a:solidFill>
                <a:schemeClr val="accent1">
                  <a:lumMod val="70000"/>
                  <a:lumOff val="3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GV$3:$GV$1319</c:f>
              <c:numCache>
                <c:formatCode>General</c:formatCode>
                <c:ptCount val="1317"/>
              </c:numCache>
            </c:numRef>
          </c:val>
          <c:smooth val="0"/>
          <c:extLst>
            <c:ext xmlns:c16="http://schemas.microsoft.com/office/drawing/2014/chart" uri="{C3380CC4-5D6E-409C-BE32-E72D297353CC}">
              <c16:uniqueId val="{000000BE-5B14-4065-87DF-4FBA120D31D5}"/>
            </c:ext>
          </c:extLst>
        </c:ser>
        <c:ser>
          <c:idx val="199"/>
          <c:order val="199"/>
          <c:tx>
            <c:strRef>
              <c:f>Tabelle1!$GW$2</c:f>
              <c:strCache>
                <c:ptCount val="1"/>
              </c:strCache>
            </c:strRef>
          </c:tx>
          <c:spPr>
            <a:ln w="28575" cap="rnd">
              <a:solidFill>
                <a:schemeClr val="accent2">
                  <a:lumMod val="70000"/>
                  <a:lumOff val="3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GW$3:$GW$1319</c:f>
              <c:numCache>
                <c:formatCode>General</c:formatCode>
                <c:ptCount val="1317"/>
              </c:numCache>
            </c:numRef>
          </c:val>
          <c:smooth val="0"/>
          <c:extLst>
            <c:ext xmlns:c16="http://schemas.microsoft.com/office/drawing/2014/chart" uri="{C3380CC4-5D6E-409C-BE32-E72D297353CC}">
              <c16:uniqueId val="{000000BF-5B14-4065-87DF-4FBA120D31D5}"/>
            </c:ext>
          </c:extLst>
        </c:ser>
        <c:ser>
          <c:idx val="200"/>
          <c:order val="200"/>
          <c:tx>
            <c:strRef>
              <c:f>Tabelle1!$GX$2</c:f>
              <c:strCache>
                <c:ptCount val="1"/>
              </c:strCache>
            </c:strRef>
          </c:tx>
          <c:spPr>
            <a:ln w="28575" cap="rnd">
              <a:solidFill>
                <a:schemeClr val="accent3">
                  <a:lumMod val="70000"/>
                  <a:lumOff val="3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GX$3:$GX$1319</c:f>
              <c:numCache>
                <c:formatCode>General</c:formatCode>
                <c:ptCount val="1317"/>
              </c:numCache>
            </c:numRef>
          </c:val>
          <c:smooth val="0"/>
          <c:extLst>
            <c:ext xmlns:c16="http://schemas.microsoft.com/office/drawing/2014/chart" uri="{C3380CC4-5D6E-409C-BE32-E72D297353CC}">
              <c16:uniqueId val="{000000C0-5B14-4065-87DF-4FBA120D31D5}"/>
            </c:ext>
          </c:extLst>
        </c:ser>
        <c:ser>
          <c:idx val="201"/>
          <c:order val="201"/>
          <c:tx>
            <c:strRef>
              <c:f>Tabelle1!$GY$2</c:f>
              <c:strCache>
                <c:ptCount val="1"/>
              </c:strCache>
            </c:strRef>
          </c:tx>
          <c:spPr>
            <a:ln w="28575" cap="rnd">
              <a:solidFill>
                <a:schemeClr val="accent4">
                  <a:lumMod val="70000"/>
                  <a:lumOff val="3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GY$3:$GY$1319</c:f>
              <c:numCache>
                <c:formatCode>General</c:formatCode>
                <c:ptCount val="1317"/>
              </c:numCache>
            </c:numRef>
          </c:val>
          <c:smooth val="0"/>
          <c:extLst>
            <c:ext xmlns:c16="http://schemas.microsoft.com/office/drawing/2014/chart" uri="{C3380CC4-5D6E-409C-BE32-E72D297353CC}">
              <c16:uniqueId val="{000000C1-5B14-4065-87DF-4FBA120D31D5}"/>
            </c:ext>
          </c:extLst>
        </c:ser>
        <c:ser>
          <c:idx val="202"/>
          <c:order val="202"/>
          <c:tx>
            <c:strRef>
              <c:f>Tabelle1!$GZ$2</c:f>
              <c:strCache>
                <c:ptCount val="1"/>
              </c:strCache>
            </c:strRef>
          </c:tx>
          <c:spPr>
            <a:ln w="28575" cap="rnd">
              <a:solidFill>
                <a:schemeClr val="accent5">
                  <a:lumMod val="70000"/>
                  <a:lumOff val="3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GZ$3:$GZ$1319</c:f>
              <c:numCache>
                <c:formatCode>General</c:formatCode>
                <c:ptCount val="1317"/>
              </c:numCache>
            </c:numRef>
          </c:val>
          <c:smooth val="0"/>
          <c:extLst>
            <c:ext xmlns:c16="http://schemas.microsoft.com/office/drawing/2014/chart" uri="{C3380CC4-5D6E-409C-BE32-E72D297353CC}">
              <c16:uniqueId val="{000000C2-5B14-4065-87DF-4FBA120D31D5}"/>
            </c:ext>
          </c:extLst>
        </c:ser>
        <c:ser>
          <c:idx val="203"/>
          <c:order val="203"/>
          <c:tx>
            <c:strRef>
              <c:f>Tabelle1!$HA$2</c:f>
              <c:strCache>
                <c:ptCount val="1"/>
              </c:strCache>
            </c:strRef>
          </c:tx>
          <c:spPr>
            <a:ln w="28575" cap="rnd">
              <a:solidFill>
                <a:schemeClr val="accent6">
                  <a:lumMod val="70000"/>
                  <a:lumOff val="3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HA$3:$HA$1319</c:f>
              <c:numCache>
                <c:formatCode>General</c:formatCode>
                <c:ptCount val="1317"/>
              </c:numCache>
            </c:numRef>
          </c:val>
          <c:smooth val="0"/>
          <c:extLst>
            <c:ext xmlns:c16="http://schemas.microsoft.com/office/drawing/2014/chart" uri="{C3380CC4-5D6E-409C-BE32-E72D297353CC}">
              <c16:uniqueId val="{000000C3-5B14-4065-87DF-4FBA120D31D5}"/>
            </c:ext>
          </c:extLst>
        </c:ser>
        <c:ser>
          <c:idx val="204"/>
          <c:order val="204"/>
          <c:tx>
            <c:strRef>
              <c:f>Tabelle1!$HB$2</c:f>
              <c:strCache>
                <c:ptCount val="1"/>
              </c:strCache>
            </c:strRef>
          </c:tx>
          <c:spPr>
            <a:ln w="28575" cap="rnd">
              <a:solidFill>
                <a:schemeClr val="accent1">
                  <a:lumMod val="7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HB$3:$HB$1319</c:f>
              <c:numCache>
                <c:formatCode>General</c:formatCode>
                <c:ptCount val="1317"/>
              </c:numCache>
            </c:numRef>
          </c:val>
          <c:smooth val="0"/>
          <c:extLst>
            <c:ext xmlns:c16="http://schemas.microsoft.com/office/drawing/2014/chart" uri="{C3380CC4-5D6E-409C-BE32-E72D297353CC}">
              <c16:uniqueId val="{000000C4-5B14-4065-87DF-4FBA120D31D5}"/>
            </c:ext>
          </c:extLst>
        </c:ser>
        <c:ser>
          <c:idx val="205"/>
          <c:order val="205"/>
          <c:tx>
            <c:strRef>
              <c:f>Tabelle1!$HC$2</c:f>
              <c:strCache>
                <c:ptCount val="1"/>
              </c:strCache>
            </c:strRef>
          </c:tx>
          <c:spPr>
            <a:ln w="28575" cap="rnd">
              <a:solidFill>
                <a:schemeClr val="accent2">
                  <a:lumMod val="7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HC$3:$HC$1319</c:f>
              <c:numCache>
                <c:formatCode>General</c:formatCode>
                <c:ptCount val="1317"/>
              </c:numCache>
            </c:numRef>
          </c:val>
          <c:smooth val="0"/>
          <c:extLst>
            <c:ext xmlns:c16="http://schemas.microsoft.com/office/drawing/2014/chart" uri="{C3380CC4-5D6E-409C-BE32-E72D297353CC}">
              <c16:uniqueId val="{000000C5-5B14-4065-87DF-4FBA120D31D5}"/>
            </c:ext>
          </c:extLst>
        </c:ser>
        <c:ser>
          <c:idx val="206"/>
          <c:order val="206"/>
          <c:tx>
            <c:strRef>
              <c:f>Tabelle1!$HD$2</c:f>
              <c:strCache>
                <c:ptCount val="1"/>
              </c:strCache>
            </c:strRef>
          </c:tx>
          <c:spPr>
            <a:ln w="28575" cap="rnd">
              <a:solidFill>
                <a:schemeClr val="accent3">
                  <a:lumMod val="7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HD$3:$HD$1319</c:f>
              <c:numCache>
                <c:formatCode>General</c:formatCode>
                <c:ptCount val="1317"/>
              </c:numCache>
            </c:numRef>
          </c:val>
          <c:smooth val="0"/>
          <c:extLst>
            <c:ext xmlns:c16="http://schemas.microsoft.com/office/drawing/2014/chart" uri="{C3380CC4-5D6E-409C-BE32-E72D297353CC}">
              <c16:uniqueId val="{000000C6-5B14-4065-87DF-4FBA120D31D5}"/>
            </c:ext>
          </c:extLst>
        </c:ser>
        <c:ser>
          <c:idx val="207"/>
          <c:order val="207"/>
          <c:tx>
            <c:strRef>
              <c:f>Tabelle1!$HE$2</c:f>
              <c:strCache>
                <c:ptCount val="1"/>
              </c:strCache>
            </c:strRef>
          </c:tx>
          <c:spPr>
            <a:ln w="28575" cap="rnd">
              <a:solidFill>
                <a:schemeClr val="accent4">
                  <a:lumMod val="7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HE$3:$HE$1319</c:f>
              <c:numCache>
                <c:formatCode>General</c:formatCode>
                <c:ptCount val="1317"/>
              </c:numCache>
            </c:numRef>
          </c:val>
          <c:smooth val="0"/>
          <c:extLst>
            <c:ext xmlns:c16="http://schemas.microsoft.com/office/drawing/2014/chart" uri="{C3380CC4-5D6E-409C-BE32-E72D297353CC}">
              <c16:uniqueId val="{000000C7-5B14-4065-87DF-4FBA120D31D5}"/>
            </c:ext>
          </c:extLst>
        </c:ser>
        <c:ser>
          <c:idx val="208"/>
          <c:order val="208"/>
          <c:tx>
            <c:strRef>
              <c:f>Tabelle1!$HF$2</c:f>
              <c:strCache>
                <c:ptCount val="1"/>
              </c:strCache>
            </c:strRef>
          </c:tx>
          <c:spPr>
            <a:ln w="28575" cap="rnd">
              <a:solidFill>
                <a:schemeClr val="accent5">
                  <a:lumMod val="7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HF$3:$HF$1319</c:f>
              <c:numCache>
                <c:formatCode>General</c:formatCode>
                <c:ptCount val="1317"/>
              </c:numCache>
            </c:numRef>
          </c:val>
          <c:smooth val="0"/>
          <c:extLst>
            <c:ext xmlns:c16="http://schemas.microsoft.com/office/drawing/2014/chart" uri="{C3380CC4-5D6E-409C-BE32-E72D297353CC}">
              <c16:uniqueId val="{000000C8-5B14-4065-87DF-4FBA120D31D5}"/>
            </c:ext>
          </c:extLst>
        </c:ser>
        <c:ser>
          <c:idx val="209"/>
          <c:order val="209"/>
          <c:tx>
            <c:strRef>
              <c:f>Tabelle1!$HG$2</c:f>
              <c:strCache>
                <c:ptCount val="1"/>
              </c:strCache>
            </c:strRef>
          </c:tx>
          <c:spPr>
            <a:ln w="28575" cap="rnd">
              <a:solidFill>
                <a:schemeClr val="accent6">
                  <a:lumMod val="7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HG$3:$HG$1319</c:f>
              <c:numCache>
                <c:formatCode>General</c:formatCode>
                <c:ptCount val="1317"/>
              </c:numCache>
            </c:numRef>
          </c:val>
          <c:smooth val="0"/>
          <c:extLst>
            <c:ext xmlns:c16="http://schemas.microsoft.com/office/drawing/2014/chart" uri="{C3380CC4-5D6E-409C-BE32-E72D297353CC}">
              <c16:uniqueId val="{000000C9-5B14-4065-87DF-4FBA120D31D5}"/>
            </c:ext>
          </c:extLst>
        </c:ser>
        <c:ser>
          <c:idx val="210"/>
          <c:order val="210"/>
          <c:tx>
            <c:strRef>
              <c:f>Tabelle1!$HH$2</c:f>
              <c:strCache>
                <c:ptCount val="1"/>
              </c:strCache>
            </c:strRef>
          </c:tx>
          <c:spPr>
            <a:ln w="28575" cap="rnd">
              <a:solidFill>
                <a:schemeClr val="accent1">
                  <a:lumMod val="50000"/>
                  <a:lumOff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HH$3:$HH$1319</c:f>
              <c:numCache>
                <c:formatCode>General</c:formatCode>
                <c:ptCount val="1317"/>
              </c:numCache>
            </c:numRef>
          </c:val>
          <c:smooth val="0"/>
          <c:extLst>
            <c:ext xmlns:c16="http://schemas.microsoft.com/office/drawing/2014/chart" uri="{C3380CC4-5D6E-409C-BE32-E72D297353CC}">
              <c16:uniqueId val="{000000CA-5B14-4065-87DF-4FBA120D31D5}"/>
            </c:ext>
          </c:extLst>
        </c:ser>
        <c:ser>
          <c:idx val="211"/>
          <c:order val="211"/>
          <c:tx>
            <c:strRef>
              <c:f>Tabelle1!$HI$2</c:f>
              <c:strCache>
                <c:ptCount val="1"/>
              </c:strCache>
            </c:strRef>
          </c:tx>
          <c:spPr>
            <a:ln w="28575" cap="rnd">
              <a:solidFill>
                <a:schemeClr val="accent2">
                  <a:lumMod val="50000"/>
                  <a:lumOff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HI$3:$HI$1319</c:f>
              <c:numCache>
                <c:formatCode>General</c:formatCode>
                <c:ptCount val="1317"/>
              </c:numCache>
            </c:numRef>
          </c:val>
          <c:smooth val="0"/>
          <c:extLst>
            <c:ext xmlns:c16="http://schemas.microsoft.com/office/drawing/2014/chart" uri="{C3380CC4-5D6E-409C-BE32-E72D297353CC}">
              <c16:uniqueId val="{000000CB-5B14-4065-87DF-4FBA120D31D5}"/>
            </c:ext>
          </c:extLst>
        </c:ser>
        <c:ser>
          <c:idx val="212"/>
          <c:order val="212"/>
          <c:tx>
            <c:strRef>
              <c:f>Tabelle1!$HJ$2</c:f>
              <c:strCache>
                <c:ptCount val="1"/>
              </c:strCache>
            </c:strRef>
          </c:tx>
          <c:spPr>
            <a:ln w="28575" cap="rnd">
              <a:solidFill>
                <a:schemeClr val="accent3">
                  <a:lumMod val="50000"/>
                  <a:lumOff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HJ$3:$HJ$1319</c:f>
              <c:numCache>
                <c:formatCode>General</c:formatCode>
                <c:ptCount val="1317"/>
              </c:numCache>
            </c:numRef>
          </c:val>
          <c:smooth val="0"/>
          <c:extLst>
            <c:ext xmlns:c16="http://schemas.microsoft.com/office/drawing/2014/chart" uri="{C3380CC4-5D6E-409C-BE32-E72D297353CC}">
              <c16:uniqueId val="{000000CC-5B14-4065-87DF-4FBA120D31D5}"/>
            </c:ext>
          </c:extLst>
        </c:ser>
        <c:ser>
          <c:idx val="213"/>
          <c:order val="213"/>
          <c:tx>
            <c:strRef>
              <c:f>Tabelle1!$HK$2</c:f>
              <c:strCache>
                <c:ptCount val="1"/>
              </c:strCache>
            </c:strRef>
          </c:tx>
          <c:spPr>
            <a:ln w="28575" cap="rnd">
              <a:solidFill>
                <a:schemeClr val="accent4">
                  <a:lumMod val="50000"/>
                  <a:lumOff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HK$3:$HK$1319</c:f>
              <c:numCache>
                <c:formatCode>General</c:formatCode>
                <c:ptCount val="1317"/>
              </c:numCache>
            </c:numRef>
          </c:val>
          <c:smooth val="0"/>
          <c:extLst>
            <c:ext xmlns:c16="http://schemas.microsoft.com/office/drawing/2014/chart" uri="{C3380CC4-5D6E-409C-BE32-E72D297353CC}">
              <c16:uniqueId val="{000000CD-5B14-4065-87DF-4FBA120D31D5}"/>
            </c:ext>
          </c:extLst>
        </c:ser>
        <c:ser>
          <c:idx val="214"/>
          <c:order val="214"/>
          <c:tx>
            <c:strRef>
              <c:f>Tabelle1!$HL$2</c:f>
              <c:strCache>
                <c:ptCount val="1"/>
              </c:strCache>
            </c:strRef>
          </c:tx>
          <c:spPr>
            <a:ln w="28575" cap="rnd">
              <a:solidFill>
                <a:schemeClr val="accent5">
                  <a:lumMod val="50000"/>
                  <a:lumOff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HL$3:$HL$1319</c:f>
              <c:numCache>
                <c:formatCode>General</c:formatCode>
                <c:ptCount val="1317"/>
              </c:numCache>
            </c:numRef>
          </c:val>
          <c:smooth val="0"/>
          <c:extLst>
            <c:ext xmlns:c16="http://schemas.microsoft.com/office/drawing/2014/chart" uri="{C3380CC4-5D6E-409C-BE32-E72D297353CC}">
              <c16:uniqueId val="{000000CE-5B14-4065-87DF-4FBA120D31D5}"/>
            </c:ext>
          </c:extLst>
        </c:ser>
        <c:ser>
          <c:idx val="215"/>
          <c:order val="215"/>
          <c:tx>
            <c:strRef>
              <c:f>Tabelle1!$HM$2</c:f>
              <c:strCache>
                <c:ptCount val="1"/>
              </c:strCache>
            </c:strRef>
          </c:tx>
          <c:spPr>
            <a:ln w="28575" cap="rnd">
              <a:solidFill>
                <a:schemeClr val="accent6">
                  <a:lumMod val="50000"/>
                  <a:lumOff val="5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HM$3:$HM$1319</c:f>
              <c:numCache>
                <c:formatCode>General</c:formatCode>
                <c:ptCount val="1317"/>
              </c:numCache>
            </c:numRef>
          </c:val>
          <c:smooth val="0"/>
          <c:extLst>
            <c:ext xmlns:c16="http://schemas.microsoft.com/office/drawing/2014/chart" uri="{C3380CC4-5D6E-409C-BE32-E72D297353CC}">
              <c16:uniqueId val="{000000CF-5B14-4065-87DF-4FBA120D31D5}"/>
            </c:ext>
          </c:extLst>
        </c:ser>
        <c:ser>
          <c:idx val="216"/>
          <c:order val="216"/>
          <c:tx>
            <c:strRef>
              <c:f>Tabelle1!$HN$2</c:f>
              <c:strCache>
                <c:ptCount val="1"/>
              </c:strCache>
            </c:strRef>
          </c:tx>
          <c:spPr>
            <a:ln w="28575" cap="rnd">
              <a:solidFill>
                <a:schemeClr val="accent1"/>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HN$3:$HN$1319</c:f>
              <c:numCache>
                <c:formatCode>General</c:formatCode>
                <c:ptCount val="1317"/>
              </c:numCache>
            </c:numRef>
          </c:val>
          <c:smooth val="0"/>
          <c:extLst>
            <c:ext xmlns:c16="http://schemas.microsoft.com/office/drawing/2014/chart" uri="{C3380CC4-5D6E-409C-BE32-E72D297353CC}">
              <c16:uniqueId val="{000000D0-5B14-4065-87DF-4FBA120D31D5}"/>
            </c:ext>
          </c:extLst>
        </c:ser>
        <c:ser>
          <c:idx val="217"/>
          <c:order val="217"/>
          <c:tx>
            <c:strRef>
              <c:f>Tabelle1!$HO$2</c:f>
              <c:strCache>
                <c:ptCount val="1"/>
              </c:strCache>
            </c:strRef>
          </c:tx>
          <c:spPr>
            <a:ln w="28575" cap="rnd">
              <a:solidFill>
                <a:schemeClr val="accent2"/>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HO$3:$HO$1319</c:f>
              <c:numCache>
                <c:formatCode>General</c:formatCode>
                <c:ptCount val="1317"/>
              </c:numCache>
            </c:numRef>
          </c:val>
          <c:smooth val="0"/>
          <c:extLst>
            <c:ext xmlns:c16="http://schemas.microsoft.com/office/drawing/2014/chart" uri="{C3380CC4-5D6E-409C-BE32-E72D297353CC}">
              <c16:uniqueId val="{000000D1-5B14-4065-87DF-4FBA120D31D5}"/>
            </c:ext>
          </c:extLst>
        </c:ser>
        <c:ser>
          <c:idx val="218"/>
          <c:order val="218"/>
          <c:tx>
            <c:strRef>
              <c:f>Tabelle1!$HP$2</c:f>
              <c:strCache>
                <c:ptCount val="1"/>
              </c:strCache>
            </c:strRef>
          </c:tx>
          <c:spPr>
            <a:ln w="28575" cap="rnd">
              <a:solidFill>
                <a:schemeClr val="accent3"/>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HP$3:$HP$1319</c:f>
              <c:numCache>
                <c:formatCode>General</c:formatCode>
                <c:ptCount val="1317"/>
              </c:numCache>
            </c:numRef>
          </c:val>
          <c:smooth val="0"/>
          <c:extLst>
            <c:ext xmlns:c16="http://schemas.microsoft.com/office/drawing/2014/chart" uri="{C3380CC4-5D6E-409C-BE32-E72D297353CC}">
              <c16:uniqueId val="{000000D2-5B14-4065-87DF-4FBA120D31D5}"/>
            </c:ext>
          </c:extLst>
        </c:ser>
        <c:ser>
          <c:idx val="219"/>
          <c:order val="219"/>
          <c:tx>
            <c:strRef>
              <c:f>Tabelle1!$HQ$2</c:f>
              <c:strCache>
                <c:ptCount val="1"/>
              </c:strCache>
            </c:strRef>
          </c:tx>
          <c:spPr>
            <a:ln w="28575" cap="rnd">
              <a:solidFill>
                <a:schemeClr val="accent4"/>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HQ$3:$HQ$1319</c:f>
              <c:numCache>
                <c:formatCode>General</c:formatCode>
                <c:ptCount val="1317"/>
              </c:numCache>
            </c:numRef>
          </c:val>
          <c:smooth val="0"/>
          <c:extLst>
            <c:ext xmlns:c16="http://schemas.microsoft.com/office/drawing/2014/chart" uri="{C3380CC4-5D6E-409C-BE32-E72D297353CC}">
              <c16:uniqueId val="{000000D3-5B14-4065-87DF-4FBA120D31D5}"/>
            </c:ext>
          </c:extLst>
        </c:ser>
        <c:ser>
          <c:idx val="220"/>
          <c:order val="220"/>
          <c:tx>
            <c:strRef>
              <c:f>Tabelle1!$HR$2</c:f>
              <c:strCache>
                <c:ptCount val="1"/>
              </c:strCache>
            </c:strRef>
          </c:tx>
          <c:spPr>
            <a:ln w="28575" cap="rnd">
              <a:solidFill>
                <a:schemeClr val="accent5"/>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HR$3:$HR$1319</c:f>
              <c:numCache>
                <c:formatCode>General</c:formatCode>
                <c:ptCount val="1317"/>
              </c:numCache>
            </c:numRef>
          </c:val>
          <c:smooth val="0"/>
          <c:extLst>
            <c:ext xmlns:c16="http://schemas.microsoft.com/office/drawing/2014/chart" uri="{C3380CC4-5D6E-409C-BE32-E72D297353CC}">
              <c16:uniqueId val="{000000D4-5B14-4065-87DF-4FBA120D31D5}"/>
            </c:ext>
          </c:extLst>
        </c:ser>
        <c:ser>
          <c:idx val="221"/>
          <c:order val="221"/>
          <c:tx>
            <c:strRef>
              <c:f>Tabelle1!$HS$2</c:f>
              <c:strCache>
                <c:ptCount val="1"/>
              </c:strCache>
            </c:strRef>
          </c:tx>
          <c:spPr>
            <a:ln w="28575" cap="rnd">
              <a:solidFill>
                <a:schemeClr val="accent6"/>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HS$3:$HS$1319</c:f>
              <c:numCache>
                <c:formatCode>General</c:formatCode>
                <c:ptCount val="1317"/>
              </c:numCache>
            </c:numRef>
          </c:val>
          <c:smooth val="0"/>
          <c:extLst>
            <c:ext xmlns:c16="http://schemas.microsoft.com/office/drawing/2014/chart" uri="{C3380CC4-5D6E-409C-BE32-E72D297353CC}">
              <c16:uniqueId val="{000000D5-5B14-4065-87DF-4FBA120D31D5}"/>
            </c:ext>
          </c:extLst>
        </c:ser>
        <c:ser>
          <c:idx val="222"/>
          <c:order val="222"/>
          <c:tx>
            <c:strRef>
              <c:f>Tabelle1!$HT$2</c:f>
              <c:strCache>
                <c:ptCount val="1"/>
              </c:strCache>
            </c:strRef>
          </c:tx>
          <c:spPr>
            <a:ln w="28575" cap="rnd">
              <a:solidFill>
                <a:schemeClr val="accent1">
                  <a:lumMod val="6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HT$3:$HT$1319</c:f>
              <c:numCache>
                <c:formatCode>General</c:formatCode>
                <c:ptCount val="1317"/>
              </c:numCache>
            </c:numRef>
          </c:val>
          <c:smooth val="0"/>
          <c:extLst>
            <c:ext xmlns:c16="http://schemas.microsoft.com/office/drawing/2014/chart" uri="{C3380CC4-5D6E-409C-BE32-E72D297353CC}">
              <c16:uniqueId val="{000000D6-5B14-4065-87DF-4FBA120D31D5}"/>
            </c:ext>
          </c:extLst>
        </c:ser>
        <c:ser>
          <c:idx val="223"/>
          <c:order val="223"/>
          <c:tx>
            <c:strRef>
              <c:f>Tabelle1!$HU$2</c:f>
              <c:strCache>
                <c:ptCount val="1"/>
              </c:strCache>
            </c:strRef>
          </c:tx>
          <c:spPr>
            <a:ln w="28575" cap="rnd">
              <a:solidFill>
                <a:schemeClr val="accent2">
                  <a:lumMod val="6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HU$3:$HU$1319</c:f>
              <c:numCache>
                <c:formatCode>General</c:formatCode>
                <c:ptCount val="1317"/>
              </c:numCache>
            </c:numRef>
          </c:val>
          <c:smooth val="0"/>
          <c:extLst>
            <c:ext xmlns:c16="http://schemas.microsoft.com/office/drawing/2014/chart" uri="{C3380CC4-5D6E-409C-BE32-E72D297353CC}">
              <c16:uniqueId val="{000000D7-5B14-4065-87DF-4FBA120D31D5}"/>
            </c:ext>
          </c:extLst>
        </c:ser>
        <c:ser>
          <c:idx val="224"/>
          <c:order val="224"/>
          <c:tx>
            <c:strRef>
              <c:f>Tabelle1!$HV$2</c:f>
              <c:strCache>
                <c:ptCount val="1"/>
              </c:strCache>
            </c:strRef>
          </c:tx>
          <c:spPr>
            <a:ln w="28575" cap="rnd">
              <a:solidFill>
                <a:schemeClr val="accent3">
                  <a:lumMod val="6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HV$3:$HV$1319</c:f>
              <c:numCache>
                <c:formatCode>General</c:formatCode>
                <c:ptCount val="1317"/>
              </c:numCache>
            </c:numRef>
          </c:val>
          <c:smooth val="0"/>
          <c:extLst>
            <c:ext xmlns:c16="http://schemas.microsoft.com/office/drawing/2014/chart" uri="{C3380CC4-5D6E-409C-BE32-E72D297353CC}">
              <c16:uniqueId val="{000000D8-5B14-4065-87DF-4FBA120D31D5}"/>
            </c:ext>
          </c:extLst>
        </c:ser>
        <c:ser>
          <c:idx val="225"/>
          <c:order val="225"/>
          <c:tx>
            <c:strRef>
              <c:f>Tabelle1!$HW$2</c:f>
              <c:strCache>
                <c:ptCount val="1"/>
              </c:strCache>
            </c:strRef>
          </c:tx>
          <c:spPr>
            <a:ln w="28575" cap="rnd">
              <a:solidFill>
                <a:schemeClr val="accent4">
                  <a:lumMod val="6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HW$3:$HW$1319</c:f>
              <c:numCache>
                <c:formatCode>General</c:formatCode>
                <c:ptCount val="1317"/>
              </c:numCache>
            </c:numRef>
          </c:val>
          <c:smooth val="0"/>
          <c:extLst>
            <c:ext xmlns:c16="http://schemas.microsoft.com/office/drawing/2014/chart" uri="{C3380CC4-5D6E-409C-BE32-E72D297353CC}">
              <c16:uniqueId val="{000000D9-5B14-4065-87DF-4FBA120D31D5}"/>
            </c:ext>
          </c:extLst>
        </c:ser>
        <c:ser>
          <c:idx val="226"/>
          <c:order val="226"/>
          <c:tx>
            <c:strRef>
              <c:f>Tabelle1!$HX$2</c:f>
              <c:strCache>
                <c:ptCount val="1"/>
              </c:strCache>
            </c:strRef>
          </c:tx>
          <c:spPr>
            <a:ln w="28575" cap="rnd">
              <a:solidFill>
                <a:schemeClr val="accent5">
                  <a:lumMod val="6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HX$3:$HX$1319</c:f>
              <c:numCache>
                <c:formatCode>General</c:formatCode>
                <c:ptCount val="1317"/>
              </c:numCache>
            </c:numRef>
          </c:val>
          <c:smooth val="0"/>
          <c:extLst>
            <c:ext xmlns:c16="http://schemas.microsoft.com/office/drawing/2014/chart" uri="{C3380CC4-5D6E-409C-BE32-E72D297353CC}">
              <c16:uniqueId val="{000000DA-5B14-4065-87DF-4FBA120D31D5}"/>
            </c:ext>
          </c:extLst>
        </c:ser>
        <c:ser>
          <c:idx val="227"/>
          <c:order val="227"/>
          <c:tx>
            <c:strRef>
              <c:f>Tabelle1!$HY$2</c:f>
              <c:strCache>
                <c:ptCount val="1"/>
              </c:strCache>
            </c:strRef>
          </c:tx>
          <c:spPr>
            <a:ln w="28575" cap="rnd">
              <a:solidFill>
                <a:schemeClr val="accent6">
                  <a:lumMod val="6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HY$3:$HY$1319</c:f>
              <c:numCache>
                <c:formatCode>General</c:formatCode>
                <c:ptCount val="1317"/>
              </c:numCache>
            </c:numRef>
          </c:val>
          <c:smooth val="0"/>
          <c:extLst>
            <c:ext xmlns:c16="http://schemas.microsoft.com/office/drawing/2014/chart" uri="{C3380CC4-5D6E-409C-BE32-E72D297353CC}">
              <c16:uniqueId val="{000000DB-5B14-4065-87DF-4FBA120D31D5}"/>
            </c:ext>
          </c:extLst>
        </c:ser>
        <c:ser>
          <c:idx val="228"/>
          <c:order val="228"/>
          <c:tx>
            <c:strRef>
              <c:f>Tabelle1!$HZ$2</c:f>
              <c:strCache>
                <c:ptCount val="1"/>
              </c:strCache>
            </c:strRef>
          </c:tx>
          <c:spPr>
            <a:ln w="28575" cap="rnd">
              <a:solidFill>
                <a:schemeClr val="accent1">
                  <a:lumMod val="80000"/>
                  <a:lumOff val="2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HZ$3:$HZ$1319</c:f>
              <c:numCache>
                <c:formatCode>General</c:formatCode>
                <c:ptCount val="1317"/>
              </c:numCache>
            </c:numRef>
          </c:val>
          <c:smooth val="0"/>
          <c:extLst>
            <c:ext xmlns:c16="http://schemas.microsoft.com/office/drawing/2014/chart" uri="{C3380CC4-5D6E-409C-BE32-E72D297353CC}">
              <c16:uniqueId val="{000000DC-5B14-4065-87DF-4FBA120D31D5}"/>
            </c:ext>
          </c:extLst>
        </c:ser>
        <c:ser>
          <c:idx val="229"/>
          <c:order val="229"/>
          <c:tx>
            <c:strRef>
              <c:f>Tabelle1!$IA$2</c:f>
              <c:strCache>
                <c:ptCount val="1"/>
              </c:strCache>
            </c:strRef>
          </c:tx>
          <c:spPr>
            <a:ln w="28575" cap="rnd">
              <a:solidFill>
                <a:schemeClr val="accent2">
                  <a:lumMod val="80000"/>
                  <a:lumOff val="2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IA$3:$IA$1319</c:f>
              <c:numCache>
                <c:formatCode>General</c:formatCode>
                <c:ptCount val="1317"/>
              </c:numCache>
            </c:numRef>
          </c:val>
          <c:smooth val="0"/>
          <c:extLst>
            <c:ext xmlns:c16="http://schemas.microsoft.com/office/drawing/2014/chart" uri="{C3380CC4-5D6E-409C-BE32-E72D297353CC}">
              <c16:uniqueId val="{000000DD-5B14-4065-87DF-4FBA120D31D5}"/>
            </c:ext>
          </c:extLst>
        </c:ser>
        <c:ser>
          <c:idx val="230"/>
          <c:order val="230"/>
          <c:tx>
            <c:strRef>
              <c:f>Tabelle1!$IB$2</c:f>
              <c:strCache>
                <c:ptCount val="1"/>
              </c:strCache>
            </c:strRef>
          </c:tx>
          <c:spPr>
            <a:ln w="28575" cap="rnd">
              <a:solidFill>
                <a:schemeClr val="accent3">
                  <a:lumMod val="80000"/>
                  <a:lumOff val="2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IB$3:$IB$1319</c:f>
              <c:numCache>
                <c:formatCode>General</c:formatCode>
                <c:ptCount val="1317"/>
              </c:numCache>
            </c:numRef>
          </c:val>
          <c:smooth val="0"/>
          <c:extLst>
            <c:ext xmlns:c16="http://schemas.microsoft.com/office/drawing/2014/chart" uri="{C3380CC4-5D6E-409C-BE32-E72D297353CC}">
              <c16:uniqueId val="{000000DE-5B14-4065-87DF-4FBA120D31D5}"/>
            </c:ext>
          </c:extLst>
        </c:ser>
        <c:ser>
          <c:idx val="231"/>
          <c:order val="231"/>
          <c:tx>
            <c:strRef>
              <c:f>Tabelle1!$IC$2</c:f>
              <c:strCache>
                <c:ptCount val="1"/>
              </c:strCache>
            </c:strRef>
          </c:tx>
          <c:spPr>
            <a:ln w="28575" cap="rnd">
              <a:solidFill>
                <a:schemeClr val="accent4">
                  <a:lumMod val="80000"/>
                  <a:lumOff val="2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IC$3:$IC$1319</c:f>
              <c:numCache>
                <c:formatCode>General</c:formatCode>
                <c:ptCount val="1317"/>
              </c:numCache>
            </c:numRef>
          </c:val>
          <c:smooth val="0"/>
          <c:extLst>
            <c:ext xmlns:c16="http://schemas.microsoft.com/office/drawing/2014/chart" uri="{C3380CC4-5D6E-409C-BE32-E72D297353CC}">
              <c16:uniqueId val="{000000DF-5B14-4065-87DF-4FBA120D31D5}"/>
            </c:ext>
          </c:extLst>
        </c:ser>
        <c:ser>
          <c:idx val="232"/>
          <c:order val="232"/>
          <c:tx>
            <c:strRef>
              <c:f>Tabelle1!$ID$2</c:f>
              <c:strCache>
                <c:ptCount val="1"/>
              </c:strCache>
            </c:strRef>
          </c:tx>
          <c:spPr>
            <a:ln w="28575" cap="rnd">
              <a:solidFill>
                <a:schemeClr val="accent5">
                  <a:lumMod val="80000"/>
                  <a:lumOff val="2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ID$3:$ID$1319</c:f>
              <c:numCache>
                <c:formatCode>General</c:formatCode>
                <c:ptCount val="1317"/>
              </c:numCache>
            </c:numRef>
          </c:val>
          <c:smooth val="0"/>
          <c:extLst>
            <c:ext xmlns:c16="http://schemas.microsoft.com/office/drawing/2014/chart" uri="{C3380CC4-5D6E-409C-BE32-E72D297353CC}">
              <c16:uniqueId val="{000000E0-5B14-4065-87DF-4FBA120D31D5}"/>
            </c:ext>
          </c:extLst>
        </c:ser>
        <c:ser>
          <c:idx val="233"/>
          <c:order val="233"/>
          <c:tx>
            <c:strRef>
              <c:f>Tabelle1!$IE$2</c:f>
              <c:strCache>
                <c:ptCount val="1"/>
              </c:strCache>
            </c:strRef>
          </c:tx>
          <c:spPr>
            <a:ln w="28575" cap="rnd">
              <a:solidFill>
                <a:schemeClr val="accent6">
                  <a:lumMod val="80000"/>
                  <a:lumOff val="2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IE$3:$IE$1319</c:f>
              <c:numCache>
                <c:formatCode>General</c:formatCode>
                <c:ptCount val="1317"/>
              </c:numCache>
            </c:numRef>
          </c:val>
          <c:smooth val="0"/>
          <c:extLst>
            <c:ext xmlns:c16="http://schemas.microsoft.com/office/drawing/2014/chart" uri="{C3380CC4-5D6E-409C-BE32-E72D297353CC}">
              <c16:uniqueId val="{000000E1-5B14-4065-87DF-4FBA120D31D5}"/>
            </c:ext>
          </c:extLst>
        </c:ser>
        <c:ser>
          <c:idx val="234"/>
          <c:order val="234"/>
          <c:tx>
            <c:strRef>
              <c:f>Tabelle1!$IF$2</c:f>
              <c:strCache>
                <c:ptCount val="1"/>
              </c:strCache>
            </c:strRef>
          </c:tx>
          <c:spPr>
            <a:ln w="28575" cap="rnd">
              <a:solidFill>
                <a:schemeClr val="accent1">
                  <a:lumMod val="8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IF$3:$IF$1319</c:f>
              <c:numCache>
                <c:formatCode>General</c:formatCode>
                <c:ptCount val="1317"/>
              </c:numCache>
            </c:numRef>
          </c:val>
          <c:smooth val="0"/>
          <c:extLst>
            <c:ext xmlns:c16="http://schemas.microsoft.com/office/drawing/2014/chart" uri="{C3380CC4-5D6E-409C-BE32-E72D297353CC}">
              <c16:uniqueId val="{000000E2-5B14-4065-87DF-4FBA120D31D5}"/>
            </c:ext>
          </c:extLst>
        </c:ser>
        <c:ser>
          <c:idx val="235"/>
          <c:order val="235"/>
          <c:tx>
            <c:strRef>
              <c:f>Tabelle1!$IG$2</c:f>
              <c:strCache>
                <c:ptCount val="1"/>
              </c:strCache>
            </c:strRef>
          </c:tx>
          <c:spPr>
            <a:ln w="28575" cap="rnd">
              <a:solidFill>
                <a:schemeClr val="accent2">
                  <a:lumMod val="8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IG$3:$IG$1319</c:f>
              <c:numCache>
                <c:formatCode>General</c:formatCode>
                <c:ptCount val="1317"/>
              </c:numCache>
            </c:numRef>
          </c:val>
          <c:smooth val="0"/>
          <c:extLst>
            <c:ext xmlns:c16="http://schemas.microsoft.com/office/drawing/2014/chart" uri="{C3380CC4-5D6E-409C-BE32-E72D297353CC}">
              <c16:uniqueId val="{000000E3-5B14-4065-87DF-4FBA120D31D5}"/>
            </c:ext>
          </c:extLst>
        </c:ser>
        <c:ser>
          <c:idx val="236"/>
          <c:order val="236"/>
          <c:tx>
            <c:strRef>
              <c:f>Tabelle1!$IH$2</c:f>
              <c:strCache>
                <c:ptCount val="1"/>
              </c:strCache>
            </c:strRef>
          </c:tx>
          <c:spPr>
            <a:ln w="28575" cap="rnd">
              <a:solidFill>
                <a:schemeClr val="accent3">
                  <a:lumMod val="8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IH$3:$IH$1319</c:f>
              <c:numCache>
                <c:formatCode>General</c:formatCode>
                <c:ptCount val="1317"/>
              </c:numCache>
            </c:numRef>
          </c:val>
          <c:smooth val="0"/>
          <c:extLst>
            <c:ext xmlns:c16="http://schemas.microsoft.com/office/drawing/2014/chart" uri="{C3380CC4-5D6E-409C-BE32-E72D297353CC}">
              <c16:uniqueId val="{000000E4-5B14-4065-87DF-4FBA120D31D5}"/>
            </c:ext>
          </c:extLst>
        </c:ser>
        <c:ser>
          <c:idx val="237"/>
          <c:order val="237"/>
          <c:tx>
            <c:strRef>
              <c:f>Tabelle1!$II$2</c:f>
              <c:strCache>
                <c:ptCount val="1"/>
              </c:strCache>
            </c:strRef>
          </c:tx>
          <c:spPr>
            <a:ln w="28575" cap="rnd">
              <a:solidFill>
                <a:schemeClr val="accent4">
                  <a:lumMod val="8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II$3:$II$1319</c:f>
              <c:numCache>
                <c:formatCode>General</c:formatCode>
                <c:ptCount val="1317"/>
              </c:numCache>
            </c:numRef>
          </c:val>
          <c:smooth val="0"/>
          <c:extLst>
            <c:ext xmlns:c16="http://schemas.microsoft.com/office/drawing/2014/chart" uri="{C3380CC4-5D6E-409C-BE32-E72D297353CC}">
              <c16:uniqueId val="{000000E5-5B14-4065-87DF-4FBA120D31D5}"/>
            </c:ext>
          </c:extLst>
        </c:ser>
        <c:ser>
          <c:idx val="238"/>
          <c:order val="238"/>
          <c:tx>
            <c:strRef>
              <c:f>Tabelle1!$IJ$2</c:f>
              <c:strCache>
                <c:ptCount val="1"/>
              </c:strCache>
            </c:strRef>
          </c:tx>
          <c:spPr>
            <a:ln w="28575" cap="rnd">
              <a:solidFill>
                <a:schemeClr val="accent5">
                  <a:lumMod val="8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IJ$3:$IJ$1319</c:f>
              <c:numCache>
                <c:formatCode>General</c:formatCode>
                <c:ptCount val="1317"/>
              </c:numCache>
            </c:numRef>
          </c:val>
          <c:smooth val="0"/>
          <c:extLst>
            <c:ext xmlns:c16="http://schemas.microsoft.com/office/drawing/2014/chart" uri="{C3380CC4-5D6E-409C-BE32-E72D297353CC}">
              <c16:uniqueId val="{000000E6-5B14-4065-87DF-4FBA120D31D5}"/>
            </c:ext>
          </c:extLst>
        </c:ser>
        <c:ser>
          <c:idx val="239"/>
          <c:order val="239"/>
          <c:tx>
            <c:strRef>
              <c:f>Tabelle1!$IK$2</c:f>
              <c:strCache>
                <c:ptCount val="1"/>
              </c:strCache>
            </c:strRef>
          </c:tx>
          <c:spPr>
            <a:ln w="28575" cap="rnd">
              <a:solidFill>
                <a:schemeClr val="accent6">
                  <a:lumMod val="8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IK$3:$IK$1319</c:f>
              <c:numCache>
                <c:formatCode>General</c:formatCode>
                <c:ptCount val="1317"/>
              </c:numCache>
            </c:numRef>
          </c:val>
          <c:smooth val="0"/>
          <c:extLst>
            <c:ext xmlns:c16="http://schemas.microsoft.com/office/drawing/2014/chart" uri="{C3380CC4-5D6E-409C-BE32-E72D297353CC}">
              <c16:uniqueId val="{000000E7-5B14-4065-87DF-4FBA120D31D5}"/>
            </c:ext>
          </c:extLst>
        </c:ser>
        <c:ser>
          <c:idx val="240"/>
          <c:order val="240"/>
          <c:tx>
            <c:strRef>
              <c:f>Tabelle1!$IL$2</c:f>
              <c:strCache>
                <c:ptCount val="1"/>
              </c:strCache>
            </c:strRef>
          </c:tx>
          <c:spPr>
            <a:ln w="28575" cap="rnd">
              <a:solidFill>
                <a:schemeClr val="accent1">
                  <a:lumMod val="60000"/>
                  <a:lumOff val="4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IL$3:$IL$1319</c:f>
              <c:numCache>
                <c:formatCode>General</c:formatCode>
                <c:ptCount val="1317"/>
              </c:numCache>
            </c:numRef>
          </c:val>
          <c:smooth val="0"/>
          <c:extLst>
            <c:ext xmlns:c16="http://schemas.microsoft.com/office/drawing/2014/chart" uri="{C3380CC4-5D6E-409C-BE32-E72D297353CC}">
              <c16:uniqueId val="{000000E8-5B14-4065-87DF-4FBA120D31D5}"/>
            </c:ext>
          </c:extLst>
        </c:ser>
        <c:ser>
          <c:idx val="241"/>
          <c:order val="241"/>
          <c:tx>
            <c:strRef>
              <c:f>Tabelle1!$IM$2</c:f>
              <c:strCache>
                <c:ptCount val="1"/>
              </c:strCache>
            </c:strRef>
          </c:tx>
          <c:spPr>
            <a:ln w="28575" cap="rnd">
              <a:solidFill>
                <a:schemeClr val="accent2">
                  <a:lumMod val="60000"/>
                  <a:lumOff val="4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IM$3:$IM$1319</c:f>
              <c:numCache>
                <c:formatCode>General</c:formatCode>
                <c:ptCount val="1317"/>
              </c:numCache>
            </c:numRef>
          </c:val>
          <c:smooth val="0"/>
          <c:extLst>
            <c:ext xmlns:c16="http://schemas.microsoft.com/office/drawing/2014/chart" uri="{C3380CC4-5D6E-409C-BE32-E72D297353CC}">
              <c16:uniqueId val="{000000E9-5B14-4065-87DF-4FBA120D31D5}"/>
            </c:ext>
          </c:extLst>
        </c:ser>
        <c:ser>
          <c:idx val="242"/>
          <c:order val="242"/>
          <c:tx>
            <c:strRef>
              <c:f>Tabelle1!$IN$2</c:f>
              <c:strCache>
                <c:ptCount val="1"/>
              </c:strCache>
            </c:strRef>
          </c:tx>
          <c:spPr>
            <a:ln w="28575" cap="rnd">
              <a:solidFill>
                <a:schemeClr val="accent3">
                  <a:lumMod val="60000"/>
                  <a:lumOff val="4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IN$3:$IN$1319</c:f>
              <c:numCache>
                <c:formatCode>General</c:formatCode>
                <c:ptCount val="1317"/>
              </c:numCache>
            </c:numRef>
          </c:val>
          <c:smooth val="0"/>
          <c:extLst>
            <c:ext xmlns:c16="http://schemas.microsoft.com/office/drawing/2014/chart" uri="{C3380CC4-5D6E-409C-BE32-E72D297353CC}">
              <c16:uniqueId val="{000000EA-5B14-4065-87DF-4FBA120D31D5}"/>
            </c:ext>
          </c:extLst>
        </c:ser>
        <c:ser>
          <c:idx val="243"/>
          <c:order val="243"/>
          <c:tx>
            <c:strRef>
              <c:f>Tabelle1!$IO$2</c:f>
              <c:strCache>
                <c:ptCount val="1"/>
              </c:strCache>
            </c:strRef>
          </c:tx>
          <c:spPr>
            <a:ln w="28575" cap="rnd">
              <a:solidFill>
                <a:schemeClr val="accent4">
                  <a:lumMod val="60000"/>
                  <a:lumOff val="40000"/>
                </a:schemeClr>
              </a:solidFill>
              <a:round/>
            </a:ln>
            <a:effectLst/>
          </c:spPr>
          <c:marker>
            <c:symbol val="none"/>
          </c:marker>
          <c:cat>
            <c:numRef>
              <c:f>Tabelle1!$E$3:$E$1319</c:f>
              <c:numCache>
                <c:formatCode>m/d/yyyy</c:formatCode>
                <c:ptCount val="1317"/>
                <c:pt idx="0">
                  <c:v>43677</c:v>
                </c:pt>
                <c:pt idx="1">
                  <c:v>43678</c:v>
                </c:pt>
                <c:pt idx="2">
                  <c:v>43679</c:v>
                </c:pt>
                <c:pt idx="3">
                  <c:v>43682</c:v>
                </c:pt>
                <c:pt idx="4">
                  <c:v>43683</c:v>
                </c:pt>
                <c:pt idx="5">
                  <c:v>43684</c:v>
                </c:pt>
                <c:pt idx="6">
                  <c:v>43685</c:v>
                </c:pt>
                <c:pt idx="7">
                  <c:v>43686</c:v>
                </c:pt>
                <c:pt idx="8">
                  <c:v>43689</c:v>
                </c:pt>
                <c:pt idx="9">
                  <c:v>43690</c:v>
                </c:pt>
                <c:pt idx="10">
                  <c:v>43691</c:v>
                </c:pt>
                <c:pt idx="11">
                  <c:v>43692</c:v>
                </c:pt>
                <c:pt idx="12">
                  <c:v>43693</c:v>
                </c:pt>
                <c:pt idx="13">
                  <c:v>43696</c:v>
                </c:pt>
                <c:pt idx="14">
                  <c:v>43697</c:v>
                </c:pt>
                <c:pt idx="15">
                  <c:v>43698</c:v>
                </c:pt>
                <c:pt idx="16">
                  <c:v>43699</c:v>
                </c:pt>
                <c:pt idx="17">
                  <c:v>43700</c:v>
                </c:pt>
                <c:pt idx="18">
                  <c:v>43703</c:v>
                </c:pt>
                <c:pt idx="19">
                  <c:v>43704</c:v>
                </c:pt>
                <c:pt idx="20">
                  <c:v>43705</c:v>
                </c:pt>
                <c:pt idx="21">
                  <c:v>43706</c:v>
                </c:pt>
                <c:pt idx="22">
                  <c:v>43707</c:v>
                </c:pt>
                <c:pt idx="23">
                  <c:v>43710</c:v>
                </c:pt>
                <c:pt idx="24">
                  <c:v>43711</c:v>
                </c:pt>
                <c:pt idx="25">
                  <c:v>43712</c:v>
                </c:pt>
                <c:pt idx="26">
                  <c:v>43713</c:v>
                </c:pt>
                <c:pt idx="27">
                  <c:v>43714</c:v>
                </c:pt>
                <c:pt idx="28">
                  <c:v>43717</c:v>
                </c:pt>
                <c:pt idx="29">
                  <c:v>43718</c:v>
                </c:pt>
                <c:pt idx="30">
                  <c:v>43719</c:v>
                </c:pt>
                <c:pt idx="31">
                  <c:v>43720</c:v>
                </c:pt>
                <c:pt idx="32">
                  <c:v>43721</c:v>
                </c:pt>
                <c:pt idx="33">
                  <c:v>43724</c:v>
                </c:pt>
                <c:pt idx="34">
                  <c:v>43725</c:v>
                </c:pt>
                <c:pt idx="35">
                  <c:v>43726</c:v>
                </c:pt>
                <c:pt idx="36">
                  <c:v>43727</c:v>
                </c:pt>
                <c:pt idx="37">
                  <c:v>43728</c:v>
                </c:pt>
                <c:pt idx="38">
                  <c:v>43731</c:v>
                </c:pt>
                <c:pt idx="39">
                  <c:v>43732</c:v>
                </c:pt>
                <c:pt idx="40">
                  <c:v>43733</c:v>
                </c:pt>
                <c:pt idx="41">
                  <c:v>43734</c:v>
                </c:pt>
                <c:pt idx="42">
                  <c:v>43735</c:v>
                </c:pt>
                <c:pt idx="43">
                  <c:v>43738</c:v>
                </c:pt>
                <c:pt idx="44">
                  <c:v>43739</c:v>
                </c:pt>
                <c:pt idx="45">
                  <c:v>43740</c:v>
                </c:pt>
                <c:pt idx="46">
                  <c:v>43741</c:v>
                </c:pt>
                <c:pt idx="47">
                  <c:v>43742</c:v>
                </c:pt>
                <c:pt idx="48">
                  <c:v>43745</c:v>
                </c:pt>
                <c:pt idx="49">
                  <c:v>43746</c:v>
                </c:pt>
                <c:pt idx="50">
                  <c:v>43747</c:v>
                </c:pt>
                <c:pt idx="51">
                  <c:v>43748</c:v>
                </c:pt>
                <c:pt idx="52">
                  <c:v>43749</c:v>
                </c:pt>
                <c:pt idx="53">
                  <c:v>43752</c:v>
                </c:pt>
                <c:pt idx="54">
                  <c:v>43753</c:v>
                </c:pt>
                <c:pt idx="55">
                  <c:v>43754</c:v>
                </c:pt>
                <c:pt idx="56">
                  <c:v>43755</c:v>
                </c:pt>
                <c:pt idx="57">
                  <c:v>43756</c:v>
                </c:pt>
                <c:pt idx="58">
                  <c:v>43759</c:v>
                </c:pt>
                <c:pt idx="59">
                  <c:v>43760</c:v>
                </c:pt>
                <c:pt idx="60">
                  <c:v>43761</c:v>
                </c:pt>
                <c:pt idx="61">
                  <c:v>43762</c:v>
                </c:pt>
                <c:pt idx="62">
                  <c:v>43763</c:v>
                </c:pt>
                <c:pt idx="63">
                  <c:v>43766</c:v>
                </c:pt>
                <c:pt idx="64">
                  <c:v>43767</c:v>
                </c:pt>
                <c:pt idx="65">
                  <c:v>43768</c:v>
                </c:pt>
                <c:pt idx="66">
                  <c:v>43769</c:v>
                </c:pt>
                <c:pt idx="67">
                  <c:v>43770</c:v>
                </c:pt>
                <c:pt idx="68">
                  <c:v>43773</c:v>
                </c:pt>
                <c:pt idx="69">
                  <c:v>43774</c:v>
                </c:pt>
                <c:pt idx="70">
                  <c:v>43775</c:v>
                </c:pt>
                <c:pt idx="71">
                  <c:v>43776</c:v>
                </c:pt>
                <c:pt idx="72">
                  <c:v>43777</c:v>
                </c:pt>
                <c:pt idx="73">
                  <c:v>43780</c:v>
                </c:pt>
                <c:pt idx="74">
                  <c:v>43781</c:v>
                </c:pt>
                <c:pt idx="75">
                  <c:v>43782</c:v>
                </c:pt>
                <c:pt idx="76">
                  <c:v>43783</c:v>
                </c:pt>
                <c:pt idx="77">
                  <c:v>43784</c:v>
                </c:pt>
                <c:pt idx="78">
                  <c:v>43787</c:v>
                </c:pt>
                <c:pt idx="79">
                  <c:v>43788</c:v>
                </c:pt>
                <c:pt idx="80">
                  <c:v>43789</c:v>
                </c:pt>
                <c:pt idx="81">
                  <c:v>43790</c:v>
                </c:pt>
                <c:pt idx="82">
                  <c:v>43791</c:v>
                </c:pt>
                <c:pt idx="83">
                  <c:v>43794</c:v>
                </c:pt>
                <c:pt idx="84">
                  <c:v>43795</c:v>
                </c:pt>
                <c:pt idx="85">
                  <c:v>43796</c:v>
                </c:pt>
                <c:pt idx="86">
                  <c:v>43797</c:v>
                </c:pt>
                <c:pt idx="87">
                  <c:v>43798</c:v>
                </c:pt>
                <c:pt idx="88">
                  <c:v>43801</c:v>
                </c:pt>
                <c:pt idx="89">
                  <c:v>43802</c:v>
                </c:pt>
                <c:pt idx="90">
                  <c:v>43803</c:v>
                </c:pt>
                <c:pt idx="91">
                  <c:v>43804</c:v>
                </c:pt>
                <c:pt idx="92">
                  <c:v>43805</c:v>
                </c:pt>
                <c:pt idx="93">
                  <c:v>43808</c:v>
                </c:pt>
                <c:pt idx="94">
                  <c:v>43809</c:v>
                </c:pt>
                <c:pt idx="95">
                  <c:v>43810</c:v>
                </c:pt>
                <c:pt idx="96">
                  <c:v>43811</c:v>
                </c:pt>
                <c:pt idx="97">
                  <c:v>43812</c:v>
                </c:pt>
                <c:pt idx="98">
                  <c:v>43815</c:v>
                </c:pt>
                <c:pt idx="99">
                  <c:v>43816</c:v>
                </c:pt>
                <c:pt idx="100">
                  <c:v>43817</c:v>
                </c:pt>
                <c:pt idx="101">
                  <c:v>43818</c:v>
                </c:pt>
                <c:pt idx="102">
                  <c:v>43819</c:v>
                </c:pt>
                <c:pt idx="103">
                  <c:v>43822</c:v>
                </c:pt>
                <c:pt idx="104">
                  <c:v>43823</c:v>
                </c:pt>
                <c:pt idx="105">
                  <c:v>43824</c:v>
                </c:pt>
                <c:pt idx="106">
                  <c:v>43825</c:v>
                </c:pt>
                <c:pt idx="107">
                  <c:v>43826</c:v>
                </c:pt>
                <c:pt idx="108">
                  <c:v>43829</c:v>
                </c:pt>
                <c:pt idx="109">
                  <c:v>43830</c:v>
                </c:pt>
                <c:pt idx="110">
                  <c:v>43831</c:v>
                </c:pt>
                <c:pt idx="111">
                  <c:v>43832</c:v>
                </c:pt>
                <c:pt idx="112">
                  <c:v>43833</c:v>
                </c:pt>
                <c:pt idx="113">
                  <c:v>43836</c:v>
                </c:pt>
                <c:pt idx="114">
                  <c:v>43837</c:v>
                </c:pt>
                <c:pt idx="115">
                  <c:v>43838</c:v>
                </c:pt>
                <c:pt idx="116">
                  <c:v>43839</c:v>
                </c:pt>
                <c:pt idx="117">
                  <c:v>43840</c:v>
                </c:pt>
                <c:pt idx="118">
                  <c:v>43843</c:v>
                </c:pt>
                <c:pt idx="119">
                  <c:v>43844</c:v>
                </c:pt>
                <c:pt idx="120">
                  <c:v>43845</c:v>
                </c:pt>
                <c:pt idx="121">
                  <c:v>43846</c:v>
                </c:pt>
                <c:pt idx="122">
                  <c:v>43847</c:v>
                </c:pt>
                <c:pt idx="123">
                  <c:v>43850</c:v>
                </c:pt>
                <c:pt idx="124">
                  <c:v>43851</c:v>
                </c:pt>
                <c:pt idx="125">
                  <c:v>43852</c:v>
                </c:pt>
                <c:pt idx="126">
                  <c:v>43853</c:v>
                </c:pt>
                <c:pt idx="127">
                  <c:v>43854</c:v>
                </c:pt>
                <c:pt idx="128">
                  <c:v>43857</c:v>
                </c:pt>
                <c:pt idx="129">
                  <c:v>43858</c:v>
                </c:pt>
                <c:pt idx="130">
                  <c:v>43859</c:v>
                </c:pt>
                <c:pt idx="131">
                  <c:v>43860</c:v>
                </c:pt>
                <c:pt idx="132">
                  <c:v>43861</c:v>
                </c:pt>
                <c:pt idx="133">
                  <c:v>43864</c:v>
                </c:pt>
                <c:pt idx="134">
                  <c:v>43865</c:v>
                </c:pt>
                <c:pt idx="135">
                  <c:v>43866</c:v>
                </c:pt>
                <c:pt idx="136">
                  <c:v>43867</c:v>
                </c:pt>
                <c:pt idx="137">
                  <c:v>43868</c:v>
                </c:pt>
                <c:pt idx="138">
                  <c:v>43871</c:v>
                </c:pt>
                <c:pt idx="139">
                  <c:v>43872</c:v>
                </c:pt>
                <c:pt idx="140">
                  <c:v>43873</c:v>
                </c:pt>
                <c:pt idx="141">
                  <c:v>43874</c:v>
                </c:pt>
                <c:pt idx="142">
                  <c:v>43875</c:v>
                </c:pt>
                <c:pt idx="143">
                  <c:v>43878</c:v>
                </c:pt>
                <c:pt idx="144">
                  <c:v>43879</c:v>
                </c:pt>
                <c:pt idx="145">
                  <c:v>43880</c:v>
                </c:pt>
                <c:pt idx="146">
                  <c:v>43881</c:v>
                </c:pt>
                <c:pt idx="147">
                  <c:v>43882</c:v>
                </c:pt>
                <c:pt idx="148">
                  <c:v>43885</c:v>
                </c:pt>
                <c:pt idx="149">
                  <c:v>43886</c:v>
                </c:pt>
                <c:pt idx="150">
                  <c:v>43887</c:v>
                </c:pt>
                <c:pt idx="151">
                  <c:v>43888</c:v>
                </c:pt>
                <c:pt idx="152">
                  <c:v>43889</c:v>
                </c:pt>
                <c:pt idx="153">
                  <c:v>43892</c:v>
                </c:pt>
                <c:pt idx="154">
                  <c:v>43893</c:v>
                </c:pt>
                <c:pt idx="155">
                  <c:v>43894</c:v>
                </c:pt>
                <c:pt idx="156">
                  <c:v>43895</c:v>
                </c:pt>
                <c:pt idx="157">
                  <c:v>43896</c:v>
                </c:pt>
                <c:pt idx="158">
                  <c:v>43899</c:v>
                </c:pt>
                <c:pt idx="159">
                  <c:v>43900</c:v>
                </c:pt>
                <c:pt idx="160">
                  <c:v>43901</c:v>
                </c:pt>
                <c:pt idx="161">
                  <c:v>43902</c:v>
                </c:pt>
                <c:pt idx="162">
                  <c:v>43903</c:v>
                </c:pt>
                <c:pt idx="163">
                  <c:v>43906</c:v>
                </c:pt>
                <c:pt idx="164">
                  <c:v>43907</c:v>
                </c:pt>
                <c:pt idx="165">
                  <c:v>43908</c:v>
                </c:pt>
                <c:pt idx="166">
                  <c:v>43909</c:v>
                </c:pt>
                <c:pt idx="167">
                  <c:v>43910</c:v>
                </c:pt>
                <c:pt idx="168">
                  <c:v>43913</c:v>
                </c:pt>
                <c:pt idx="169">
                  <c:v>43914</c:v>
                </c:pt>
                <c:pt idx="170">
                  <c:v>43915</c:v>
                </c:pt>
                <c:pt idx="171">
                  <c:v>43916</c:v>
                </c:pt>
                <c:pt idx="172">
                  <c:v>43917</c:v>
                </c:pt>
                <c:pt idx="173">
                  <c:v>43920</c:v>
                </c:pt>
                <c:pt idx="174">
                  <c:v>43921</c:v>
                </c:pt>
                <c:pt idx="175">
                  <c:v>43922</c:v>
                </c:pt>
                <c:pt idx="176">
                  <c:v>43923</c:v>
                </c:pt>
                <c:pt idx="177">
                  <c:v>43924</c:v>
                </c:pt>
                <c:pt idx="178">
                  <c:v>43927</c:v>
                </c:pt>
                <c:pt idx="179">
                  <c:v>43928</c:v>
                </c:pt>
                <c:pt idx="180">
                  <c:v>43929</c:v>
                </c:pt>
                <c:pt idx="181">
                  <c:v>43930</c:v>
                </c:pt>
                <c:pt idx="182">
                  <c:v>43931</c:v>
                </c:pt>
                <c:pt idx="183">
                  <c:v>43934</c:v>
                </c:pt>
                <c:pt idx="184">
                  <c:v>43935</c:v>
                </c:pt>
                <c:pt idx="185">
                  <c:v>43936</c:v>
                </c:pt>
                <c:pt idx="186">
                  <c:v>43937</c:v>
                </c:pt>
                <c:pt idx="187">
                  <c:v>43938</c:v>
                </c:pt>
                <c:pt idx="188">
                  <c:v>43941</c:v>
                </c:pt>
                <c:pt idx="189">
                  <c:v>43942</c:v>
                </c:pt>
                <c:pt idx="190">
                  <c:v>43943</c:v>
                </c:pt>
                <c:pt idx="191">
                  <c:v>43944</c:v>
                </c:pt>
                <c:pt idx="192">
                  <c:v>43945</c:v>
                </c:pt>
                <c:pt idx="193">
                  <c:v>43948</c:v>
                </c:pt>
                <c:pt idx="194">
                  <c:v>43949</c:v>
                </c:pt>
                <c:pt idx="195">
                  <c:v>43950</c:v>
                </c:pt>
                <c:pt idx="196">
                  <c:v>43951</c:v>
                </c:pt>
                <c:pt idx="197">
                  <c:v>43952</c:v>
                </c:pt>
                <c:pt idx="198">
                  <c:v>43955</c:v>
                </c:pt>
                <c:pt idx="199">
                  <c:v>43956</c:v>
                </c:pt>
                <c:pt idx="200">
                  <c:v>43957</c:v>
                </c:pt>
                <c:pt idx="201">
                  <c:v>43958</c:v>
                </c:pt>
                <c:pt idx="202">
                  <c:v>43959</c:v>
                </c:pt>
                <c:pt idx="203">
                  <c:v>43962</c:v>
                </c:pt>
                <c:pt idx="204">
                  <c:v>43963</c:v>
                </c:pt>
                <c:pt idx="205">
                  <c:v>43964</c:v>
                </c:pt>
                <c:pt idx="206">
                  <c:v>43965</c:v>
                </c:pt>
                <c:pt idx="207">
                  <c:v>43966</c:v>
                </c:pt>
                <c:pt idx="208">
                  <c:v>43969</c:v>
                </c:pt>
                <c:pt idx="209">
                  <c:v>43970</c:v>
                </c:pt>
                <c:pt idx="210">
                  <c:v>43971</c:v>
                </c:pt>
                <c:pt idx="211">
                  <c:v>43972</c:v>
                </c:pt>
                <c:pt idx="212">
                  <c:v>43973</c:v>
                </c:pt>
                <c:pt idx="213">
                  <c:v>43976</c:v>
                </c:pt>
                <c:pt idx="214">
                  <c:v>43977</c:v>
                </c:pt>
                <c:pt idx="215">
                  <c:v>43978</c:v>
                </c:pt>
                <c:pt idx="216">
                  <c:v>43979</c:v>
                </c:pt>
                <c:pt idx="217">
                  <c:v>43980</c:v>
                </c:pt>
                <c:pt idx="218">
                  <c:v>43983</c:v>
                </c:pt>
                <c:pt idx="219">
                  <c:v>43984</c:v>
                </c:pt>
                <c:pt idx="220">
                  <c:v>43985</c:v>
                </c:pt>
                <c:pt idx="221">
                  <c:v>43986</c:v>
                </c:pt>
                <c:pt idx="222">
                  <c:v>43987</c:v>
                </c:pt>
                <c:pt idx="223">
                  <c:v>43990</c:v>
                </c:pt>
                <c:pt idx="224">
                  <c:v>43991</c:v>
                </c:pt>
                <c:pt idx="225">
                  <c:v>43992</c:v>
                </c:pt>
                <c:pt idx="226">
                  <c:v>43993</c:v>
                </c:pt>
                <c:pt idx="227">
                  <c:v>43994</c:v>
                </c:pt>
                <c:pt idx="228">
                  <c:v>43997</c:v>
                </c:pt>
                <c:pt idx="229">
                  <c:v>43998</c:v>
                </c:pt>
                <c:pt idx="230">
                  <c:v>43999</c:v>
                </c:pt>
                <c:pt idx="231">
                  <c:v>44000</c:v>
                </c:pt>
                <c:pt idx="232">
                  <c:v>44001</c:v>
                </c:pt>
                <c:pt idx="233">
                  <c:v>44004</c:v>
                </c:pt>
                <c:pt idx="234">
                  <c:v>44005</c:v>
                </c:pt>
                <c:pt idx="235">
                  <c:v>44006</c:v>
                </c:pt>
                <c:pt idx="236">
                  <c:v>44007</c:v>
                </c:pt>
                <c:pt idx="237">
                  <c:v>44008</c:v>
                </c:pt>
                <c:pt idx="238">
                  <c:v>44011</c:v>
                </c:pt>
                <c:pt idx="239">
                  <c:v>44012</c:v>
                </c:pt>
                <c:pt idx="240">
                  <c:v>44013</c:v>
                </c:pt>
                <c:pt idx="241">
                  <c:v>44014</c:v>
                </c:pt>
                <c:pt idx="242">
                  <c:v>44015</c:v>
                </c:pt>
                <c:pt idx="243">
                  <c:v>44018</c:v>
                </c:pt>
                <c:pt idx="244">
                  <c:v>44019</c:v>
                </c:pt>
                <c:pt idx="245">
                  <c:v>44020</c:v>
                </c:pt>
                <c:pt idx="246">
                  <c:v>44021</c:v>
                </c:pt>
                <c:pt idx="247">
                  <c:v>44022</c:v>
                </c:pt>
                <c:pt idx="248">
                  <c:v>44025</c:v>
                </c:pt>
                <c:pt idx="249">
                  <c:v>44026</c:v>
                </c:pt>
                <c:pt idx="250">
                  <c:v>44027</c:v>
                </c:pt>
                <c:pt idx="251">
                  <c:v>44028</c:v>
                </c:pt>
                <c:pt idx="252">
                  <c:v>44029</c:v>
                </c:pt>
                <c:pt idx="253">
                  <c:v>44032</c:v>
                </c:pt>
                <c:pt idx="254">
                  <c:v>44033</c:v>
                </c:pt>
                <c:pt idx="255">
                  <c:v>44034</c:v>
                </c:pt>
                <c:pt idx="256">
                  <c:v>44035</c:v>
                </c:pt>
                <c:pt idx="257">
                  <c:v>44036</c:v>
                </c:pt>
                <c:pt idx="258">
                  <c:v>44039</c:v>
                </c:pt>
                <c:pt idx="259">
                  <c:v>44040</c:v>
                </c:pt>
                <c:pt idx="260">
                  <c:v>44041</c:v>
                </c:pt>
                <c:pt idx="261">
                  <c:v>44042</c:v>
                </c:pt>
                <c:pt idx="262">
                  <c:v>44043</c:v>
                </c:pt>
                <c:pt idx="263">
                  <c:v>44046</c:v>
                </c:pt>
                <c:pt idx="264">
                  <c:v>44047</c:v>
                </c:pt>
                <c:pt idx="265">
                  <c:v>44048</c:v>
                </c:pt>
                <c:pt idx="266">
                  <c:v>44049</c:v>
                </c:pt>
                <c:pt idx="267">
                  <c:v>44050</c:v>
                </c:pt>
                <c:pt idx="268">
                  <c:v>44053</c:v>
                </c:pt>
                <c:pt idx="269">
                  <c:v>44054</c:v>
                </c:pt>
                <c:pt idx="270">
                  <c:v>44055</c:v>
                </c:pt>
                <c:pt idx="271">
                  <c:v>44056</c:v>
                </c:pt>
                <c:pt idx="272">
                  <c:v>44057</c:v>
                </c:pt>
                <c:pt idx="273">
                  <c:v>44060</c:v>
                </c:pt>
                <c:pt idx="274">
                  <c:v>44061</c:v>
                </c:pt>
                <c:pt idx="275">
                  <c:v>44062</c:v>
                </c:pt>
                <c:pt idx="276">
                  <c:v>44063</c:v>
                </c:pt>
                <c:pt idx="277">
                  <c:v>44064</c:v>
                </c:pt>
                <c:pt idx="278">
                  <c:v>44067</c:v>
                </c:pt>
                <c:pt idx="279">
                  <c:v>44068</c:v>
                </c:pt>
                <c:pt idx="280">
                  <c:v>44069</c:v>
                </c:pt>
                <c:pt idx="281">
                  <c:v>44070</c:v>
                </c:pt>
                <c:pt idx="282">
                  <c:v>44071</c:v>
                </c:pt>
                <c:pt idx="283">
                  <c:v>44074</c:v>
                </c:pt>
                <c:pt idx="284">
                  <c:v>44075</c:v>
                </c:pt>
                <c:pt idx="285">
                  <c:v>44076</c:v>
                </c:pt>
                <c:pt idx="286">
                  <c:v>44077</c:v>
                </c:pt>
                <c:pt idx="287">
                  <c:v>44078</c:v>
                </c:pt>
                <c:pt idx="288">
                  <c:v>44081</c:v>
                </c:pt>
                <c:pt idx="289">
                  <c:v>44082</c:v>
                </c:pt>
                <c:pt idx="290">
                  <c:v>44083</c:v>
                </c:pt>
                <c:pt idx="291">
                  <c:v>44084</c:v>
                </c:pt>
                <c:pt idx="292">
                  <c:v>44085</c:v>
                </c:pt>
                <c:pt idx="293">
                  <c:v>44088</c:v>
                </c:pt>
                <c:pt idx="294">
                  <c:v>44089</c:v>
                </c:pt>
                <c:pt idx="295">
                  <c:v>44090</c:v>
                </c:pt>
                <c:pt idx="296">
                  <c:v>44091</c:v>
                </c:pt>
                <c:pt idx="297">
                  <c:v>44092</c:v>
                </c:pt>
                <c:pt idx="298">
                  <c:v>44095</c:v>
                </c:pt>
                <c:pt idx="299">
                  <c:v>44096</c:v>
                </c:pt>
                <c:pt idx="300">
                  <c:v>44097</c:v>
                </c:pt>
                <c:pt idx="301">
                  <c:v>44098</c:v>
                </c:pt>
                <c:pt idx="302">
                  <c:v>44099</c:v>
                </c:pt>
                <c:pt idx="303">
                  <c:v>44102</c:v>
                </c:pt>
                <c:pt idx="304">
                  <c:v>44103</c:v>
                </c:pt>
                <c:pt idx="305">
                  <c:v>44104</c:v>
                </c:pt>
                <c:pt idx="306">
                  <c:v>44105</c:v>
                </c:pt>
                <c:pt idx="307">
                  <c:v>44106</c:v>
                </c:pt>
                <c:pt idx="308">
                  <c:v>44109</c:v>
                </c:pt>
                <c:pt idx="309">
                  <c:v>44110</c:v>
                </c:pt>
                <c:pt idx="310">
                  <c:v>44111</c:v>
                </c:pt>
                <c:pt idx="311">
                  <c:v>44112</c:v>
                </c:pt>
                <c:pt idx="312">
                  <c:v>44113</c:v>
                </c:pt>
                <c:pt idx="313">
                  <c:v>44116</c:v>
                </c:pt>
                <c:pt idx="314">
                  <c:v>44117</c:v>
                </c:pt>
                <c:pt idx="315">
                  <c:v>44118</c:v>
                </c:pt>
                <c:pt idx="316">
                  <c:v>44119</c:v>
                </c:pt>
                <c:pt idx="317">
                  <c:v>44120</c:v>
                </c:pt>
                <c:pt idx="318">
                  <c:v>44123</c:v>
                </c:pt>
                <c:pt idx="319">
                  <c:v>44124</c:v>
                </c:pt>
                <c:pt idx="320">
                  <c:v>44125</c:v>
                </c:pt>
                <c:pt idx="321">
                  <c:v>44126</c:v>
                </c:pt>
                <c:pt idx="322">
                  <c:v>44127</c:v>
                </c:pt>
                <c:pt idx="323">
                  <c:v>44130</c:v>
                </c:pt>
                <c:pt idx="324">
                  <c:v>44131</c:v>
                </c:pt>
                <c:pt idx="325">
                  <c:v>44132</c:v>
                </c:pt>
                <c:pt idx="326">
                  <c:v>44133</c:v>
                </c:pt>
                <c:pt idx="327">
                  <c:v>44134</c:v>
                </c:pt>
                <c:pt idx="328">
                  <c:v>44137</c:v>
                </c:pt>
                <c:pt idx="329">
                  <c:v>44138</c:v>
                </c:pt>
                <c:pt idx="330">
                  <c:v>44139</c:v>
                </c:pt>
                <c:pt idx="331">
                  <c:v>44140</c:v>
                </c:pt>
                <c:pt idx="332">
                  <c:v>44141</c:v>
                </c:pt>
                <c:pt idx="333">
                  <c:v>44144</c:v>
                </c:pt>
                <c:pt idx="334">
                  <c:v>44145</c:v>
                </c:pt>
                <c:pt idx="335">
                  <c:v>44146</c:v>
                </c:pt>
                <c:pt idx="336">
                  <c:v>44147</c:v>
                </c:pt>
                <c:pt idx="337">
                  <c:v>44148</c:v>
                </c:pt>
                <c:pt idx="338">
                  <c:v>44151</c:v>
                </c:pt>
                <c:pt idx="339">
                  <c:v>44152</c:v>
                </c:pt>
                <c:pt idx="340">
                  <c:v>44153</c:v>
                </c:pt>
                <c:pt idx="341">
                  <c:v>44154</c:v>
                </c:pt>
                <c:pt idx="342">
                  <c:v>44155</c:v>
                </c:pt>
                <c:pt idx="343">
                  <c:v>44158</c:v>
                </c:pt>
                <c:pt idx="344">
                  <c:v>44159</c:v>
                </c:pt>
                <c:pt idx="345">
                  <c:v>44160</c:v>
                </c:pt>
                <c:pt idx="346">
                  <c:v>44161</c:v>
                </c:pt>
                <c:pt idx="347">
                  <c:v>44162</c:v>
                </c:pt>
                <c:pt idx="348">
                  <c:v>44165</c:v>
                </c:pt>
                <c:pt idx="349">
                  <c:v>44166</c:v>
                </c:pt>
                <c:pt idx="350">
                  <c:v>44167</c:v>
                </c:pt>
                <c:pt idx="351">
                  <c:v>44168</c:v>
                </c:pt>
                <c:pt idx="352">
                  <c:v>44169</c:v>
                </c:pt>
                <c:pt idx="353">
                  <c:v>44172</c:v>
                </c:pt>
                <c:pt idx="354">
                  <c:v>44173</c:v>
                </c:pt>
                <c:pt idx="355">
                  <c:v>44174</c:v>
                </c:pt>
                <c:pt idx="356">
                  <c:v>44175</c:v>
                </c:pt>
                <c:pt idx="357">
                  <c:v>44176</c:v>
                </c:pt>
                <c:pt idx="358">
                  <c:v>44179</c:v>
                </c:pt>
                <c:pt idx="359">
                  <c:v>44180</c:v>
                </c:pt>
                <c:pt idx="360">
                  <c:v>44181</c:v>
                </c:pt>
                <c:pt idx="361">
                  <c:v>44182</c:v>
                </c:pt>
                <c:pt idx="362">
                  <c:v>44183</c:v>
                </c:pt>
                <c:pt idx="363">
                  <c:v>44186</c:v>
                </c:pt>
                <c:pt idx="364">
                  <c:v>44187</c:v>
                </c:pt>
                <c:pt idx="365">
                  <c:v>44188</c:v>
                </c:pt>
                <c:pt idx="366">
                  <c:v>44189</c:v>
                </c:pt>
                <c:pt idx="367">
                  <c:v>44190</c:v>
                </c:pt>
                <c:pt idx="368">
                  <c:v>44193</c:v>
                </c:pt>
                <c:pt idx="369">
                  <c:v>44194</c:v>
                </c:pt>
                <c:pt idx="370">
                  <c:v>44195</c:v>
                </c:pt>
                <c:pt idx="371">
                  <c:v>44196</c:v>
                </c:pt>
                <c:pt idx="372">
                  <c:v>44197</c:v>
                </c:pt>
                <c:pt idx="373">
                  <c:v>44200</c:v>
                </c:pt>
                <c:pt idx="374">
                  <c:v>44201</c:v>
                </c:pt>
                <c:pt idx="375">
                  <c:v>44202</c:v>
                </c:pt>
                <c:pt idx="376">
                  <c:v>44203</c:v>
                </c:pt>
                <c:pt idx="377">
                  <c:v>44204</c:v>
                </c:pt>
                <c:pt idx="378">
                  <c:v>44207</c:v>
                </c:pt>
                <c:pt idx="379">
                  <c:v>44208</c:v>
                </c:pt>
                <c:pt idx="380">
                  <c:v>44209</c:v>
                </c:pt>
                <c:pt idx="381">
                  <c:v>44210</c:v>
                </c:pt>
                <c:pt idx="382">
                  <c:v>44211</c:v>
                </c:pt>
                <c:pt idx="383">
                  <c:v>44214</c:v>
                </c:pt>
                <c:pt idx="384">
                  <c:v>44215</c:v>
                </c:pt>
                <c:pt idx="385">
                  <c:v>44216</c:v>
                </c:pt>
                <c:pt idx="386">
                  <c:v>44217</c:v>
                </c:pt>
                <c:pt idx="387">
                  <c:v>44218</c:v>
                </c:pt>
                <c:pt idx="388">
                  <c:v>44221</c:v>
                </c:pt>
                <c:pt idx="389">
                  <c:v>44222</c:v>
                </c:pt>
                <c:pt idx="390">
                  <c:v>44223</c:v>
                </c:pt>
                <c:pt idx="391">
                  <c:v>44224</c:v>
                </c:pt>
                <c:pt idx="392">
                  <c:v>44225</c:v>
                </c:pt>
                <c:pt idx="393">
                  <c:v>44228</c:v>
                </c:pt>
                <c:pt idx="394">
                  <c:v>44229</c:v>
                </c:pt>
                <c:pt idx="395">
                  <c:v>44230</c:v>
                </c:pt>
                <c:pt idx="396">
                  <c:v>44231</c:v>
                </c:pt>
                <c:pt idx="397">
                  <c:v>44232</c:v>
                </c:pt>
                <c:pt idx="398">
                  <c:v>44235</c:v>
                </c:pt>
                <c:pt idx="399">
                  <c:v>44236</c:v>
                </c:pt>
                <c:pt idx="400">
                  <c:v>44237</c:v>
                </c:pt>
                <c:pt idx="401">
                  <c:v>44238</c:v>
                </c:pt>
                <c:pt idx="402">
                  <c:v>44239</c:v>
                </c:pt>
                <c:pt idx="403">
                  <c:v>44242</c:v>
                </c:pt>
                <c:pt idx="404">
                  <c:v>44243</c:v>
                </c:pt>
                <c:pt idx="405">
                  <c:v>44244</c:v>
                </c:pt>
                <c:pt idx="406">
                  <c:v>44245</c:v>
                </c:pt>
                <c:pt idx="407">
                  <c:v>44246</c:v>
                </c:pt>
                <c:pt idx="408">
                  <c:v>44249</c:v>
                </c:pt>
                <c:pt idx="409">
                  <c:v>44250</c:v>
                </c:pt>
                <c:pt idx="410">
                  <c:v>44251</c:v>
                </c:pt>
                <c:pt idx="411">
                  <c:v>44252</c:v>
                </c:pt>
                <c:pt idx="412">
                  <c:v>44253</c:v>
                </c:pt>
                <c:pt idx="413">
                  <c:v>44256</c:v>
                </c:pt>
                <c:pt idx="414">
                  <c:v>44257</c:v>
                </c:pt>
                <c:pt idx="415">
                  <c:v>44258</c:v>
                </c:pt>
                <c:pt idx="416">
                  <c:v>44259</c:v>
                </c:pt>
                <c:pt idx="417">
                  <c:v>44260</c:v>
                </c:pt>
                <c:pt idx="418">
                  <c:v>44263</c:v>
                </c:pt>
                <c:pt idx="419">
                  <c:v>44264</c:v>
                </c:pt>
                <c:pt idx="420">
                  <c:v>44265</c:v>
                </c:pt>
                <c:pt idx="421">
                  <c:v>44266</c:v>
                </c:pt>
                <c:pt idx="422">
                  <c:v>44267</c:v>
                </c:pt>
                <c:pt idx="423">
                  <c:v>44270</c:v>
                </c:pt>
                <c:pt idx="424">
                  <c:v>44271</c:v>
                </c:pt>
                <c:pt idx="425">
                  <c:v>44272</c:v>
                </c:pt>
                <c:pt idx="426">
                  <c:v>44273</c:v>
                </c:pt>
                <c:pt idx="427">
                  <c:v>44274</c:v>
                </c:pt>
                <c:pt idx="428">
                  <c:v>44277</c:v>
                </c:pt>
                <c:pt idx="429">
                  <c:v>44278</c:v>
                </c:pt>
                <c:pt idx="430">
                  <c:v>44279</c:v>
                </c:pt>
                <c:pt idx="431">
                  <c:v>44280</c:v>
                </c:pt>
                <c:pt idx="432">
                  <c:v>44281</c:v>
                </c:pt>
                <c:pt idx="433">
                  <c:v>44284</c:v>
                </c:pt>
                <c:pt idx="434">
                  <c:v>44285</c:v>
                </c:pt>
                <c:pt idx="435">
                  <c:v>44286</c:v>
                </c:pt>
                <c:pt idx="436">
                  <c:v>44287</c:v>
                </c:pt>
                <c:pt idx="437">
                  <c:v>44288</c:v>
                </c:pt>
                <c:pt idx="438">
                  <c:v>44291</c:v>
                </c:pt>
                <c:pt idx="439">
                  <c:v>44292</c:v>
                </c:pt>
                <c:pt idx="440">
                  <c:v>44293</c:v>
                </c:pt>
                <c:pt idx="441">
                  <c:v>44294</c:v>
                </c:pt>
                <c:pt idx="442">
                  <c:v>44295</c:v>
                </c:pt>
                <c:pt idx="443">
                  <c:v>44298</c:v>
                </c:pt>
                <c:pt idx="444">
                  <c:v>44299</c:v>
                </c:pt>
                <c:pt idx="445">
                  <c:v>44300</c:v>
                </c:pt>
                <c:pt idx="446">
                  <c:v>44301</c:v>
                </c:pt>
                <c:pt idx="447">
                  <c:v>44302</c:v>
                </c:pt>
                <c:pt idx="448">
                  <c:v>44305</c:v>
                </c:pt>
                <c:pt idx="449">
                  <c:v>44306</c:v>
                </c:pt>
                <c:pt idx="450">
                  <c:v>44307</c:v>
                </c:pt>
                <c:pt idx="451">
                  <c:v>44308</c:v>
                </c:pt>
                <c:pt idx="452">
                  <c:v>44309</c:v>
                </c:pt>
                <c:pt idx="453">
                  <c:v>44312</c:v>
                </c:pt>
                <c:pt idx="454">
                  <c:v>44313</c:v>
                </c:pt>
                <c:pt idx="455">
                  <c:v>44314</c:v>
                </c:pt>
                <c:pt idx="456">
                  <c:v>44315</c:v>
                </c:pt>
                <c:pt idx="457">
                  <c:v>44316</c:v>
                </c:pt>
                <c:pt idx="458">
                  <c:v>44319</c:v>
                </c:pt>
                <c:pt idx="459">
                  <c:v>44320</c:v>
                </c:pt>
                <c:pt idx="460">
                  <c:v>44321</c:v>
                </c:pt>
                <c:pt idx="461">
                  <c:v>44322</c:v>
                </c:pt>
                <c:pt idx="462">
                  <c:v>44323</c:v>
                </c:pt>
                <c:pt idx="463">
                  <c:v>44326</c:v>
                </c:pt>
                <c:pt idx="464">
                  <c:v>44327</c:v>
                </c:pt>
                <c:pt idx="465">
                  <c:v>44328</c:v>
                </c:pt>
                <c:pt idx="466">
                  <c:v>44329</c:v>
                </c:pt>
                <c:pt idx="467">
                  <c:v>44330</c:v>
                </c:pt>
                <c:pt idx="468">
                  <c:v>44333</c:v>
                </c:pt>
                <c:pt idx="469">
                  <c:v>44334</c:v>
                </c:pt>
                <c:pt idx="470">
                  <c:v>44335</c:v>
                </c:pt>
                <c:pt idx="471">
                  <c:v>44336</c:v>
                </c:pt>
                <c:pt idx="472">
                  <c:v>44337</c:v>
                </c:pt>
                <c:pt idx="473">
                  <c:v>44340</c:v>
                </c:pt>
                <c:pt idx="474">
                  <c:v>44341</c:v>
                </c:pt>
                <c:pt idx="475">
                  <c:v>44342</c:v>
                </c:pt>
                <c:pt idx="476">
                  <c:v>44343</c:v>
                </c:pt>
                <c:pt idx="477">
                  <c:v>44344</c:v>
                </c:pt>
                <c:pt idx="478">
                  <c:v>44347</c:v>
                </c:pt>
                <c:pt idx="479">
                  <c:v>44348</c:v>
                </c:pt>
                <c:pt idx="480">
                  <c:v>44349</c:v>
                </c:pt>
                <c:pt idx="481">
                  <c:v>44350</c:v>
                </c:pt>
                <c:pt idx="482">
                  <c:v>44351</c:v>
                </c:pt>
                <c:pt idx="483">
                  <c:v>44354</c:v>
                </c:pt>
                <c:pt idx="484">
                  <c:v>44355</c:v>
                </c:pt>
                <c:pt idx="485">
                  <c:v>44356</c:v>
                </c:pt>
                <c:pt idx="486">
                  <c:v>44357</c:v>
                </c:pt>
                <c:pt idx="487">
                  <c:v>44358</c:v>
                </c:pt>
                <c:pt idx="488">
                  <c:v>44361</c:v>
                </c:pt>
                <c:pt idx="489">
                  <c:v>44362</c:v>
                </c:pt>
                <c:pt idx="490">
                  <c:v>44363</c:v>
                </c:pt>
                <c:pt idx="491">
                  <c:v>44364</c:v>
                </c:pt>
                <c:pt idx="492">
                  <c:v>44365</c:v>
                </c:pt>
                <c:pt idx="493">
                  <c:v>44368</c:v>
                </c:pt>
                <c:pt idx="494">
                  <c:v>44369</c:v>
                </c:pt>
                <c:pt idx="495">
                  <c:v>44370</c:v>
                </c:pt>
                <c:pt idx="496">
                  <c:v>44371</c:v>
                </c:pt>
                <c:pt idx="497">
                  <c:v>44372</c:v>
                </c:pt>
                <c:pt idx="498">
                  <c:v>44375</c:v>
                </c:pt>
                <c:pt idx="499">
                  <c:v>44376</c:v>
                </c:pt>
                <c:pt idx="500">
                  <c:v>44377</c:v>
                </c:pt>
                <c:pt idx="501">
                  <c:v>44378</c:v>
                </c:pt>
                <c:pt idx="502">
                  <c:v>44379</c:v>
                </c:pt>
                <c:pt idx="503">
                  <c:v>44382</c:v>
                </c:pt>
                <c:pt idx="504">
                  <c:v>44383</c:v>
                </c:pt>
                <c:pt idx="505">
                  <c:v>44384</c:v>
                </c:pt>
                <c:pt idx="506">
                  <c:v>44385</c:v>
                </c:pt>
                <c:pt idx="507">
                  <c:v>44386</c:v>
                </c:pt>
                <c:pt idx="508">
                  <c:v>44389</c:v>
                </c:pt>
                <c:pt idx="509">
                  <c:v>44390</c:v>
                </c:pt>
                <c:pt idx="510">
                  <c:v>44391</c:v>
                </c:pt>
                <c:pt idx="511">
                  <c:v>44392</c:v>
                </c:pt>
                <c:pt idx="512">
                  <c:v>44393</c:v>
                </c:pt>
                <c:pt idx="513">
                  <c:v>44396</c:v>
                </c:pt>
                <c:pt idx="514">
                  <c:v>44397</c:v>
                </c:pt>
                <c:pt idx="515">
                  <c:v>44398</c:v>
                </c:pt>
                <c:pt idx="516">
                  <c:v>44399</c:v>
                </c:pt>
                <c:pt idx="517">
                  <c:v>44400</c:v>
                </c:pt>
                <c:pt idx="518">
                  <c:v>44403</c:v>
                </c:pt>
                <c:pt idx="519">
                  <c:v>44404</c:v>
                </c:pt>
                <c:pt idx="520">
                  <c:v>44405</c:v>
                </c:pt>
                <c:pt idx="521">
                  <c:v>44406</c:v>
                </c:pt>
                <c:pt idx="522">
                  <c:v>44407</c:v>
                </c:pt>
                <c:pt idx="523">
                  <c:v>44410</c:v>
                </c:pt>
                <c:pt idx="524">
                  <c:v>44411</c:v>
                </c:pt>
                <c:pt idx="525">
                  <c:v>44412</c:v>
                </c:pt>
                <c:pt idx="526">
                  <c:v>44413</c:v>
                </c:pt>
                <c:pt idx="527">
                  <c:v>44414</c:v>
                </c:pt>
                <c:pt idx="528">
                  <c:v>44417</c:v>
                </c:pt>
                <c:pt idx="529">
                  <c:v>44418</c:v>
                </c:pt>
                <c:pt idx="530">
                  <c:v>44419</c:v>
                </c:pt>
                <c:pt idx="531">
                  <c:v>44420</c:v>
                </c:pt>
                <c:pt idx="532">
                  <c:v>44421</c:v>
                </c:pt>
                <c:pt idx="533">
                  <c:v>44424</c:v>
                </c:pt>
                <c:pt idx="534">
                  <c:v>44425</c:v>
                </c:pt>
                <c:pt idx="535">
                  <c:v>44426</c:v>
                </c:pt>
                <c:pt idx="536">
                  <c:v>44427</c:v>
                </c:pt>
                <c:pt idx="537">
                  <c:v>44428</c:v>
                </c:pt>
                <c:pt idx="538">
                  <c:v>44431</c:v>
                </c:pt>
                <c:pt idx="539">
                  <c:v>44432</c:v>
                </c:pt>
                <c:pt idx="540">
                  <c:v>44433</c:v>
                </c:pt>
                <c:pt idx="541">
                  <c:v>44434</c:v>
                </c:pt>
                <c:pt idx="542">
                  <c:v>44435</c:v>
                </c:pt>
                <c:pt idx="543">
                  <c:v>44438</c:v>
                </c:pt>
                <c:pt idx="544">
                  <c:v>44439</c:v>
                </c:pt>
                <c:pt idx="545">
                  <c:v>44440</c:v>
                </c:pt>
                <c:pt idx="546">
                  <c:v>44441</c:v>
                </c:pt>
                <c:pt idx="547">
                  <c:v>44442</c:v>
                </c:pt>
                <c:pt idx="548">
                  <c:v>44445</c:v>
                </c:pt>
                <c:pt idx="549">
                  <c:v>44446</c:v>
                </c:pt>
                <c:pt idx="550">
                  <c:v>44447</c:v>
                </c:pt>
                <c:pt idx="551">
                  <c:v>44448</c:v>
                </c:pt>
                <c:pt idx="552">
                  <c:v>44449</c:v>
                </c:pt>
                <c:pt idx="553">
                  <c:v>44452</c:v>
                </c:pt>
                <c:pt idx="554">
                  <c:v>44453</c:v>
                </c:pt>
                <c:pt idx="555">
                  <c:v>44454</c:v>
                </c:pt>
                <c:pt idx="556">
                  <c:v>44455</c:v>
                </c:pt>
                <c:pt idx="557">
                  <c:v>44456</c:v>
                </c:pt>
                <c:pt idx="558">
                  <c:v>44459</c:v>
                </c:pt>
                <c:pt idx="559">
                  <c:v>44460</c:v>
                </c:pt>
                <c:pt idx="560">
                  <c:v>44461</c:v>
                </c:pt>
                <c:pt idx="561">
                  <c:v>44462</c:v>
                </c:pt>
                <c:pt idx="562">
                  <c:v>44463</c:v>
                </c:pt>
                <c:pt idx="563">
                  <c:v>44466</c:v>
                </c:pt>
                <c:pt idx="564">
                  <c:v>44467</c:v>
                </c:pt>
                <c:pt idx="565">
                  <c:v>44468</c:v>
                </c:pt>
                <c:pt idx="566">
                  <c:v>44469</c:v>
                </c:pt>
                <c:pt idx="567">
                  <c:v>44470</c:v>
                </c:pt>
                <c:pt idx="568">
                  <c:v>44473</c:v>
                </c:pt>
                <c:pt idx="569">
                  <c:v>44474</c:v>
                </c:pt>
                <c:pt idx="570">
                  <c:v>44475</c:v>
                </c:pt>
                <c:pt idx="571">
                  <c:v>44476</c:v>
                </c:pt>
                <c:pt idx="572">
                  <c:v>44477</c:v>
                </c:pt>
                <c:pt idx="573">
                  <c:v>44480</c:v>
                </c:pt>
                <c:pt idx="574">
                  <c:v>44481</c:v>
                </c:pt>
                <c:pt idx="575">
                  <c:v>44482</c:v>
                </c:pt>
                <c:pt idx="576">
                  <c:v>44483</c:v>
                </c:pt>
                <c:pt idx="577">
                  <c:v>44484</c:v>
                </c:pt>
                <c:pt idx="578">
                  <c:v>44487</c:v>
                </c:pt>
                <c:pt idx="579">
                  <c:v>44488</c:v>
                </c:pt>
                <c:pt idx="580">
                  <c:v>44489</c:v>
                </c:pt>
                <c:pt idx="581">
                  <c:v>44490</c:v>
                </c:pt>
                <c:pt idx="582">
                  <c:v>44491</c:v>
                </c:pt>
                <c:pt idx="583">
                  <c:v>44494</c:v>
                </c:pt>
                <c:pt idx="584">
                  <c:v>44495</c:v>
                </c:pt>
                <c:pt idx="585">
                  <c:v>44496</c:v>
                </c:pt>
                <c:pt idx="586">
                  <c:v>44497</c:v>
                </c:pt>
                <c:pt idx="587">
                  <c:v>44498</c:v>
                </c:pt>
                <c:pt idx="588">
                  <c:v>44501</c:v>
                </c:pt>
                <c:pt idx="589">
                  <c:v>44502</c:v>
                </c:pt>
                <c:pt idx="590">
                  <c:v>44503</c:v>
                </c:pt>
                <c:pt idx="591">
                  <c:v>44504</c:v>
                </c:pt>
                <c:pt idx="592">
                  <c:v>44505</c:v>
                </c:pt>
                <c:pt idx="593">
                  <c:v>44508</c:v>
                </c:pt>
                <c:pt idx="594">
                  <c:v>44509</c:v>
                </c:pt>
                <c:pt idx="595">
                  <c:v>44510</c:v>
                </c:pt>
                <c:pt idx="596">
                  <c:v>44511</c:v>
                </c:pt>
                <c:pt idx="597">
                  <c:v>44512</c:v>
                </c:pt>
                <c:pt idx="598">
                  <c:v>44515</c:v>
                </c:pt>
                <c:pt idx="599">
                  <c:v>44516</c:v>
                </c:pt>
                <c:pt idx="600">
                  <c:v>44517</c:v>
                </c:pt>
                <c:pt idx="601">
                  <c:v>44518</c:v>
                </c:pt>
                <c:pt idx="602">
                  <c:v>44519</c:v>
                </c:pt>
                <c:pt idx="603">
                  <c:v>44522</c:v>
                </c:pt>
                <c:pt idx="604">
                  <c:v>44523</c:v>
                </c:pt>
                <c:pt idx="605">
                  <c:v>44524</c:v>
                </c:pt>
                <c:pt idx="606">
                  <c:v>44525</c:v>
                </c:pt>
                <c:pt idx="607">
                  <c:v>44526</c:v>
                </c:pt>
                <c:pt idx="608">
                  <c:v>44529</c:v>
                </c:pt>
                <c:pt idx="609">
                  <c:v>44530</c:v>
                </c:pt>
                <c:pt idx="610">
                  <c:v>44531</c:v>
                </c:pt>
                <c:pt idx="611">
                  <c:v>44532</c:v>
                </c:pt>
                <c:pt idx="612">
                  <c:v>44533</c:v>
                </c:pt>
                <c:pt idx="613">
                  <c:v>44536</c:v>
                </c:pt>
                <c:pt idx="614">
                  <c:v>44537</c:v>
                </c:pt>
                <c:pt idx="615">
                  <c:v>44538</c:v>
                </c:pt>
                <c:pt idx="616">
                  <c:v>44539</c:v>
                </c:pt>
                <c:pt idx="617">
                  <c:v>44540</c:v>
                </c:pt>
                <c:pt idx="618">
                  <c:v>44543</c:v>
                </c:pt>
                <c:pt idx="619">
                  <c:v>44544</c:v>
                </c:pt>
                <c:pt idx="620">
                  <c:v>44545</c:v>
                </c:pt>
                <c:pt idx="621">
                  <c:v>44546</c:v>
                </c:pt>
                <c:pt idx="622">
                  <c:v>44547</c:v>
                </c:pt>
                <c:pt idx="623">
                  <c:v>44550</c:v>
                </c:pt>
                <c:pt idx="624">
                  <c:v>44551</c:v>
                </c:pt>
                <c:pt idx="625">
                  <c:v>44552</c:v>
                </c:pt>
                <c:pt idx="626">
                  <c:v>44553</c:v>
                </c:pt>
                <c:pt idx="627">
                  <c:v>44554</c:v>
                </c:pt>
                <c:pt idx="628">
                  <c:v>44557</c:v>
                </c:pt>
                <c:pt idx="629">
                  <c:v>44558</c:v>
                </c:pt>
                <c:pt idx="630">
                  <c:v>44559</c:v>
                </c:pt>
                <c:pt idx="631">
                  <c:v>44560</c:v>
                </c:pt>
                <c:pt idx="632">
                  <c:v>44561</c:v>
                </c:pt>
                <c:pt idx="633">
                  <c:v>44564</c:v>
                </c:pt>
                <c:pt idx="634">
                  <c:v>44565</c:v>
                </c:pt>
                <c:pt idx="635">
                  <c:v>44566</c:v>
                </c:pt>
                <c:pt idx="636">
                  <c:v>44567</c:v>
                </c:pt>
                <c:pt idx="637">
                  <c:v>44568</c:v>
                </c:pt>
                <c:pt idx="638">
                  <c:v>44571</c:v>
                </c:pt>
                <c:pt idx="639">
                  <c:v>44572</c:v>
                </c:pt>
                <c:pt idx="640">
                  <c:v>44573</c:v>
                </c:pt>
                <c:pt idx="641">
                  <c:v>44574</c:v>
                </c:pt>
                <c:pt idx="642">
                  <c:v>44575</c:v>
                </c:pt>
                <c:pt idx="643">
                  <c:v>44578</c:v>
                </c:pt>
                <c:pt idx="644">
                  <c:v>44579</c:v>
                </c:pt>
                <c:pt idx="645">
                  <c:v>44580</c:v>
                </c:pt>
                <c:pt idx="646">
                  <c:v>44581</c:v>
                </c:pt>
                <c:pt idx="647">
                  <c:v>44582</c:v>
                </c:pt>
                <c:pt idx="648">
                  <c:v>44585</c:v>
                </c:pt>
                <c:pt idx="649">
                  <c:v>44586</c:v>
                </c:pt>
                <c:pt idx="650">
                  <c:v>44587</c:v>
                </c:pt>
                <c:pt idx="651">
                  <c:v>44588</c:v>
                </c:pt>
                <c:pt idx="652">
                  <c:v>44589</c:v>
                </c:pt>
                <c:pt idx="653">
                  <c:v>44592</c:v>
                </c:pt>
                <c:pt idx="654">
                  <c:v>44593</c:v>
                </c:pt>
                <c:pt idx="655">
                  <c:v>44594</c:v>
                </c:pt>
                <c:pt idx="656">
                  <c:v>44595</c:v>
                </c:pt>
                <c:pt idx="657">
                  <c:v>44596</c:v>
                </c:pt>
                <c:pt idx="658">
                  <c:v>44599</c:v>
                </c:pt>
                <c:pt idx="659">
                  <c:v>44600</c:v>
                </c:pt>
                <c:pt idx="660">
                  <c:v>44601</c:v>
                </c:pt>
                <c:pt idx="661">
                  <c:v>44602</c:v>
                </c:pt>
                <c:pt idx="662">
                  <c:v>44603</c:v>
                </c:pt>
                <c:pt idx="663">
                  <c:v>44606</c:v>
                </c:pt>
                <c:pt idx="664">
                  <c:v>44607</c:v>
                </c:pt>
                <c:pt idx="665">
                  <c:v>44608</c:v>
                </c:pt>
                <c:pt idx="666">
                  <c:v>44609</c:v>
                </c:pt>
                <c:pt idx="667">
                  <c:v>44610</c:v>
                </c:pt>
                <c:pt idx="668">
                  <c:v>44613</c:v>
                </c:pt>
                <c:pt idx="669">
                  <c:v>44614</c:v>
                </c:pt>
                <c:pt idx="670">
                  <c:v>44615</c:v>
                </c:pt>
                <c:pt idx="671">
                  <c:v>44616</c:v>
                </c:pt>
                <c:pt idx="672">
                  <c:v>44617</c:v>
                </c:pt>
                <c:pt idx="673">
                  <c:v>44620</c:v>
                </c:pt>
                <c:pt idx="674">
                  <c:v>44621</c:v>
                </c:pt>
                <c:pt idx="675">
                  <c:v>44622</c:v>
                </c:pt>
                <c:pt idx="676">
                  <c:v>44623</c:v>
                </c:pt>
                <c:pt idx="677">
                  <c:v>44624</c:v>
                </c:pt>
                <c:pt idx="678">
                  <c:v>44627</c:v>
                </c:pt>
                <c:pt idx="679">
                  <c:v>44628</c:v>
                </c:pt>
                <c:pt idx="680">
                  <c:v>44629</c:v>
                </c:pt>
                <c:pt idx="681">
                  <c:v>44630</c:v>
                </c:pt>
                <c:pt idx="682">
                  <c:v>44631</c:v>
                </c:pt>
                <c:pt idx="683">
                  <c:v>44634</c:v>
                </c:pt>
                <c:pt idx="684">
                  <c:v>44635</c:v>
                </c:pt>
                <c:pt idx="685">
                  <c:v>44636</c:v>
                </c:pt>
                <c:pt idx="686">
                  <c:v>44637</c:v>
                </c:pt>
                <c:pt idx="687">
                  <c:v>44638</c:v>
                </c:pt>
                <c:pt idx="688">
                  <c:v>44641</c:v>
                </c:pt>
                <c:pt idx="689">
                  <c:v>44642</c:v>
                </c:pt>
                <c:pt idx="690">
                  <c:v>44643</c:v>
                </c:pt>
                <c:pt idx="691">
                  <c:v>44644</c:v>
                </c:pt>
                <c:pt idx="692">
                  <c:v>44645</c:v>
                </c:pt>
                <c:pt idx="693">
                  <c:v>44648</c:v>
                </c:pt>
                <c:pt idx="694">
                  <c:v>44649</c:v>
                </c:pt>
                <c:pt idx="695">
                  <c:v>44650</c:v>
                </c:pt>
                <c:pt idx="696">
                  <c:v>44651</c:v>
                </c:pt>
                <c:pt idx="697">
                  <c:v>44652</c:v>
                </c:pt>
                <c:pt idx="698">
                  <c:v>44655</c:v>
                </c:pt>
                <c:pt idx="699">
                  <c:v>44656</c:v>
                </c:pt>
                <c:pt idx="700">
                  <c:v>44657</c:v>
                </c:pt>
                <c:pt idx="701">
                  <c:v>44658</c:v>
                </c:pt>
                <c:pt idx="702">
                  <c:v>44659</c:v>
                </c:pt>
                <c:pt idx="703">
                  <c:v>44662</c:v>
                </c:pt>
                <c:pt idx="704">
                  <c:v>44663</c:v>
                </c:pt>
                <c:pt idx="705">
                  <c:v>44664</c:v>
                </c:pt>
                <c:pt idx="706">
                  <c:v>44665</c:v>
                </c:pt>
                <c:pt idx="707">
                  <c:v>44666</c:v>
                </c:pt>
                <c:pt idx="708">
                  <c:v>44669</c:v>
                </c:pt>
                <c:pt idx="709">
                  <c:v>44670</c:v>
                </c:pt>
                <c:pt idx="710">
                  <c:v>44671</c:v>
                </c:pt>
                <c:pt idx="711">
                  <c:v>44672</c:v>
                </c:pt>
                <c:pt idx="712">
                  <c:v>44673</c:v>
                </c:pt>
                <c:pt idx="713">
                  <c:v>44676</c:v>
                </c:pt>
                <c:pt idx="714">
                  <c:v>44677</c:v>
                </c:pt>
                <c:pt idx="715">
                  <c:v>44678</c:v>
                </c:pt>
                <c:pt idx="716">
                  <c:v>44679</c:v>
                </c:pt>
                <c:pt idx="717">
                  <c:v>44680</c:v>
                </c:pt>
                <c:pt idx="718">
                  <c:v>44683</c:v>
                </c:pt>
                <c:pt idx="719">
                  <c:v>44684</c:v>
                </c:pt>
                <c:pt idx="720">
                  <c:v>44685</c:v>
                </c:pt>
                <c:pt idx="721">
                  <c:v>44686</c:v>
                </c:pt>
                <c:pt idx="722">
                  <c:v>44687</c:v>
                </c:pt>
                <c:pt idx="723">
                  <c:v>44690</c:v>
                </c:pt>
                <c:pt idx="724">
                  <c:v>44691</c:v>
                </c:pt>
                <c:pt idx="725">
                  <c:v>44692</c:v>
                </c:pt>
                <c:pt idx="726">
                  <c:v>44693</c:v>
                </c:pt>
                <c:pt idx="727">
                  <c:v>44694</c:v>
                </c:pt>
                <c:pt idx="728">
                  <c:v>44697</c:v>
                </c:pt>
                <c:pt idx="729">
                  <c:v>44698</c:v>
                </c:pt>
                <c:pt idx="730">
                  <c:v>44699</c:v>
                </c:pt>
                <c:pt idx="731">
                  <c:v>44700</c:v>
                </c:pt>
                <c:pt idx="732">
                  <c:v>44701</c:v>
                </c:pt>
                <c:pt idx="733">
                  <c:v>44704</c:v>
                </c:pt>
                <c:pt idx="734">
                  <c:v>44705</c:v>
                </c:pt>
                <c:pt idx="735">
                  <c:v>44706</c:v>
                </c:pt>
                <c:pt idx="736">
                  <c:v>44707</c:v>
                </c:pt>
                <c:pt idx="737">
                  <c:v>44708</c:v>
                </c:pt>
                <c:pt idx="738">
                  <c:v>44711</c:v>
                </c:pt>
                <c:pt idx="739">
                  <c:v>44712</c:v>
                </c:pt>
                <c:pt idx="740">
                  <c:v>44713</c:v>
                </c:pt>
                <c:pt idx="741">
                  <c:v>44714</c:v>
                </c:pt>
                <c:pt idx="742">
                  <c:v>44715</c:v>
                </c:pt>
                <c:pt idx="743">
                  <c:v>44718</c:v>
                </c:pt>
                <c:pt idx="744">
                  <c:v>44719</c:v>
                </c:pt>
                <c:pt idx="745">
                  <c:v>44720</c:v>
                </c:pt>
                <c:pt idx="746">
                  <c:v>44721</c:v>
                </c:pt>
                <c:pt idx="747">
                  <c:v>44722</c:v>
                </c:pt>
                <c:pt idx="748">
                  <c:v>44725</c:v>
                </c:pt>
                <c:pt idx="749">
                  <c:v>44726</c:v>
                </c:pt>
                <c:pt idx="750">
                  <c:v>44727</c:v>
                </c:pt>
                <c:pt idx="751">
                  <c:v>44728</c:v>
                </c:pt>
                <c:pt idx="752">
                  <c:v>44729</c:v>
                </c:pt>
                <c:pt idx="753">
                  <c:v>44732</c:v>
                </c:pt>
                <c:pt idx="754">
                  <c:v>44733</c:v>
                </c:pt>
                <c:pt idx="755">
                  <c:v>44734</c:v>
                </c:pt>
                <c:pt idx="756">
                  <c:v>44735</c:v>
                </c:pt>
                <c:pt idx="757">
                  <c:v>44736</c:v>
                </c:pt>
                <c:pt idx="758">
                  <c:v>44739</c:v>
                </c:pt>
                <c:pt idx="759">
                  <c:v>44740</c:v>
                </c:pt>
                <c:pt idx="760">
                  <c:v>44741</c:v>
                </c:pt>
                <c:pt idx="761">
                  <c:v>44742</c:v>
                </c:pt>
                <c:pt idx="762">
                  <c:v>44743</c:v>
                </c:pt>
                <c:pt idx="763">
                  <c:v>44746</c:v>
                </c:pt>
                <c:pt idx="764">
                  <c:v>44747</c:v>
                </c:pt>
                <c:pt idx="765">
                  <c:v>44748</c:v>
                </c:pt>
                <c:pt idx="766">
                  <c:v>44749</c:v>
                </c:pt>
                <c:pt idx="767">
                  <c:v>44750</c:v>
                </c:pt>
                <c:pt idx="768">
                  <c:v>44753</c:v>
                </c:pt>
                <c:pt idx="769">
                  <c:v>44754</c:v>
                </c:pt>
                <c:pt idx="770">
                  <c:v>44755</c:v>
                </c:pt>
                <c:pt idx="771">
                  <c:v>44756</c:v>
                </c:pt>
                <c:pt idx="772">
                  <c:v>44757</c:v>
                </c:pt>
                <c:pt idx="773">
                  <c:v>44760</c:v>
                </c:pt>
                <c:pt idx="774">
                  <c:v>44761</c:v>
                </c:pt>
                <c:pt idx="775">
                  <c:v>44762</c:v>
                </c:pt>
                <c:pt idx="776">
                  <c:v>44763</c:v>
                </c:pt>
                <c:pt idx="777">
                  <c:v>44764</c:v>
                </c:pt>
                <c:pt idx="778">
                  <c:v>44767</c:v>
                </c:pt>
                <c:pt idx="779">
                  <c:v>44768</c:v>
                </c:pt>
                <c:pt idx="780">
                  <c:v>44769</c:v>
                </c:pt>
                <c:pt idx="781">
                  <c:v>44770</c:v>
                </c:pt>
                <c:pt idx="782">
                  <c:v>44771</c:v>
                </c:pt>
                <c:pt idx="783">
                  <c:v>44774</c:v>
                </c:pt>
                <c:pt idx="784">
                  <c:v>44775</c:v>
                </c:pt>
                <c:pt idx="785">
                  <c:v>44776</c:v>
                </c:pt>
                <c:pt idx="786">
                  <c:v>44777</c:v>
                </c:pt>
                <c:pt idx="787">
                  <c:v>44778</c:v>
                </c:pt>
                <c:pt idx="788">
                  <c:v>44781</c:v>
                </c:pt>
                <c:pt idx="789">
                  <c:v>44782</c:v>
                </c:pt>
                <c:pt idx="790">
                  <c:v>44783</c:v>
                </c:pt>
                <c:pt idx="791">
                  <c:v>44784</c:v>
                </c:pt>
                <c:pt idx="792">
                  <c:v>44785</c:v>
                </c:pt>
                <c:pt idx="793">
                  <c:v>44788</c:v>
                </c:pt>
                <c:pt idx="794">
                  <c:v>44789</c:v>
                </c:pt>
                <c:pt idx="795">
                  <c:v>44790</c:v>
                </c:pt>
                <c:pt idx="796">
                  <c:v>44791</c:v>
                </c:pt>
                <c:pt idx="797">
                  <c:v>44792</c:v>
                </c:pt>
                <c:pt idx="798">
                  <c:v>44795</c:v>
                </c:pt>
                <c:pt idx="799">
                  <c:v>44796</c:v>
                </c:pt>
                <c:pt idx="800">
                  <c:v>44797</c:v>
                </c:pt>
                <c:pt idx="801">
                  <c:v>44798</c:v>
                </c:pt>
                <c:pt idx="802">
                  <c:v>44799</c:v>
                </c:pt>
                <c:pt idx="803">
                  <c:v>44802</c:v>
                </c:pt>
                <c:pt idx="804">
                  <c:v>44803</c:v>
                </c:pt>
                <c:pt idx="805">
                  <c:v>44804</c:v>
                </c:pt>
                <c:pt idx="806">
                  <c:v>44805</c:v>
                </c:pt>
                <c:pt idx="807">
                  <c:v>44806</c:v>
                </c:pt>
                <c:pt idx="808">
                  <c:v>44809</c:v>
                </c:pt>
                <c:pt idx="809">
                  <c:v>44810</c:v>
                </c:pt>
                <c:pt idx="810">
                  <c:v>44811</c:v>
                </c:pt>
                <c:pt idx="811">
                  <c:v>44812</c:v>
                </c:pt>
                <c:pt idx="812">
                  <c:v>44813</c:v>
                </c:pt>
                <c:pt idx="813">
                  <c:v>44816</c:v>
                </c:pt>
                <c:pt idx="814">
                  <c:v>44817</c:v>
                </c:pt>
                <c:pt idx="815">
                  <c:v>44818</c:v>
                </c:pt>
                <c:pt idx="816">
                  <c:v>44819</c:v>
                </c:pt>
                <c:pt idx="817">
                  <c:v>44820</c:v>
                </c:pt>
                <c:pt idx="818">
                  <c:v>44823</c:v>
                </c:pt>
                <c:pt idx="819">
                  <c:v>44824</c:v>
                </c:pt>
                <c:pt idx="820">
                  <c:v>44825</c:v>
                </c:pt>
                <c:pt idx="821">
                  <c:v>44826</c:v>
                </c:pt>
                <c:pt idx="822">
                  <c:v>44827</c:v>
                </c:pt>
                <c:pt idx="823">
                  <c:v>44830</c:v>
                </c:pt>
                <c:pt idx="824">
                  <c:v>44831</c:v>
                </c:pt>
                <c:pt idx="825">
                  <c:v>44832</c:v>
                </c:pt>
                <c:pt idx="826">
                  <c:v>44833</c:v>
                </c:pt>
                <c:pt idx="827">
                  <c:v>44834</c:v>
                </c:pt>
                <c:pt idx="828">
                  <c:v>44837</c:v>
                </c:pt>
                <c:pt idx="829">
                  <c:v>44838</c:v>
                </c:pt>
                <c:pt idx="830">
                  <c:v>44839</c:v>
                </c:pt>
                <c:pt idx="831">
                  <c:v>44840</c:v>
                </c:pt>
                <c:pt idx="832">
                  <c:v>44841</c:v>
                </c:pt>
                <c:pt idx="833">
                  <c:v>44844</c:v>
                </c:pt>
                <c:pt idx="834">
                  <c:v>44845</c:v>
                </c:pt>
                <c:pt idx="835">
                  <c:v>44846</c:v>
                </c:pt>
                <c:pt idx="836">
                  <c:v>44847</c:v>
                </c:pt>
                <c:pt idx="837">
                  <c:v>44848</c:v>
                </c:pt>
                <c:pt idx="838">
                  <c:v>44851</c:v>
                </c:pt>
                <c:pt idx="839">
                  <c:v>44852</c:v>
                </c:pt>
                <c:pt idx="840">
                  <c:v>44853</c:v>
                </c:pt>
                <c:pt idx="841">
                  <c:v>44854</c:v>
                </c:pt>
                <c:pt idx="842">
                  <c:v>44855</c:v>
                </c:pt>
                <c:pt idx="843">
                  <c:v>44858</c:v>
                </c:pt>
                <c:pt idx="844">
                  <c:v>44859</c:v>
                </c:pt>
                <c:pt idx="845">
                  <c:v>44860</c:v>
                </c:pt>
                <c:pt idx="846">
                  <c:v>44861</c:v>
                </c:pt>
                <c:pt idx="847">
                  <c:v>44862</c:v>
                </c:pt>
                <c:pt idx="848">
                  <c:v>44865</c:v>
                </c:pt>
                <c:pt idx="849">
                  <c:v>44866</c:v>
                </c:pt>
                <c:pt idx="850">
                  <c:v>44867</c:v>
                </c:pt>
                <c:pt idx="851">
                  <c:v>44868</c:v>
                </c:pt>
                <c:pt idx="852">
                  <c:v>44869</c:v>
                </c:pt>
                <c:pt idx="853">
                  <c:v>44872</c:v>
                </c:pt>
                <c:pt idx="854">
                  <c:v>44873</c:v>
                </c:pt>
                <c:pt idx="855">
                  <c:v>44874</c:v>
                </c:pt>
                <c:pt idx="856">
                  <c:v>44875</c:v>
                </c:pt>
                <c:pt idx="857">
                  <c:v>44876</c:v>
                </c:pt>
                <c:pt idx="858">
                  <c:v>44879</c:v>
                </c:pt>
                <c:pt idx="859">
                  <c:v>44880</c:v>
                </c:pt>
                <c:pt idx="860">
                  <c:v>44881</c:v>
                </c:pt>
                <c:pt idx="861">
                  <c:v>44882</c:v>
                </c:pt>
                <c:pt idx="862">
                  <c:v>44883</c:v>
                </c:pt>
                <c:pt idx="863">
                  <c:v>44886</c:v>
                </c:pt>
                <c:pt idx="864">
                  <c:v>44887</c:v>
                </c:pt>
                <c:pt idx="865">
                  <c:v>44888</c:v>
                </c:pt>
                <c:pt idx="866">
                  <c:v>44889</c:v>
                </c:pt>
                <c:pt idx="867">
                  <c:v>44890</c:v>
                </c:pt>
                <c:pt idx="868">
                  <c:v>44893</c:v>
                </c:pt>
                <c:pt idx="869">
                  <c:v>44894</c:v>
                </c:pt>
                <c:pt idx="870">
                  <c:v>44895</c:v>
                </c:pt>
                <c:pt idx="871">
                  <c:v>44896</c:v>
                </c:pt>
                <c:pt idx="872">
                  <c:v>44897</c:v>
                </c:pt>
                <c:pt idx="873">
                  <c:v>44900</c:v>
                </c:pt>
                <c:pt idx="874">
                  <c:v>44901</c:v>
                </c:pt>
                <c:pt idx="875">
                  <c:v>44902</c:v>
                </c:pt>
                <c:pt idx="876">
                  <c:v>44903</c:v>
                </c:pt>
                <c:pt idx="877">
                  <c:v>44904</c:v>
                </c:pt>
                <c:pt idx="878">
                  <c:v>44907</c:v>
                </c:pt>
                <c:pt idx="879">
                  <c:v>44908</c:v>
                </c:pt>
                <c:pt idx="880">
                  <c:v>44909</c:v>
                </c:pt>
                <c:pt idx="881">
                  <c:v>44910</c:v>
                </c:pt>
                <c:pt idx="882">
                  <c:v>44911</c:v>
                </c:pt>
                <c:pt idx="883">
                  <c:v>44914</c:v>
                </c:pt>
                <c:pt idx="884">
                  <c:v>44915</c:v>
                </c:pt>
                <c:pt idx="885">
                  <c:v>44916</c:v>
                </c:pt>
                <c:pt idx="886">
                  <c:v>44917</c:v>
                </c:pt>
                <c:pt idx="887">
                  <c:v>44918</c:v>
                </c:pt>
                <c:pt idx="888">
                  <c:v>44921</c:v>
                </c:pt>
                <c:pt idx="889">
                  <c:v>44922</c:v>
                </c:pt>
                <c:pt idx="890">
                  <c:v>44923</c:v>
                </c:pt>
                <c:pt idx="891">
                  <c:v>44924</c:v>
                </c:pt>
                <c:pt idx="892">
                  <c:v>44925</c:v>
                </c:pt>
                <c:pt idx="893">
                  <c:v>44928</c:v>
                </c:pt>
                <c:pt idx="894">
                  <c:v>44929</c:v>
                </c:pt>
                <c:pt idx="895">
                  <c:v>44930</c:v>
                </c:pt>
                <c:pt idx="896">
                  <c:v>44931</c:v>
                </c:pt>
                <c:pt idx="897">
                  <c:v>44932</c:v>
                </c:pt>
                <c:pt idx="898">
                  <c:v>44935</c:v>
                </c:pt>
                <c:pt idx="899">
                  <c:v>44936</c:v>
                </c:pt>
                <c:pt idx="900">
                  <c:v>44937</c:v>
                </c:pt>
                <c:pt idx="901">
                  <c:v>44938</c:v>
                </c:pt>
                <c:pt idx="902">
                  <c:v>44939</c:v>
                </c:pt>
                <c:pt idx="903">
                  <c:v>44942</c:v>
                </c:pt>
                <c:pt idx="904">
                  <c:v>44943</c:v>
                </c:pt>
                <c:pt idx="905">
                  <c:v>44944</c:v>
                </c:pt>
                <c:pt idx="906">
                  <c:v>44945</c:v>
                </c:pt>
                <c:pt idx="907">
                  <c:v>44946</c:v>
                </c:pt>
                <c:pt idx="908">
                  <c:v>44949</c:v>
                </c:pt>
                <c:pt idx="909">
                  <c:v>44950</c:v>
                </c:pt>
                <c:pt idx="910">
                  <c:v>44951</c:v>
                </c:pt>
                <c:pt idx="911">
                  <c:v>44952</c:v>
                </c:pt>
                <c:pt idx="912">
                  <c:v>44953</c:v>
                </c:pt>
                <c:pt idx="913">
                  <c:v>44956</c:v>
                </c:pt>
                <c:pt idx="914">
                  <c:v>44957</c:v>
                </c:pt>
                <c:pt idx="915">
                  <c:v>44958</c:v>
                </c:pt>
                <c:pt idx="916">
                  <c:v>44959</c:v>
                </c:pt>
                <c:pt idx="917">
                  <c:v>44960</c:v>
                </c:pt>
                <c:pt idx="918">
                  <c:v>44963</c:v>
                </c:pt>
                <c:pt idx="919">
                  <c:v>44964</c:v>
                </c:pt>
                <c:pt idx="920">
                  <c:v>44965</c:v>
                </c:pt>
                <c:pt idx="921">
                  <c:v>44966</c:v>
                </c:pt>
                <c:pt idx="922">
                  <c:v>44967</c:v>
                </c:pt>
                <c:pt idx="923">
                  <c:v>44970</c:v>
                </c:pt>
                <c:pt idx="924">
                  <c:v>44971</c:v>
                </c:pt>
                <c:pt idx="925">
                  <c:v>44972</c:v>
                </c:pt>
                <c:pt idx="926">
                  <c:v>44973</c:v>
                </c:pt>
                <c:pt idx="927">
                  <c:v>44974</c:v>
                </c:pt>
                <c:pt idx="928">
                  <c:v>44977</c:v>
                </c:pt>
                <c:pt idx="929">
                  <c:v>44978</c:v>
                </c:pt>
                <c:pt idx="930">
                  <c:v>44979</c:v>
                </c:pt>
                <c:pt idx="931">
                  <c:v>44980</c:v>
                </c:pt>
                <c:pt idx="932">
                  <c:v>44981</c:v>
                </c:pt>
                <c:pt idx="933">
                  <c:v>44984</c:v>
                </c:pt>
                <c:pt idx="934">
                  <c:v>44985</c:v>
                </c:pt>
                <c:pt idx="935">
                  <c:v>44986</c:v>
                </c:pt>
                <c:pt idx="936">
                  <c:v>44987</c:v>
                </c:pt>
                <c:pt idx="937">
                  <c:v>44988</c:v>
                </c:pt>
                <c:pt idx="938">
                  <c:v>44991</c:v>
                </c:pt>
                <c:pt idx="939">
                  <c:v>44992</c:v>
                </c:pt>
                <c:pt idx="940">
                  <c:v>44993</c:v>
                </c:pt>
                <c:pt idx="941">
                  <c:v>44994</c:v>
                </c:pt>
                <c:pt idx="942">
                  <c:v>44995</c:v>
                </c:pt>
                <c:pt idx="943">
                  <c:v>44998</c:v>
                </c:pt>
                <c:pt idx="944">
                  <c:v>44999</c:v>
                </c:pt>
                <c:pt idx="945">
                  <c:v>45000</c:v>
                </c:pt>
                <c:pt idx="946">
                  <c:v>45001</c:v>
                </c:pt>
                <c:pt idx="947">
                  <c:v>45002</c:v>
                </c:pt>
                <c:pt idx="948">
                  <c:v>45005</c:v>
                </c:pt>
                <c:pt idx="949">
                  <c:v>45006</c:v>
                </c:pt>
                <c:pt idx="950">
                  <c:v>45007</c:v>
                </c:pt>
                <c:pt idx="951">
                  <c:v>45008</c:v>
                </c:pt>
                <c:pt idx="952">
                  <c:v>45009</c:v>
                </c:pt>
                <c:pt idx="953">
                  <c:v>45012</c:v>
                </c:pt>
                <c:pt idx="954">
                  <c:v>45013</c:v>
                </c:pt>
                <c:pt idx="955">
                  <c:v>45014</c:v>
                </c:pt>
                <c:pt idx="956">
                  <c:v>45015</c:v>
                </c:pt>
                <c:pt idx="957">
                  <c:v>45016</c:v>
                </c:pt>
                <c:pt idx="958">
                  <c:v>45019</c:v>
                </c:pt>
                <c:pt idx="959">
                  <c:v>45020</c:v>
                </c:pt>
                <c:pt idx="960">
                  <c:v>45021</c:v>
                </c:pt>
                <c:pt idx="961">
                  <c:v>45022</c:v>
                </c:pt>
                <c:pt idx="962">
                  <c:v>45023</c:v>
                </c:pt>
                <c:pt idx="963">
                  <c:v>45026</c:v>
                </c:pt>
                <c:pt idx="964">
                  <c:v>45027</c:v>
                </c:pt>
                <c:pt idx="965">
                  <c:v>45028</c:v>
                </c:pt>
                <c:pt idx="966">
                  <c:v>45029</c:v>
                </c:pt>
                <c:pt idx="967">
                  <c:v>45030</c:v>
                </c:pt>
                <c:pt idx="968">
                  <c:v>45033</c:v>
                </c:pt>
                <c:pt idx="969">
                  <c:v>45034</c:v>
                </c:pt>
                <c:pt idx="970">
                  <c:v>45035</c:v>
                </c:pt>
                <c:pt idx="971">
                  <c:v>45036</c:v>
                </c:pt>
                <c:pt idx="972">
                  <c:v>45037</c:v>
                </c:pt>
                <c:pt idx="973">
                  <c:v>45040</c:v>
                </c:pt>
                <c:pt idx="974">
                  <c:v>45041</c:v>
                </c:pt>
                <c:pt idx="975">
                  <c:v>45042</c:v>
                </c:pt>
                <c:pt idx="976">
                  <c:v>45043</c:v>
                </c:pt>
                <c:pt idx="977">
                  <c:v>45044</c:v>
                </c:pt>
                <c:pt idx="978">
                  <c:v>45047</c:v>
                </c:pt>
                <c:pt idx="979">
                  <c:v>45048</c:v>
                </c:pt>
                <c:pt idx="980">
                  <c:v>45049</c:v>
                </c:pt>
                <c:pt idx="981">
                  <c:v>45050</c:v>
                </c:pt>
                <c:pt idx="982">
                  <c:v>45051</c:v>
                </c:pt>
                <c:pt idx="983">
                  <c:v>45054</c:v>
                </c:pt>
                <c:pt idx="984">
                  <c:v>45055</c:v>
                </c:pt>
                <c:pt idx="985">
                  <c:v>45056</c:v>
                </c:pt>
                <c:pt idx="986">
                  <c:v>45057</c:v>
                </c:pt>
                <c:pt idx="987">
                  <c:v>45058</c:v>
                </c:pt>
                <c:pt idx="988">
                  <c:v>45061</c:v>
                </c:pt>
                <c:pt idx="989">
                  <c:v>45062</c:v>
                </c:pt>
                <c:pt idx="990">
                  <c:v>45063</c:v>
                </c:pt>
                <c:pt idx="991">
                  <c:v>45064</c:v>
                </c:pt>
                <c:pt idx="992">
                  <c:v>45065</c:v>
                </c:pt>
                <c:pt idx="993">
                  <c:v>45068</c:v>
                </c:pt>
                <c:pt idx="994">
                  <c:v>45069</c:v>
                </c:pt>
                <c:pt idx="995">
                  <c:v>45070</c:v>
                </c:pt>
                <c:pt idx="996">
                  <c:v>45071</c:v>
                </c:pt>
                <c:pt idx="997">
                  <c:v>45072</c:v>
                </c:pt>
                <c:pt idx="998">
                  <c:v>45075</c:v>
                </c:pt>
                <c:pt idx="999">
                  <c:v>45076</c:v>
                </c:pt>
                <c:pt idx="1000">
                  <c:v>45077</c:v>
                </c:pt>
                <c:pt idx="1001">
                  <c:v>45078</c:v>
                </c:pt>
                <c:pt idx="1002">
                  <c:v>45079</c:v>
                </c:pt>
                <c:pt idx="1003">
                  <c:v>45082</c:v>
                </c:pt>
                <c:pt idx="1004">
                  <c:v>45083</c:v>
                </c:pt>
                <c:pt idx="1005">
                  <c:v>45084</c:v>
                </c:pt>
                <c:pt idx="1006">
                  <c:v>45085</c:v>
                </c:pt>
                <c:pt idx="1007">
                  <c:v>45086</c:v>
                </c:pt>
                <c:pt idx="1008">
                  <c:v>45089</c:v>
                </c:pt>
                <c:pt idx="1009">
                  <c:v>45090</c:v>
                </c:pt>
                <c:pt idx="1010">
                  <c:v>45091</c:v>
                </c:pt>
                <c:pt idx="1011">
                  <c:v>45092</c:v>
                </c:pt>
                <c:pt idx="1012">
                  <c:v>45093</c:v>
                </c:pt>
                <c:pt idx="1013">
                  <c:v>45096</c:v>
                </c:pt>
                <c:pt idx="1014">
                  <c:v>45097</c:v>
                </c:pt>
                <c:pt idx="1015">
                  <c:v>45098</c:v>
                </c:pt>
                <c:pt idx="1016">
                  <c:v>45099</c:v>
                </c:pt>
                <c:pt idx="1017">
                  <c:v>45100</c:v>
                </c:pt>
                <c:pt idx="1018">
                  <c:v>45103</c:v>
                </c:pt>
                <c:pt idx="1019">
                  <c:v>45104</c:v>
                </c:pt>
                <c:pt idx="1020">
                  <c:v>45105</c:v>
                </c:pt>
                <c:pt idx="1021">
                  <c:v>45106</c:v>
                </c:pt>
                <c:pt idx="1022">
                  <c:v>45107</c:v>
                </c:pt>
                <c:pt idx="1023">
                  <c:v>45110</c:v>
                </c:pt>
                <c:pt idx="1024">
                  <c:v>45111</c:v>
                </c:pt>
                <c:pt idx="1025">
                  <c:v>45112</c:v>
                </c:pt>
                <c:pt idx="1026">
                  <c:v>45113</c:v>
                </c:pt>
                <c:pt idx="1027">
                  <c:v>45114</c:v>
                </c:pt>
                <c:pt idx="1028">
                  <c:v>45117</c:v>
                </c:pt>
                <c:pt idx="1029">
                  <c:v>45118</c:v>
                </c:pt>
                <c:pt idx="1030">
                  <c:v>45119</c:v>
                </c:pt>
                <c:pt idx="1031">
                  <c:v>45120</c:v>
                </c:pt>
                <c:pt idx="1032">
                  <c:v>45121</c:v>
                </c:pt>
                <c:pt idx="1033">
                  <c:v>45124</c:v>
                </c:pt>
                <c:pt idx="1034">
                  <c:v>45125</c:v>
                </c:pt>
                <c:pt idx="1035">
                  <c:v>45126</c:v>
                </c:pt>
                <c:pt idx="1036">
                  <c:v>45127</c:v>
                </c:pt>
                <c:pt idx="1037">
                  <c:v>45128</c:v>
                </c:pt>
                <c:pt idx="1038">
                  <c:v>45131</c:v>
                </c:pt>
                <c:pt idx="1039">
                  <c:v>45132</c:v>
                </c:pt>
                <c:pt idx="1040">
                  <c:v>45133</c:v>
                </c:pt>
                <c:pt idx="1041">
                  <c:v>45134</c:v>
                </c:pt>
                <c:pt idx="1042">
                  <c:v>45135</c:v>
                </c:pt>
                <c:pt idx="1043">
                  <c:v>45138</c:v>
                </c:pt>
                <c:pt idx="1044">
                  <c:v>45139</c:v>
                </c:pt>
                <c:pt idx="1045">
                  <c:v>45140</c:v>
                </c:pt>
                <c:pt idx="1046">
                  <c:v>45141</c:v>
                </c:pt>
                <c:pt idx="1047">
                  <c:v>45142</c:v>
                </c:pt>
                <c:pt idx="1048">
                  <c:v>45145</c:v>
                </c:pt>
                <c:pt idx="1049">
                  <c:v>45146</c:v>
                </c:pt>
                <c:pt idx="1050">
                  <c:v>45147</c:v>
                </c:pt>
                <c:pt idx="1051">
                  <c:v>45148</c:v>
                </c:pt>
                <c:pt idx="1052">
                  <c:v>45149</c:v>
                </c:pt>
                <c:pt idx="1053">
                  <c:v>45152</c:v>
                </c:pt>
                <c:pt idx="1054">
                  <c:v>45153</c:v>
                </c:pt>
                <c:pt idx="1055">
                  <c:v>45154</c:v>
                </c:pt>
                <c:pt idx="1056">
                  <c:v>45155</c:v>
                </c:pt>
                <c:pt idx="1057">
                  <c:v>45156</c:v>
                </c:pt>
                <c:pt idx="1058">
                  <c:v>45159</c:v>
                </c:pt>
                <c:pt idx="1059">
                  <c:v>45160</c:v>
                </c:pt>
                <c:pt idx="1060">
                  <c:v>45161</c:v>
                </c:pt>
                <c:pt idx="1061">
                  <c:v>45162</c:v>
                </c:pt>
                <c:pt idx="1062">
                  <c:v>45163</c:v>
                </c:pt>
                <c:pt idx="1063">
                  <c:v>45166</c:v>
                </c:pt>
                <c:pt idx="1064">
                  <c:v>45167</c:v>
                </c:pt>
                <c:pt idx="1065">
                  <c:v>45168</c:v>
                </c:pt>
                <c:pt idx="1066">
                  <c:v>45169</c:v>
                </c:pt>
                <c:pt idx="1067">
                  <c:v>45170</c:v>
                </c:pt>
                <c:pt idx="1068">
                  <c:v>45173</c:v>
                </c:pt>
                <c:pt idx="1069">
                  <c:v>45174</c:v>
                </c:pt>
                <c:pt idx="1070">
                  <c:v>45175</c:v>
                </c:pt>
                <c:pt idx="1071">
                  <c:v>45176</c:v>
                </c:pt>
                <c:pt idx="1072">
                  <c:v>45177</c:v>
                </c:pt>
                <c:pt idx="1073">
                  <c:v>45180</c:v>
                </c:pt>
                <c:pt idx="1074">
                  <c:v>45181</c:v>
                </c:pt>
                <c:pt idx="1075">
                  <c:v>45182</c:v>
                </c:pt>
                <c:pt idx="1076">
                  <c:v>45183</c:v>
                </c:pt>
                <c:pt idx="1077">
                  <c:v>45184</c:v>
                </c:pt>
                <c:pt idx="1078">
                  <c:v>45187</c:v>
                </c:pt>
                <c:pt idx="1079">
                  <c:v>45188</c:v>
                </c:pt>
                <c:pt idx="1080">
                  <c:v>45189</c:v>
                </c:pt>
                <c:pt idx="1081">
                  <c:v>45190</c:v>
                </c:pt>
                <c:pt idx="1082">
                  <c:v>45191</c:v>
                </c:pt>
                <c:pt idx="1083">
                  <c:v>45194</c:v>
                </c:pt>
                <c:pt idx="1084">
                  <c:v>45195</c:v>
                </c:pt>
                <c:pt idx="1085">
                  <c:v>45196</c:v>
                </c:pt>
                <c:pt idx="1086">
                  <c:v>45197</c:v>
                </c:pt>
                <c:pt idx="1087">
                  <c:v>45198</c:v>
                </c:pt>
                <c:pt idx="1088">
                  <c:v>45201</c:v>
                </c:pt>
                <c:pt idx="1089">
                  <c:v>45202</c:v>
                </c:pt>
                <c:pt idx="1090">
                  <c:v>45203</c:v>
                </c:pt>
                <c:pt idx="1091">
                  <c:v>45204</c:v>
                </c:pt>
                <c:pt idx="1092">
                  <c:v>45205</c:v>
                </c:pt>
                <c:pt idx="1093">
                  <c:v>45208</c:v>
                </c:pt>
                <c:pt idx="1094">
                  <c:v>45209</c:v>
                </c:pt>
                <c:pt idx="1095">
                  <c:v>45210</c:v>
                </c:pt>
                <c:pt idx="1096">
                  <c:v>45211</c:v>
                </c:pt>
                <c:pt idx="1097">
                  <c:v>45212</c:v>
                </c:pt>
                <c:pt idx="1098">
                  <c:v>45215</c:v>
                </c:pt>
                <c:pt idx="1099">
                  <c:v>45216</c:v>
                </c:pt>
                <c:pt idx="1100">
                  <c:v>45217</c:v>
                </c:pt>
                <c:pt idx="1101">
                  <c:v>45218</c:v>
                </c:pt>
                <c:pt idx="1102">
                  <c:v>45219</c:v>
                </c:pt>
                <c:pt idx="1103">
                  <c:v>45222</c:v>
                </c:pt>
                <c:pt idx="1104">
                  <c:v>45223</c:v>
                </c:pt>
                <c:pt idx="1105">
                  <c:v>45224</c:v>
                </c:pt>
                <c:pt idx="1106">
                  <c:v>45225</c:v>
                </c:pt>
                <c:pt idx="1107">
                  <c:v>45226</c:v>
                </c:pt>
                <c:pt idx="1108">
                  <c:v>45229</c:v>
                </c:pt>
                <c:pt idx="1109">
                  <c:v>45230</c:v>
                </c:pt>
                <c:pt idx="1110">
                  <c:v>45231</c:v>
                </c:pt>
                <c:pt idx="1111">
                  <c:v>45232</c:v>
                </c:pt>
                <c:pt idx="1112">
                  <c:v>45233</c:v>
                </c:pt>
                <c:pt idx="1113">
                  <c:v>45236</c:v>
                </c:pt>
                <c:pt idx="1114">
                  <c:v>45237</c:v>
                </c:pt>
                <c:pt idx="1115">
                  <c:v>45238</c:v>
                </c:pt>
                <c:pt idx="1116">
                  <c:v>45239</c:v>
                </c:pt>
                <c:pt idx="1117">
                  <c:v>45240</c:v>
                </c:pt>
                <c:pt idx="1118">
                  <c:v>45243</c:v>
                </c:pt>
                <c:pt idx="1119">
                  <c:v>45244</c:v>
                </c:pt>
                <c:pt idx="1120">
                  <c:v>45245</c:v>
                </c:pt>
                <c:pt idx="1121">
                  <c:v>45246</c:v>
                </c:pt>
                <c:pt idx="1122">
                  <c:v>45247</c:v>
                </c:pt>
                <c:pt idx="1123">
                  <c:v>45250</c:v>
                </c:pt>
                <c:pt idx="1124">
                  <c:v>45251</c:v>
                </c:pt>
                <c:pt idx="1125">
                  <c:v>45252</c:v>
                </c:pt>
                <c:pt idx="1126">
                  <c:v>45253</c:v>
                </c:pt>
                <c:pt idx="1127">
                  <c:v>45254</c:v>
                </c:pt>
                <c:pt idx="1128">
                  <c:v>45257</c:v>
                </c:pt>
                <c:pt idx="1129">
                  <c:v>45258</c:v>
                </c:pt>
                <c:pt idx="1130">
                  <c:v>45259</c:v>
                </c:pt>
                <c:pt idx="1131">
                  <c:v>45260</c:v>
                </c:pt>
                <c:pt idx="1132">
                  <c:v>45261</c:v>
                </c:pt>
                <c:pt idx="1133">
                  <c:v>45264</c:v>
                </c:pt>
                <c:pt idx="1134">
                  <c:v>45265</c:v>
                </c:pt>
                <c:pt idx="1135">
                  <c:v>45266</c:v>
                </c:pt>
                <c:pt idx="1136">
                  <c:v>45267</c:v>
                </c:pt>
                <c:pt idx="1137">
                  <c:v>45268</c:v>
                </c:pt>
                <c:pt idx="1138">
                  <c:v>45271</c:v>
                </c:pt>
                <c:pt idx="1139">
                  <c:v>45272</c:v>
                </c:pt>
                <c:pt idx="1140">
                  <c:v>45273</c:v>
                </c:pt>
                <c:pt idx="1141">
                  <c:v>45274</c:v>
                </c:pt>
                <c:pt idx="1142">
                  <c:v>45275</c:v>
                </c:pt>
                <c:pt idx="1143">
                  <c:v>45278</c:v>
                </c:pt>
                <c:pt idx="1144">
                  <c:v>45279</c:v>
                </c:pt>
                <c:pt idx="1145">
                  <c:v>45280</c:v>
                </c:pt>
                <c:pt idx="1146">
                  <c:v>45281</c:v>
                </c:pt>
                <c:pt idx="1147">
                  <c:v>45282</c:v>
                </c:pt>
                <c:pt idx="1148">
                  <c:v>45285</c:v>
                </c:pt>
                <c:pt idx="1149">
                  <c:v>45286</c:v>
                </c:pt>
                <c:pt idx="1150">
                  <c:v>45287</c:v>
                </c:pt>
                <c:pt idx="1151">
                  <c:v>45288</c:v>
                </c:pt>
                <c:pt idx="1152">
                  <c:v>45289</c:v>
                </c:pt>
                <c:pt idx="1153">
                  <c:v>45292</c:v>
                </c:pt>
                <c:pt idx="1154">
                  <c:v>45293</c:v>
                </c:pt>
                <c:pt idx="1155">
                  <c:v>45294</c:v>
                </c:pt>
                <c:pt idx="1156">
                  <c:v>45295</c:v>
                </c:pt>
                <c:pt idx="1157">
                  <c:v>45296</c:v>
                </c:pt>
                <c:pt idx="1158">
                  <c:v>45299</c:v>
                </c:pt>
                <c:pt idx="1159">
                  <c:v>45300</c:v>
                </c:pt>
                <c:pt idx="1160">
                  <c:v>45301</c:v>
                </c:pt>
                <c:pt idx="1161">
                  <c:v>45302</c:v>
                </c:pt>
                <c:pt idx="1162">
                  <c:v>45303</c:v>
                </c:pt>
                <c:pt idx="1163">
                  <c:v>45306</c:v>
                </c:pt>
                <c:pt idx="1164">
                  <c:v>45307</c:v>
                </c:pt>
                <c:pt idx="1165">
                  <c:v>45308</c:v>
                </c:pt>
                <c:pt idx="1166">
                  <c:v>45309</c:v>
                </c:pt>
                <c:pt idx="1167">
                  <c:v>45310</c:v>
                </c:pt>
                <c:pt idx="1168">
                  <c:v>45313</c:v>
                </c:pt>
                <c:pt idx="1169">
                  <c:v>45314</c:v>
                </c:pt>
                <c:pt idx="1170">
                  <c:v>45315</c:v>
                </c:pt>
                <c:pt idx="1171">
                  <c:v>45316</c:v>
                </c:pt>
                <c:pt idx="1172">
                  <c:v>45317</c:v>
                </c:pt>
                <c:pt idx="1173">
                  <c:v>45320</c:v>
                </c:pt>
                <c:pt idx="1174">
                  <c:v>45321</c:v>
                </c:pt>
                <c:pt idx="1175">
                  <c:v>45322</c:v>
                </c:pt>
                <c:pt idx="1176">
                  <c:v>45323</c:v>
                </c:pt>
                <c:pt idx="1177">
                  <c:v>45324</c:v>
                </c:pt>
                <c:pt idx="1178">
                  <c:v>45327</c:v>
                </c:pt>
                <c:pt idx="1179">
                  <c:v>45328</c:v>
                </c:pt>
                <c:pt idx="1180">
                  <c:v>45329</c:v>
                </c:pt>
                <c:pt idx="1181">
                  <c:v>45330</c:v>
                </c:pt>
                <c:pt idx="1182">
                  <c:v>45331</c:v>
                </c:pt>
                <c:pt idx="1183">
                  <c:v>45334</c:v>
                </c:pt>
                <c:pt idx="1184">
                  <c:v>45335</c:v>
                </c:pt>
                <c:pt idx="1185">
                  <c:v>45336</c:v>
                </c:pt>
                <c:pt idx="1186">
                  <c:v>45337</c:v>
                </c:pt>
                <c:pt idx="1187">
                  <c:v>45338</c:v>
                </c:pt>
                <c:pt idx="1188">
                  <c:v>45341</c:v>
                </c:pt>
                <c:pt idx="1189">
                  <c:v>45342</c:v>
                </c:pt>
                <c:pt idx="1190">
                  <c:v>45343</c:v>
                </c:pt>
                <c:pt idx="1191">
                  <c:v>45344</c:v>
                </c:pt>
                <c:pt idx="1192">
                  <c:v>45345</c:v>
                </c:pt>
                <c:pt idx="1193">
                  <c:v>45348</c:v>
                </c:pt>
                <c:pt idx="1194">
                  <c:v>45349</c:v>
                </c:pt>
                <c:pt idx="1195">
                  <c:v>45350</c:v>
                </c:pt>
                <c:pt idx="1196">
                  <c:v>45351</c:v>
                </c:pt>
                <c:pt idx="1197">
                  <c:v>45352</c:v>
                </c:pt>
                <c:pt idx="1198">
                  <c:v>45355</c:v>
                </c:pt>
                <c:pt idx="1199">
                  <c:v>45356</c:v>
                </c:pt>
                <c:pt idx="1200">
                  <c:v>45357</c:v>
                </c:pt>
                <c:pt idx="1201">
                  <c:v>45358</c:v>
                </c:pt>
                <c:pt idx="1202">
                  <c:v>45359</c:v>
                </c:pt>
                <c:pt idx="1203">
                  <c:v>45362</c:v>
                </c:pt>
                <c:pt idx="1204">
                  <c:v>45363</c:v>
                </c:pt>
                <c:pt idx="1205">
                  <c:v>45364</c:v>
                </c:pt>
                <c:pt idx="1206">
                  <c:v>45365</c:v>
                </c:pt>
                <c:pt idx="1207">
                  <c:v>45366</c:v>
                </c:pt>
                <c:pt idx="1208">
                  <c:v>45369</c:v>
                </c:pt>
                <c:pt idx="1209">
                  <c:v>45370</c:v>
                </c:pt>
                <c:pt idx="1210">
                  <c:v>45371</c:v>
                </c:pt>
                <c:pt idx="1211">
                  <c:v>45372</c:v>
                </c:pt>
                <c:pt idx="1212">
                  <c:v>45373</c:v>
                </c:pt>
                <c:pt idx="1213">
                  <c:v>45376</c:v>
                </c:pt>
                <c:pt idx="1214">
                  <c:v>45377</c:v>
                </c:pt>
                <c:pt idx="1215">
                  <c:v>45378</c:v>
                </c:pt>
                <c:pt idx="1216">
                  <c:v>45379</c:v>
                </c:pt>
                <c:pt idx="1217">
                  <c:v>45380</c:v>
                </c:pt>
                <c:pt idx="1218">
                  <c:v>45383</c:v>
                </c:pt>
                <c:pt idx="1219">
                  <c:v>45384</c:v>
                </c:pt>
                <c:pt idx="1220">
                  <c:v>45385</c:v>
                </c:pt>
                <c:pt idx="1221">
                  <c:v>45386</c:v>
                </c:pt>
                <c:pt idx="1222">
                  <c:v>45387</c:v>
                </c:pt>
                <c:pt idx="1223">
                  <c:v>45390</c:v>
                </c:pt>
                <c:pt idx="1224">
                  <c:v>45391</c:v>
                </c:pt>
                <c:pt idx="1225">
                  <c:v>45392</c:v>
                </c:pt>
                <c:pt idx="1226">
                  <c:v>45393</c:v>
                </c:pt>
                <c:pt idx="1227">
                  <c:v>45394</c:v>
                </c:pt>
                <c:pt idx="1228">
                  <c:v>45397</c:v>
                </c:pt>
                <c:pt idx="1229">
                  <c:v>45398</c:v>
                </c:pt>
                <c:pt idx="1230">
                  <c:v>45399</c:v>
                </c:pt>
                <c:pt idx="1231">
                  <c:v>45400</c:v>
                </c:pt>
                <c:pt idx="1232">
                  <c:v>45401</c:v>
                </c:pt>
                <c:pt idx="1233">
                  <c:v>45404</c:v>
                </c:pt>
                <c:pt idx="1234">
                  <c:v>45405</c:v>
                </c:pt>
                <c:pt idx="1235">
                  <c:v>45406</c:v>
                </c:pt>
                <c:pt idx="1236">
                  <c:v>45407</c:v>
                </c:pt>
                <c:pt idx="1237">
                  <c:v>45408</c:v>
                </c:pt>
                <c:pt idx="1238">
                  <c:v>45411</c:v>
                </c:pt>
                <c:pt idx="1239">
                  <c:v>45412</c:v>
                </c:pt>
                <c:pt idx="1240">
                  <c:v>45413</c:v>
                </c:pt>
                <c:pt idx="1241">
                  <c:v>45414</c:v>
                </c:pt>
                <c:pt idx="1242">
                  <c:v>45415</c:v>
                </c:pt>
                <c:pt idx="1243">
                  <c:v>45418</c:v>
                </c:pt>
                <c:pt idx="1244">
                  <c:v>45419</c:v>
                </c:pt>
                <c:pt idx="1245">
                  <c:v>45420</c:v>
                </c:pt>
                <c:pt idx="1246">
                  <c:v>45421</c:v>
                </c:pt>
                <c:pt idx="1247">
                  <c:v>45422</c:v>
                </c:pt>
                <c:pt idx="1248">
                  <c:v>45425</c:v>
                </c:pt>
                <c:pt idx="1249">
                  <c:v>45426</c:v>
                </c:pt>
                <c:pt idx="1250">
                  <c:v>45427</c:v>
                </c:pt>
                <c:pt idx="1251">
                  <c:v>45428</c:v>
                </c:pt>
                <c:pt idx="1252">
                  <c:v>45429</c:v>
                </c:pt>
                <c:pt idx="1253">
                  <c:v>45432</c:v>
                </c:pt>
                <c:pt idx="1254">
                  <c:v>45433</c:v>
                </c:pt>
                <c:pt idx="1255">
                  <c:v>45434</c:v>
                </c:pt>
                <c:pt idx="1256">
                  <c:v>45435</c:v>
                </c:pt>
                <c:pt idx="1257">
                  <c:v>45436</c:v>
                </c:pt>
                <c:pt idx="1258">
                  <c:v>45439</c:v>
                </c:pt>
                <c:pt idx="1259">
                  <c:v>45440</c:v>
                </c:pt>
                <c:pt idx="1260">
                  <c:v>45441</c:v>
                </c:pt>
                <c:pt idx="1261">
                  <c:v>45442</c:v>
                </c:pt>
                <c:pt idx="1262">
                  <c:v>45443</c:v>
                </c:pt>
                <c:pt idx="1263">
                  <c:v>45446</c:v>
                </c:pt>
                <c:pt idx="1264">
                  <c:v>45447</c:v>
                </c:pt>
                <c:pt idx="1265">
                  <c:v>45448</c:v>
                </c:pt>
                <c:pt idx="1266">
                  <c:v>45449</c:v>
                </c:pt>
                <c:pt idx="1267">
                  <c:v>45450</c:v>
                </c:pt>
                <c:pt idx="1268">
                  <c:v>45453</c:v>
                </c:pt>
                <c:pt idx="1269">
                  <c:v>45454</c:v>
                </c:pt>
                <c:pt idx="1270">
                  <c:v>45455</c:v>
                </c:pt>
                <c:pt idx="1271">
                  <c:v>45456</c:v>
                </c:pt>
                <c:pt idx="1272">
                  <c:v>45457</c:v>
                </c:pt>
                <c:pt idx="1273">
                  <c:v>45460</c:v>
                </c:pt>
                <c:pt idx="1274">
                  <c:v>45461</c:v>
                </c:pt>
                <c:pt idx="1275">
                  <c:v>45462</c:v>
                </c:pt>
                <c:pt idx="1276">
                  <c:v>45463</c:v>
                </c:pt>
                <c:pt idx="1277">
                  <c:v>45464</c:v>
                </c:pt>
                <c:pt idx="1278">
                  <c:v>45467</c:v>
                </c:pt>
                <c:pt idx="1279">
                  <c:v>45468</c:v>
                </c:pt>
                <c:pt idx="1280">
                  <c:v>45469</c:v>
                </c:pt>
                <c:pt idx="1281">
                  <c:v>45470</c:v>
                </c:pt>
                <c:pt idx="1282">
                  <c:v>45471</c:v>
                </c:pt>
                <c:pt idx="1283">
                  <c:v>45474</c:v>
                </c:pt>
                <c:pt idx="1284">
                  <c:v>45475</c:v>
                </c:pt>
                <c:pt idx="1285">
                  <c:v>45476</c:v>
                </c:pt>
                <c:pt idx="1286">
                  <c:v>45477</c:v>
                </c:pt>
                <c:pt idx="1287">
                  <c:v>45478</c:v>
                </c:pt>
                <c:pt idx="1288">
                  <c:v>45481</c:v>
                </c:pt>
                <c:pt idx="1289">
                  <c:v>45482</c:v>
                </c:pt>
                <c:pt idx="1290">
                  <c:v>45483</c:v>
                </c:pt>
                <c:pt idx="1291">
                  <c:v>45484</c:v>
                </c:pt>
                <c:pt idx="1292">
                  <c:v>45485</c:v>
                </c:pt>
                <c:pt idx="1293">
                  <c:v>45488</c:v>
                </c:pt>
                <c:pt idx="1294">
                  <c:v>45489</c:v>
                </c:pt>
                <c:pt idx="1295">
                  <c:v>45490</c:v>
                </c:pt>
                <c:pt idx="1296">
                  <c:v>45491</c:v>
                </c:pt>
                <c:pt idx="1297">
                  <c:v>45492</c:v>
                </c:pt>
                <c:pt idx="1298">
                  <c:v>45495</c:v>
                </c:pt>
                <c:pt idx="1299">
                  <c:v>45496</c:v>
                </c:pt>
                <c:pt idx="1300">
                  <c:v>45497</c:v>
                </c:pt>
                <c:pt idx="1301">
                  <c:v>45498</c:v>
                </c:pt>
                <c:pt idx="1302">
                  <c:v>45499</c:v>
                </c:pt>
                <c:pt idx="1303">
                  <c:v>45502</c:v>
                </c:pt>
                <c:pt idx="1304">
                  <c:v>45503</c:v>
                </c:pt>
                <c:pt idx="1305">
                  <c:v>45504</c:v>
                </c:pt>
                <c:pt idx="1306">
                  <c:v>45505</c:v>
                </c:pt>
                <c:pt idx="1307">
                  <c:v>45506</c:v>
                </c:pt>
                <c:pt idx="1308">
                  <c:v>45509</c:v>
                </c:pt>
                <c:pt idx="1309">
                  <c:v>45510</c:v>
                </c:pt>
                <c:pt idx="1310">
                  <c:v>45511</c:v>
                </c:pt>
                <c:pt idx="1311">
                  <c:v>45512</c:v>
                </c:pt>
                <c:pt idx="1312">
                  <c:v>45513</c:v>
                </c:pt>
                <c:pt idx="1313">
                  <c:v>45516</c:v>
                </c:pt>
                <c:pt idx="1314">
                  <c:v>45517</c:v>
                </c:pt>
                <c:pt idx="1315">
                  <c:v>45518</c:v>
                </c:pt>
                <c:pt idx="1316">
                  <c:v>45519</c:v>
                </c:pt>
              </c:numCache>
            </c:numRef>
          </c:cat>
          <c:val>
            <c:numRef>
              <c:f>Tabelle1!$IO$3:$IO$1319</c:f>
              <c:numCache>
                <c:formatCode>General</c:formatCode>
                <c:ptCount val="1317"/>
              </c:numCache>
            </c:numRef>
          </c:val>
          <c:smooth val="0"/>
          <c:extLst>
            <c:ext xmlns:c16="http://schemas.microsoft.com/office/drawing/2014/chart" uri="{C3380CC4-5D6E-409C-BE32-E72D297353CC}">
              <c16:uniqueId val="{000000EB-5B14-4065-87DF-4FBA120D31D5}"/>
            </c:ext>
          </c:extLst>
        </c:ser>
        <c:dLbls>
          <c:showLegendKey val="0"/>
          <c:showVal val="0"/>
          <c:showCatName val="0"/>
          <c:showSerName val="0"/>
          <c:showPercent val="0"/>
          <c:showBubbleSize val="0"/>
        </c:dLbls>
        <c:smooth val="0"/>
        <c:axId val="1667233864"/>
        <c:axId val="1667234224"/>
      </c:lineChart>
      <c:dateAx>
        <c:axId val="1667233864"/>
        <c:scaling>
          <c:orientation val="minMax"/>
        </c:scaling>
        <c:delete val="0"/>
        <c:axPos val="b"/>
        <c:majorGridlines>
          <c:spPr>
            <a:ln w="9525" cap="flat" cmpd="sng" algn="ctr">
              <a:solidFill>
                <a:schemeClr val="tx1">
                  <a:lumMod val="15000"/>
                  <a:lumOff val="85000"/>
                </a:schemeClr>
              </a:solidFill>
              <a:round/>
            </a:ln>
            <a:effectLst/>
          </c:spPr>
        </c:majorGridlines>
        <c:numFmt formatCode="m/d/yyyy" sourceLinked="1"/>
        <c:majorTickMark val="none"/>
        <c:minorTickMark val="none"/>
        <c:tickLblPos val="none"/>
        <c:spPr>
          <a:noFill/>
          <a:ln w="9525" cap="flat" cmpd="sng" algn="ctr">
            <a:solidFill>
              <a:srgbClr val="888888"/>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crossAx val="1667234224"/>
        <c:crosses val="autoZero"/>
        <c:auto val="1"/>
        <c:lblOffset val="100"/>
        <c:baseTimeUnit val="days"/>
      </c:dateAx>
      <c:valAx>
        <c:axId val="1667234224"/>
        <c:scaling>
          <c:orientation val="minMax"/>
          <c:max val="0.44000000000000006"/>
          <c:min val="-0.30000000000000004"/>
        </c:scaling>
        <c:delete val="0"/>
        <c:axPos val="l"/>
        <c:numFmt formatCode="0\ %"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de-DE"/>
          </a:p>
        </c:txPr>
        <c:crossAx val="1667233864"/>
        <c:crosses val="autoZero"/>
        <c:crossBetween val="between"/>
        <c:majorUnit val="0.1"/>
      </c:valAx>
      <c:spPr>
        <a:noFill/>
        <a:ln>
          <a:noFill/>
        </a:ln>
        <a:effectLst/>
      </c:spPr>
    </c:plotArea>
    <c:legend>
      <c:legendPos val="t"/>
      <c:layout>
        <c:manualLayout>
          <c:xMode val="edge"/>
          <c:yMode val="edge"/>
          <c:x val="8.5830647137586522E-2"/>
          <c:y val="0.92487429484329742"/>
          <c:w val="0.79816736240644148"/>
          <c:h val="7.3643835727668944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de-DE"/>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Worksheet!$K$1:$K$7</c:f>
              <c:strCache>
                <c:ptCount val="7"/>
                <c:pt idx="6">
                  <c:v>Trump</c:v>
                </c:pt>
              </c:strCache>
            </c:strRef>
          </c:tx>
          <c:spPr>
            <a:ln w="28575" cap="rnd">
              <a:solidFill>
                <a:srgbClr val="E42444"/>
              </a:solidFill>
              <a:round/>
            </a:ln>
            <a:effectLst/>
          </c:spPr>
          <c:marker>
            <c:symbol val="none"/>
          </c:marker>
          <c:cat>
            <c:numRef>
              <c:f>Worksheet!$J$7:$J$398</c:f>
              <c:numCache>
                <c:formatCode>dd\.mm\.yyyy</c:formatCode>
                <c:ptCount val="392"/>
                <c:pt idx="1">
                  <c:v>45519</c:v>
                </c:pt>
                <c:pt idx="2">
                  <c:v>45518</c:v>
                </c:pt>
                <c:pt idx="3">
                  <c:v>45517</c:v>
                </c:pt>
                <c:pt idx="4">
                  <c:v>45516</c:v>
                </c:pt>
                <c:pt idx="5">
                  <c:v>45515</c:v>
                </c:pt>
                <c:pt idx="6">
                  <c:v>45514</c:v>
                </c:pt>
                <c:pt idx="7">
                  <c:v>45513</c:v>
                </c:pt>
                <c:pt idx="8">
                  <c:v>45512</c:v>
                </c:pt>
                <c:pt idx="9">
                  <c:v>45511</c:v>
                </c:pt>
                <c:pt idx="10">
                  <c:v>45510</c:v>
                </c:pt>
                <c:pt idx="11">
                  <c:v>45509</c:v>
                </c:pt>
                <c:pt idx="12">
                  <c:v>45508</c:v>
                </c:pt>
                <c:pt idx="13">
                  <c:v>45507</c:v>
                </c:pt>
                <c:pt idx="14">
                  <c:v>45506</c:v>
                </c:pt>
                <c:pt idx="15">
                  <c:v>45505</c:v>
                </c:pt>
                <c:pt idx="16">
                  <c:v>45504</c:v>
                </c:pt>
                <c:pt idx="17">
                  <c:v>45503</c:v>
                </c:pt>
                <c:pt idx="18">
                  <c:v>45502</c:v>
                </c:pt>
                <c:pt idx="19">
                  <c:v>45501</c:v>
                </c:pt>
                <c:pt idx="20">
                  <c:v>45500</c:v>
                </c:pt>
                <c:pt idx="21">
                  <c:v>45499</c:v>
                </c:pt>
                <c:pt idx="22">
                  <c:v>45498</c:v>
                </c:pt>
                <c:pt idx="23">
                  <c:v>45497</c:v>
                </c:pt>
                <c:pt idx="24">
                  <c:v>45496</c:v>
                </c:pt>
                <c:pt idx="25">
                  <c:v>45495</c:v>
                </c:pt>
                <c:pt idx="26">
                  <c:v>45494</c:v>
                </c:pt>
                <c:pt idx="27">
                  <c:v>45493</c:v>
                </c:pt>
                <c:pt idx="28">
                  <c:v>45492</c:v>
                </c:pt>
                <c:pt idx="29">
                  <c:v>45491</c:v>
                </c:pt>
                <c:pt idx="30">
                  <c:v>45490</c:v>
                </c:pt>
                <c:pt idx="31">
                  <c:v>45489</c:v>
                </c:pt>
                <c:pt idx="32">
                  <c:v>45488</c:v>
                </c:pt>
                <c:pt idx="33">
                  <c:v>45487</c:v>
                </c:pt>
                <c:pt idx="34">
                  <c:v>45486</c:v>
                </c:pt>
                <c:pt idx="35">
                  <c:v>45485</c:v>
                </c:pt>
                <c:pt idx="36">
                  <c:v>45484</c:v>
                </c:pt>
                <c:pt idx="37">
                  <c:v>45483</c:v>
                </c:pt>
                <c:pt idx="38">
                  <c:v>45482</c:v>
                </c:pt>
                <c:pt idx="39">
                  <c:v>45481</c:v>
                </c:pt>
                <c:pt idx="40">
                  <c:v>45480</c:v>
                </c:pt>
                <c:pt idx="41">
                  <c:v>45479</c:v>
                </c:pt>
                <c:pt idx="42">
                  <c:v>45478</c:v>
                </c:pt>
                <c:pt idx="43">
                  <c:v>45477</c:v>
                </c:pt>
                <c:pt idx="44">
                  <c:v>45476</c:v>
                </c:pt>
                <c:pt idx="45">
                  <c:v>45475</c:v>
                </c:pt>
                <c:pt idx="46">
                  <c:v>45474</c:v>
                </c:pt>
                <c:pt idx="47">
                  <c:v>45473</c:v>
                </c:pt>
                <c:pt idx="48">
                  <c:v>45472</c:v>
                </c:pt>
                <c:pt idx="49">
                  <c:v>45471</c:v>
                </c:pt>
                <c:pt idx="50">
                  <c:v>45470</c:v>
                </c:pt>
                <c:pt idx="51">
                  <c:v>45469</c:v>
                </c:pt>
                <c:pt idx="52">
                  <c:v>45468</c:v>
                </c:pt>
                <c:pt idx="53">
                  <c:v>45467</c:v>
                </c:pt>
                <c:pt idx="54">
                  <c:v>45466</c:v>
                </c:pt>
                <c:pt idx="55">
                  <c:v>45465</c:v>
                </c:pt>
                <c:pt idx="56">
                  <c:v>45464</c:v>
                </c:pt>
                <c:pt idx="57">
                  <c:v>45463</c:v>
                </c:pt>
                <c:pt idx="58">
                  <c:v>45462</c:v>
                </c:pt>
                <c:pt idx="59">
                  <c:v>45461</c:v>
                </c:pt>
                <c:pt idx="60">
                  <c:v>45460</c:v>
                </c:pt>
                <c:pt idx="61">
                  <c:v>45459</c:v>
                </c:pt>
                <c:pt idx="62">
                  <c:v>45458</c:v>
                </c:pt>
                <c:pt idx="63">
                  <c:v>45457</c:v>
                </c:pt>
                <c:pt idx="64">
                  <c:v>45456</c:v>
                </c:pt>
                <c:pt idx="65">
                  <c:v>45455</c:v>
                </c:pt>
                <c:pt idx="66">
                  <c:v>45454</c:v>
                </c:pt>
                <c:pt idx="67">
                  <c:v>45453</c:v>
                </c:pt>
                <c:pt idx="68">
                  <c:v>45452</c:v>
                </c:pt>
                <c:pt idx="69">
                  <c:v>45451</c:v>
                </c:pt>
                <c:pt idx="70">
                  <c:v>45450</c:v>
                </c:pt>
                <c:pt idx="71">
                  <c:v>45449</c:v>
                </c:pt>
                <c:pt idx="72">
                  <c:v>45448</c:v>
                </c:pt>
                <c:pt idx="73">
                  <c:v>45447</c:v>
                </c:pt>
                <c:pt idx="74">
                  <c:v>45446</c:v>
                </c:pt>
                <c:pt idx="75">
                  <c:v>45445</c:v>
                </c:pt>
                <c:pt idx="76">
                  <c:v>45444</c:v>
                </c:pt>
                <c:pt idx="77">
                  <c:v>45443</c:v>
                </c:pt>
                <c:pt idx="78">
                  <c:v>45442</c:v>
                </c:pt>
                <c:pt idx="79">
                  <c:v>45441</c:v>
                </c:pt>
                <c:pt idx="80">
                  <c:v>45440</c:v>
                </c:pt>
                <c:pt idx="81">
                  <c:v>45439</c:v>
                </c:pt>
                <c:pt idx="82">
                  <c:v>45438</c:v>
                </c:pt>
                <c:pt idx="83">
                  <c:v>45437</c:v>
                </c:pt>
                <c:pt idx="84">
                  <c:v>45436</c:v>
                </c:pt>
                <c:pt idx="85">
                  <c:v>45435</c:v>
                </c:pt>
                <c:pt idx="86">
                  <c:v>45434</c:v>
                </c:pt>
                <c:pt idx="87">
                  <c:v>45433</c:v>
                </c:pt>
                <c:pt idx="88">
                  <c:v>45432</c:v>
                </c:pt>
                <c:pt idx="89">
                  <c:v>45431</c:v>
                </c:pt>
                <c:pt idx="90">
                  <c:v>45430</c:v>
                </c:pt>
                <c:pt idx="91">
                  <c:v>45429</c:v>
                </c:pt>
                <c:pt idx="92">
                  <c:v>45428</c:v>
                </c:pt>
                <c:pt idx="93">
                  <c:v>45427</c:v>
                </c:pt>
                <c:pt idx="94">
                  <c:v>45426</c:v>
                </c:pt>
                <c:pt idx="95">
                  <c:v>45425</c:v>
                </c:pt>
                <c:pt idx="96">
                  <c:v>45424</c:v>
                </c:pt>
                <c:pt idx="97">
                  <c:v>45423</c:v>
                </c:pt>
                <c:pt idx="98">
                  <c:v>45422</c:v>
                </c:pt>
                <c:pt idx="99">
                  <c:v>45421</c:v>
                </c:pt>
                <c:pt idx="100">
                  <c:v>45420</c:v>
                </c:pt>
                <c:pt idx="101">
                  <c:v>45419</c:v>
                </c:pt>
                <c:pt idx="102">
                  <c:v>45418</c:v>
                </c:pt>
                <c:pt idx="103">
                  <c:v>45417</c:v>
                </c:pt>
                <c:pt idx="104">
                  <c:v>45416</c:v>
                </c:pt>
                <c:pt idx="105">
                  <c:v>45415</c:v>
                </c:pt>
                <c:pt idx="106">
                  <c:v>45414</c:v>
                </c:pt>
                <c:pt idx="107">
                  <c:v>45413</c:v>
                </c:pt>
                <c:pt idx="108">
                  <c:v>45412</c:v>
                </c:pt>
                <c:pt idx="109">
                  <c:v>45411</c:v>
                </c:pt>
                <c:pt idx="110">
                  <c:v>45410</c:v>
                </c:pt>
                <c:pt idx="111">
                  <c:v>45409</c:v>
                </c:pt>
                <c:pt idx="112">
                  <c:v>45408</c:v>
                </c:pt>
                <c:pt idx="113">
                  <c:v>45407</c:v>
                </c:pt>
                <c:pt idx="114">
                  <c:v>45406</c:v>
                </c:pt>
                <c:pt idx="115">
                  <c:v>45405</c:v>
                </c:pt>
                <c:pt idx="116">
                  <c:v>45404</c:v>
                </c:pt>
                <c:pt idx="117">
                  <c:v>45403</c:v>
                </c:pt>
                <c:pt idx="118">
                  <c:v>45402</c:v>
                </c:pt>
                <c:pt idx="119">
                  <c:v>45401</c:v>
                </c:pt>
                <c:pt idx="120">
                  <c:v>45400</c:v>
                </c:pt>
                <c:pt idx="121">
                  <c:v>45399</c:v>
                </c:pt>
                <c:pt idx="122">
                  <c:v>45398</c:v>
                </c:pt>
                <c:pt idx="123">
                  <c:v>45397</c:v>
                </c:pt>
                <c:pt idx="124">
                  <c:v>45396</c:v>
                </c:pt>
                <c:pt idx="125">
                  <c:v>45395</c:v>
                </c:pt>
                <c:pt idx="126">
                  <c:v>45394</c:v>
                </c:pt>
                <c:pt idx="127">
                  <c:v>45393</c:v>
                </c:pt>
                <c:pt idx="128">
                  <c:v>45392</c:v>
                </c:pt>
                <c:pt idx="129">
                  <c:v>45391</c:v>
                </c:pt>
                <c:pt idx="130">
                  <c:v>45390</c:v>
                </c:pt>
                <c:pt idx="131">
                  <c:v>45389</c:v>
                </c:pt>
                <c:pt idx="132">
                  <c:v>45388</c:v>
                </c:pt>
                <c:pt idx="133">
                  <c:v>45387</c:v>
                </c:pt>
                <c:pt idx="134">
                  <c:v>45386</c:v>
                </c:pt>
                <c:pt idx="135">
                  <c:v>45385</c:v>
                </c:pt>
                <c:pt idx="136">
                  <c:v>45384</c:v>
                </c:pt>
                <c:pt idx="137">
                  <c:v>45383</c:v>
                </c:pt>
                <c:pt idx="138">
                  <c:v>45382</c:v>
                </c:pt>
                <c:pt idx="139">
                  <c:v>45381</c:v>
                </c:pt>
                <c:pt idx="140">
                  <c:v>45380</c:v>
                </c:pt>
                <c:pt idx="141">
                  <c:v>45379</c:v>
                </c:pt>
                <c:pt idx="142">
                  <c:v>45378</c:v>
                </c:pt>
                <c:pt idx="143">
                  <c:v>45377</c:v>
                </c:pt>
                <c:pt idx="144">
                  <c:v>45376</c:v>
                </c:pt>
                <c:pt idx="145">
                  <c:v>45375</c:v>
                </c:pt>
                <c:pt idx="146">
                  <c:v>45374</c:v>
                </c:pt>
                <c:pt idx="147">
                  <c:v>45373</c:v>
                </c:pt>
                <c:pt idx="148">
                  <c:v>45372</c:v>
                </c:pt>
                <c:pt idx="149">
                  <c:v>45371</c:v>
                </c:pt>
                <c:pt idx="150">
                  <c:v>45370</c:v>
                </c:pt>
                <c:pt idx="151">
                  <c:v>45369</c:v>
                </c:pt>
                <c:pt idx="152">
                  <c:v>45368</c:v>
                </c:pt>
                <c:pt idx="153">
                  <c:v>45367</c:v>
                </c:pt>
                <c:pt idx="154">
                  <c:v>45366</c:v>
                </c:pt>
                <c:pt idx="155">
                  <c:v>45365</c:v>
                </c:pt>
                <c:pt idx="156">
                  <c:v>45364</c:v>
                </c:pt>
                <c:pt idx="157">
                  <c:v>45363</c:v>
                </c:pt>
                <c:pt idx="158">
                  <c:v>45362</c:v>
                </c:pt>
                <c:pt idx="159">
                  <c:v>45361</c:v>
                </c:pt>
                <c:pt idx="160">
                  <c:v>45360</c:v>
                </c:pt>
                <c:pt idx="161">
                  <c:v>45359</c:v>
                </c:pt>
                <c:pt idx="162">
                  <c:v>45358</c:v>
                </c:pt>
                <c:pt idx="163">
                  <c:v>45357</c:v>
                </c:pt>
                <c:pt idx="164">
                  <c:v>45356</c:v>
                </c:pt>
                <c:pt idx="165">
                  <c:v>45355</c:v>
                </c:pt>
                <c:pt idx="166">
                  <c:v>45354</c:v>
                </c:pt>
                <c:pt idx="167">
                  <c:v>45353</c:v>
                </c:pt>
                <c:pt idx="168">
                  <c:v>45352</c:v>
                </c:pt>
                <c:pt idx="169">
                  <c:v>45351</c:v>
                </c:pt>
                <c:pt idx="170">
                  <c:v>45350</c:v>
                </c:pt>
                <c:pt idx="171">
                  <c:v>45349</c:v>
                </c:pt>
                <c:pt idx="172">
                  <c:v>45348</c:v>
                </c:pt>
                <c:pt idx="173">
                  <c:v>45347</c:v>
                </c:pt>
                <c:pt idx="174">
                  <c:v>45346</c:v>
                </c:pt>
                <c:pt idx="175">
                  <c:v>45345</c:v>
                </c:pt>
                <c:pt idx="176">
                  <c:v>45344</c:v>
                </c:pt>
                <c:pt idx="177">
                  <c:v>45343</c:v>
                </c:pt>
                <c:pt idx="178">
                  <c:v>45342</c:v>
                </c:pt>
                <c:pt idx="179">
                  <c:v>45341</c:v>
                </c:pt>
                <c:pt idx="180">
                  <c:v>45340</c:v>
                </c:pt>
                <c:pt idx="181">
                  <c:v>45339</c:v>
                </c:pt>
                <c:pt idx="182">
                  <c:v>45338</c:v>
                </c:pt>
                <c:pt idx="183">
                  <c:v>45337</c:v>
                </c:pt>
                <c:pt idx="184">
                  <c:v>45336</c:v>
                </c:pt>
                <c:pt idx="185">
                  <c:v>45335</c:v>
                </c:pt>
                <c:pt idx="186">
                  <c:v>45334</c:v>
                </c:pt>
                <c:pt idx="187">
                  <c:v>45333</c:v>
                </c:pt>
                <c:pt idx="188">
                  <c:v>45332</c:v>
                </c:pt>
                <c:pt idx="189">
                  <c:v>45331</c:v>
                </c:pt>
                <c:pt idx="190">
                  <c:v>45330</c:v>
                </c:pt>
                <c:pt idx="191">
                  <c:v>45329</c:v>
                </c:pt>
                <c:pt idx="192">
                  <c:v>45328</c:v>
                </c:pt>
                <c:pt idx="193">
                  <c:v>45327</c:v>
                </c:pt>
                <c:pt idx="194">
                  <c:v>45326</c:v>
                </c:pt>
                <c:pt idx="195">
                  <c:v>45325</c:v>
                </c:pt>
                <c:pt idx="196">
                  <c:v>45324</c:v>
                </c:pt>
                <c:pt idx="197">
                  <c:v>45323</c:v>
                </c:pt>
                <c:pt idx="198">
                  <c:v>45322</c:v>
                </c:pt>
                <c:pt idx="199">
                  <c:v>45321</c:v>
                </c:pt>
                <c:pt idx="200">
                  <c:v>45320</c:v>
                </c:pt>
                <c:pt idx="201">
                  <c:v>45319</c:v>
                </c:pt>
                <c:pt idx="202">
                  <c:v>45318</c:v>
                </c:pt>
                <c:pt idx="203">
                  <c:v>45317</c:v>
                </c:pt>
                <c:pt idx="204">
                  <c:v>45316</c:v>
                </c:pt>
                <c:pt idx="205">
                  <c:v>45315</c:v>
                </c:pt>
                <c:pt idx="206">
                  <c:v>45314</c:v>
                </c:pt>
                <c:pt idx="207">
                  <c:v>45313</c:v>
                </c:pt>
                <c:pt idx="208">
                  <c:v>45312</c:v>
                </c:pt>
                <c:pt idx="209">
                  <c:v>45311</c:v>
                </c:pt>
                <c:pt idx="210">
                  <c:v>45310</c:v>
                </c:pt>
                <c:pt idx="211">
                  <c:v>45309</c:v>
                </c:pt>
                <c:pt idx="212">
                  <c:v>45308</c:v>
                </c:pt>
                <c:pt idx="213">
                  <c:v>45307</c:v>
                </c:pt>
                <c:pt idx="214">
                  <c:v>45306</c:v>
                </c:pt>
                <c:pt idx="215">
                  <c:v>45305</c:v>
                </c:pt>
                <c:pt idx="216">
                  <c:v>45304</c:v>
                </c:pt>
                <c:pt idx="217">
                  <c:v>45303</c:v>
                </c:pt>
                <c:pt idx="218">
                  <c:v>45302</c:v>
                </c:pt>
                <c:pt idx="219">
                  <c:v>45301</c:v>
                </c:pt>
                <c:pt idx="220">
                  <c:v>45300</c:v>
                </c:pt>
                <c:pt idx="221">
                  <c:v>45299</c:v>
                </c:pt>
                <c:pt idx="222">
                  <c:v>45298</c:v>
                </c:pt>
                <c:pt idx="223">
                  <c:v>45297</c:v>
                </c:pt>
                <c:pt idx="224">
                  <c:v>45296</c:v>
                </c:pt>
                <c:pt idx="225">
                  <c:v>45295</c:v>
                </c:pt>
                <c:pt idx="226">
                  <c:v>45294</c:v>
                </c:pt>
                <c:pt idx="227">
                  <c:v>45293</c:v>
                </c:pt>
                <c:pt idx="228">
                  <c:v>45292</c:v>
                </c:pt>
                <c:pt idx="229">
                  <c:v>45291</c:v>
                </c:pt>
                <c:pt idx="230">
                  <c:v>45290</c:v>
                </c:pt>
                <c:pt idx="231">
                  <c:v>45289</c:v>
                </c:pt>
                <c:pt idx="232">
                  <c:v>45288</c:v>
                </c:pt>
                <c:pt idx="233">
                  <c:v>45287</c:v>
                </c:pt>
                <c:pt idx="234">
                  <c:v>45286</c:v>
                </c:pt>
                <c:pt idx="235">
                  <c:v>45285</c:v>
                </c:pt>
                <c:pt idx="236">
                  <c:v>45284</c:v>
                </c:pt>
                <c:pt idx="237">
                  <c:v>45283</c:v>
                </c:pt>
                <c:pt idx="238">
                  <c:v>45282</c:v>
                </c:pt>
                <c:pt idx="239">
                  <c:v>45281</c:v>
                </c:pt>
                <c:pt idx="240">
                  <c:v>45280</c:v>
                </c:pt>
                <c:pt idx="241">
                  <c:v>45279</c:v>
                </c:pt>
                <c:pt idx="242">
                  <c:v>45278</c:v>
                </c:pt>
                <c:pt idx="243">
                  <c:v>45277</c:v>
                </c:pt>
                <c:pt idx="244">
                  <c:v>45276</c:v>
                </c:pt>
                <c:pt idx="245">
                  <c:v>45275</c:v>
                </c:pt>
                <c:pt idx="246">
                  <c:v>45274</c:v>
                </c:pt>
                <c:pt idx="247">
                  <c:v>45273</c:v>
                </c:pt>
                <c:pt idx="248">
                  <c:v>45272</c:v>
                </c:pt>
                <c:pt idx="249">
                  <c:v>45271</c:v>
                </c:pt>
                <c:pt idx="250">
                  <c:v>45270</c:v>
                </c:pt>
                <c:pt idx="251">
                  <c:v>45269</c:v>
                </c:pt>
                <c:pt idx="252">
                  <c:v>45268</c:v>
                </c:pt>
                <c:pt idx="253">
                  <c:v>45267</c:v>
                </c:pt>
                <c:pt idx="254">
                  <c:v>45266</c:v>
                </c:pt>
                <c:pt idx="255">
                  <c:v>45265</c:v>
                </c:pt>
                <c:pt idx="256">
                  <c:v>45264</c:v>
                </c:pt>
                <c:pt idx="257">
                  <c:v>45263</c:v>
                </c:pt>
                <c:pt idx="258">
                  <c:v>45262</c:v>
                </c:pt>
                <c:pt idx="259">
                  <c:v>45261</c:v>
                </c:pt>
                <c:pt idx="260">
                  <c:v>45260</c:v>
                </c:pt>
                <c:pt idx="261">
                  <c:v>45259</c:v>
                </c:pt>
                <c:pt idx="262">
                  <c:v>45258</c:v>
                </c:pt>
                <c:pt idx="263">
                  <c:v>45257</c:v>
                </c:pt>
                <c:pt idx="264">
                  <c:v>45256</c:v>
                </c:pt>
                <c:pt idx="265">
                  <c:v>45255</c:v>
                </c:pt>
                <c:pt idx="266">
                  <c:v>45254</c:v>
                </c:pt>
                <c:pt idx="267">
                  <c:v>45253</c:v>
                </c:pt>
                <c:pt idx="268">
                  <c:v>45252</c:v>
                </c:pt>
                <c:pt idx="269">
                  <c:v>45251</c:v>
                </c:pt>
                <c:pt idx="270">
                  <c:v>45250</c:v>
                </c:pt>
                <c:pt idx="271">
                  <c:v>45249</c:v>
                </c:pt>
                <c:pt idx="272">
                  <c:v>45248</c:v>
                </c:pt>
                <c:pt idx="273">
                  <c:v>45247</c:v>
                </c:pt>
                <c:pt idx="274">
                  <c:v>45246</c:v>
                </c:pt>
                <c:pt idx="275">
                  <c:v>45245</c:v>
                </c:pt>
                <c:pt idx="276">
                  <c:v>45244</c:v>
                </c:pt>
                <c:pt idx="277">
                  <c:v>45243</c:v>
                </c:pt>
                <c:pt idx="278">
                  <c:v>45242</c:v>
                </c:pt>
                <c:pt idx="279">
                  <c:v>45241</c:v>
                </c:pt>
                <c:pt idx="280">
                  <c:v>45240</c:v>
                </c:pt>
                <c:pt idx="281">
                  <c:v>45239</c:v>
                </c:pt>
                <c:pt idx="282">
                  <c:v>45238</c:v>
                </c:pt>
                <c:pt idx="283">
                  <c:v>45237</c:v>
                </c:pt>
                <c:pt idx="284">
                  <c:v>45236</c:v>
                </c:pt>
                <c:pt idx="285">
                  <c:v>45235</c:v>
                </c:pt>
                <c:pt idx="286">
                  <c:v>45234</c:v>
                </c:pt>
                <c:pt idx="287">
                  <c:v>45233</c:v>
                </c:pt>
                <c:pt idx="288">
                  <c:v>45232</c:v>
                </c:pt>
                <c:pt idx="289">
                  <c:v>45231</c:v>
                </c:pt>
                <c:pt idx="290">
                  <c:v>45230</c:v>
                </c:pt>
                <c:pt idx="291">
                  <c:v>45229</c:v>
                </c:pt>
                <c:pt idx="292">
                  <c:v>45228</c:v>
                </c:pt>
                <c:pt idx="293">
                  <c:v>45227</c:v>
                </c:pt>
                <c:pt idx="294">
                  <c:v>45226</c:v>
                </c:pt>
                <c:pt idx="295">
                  <c:v>45225</c:v>
                </c:pt>
                <c:pt idx="296">
                  <c:v>45224</c:v>
                </c:pt>
                <c:pt idx="297">
                  <c:v>45223</c:v>
                </c:pt>
                <c:pt idx="298">
                  <c:v>45222</c:v>
                </c:pt>
                <c:pt idx="299">
                  <c:v>45221</c:v>
                </c:pt>
                <c:pt idx="300">
                  <c:v>45220</c:v>
                </c:pt>
                <c:pt idx="301">
                  <c:v>45219</c:v>
                </c:pt>
                <c:pt idx="302">
                  <c:v>45218</c:v>
                </c:pt>
                <c:pt idx="303">
                  <c:v>45217</c:v>
                </c:pt>
                <c:pt idx="304">
                  <c:v>45216</c:v>
                </c:pt>
                <c:pt idx="305">
                  <c:v>45215</c:v>
                </c:pt>
                <c:pt idx="306">
                  <c:v>45214</c:v>
                </c:pt>
                <c:pt idx="307">
                  <c:v>45213</c:v>
                </c:pt>
                <c:pt idx="308">
                  <c:v>45212</c:v>
                </c:pt>
                <c:pt idx="309">
                  <c:v>45211</c:v>
                </c:pt>
                <c:pt idx="310">
                  <c:v>45210</c:v>
                </c:pt>
                <c:pt idx="311">
                  <c:v>45209</c:v>
                </c:pt>
                <c:pt idx="312">
                  <c:v>45208</c:v>
                </c:pt>
                <c:pt idx="313">
                  <c:v>45207</c:v>
                </c:pt>
                <c:pt idx="314">
                  <c:v>45206</c:v>
                </c:pt>
                <c:pt idx="315">
                  <c:v>45205</c:v>
                </c:pt>
                <c:pt idx="316">
                  <c:v>45204</c:v>
                </c:pt>
                <c:pt idx="317">
                  <c:v>45203</c:v>
                </c:pt>
                <c:pt idx="318">
                  <c:v>45202</c:v>
                </c:pt>
                <c:pt idx="319">
                  <c:v>45201</c:v>
                </c:pt>
                <c:pt idx="320">
                  <c:v>45200</c:v>
                </c:pt>
                <c:pt idx="321">
                  <c:v>45199</c:v>
                </c:pt>
                <c:pt idx="322">
                  <c:v>45198</c:v>
                </c:pt>
                <c:pt idx="323">
                  <c:v>45197</c:v>
                </c:pt>
                <c:pt idx="324">
                  <c:v>45196</c:v>
                </c:pt>
                <c:pt idx="325">
                  <c:v>45195</c:v>
                </c:pt>
                <c:pt idx="326">
                  <c:v>45194</c:v>
                </c:pt>
                <c:pt idx="327">
                  <c:v>45193</c:v>
                </c:pt>
                <c:pt idx="328">
                  <c:v>45192</c:v>
                </c:pt>
                <c:pt idx="329">
                  <c:v>45191</c:v>
                </c:pt>
                <c:pt idx="330">
                  <c:v>45190</c:v>
                </c:pt>
                <c:pt idx="331">
                  <c:v>45189</c:v>
                </c:pt>
                <c:pt idx="332">
                  <c:v>45188</c:v>
                </c:pt>
                <c:pt idx="333">
                  <c:v>45187</c:v>
                </c:pt>
                <c:pt idx="334">
                  <c:v>45186</c:v>
                </c:pt>
                <c:pt idx="335">
                  <c:v>45185</c:v>
                </c:pt>
                <c:pt idx="336">
                  <c:v>45184</c:v>
                </c:pt>
                <c:pt idx="337">
                  <c:v>45183</c:v>
                </c:pt>
                <c:pt idx="338">
                  <c:v>45182</c:v>
                </c:pt>
                <c:pt idx="339">
                  <c:v>45181</c:v>
                </c:pt>
                <c:pt idx="340">
                  <c:v>45180</c:v>
                </c:pt>
                <c:pt idx="341">
                  <c:v>45179</c:v>
                </c:pt>
                <c:pt idx="342">
                  <c:v>45178</c:v>
                </c:pt>
                <c:pt idx="343">
                  <c:v>45177</c:v>
                </c:pt>
                <c:pt idx="344">
                  <c:v>45176</c:v>
                </c:pt>
                <c:pt idx="345">
                  <c:v>45175</c:v>
                </c:pt>
                <c:pt idx="346">
                  <c:v>45174</c:v>
                </c:pt>
                <c:pt idx="347">
                  <c:v>45173</c:v>
                </c:pt>
                <c:pt idx="348">
                  <c:v>45172</c:v>
                </c:pt>
                <c:pt idx="349">
                  <c:v>45171</c:v>
                </c:pt>
                <c:pt idx="350">
                  <c:v>45170</c:v>
                </c:pt>
                <c:pt idx="351">
                  <c:v>45169</c:v>
                </c:pt>
                <c:pt idx="352">
                  <c:v>45168</c:v>
                </c:pt>
                <c:pt idx="353">
                  <c:v>45167</c:v>
                </c:pt>
                <c:pt idx="354">
                  <c:v>45166</c:v>
                </c:pt>
                <c:pt idx="355">
                  <c:v>45165</c:v>
                </c:pt>
                <c:pt idx="356">
                  <c:v>45164</c:v>
                </c:pt>
                <c:pt idx="357">
                  <c:v>45163</c:v>
                </c:pt>
                <c:pt idx="358">
                  <c:v>45162</c:v>
                </c:pt>
                <c:pt idx="359">
                  <c:v>45161</c:v>
                </c:pt>
                <c:pt idx="360">
                  <c:v>45160</c:v>
                </c:pt>
                <c:pt idx="361">
                  <c:v>45159</c:v>
                </c:pt>
                <c:pt idx="362">
                  <c:v>45158</c:v>
                </c:pt>
                <c:pt idx="363">
                  <c:v>45157</c:v>
                </c:pt>
                <c:pt idx="364">
                  <c:v>45156</c:v>
                </c:pt>
                <c:pt idx="365">
                  <c:v>45155</c:v>
                </c:pt>
                <c:pt idx="366">
                  <c:v>45154</c:v>
                </c:pt>
                <c:pt idx="367">
                  <c:v>45153</c:v>
                </c:pt>
                <c:pt idx="368">
                  <c:v>45152</c:v>
                </c:pt>
                <c:pt idx="369">
                  <c:v>45151</c:v>
                </c:pt>
                <c:pt idx="370">
                  <c:v>45150</c:v>
                </c:pt>
                <c:pt idx="371">
                  <c:v>45149</c:v>
                </c:pt>
                <c:pt idx="372">
                  <c:v>45148</c:v>
                </c:pt>
                <c:pt idx="373">
                  <c:v>45147</c:v>
                </c:pt>
                <c:pt idx="374">
                  <c:v>45146</c:v>
                </c:pt>
                <c:pt idx="375">
                  <c:v>45145</c:v>
                </c:pt>
                <c:pt idx="376">
                  <c:v>45144</c:v>
                </c:pt>
                <c:pt idx="377">
                  <c:v>45143</c:v>
                </c:pt>
                <c:pt idx="378">
                  <c:v>45142</c:v>
                </c:pt>
                <c:pt idx="379">
                  <c:v>45141</c:v>
                </c:pt>
                <c:pt idx="380">
                  <c:v>45140</c:v>
                </c:pt>
                <c:pt idx="381">
                  <c:v>45139</c:v>
                </c:pt>
                <c:pt idx="382">
                  <c:v>45138</c:v>
                </c:pt>
                <c:pt idx="383">
                  <c:v>45137</c:v>
                </c:pt>
                <c:pt idx="384">
                  <c:v>45136</c:v>
                </c:pt>
                <c:pt idx="385">
                  <c:v>45135</c:v>
                </c:pt>
                <c:pt idx="386">
                  <c:v>45134</c:v>
                </c:pt>
                <c:pt idx="387">
                  <c:v>45133</c:v>
                </c:pt>
                <c:pt idx="388">
                  <c:v>45132</c:v>
                </c:pt>
                <c:pt idx="389">
                  <c:v>45131</c:v>
                </c:pt>
                <c:pt idx="390">
                  <c:v>45130</c:v>
                </c:pt>
                <c:pt idx="391">
                  <c:v>45129</c:v>
                </c:pt>
              </c:numCache>
            </c:numRef>
          </c:cat>
          <c:val>
            <c:numRef>
              <c:f>Worksheet!$K$7:$K$398</c:f>
              <c:numCache>
                <c:formatCode>General</c:formatCode>
                <c:ptCount val="392"/>
                <c:pt idx="0">
                  <c:v>0</c:v>
                </c:pt>
                <c:pt idx="1">
                  <c:v>0.46</c:v>
                </c:pt>
                <c:pt idx="2">
                  <c:v>0.45</c:v>
                </c:pt>
                <c:pt idx="3">
                  <c:v>0.43</c:v>
                </c:pt>
                <c:pt idx="4">
                  <c:v>0.43</c:v>
                </c:pt>
                <c:pt idx="5">
                  <c:v>0.44</c:v>
                </c:pt>
                <c:pt idx="6">
                  <c:v>0.44</c:v>
                </c:pt>
                <c:pt idx="7">
                  <c:v>0.46</c:v>
                </c:pt>
                <c:pt idx="8">
                  <c:v>0.46</c:v>
                </c:pt>
                <c:pt idx="9">
                  <c:v>0.47</c:v>
                </c:pt>
                <c:pt idx="10">
                  <c:v>0.48</c:v>
                </c:pt>
                <c:pt idx="11">
                  <c:v>0.51</c:v>
                </c:pt>
                <c:pt idx="12">
                  <c:v>0.49</c:v>
                </c:pt>
                <c:pt idx="13">
                  <c:v>0.5</c:v>
                </c:pt>
                <c:pt idx="14">
                  <c:v>0.49</c:v>
                </c:pt>
                <c:pt idx="15">
                  <c:v>0.49</c:v>
                </c:pt>
                <c:pt idx="16">
                  <c:v>0.49</c:v>
                </c:pt>
                <c:pt idx="17">
                  <c:v>0.53</c:v>
                </c:pt>
                <c:pt idx="18">
                  <c:v>0.53</c:v>
                </c:pt>
                <c:pt idx="19">
                  <c:v>0.54</c:v>
                </c:pt>
                <c:pt idx="20">
                  <c:v>0.54</c:v>
                </c:pt>
                <c:pt idx="21">
                  <c:v>0.53</c:v>
                </c:pt>
                <c:pt idx="22">
                  <c:v>0.56000000000000005</c:v>
                </c:pt>
                <c:pt idx="23">
                  <c:v>0.56999999999999995</c:v>
                </c:pt>
                <c:pt idx="24">
                  <c:v>0.55000000000000004</c:v>
                </c:pt>
                <c:pt idx="25">
                  <c:v>0.59</c:v>
                </c:pt>
                <c:pt idx="26">
                  <c:v>0.6</c:v>
                </c:pt>
                <c:pt idx="27">
                  <c:v>0.64</c:v>
                </c:pt>
                <c:pt idx="28">
                  <c:v>0.65</c:v>
                </c:pt>
                <c:pt idx="29">
                  <c:v>0.63</c:v>
                </c:pt>
                <c:pt idx="30">
                  <c:v>0.65</c:v>
                </c:pt>
                <c:pt idx="31">
                  <c:v>0.67</c:v>
                </c:pt>
                <c:pt idx="32">
                  <c:v>0.69</c:v>
                </c:pt>
                <c:pt idx="33">
                  <c:v>0.67</c:v>
                </c:pt>
                <c:pt idx="34">
                  <c:v>0.65</c:v>
                </c:pt>
                <c:pt idx="35">
                  <c:v>0.6</c:v>
                </c:pt>
                <c:pt idx="36">
                  <c:v>0.6</c:v>
                </c:pt>
                <c:pt idx="37">
                  <c:v>0.62</c:v>
                </c:pt>
                <c:pt idx="38">
                  <c:v>0.59</c:v>
                </c:pt>
                <c:pt idx="39">
                  <c:v>0.59</c:v>
                </c:pt>
                <c:pt idx="40">
                  <c:v>0.57999999999999996</c:v>
                </c:pt>
                <c:pt idx="41">
                  <c:v>0.57999999999999996</c:v>
                </c:pt>
                <c:pt idx="42">
                  <c:v>0.57999999999999996</c:v>
                </c:pt>
                <c:pt idx="43">
                  <c:v>0.57999999999999996</c:v>
                </c:pt>
                <c:pt idx="44">
                  <c:v>0.57999999999999996</c:v>
                </c:pt>
                <c:pt idx="45">
                  <c:v>0.57999999999999996</c:v>
                </c:pt>
                <c:pt idx="46">
                  <c:v>0.57999999999999996</c:v>
                </c:pt>
                <c:pt idx="47">
                  <c:v>0.56000000000000005</c:v>
                </c:pt>
                <c:pt idx="48">
                  <c:v>0.57999999999999996</c:v>
                </c:pt>
                <c:pt idx="49">
                  <c:v>0.57999999999999996</c:v>
                </c:pt>
                <c:pt idx="50">
                  <c:v>0.57999999999999996</c:v>
                </c:pt>
                <c:pt idx="51">
                  <c:v>0.55000000000000004</c:v>
                </c:pt>
                <c:pt idx="52">
                  <c:v>0.52</c:v>
                </c:pt>
                <c:pt idx="53">
                  <c:v>0.52</c:v>
                </c:pt>
                <c:pt idx="54">
                  <c:v>0.51</c:v>
                </c:pt>
                <c:pt idx="55">
                  <c:v>0.51</c:v>
                </c:pt>
                <c:pt idx="56">
                  <c:v>0.51</c:v>
                </c:pt>
                <c:pt idx="57">
                  <c:v>0.54</c:v>
                </c:pt>
                <c:pt idx="58">
                  <c:v>0.54</c:v>
                </c:pt>
                <c:pt idx="59">
                  <c:v>0.53</c:v>
                </c:pt>
                <c:pt idx="60">
                  <c:v>0.53</c:v>
                </c:pt>
                <c:pt idx="61">
                  <c:v>0.53</c:v>
                </c:pt>
                <c:pt idx="62">
                  <c:v>0.52</c:v>
                </c:pt>
                <c:pt idx="63">
                  <c:v>0.52</c:v>
                </c:pt>
                <c:pt idx="64">
                  <c:v>0.51</c:v>
                </c:pt>
                <c:pt idx="65">
                  <c:v>0.51</c:v>
                </c:pt>
                <c:pt idx="66">
                  <c:v>0.51</c:v>
                </c:pt>
                <c:pt idx="67">
                  <c:v>0.5</c:v>
                </c:pt>
                <c:pt idx="68">
                  <c:v>0.52</c:v>
                </c:pt>
                <c:pt idx="69">
                  <c:v>0.52</c:v>
                </c:pt>
                <c:pt idx="70">
                  <c:v>0.52</c:v>
                </c:pt>
                <c:pt idx="71">
                  <c:v>0.51</c:v>
                </c:pt>
                <c:pt idx="72">
                  <c:v>0.51</c:v>
                </c:pt>
                <c:pt idx="73">
                  <c:v>0.51</c:v>
                </c:pt>
                <c:pt idx="74">
                  <c:v>0.5</c:v>
                </c:pt>
                <c:pt idx="75">
                  <c:v>0.51</c:v>
                </c:pt>
                <c:pt idx="76">
                  <c:v>0.51</c:v>
                </c:pt>
                <c:pt idx="77">
                  <c:v>0.51</c:v>
                </c:pt>
                <c:pt idx="78">
                  <c:v>0.5</c:v>
                </c:pt>
                <c:pt idx="79">
                  <c:v>0.51</c:v>
                </c:pt>
                <c:pt idx="80">
                  <c:v>0.52</c:v>
                </c:pt>
                <c:pt idx="81">
                  <c:v>0.52</c:v>
                </c:pt>
                <c:pt idx="82">
                  <c:v>0.51</c:v>
                </c:pt>
                <c:pt idx="83">
                  <c:v>0.52</c:v>
                </c:pt>
                <c:pt idx="84">
                  <c:v>0.52</c:v>
                </c:pt>
                <c:pt idx="85">
                  <c:v>0.51</c:v>
                </c:pt>
                <c:pt idx="86">
                  <c:v>0.51</c:v>
                </c:pt>
                <c:pt idx="87">
                  <c:v>0.51</c:v>
                </c:pt>
                <c:pt idx="88">
                  <c:v>0.51</c:v>
                </c:pt>
                <c:pt idx="89">
                  <c:v>0.5</c:v>
                </c:pt>
                <c:pt idx="90">
                  <c:v>0.5</c:v>
                </c:pt>
                <c:pt idx="91">
                  <c:v>0.5</c:v>
                </c:pt>
                <c:pt idx="92">
                  <c:v>0.5</c:v>
                </c:pt>
                <c:pt idx="93">
                  <c:v>0.5</c:v>
                </c:pt>
                <c:pt idx="94">
                  <c:v>0.48</c:v>
                </c:pt>
                <c:pt idx="95">
                  <c:v>0.49</c:v>
                </c:pt>
                <c:pt idx="96">
                  <c:v>0.48</c:v>
                </c:pt>
                <c:pt idx="97">
                  <c:v>0.47</c:v>
                </c:pt>
                <c:pt idx="98">
                  <c:v>0.48</c:v>
                </c:pt>
                <c:pt idx="99">
                  <c:v>0.48</c:v>
                </c:pt>
                <c:pt idx="100">
                  <c:v>0.47</c:v>
                </c:pt>
                <c:pt idx="101">
                  <c:v>0.47</c:v>
                </c:pt>
                <c:pt idx="102">
                  <c:v>0.47</c:v>
                </c:pt>
                <c:pt idx="103">
                  <c:v>0.47</c:v>
                </c:pt>
                <c:pt idx="104">
                  <c:v>0.47</c:v>
                </c:pt>
                <c:pt idx="105">
                  <c:v>0.47</c:v>
                </c:pt>
                <c:pt idx="106">
                  <c:v>0.47</c:v>
                </c:pt>
                <c:pt idx="107">
                  <c:v>0.47</c:v>
                </c:pt>
                <c:pt idx="108">
                  <c:v>0.46</c:v>
                </c:pt>
                <c:pt idx="109">
                  <c:v>0.46</c:v>
                </c:pt>
                <c:pt idx="110">
                  <c:v>0.45</c:v>
                </c:pt>
                <c:pt idx="111">
                  <c:v>0.45</c:v>
                </c:pt>
                <c:pt idx="112">
                  <c:v>0.45</c:v>
                </c:pt>
                <c:pt idx="113">
                  <c:v>0.45</c:v>
                </c:pt>
                <c:pt idx="114">
                  <c:v>0.44</c:v>
                </c:pt>
                <c:pt idx="115">
                  <c:v>0.45</c:v>
                </c:pt>
                <c:pt idx="116">
                  <c:v>0.43</c:v>
                </c:pt>
                <c:pt idx="117">
                  <c:v>0.45</c:v>
                </c:pt>
                <c:pt idx="118">
                  <c:v>0.44</c:v>
                </c:pt>
                <c:pt idx="119">
                  <c:v>0.45</c:v>
                </c:pt>
                <c:pt idx="120">
                  <c:v>0.46</c:v>
                </c:pt>
                <c:pt idx="121">
                  <c:v>0.45</c:v>
                </c:pt>
                <c:pt idx="122">
                  <c:v>0.45</c:v>
                </c:pt>
                <c:pt idx="123">
                  <c:v>0.46</c:v>
                </c:pt>
                <c:pt idx="124">
                  <c:v>0.45</c:v>
                </c:pt>
                <c:pt idx="125">
                  <c:v>0.45</c:v>
                </c:pt>
                <c:pt idx="126">
                  <c:v>0.45</c:v>
                </c:pt>
                <c:pt idx="127">
                  <c:v>0.45</c:v>
                </c:pt>
                <c:pt idx="128">
                  <c:v>0.45</c:v>
                </c:pt>
                <c:pt idx="129">
                  <c:v>0.46</c:v>
                </c:pt>
                <c:pt idx="130">
                  <c:v>0.45</c:v>
                </c:pt>
                <c:pt idx="131">
                  <c:v>0.46</c:v>
                </c:pt>
                <c:pt idx="132">
                  <c:v>0.46</c:v>
                </c:pt>
                <c:pt idx="133">
                  <c:v>0.46</c:v>
                </c:pt>
                <c:pt idx="134">
                  <c:v>0.45</c:v>
                </c:pt>
                <c:pt idx="135">
                  <c:v>0.46</c:v>
                </c:pt>
                <c:pt idx="136">
                  <c:v>0.46</c:v>
                </c:pt>
                <c:pt idx="137">
                  <c:v>0.46</c:v>
                </c:pt>
                <c:pt idx="138">
                  <c:v>0.46</c:v>
                </c:pt>
                <c:pt idx="139">
                  <c:v>0.46</c:v>
                </c:pt>
                <c:pt idx="140">
                  <c:v>0.47</c:v>
                </c:pt>
                <c:pt idx="141">
                  <c:v>0.47</c:v>
                </c:pt>
                <c:pt idx="142">
                  <c:v>0.47</c:v>
                </c:pt>
                <c:pt idx="143">
                  <c:v>0.47</c:v>
                </c:pt>
                <c:pt idx="144">
                  <c:v>0.47</c:v>
                </c:pt>
                <c:pt idx="145">
                  <c:v>0.47</c:v>
                </c:pt>
                <c:pt idx="146">
                  <c:v>0.47</c:v>
                </c:pt>
                <c:pt idx="147">
                  <c:v>0.46</c:v>
                </c:pt>
                <c:pt idx="148">
                  <c:v>0.47</c:v>
                </c:pt>
                <c:pt idx="149">
                  <c:v>0.47</c:v>
                </c:pt>
                <c:pt idx="150">
                  <c:v>0.46</c:v>
                </c:pt>
                <c:pt idx="151">
                  <c:v>0.46</c:v>
                </c:pt>
                <c:pt idx="152">
                  <c:v>0.47</c:v>
                </c:pt>
                <c:pt idx="153">
                  <c:v>0.47</c:v>
                </c:pt>
                <c:pt idx="154">
                  <c:v>0.47</c:v>
                </c:pt>
                <c:pt idx="155">
                  <c:v>0.48</c:v>
                </c:pt>
                <c:pt idx="156">
                  <c:v>0.47</c:v>
                </c:pt>
                <c:pt idx="157">
                  <c:v>0.47</c:v>
                </c:pt>
                <c:pt idx="158">
                  <c:v>0.48</c:v>
                </c:pt>
                <c:pt idx="159">
                  <c:v>0.47</c:v>
                </c:pt>
                <c:pt idx="160">
                  <c:v>0.48</c:v>
                </c:pt>
                <c:pt idx="161">
                  <c:v>0.47</c:v>
                </c:pt>
                <c:pt idx="162">
                  <c:v>0.47</c:v>
                </c:pt>
                <c:pt idx="163">
                  <c:v>0.48</c:v>
                </c:pt>
                <c:pt idx="164">
                  <c:v>0.47</c:v>
                </c:pt>
                <c:pt idx="165">
                  <c:v>0.48</c:v>
                </c:pt>
                <c:pt idx="166">
                  <c:v>0.47</c:v>
                </c:pt>
                <c:pt idx="167">
                  <c:v>0.47</c:v>
                </c:pt>
                <c:pt idx="168">
                  <c:v>0.47</c:v>
                </c:pt>
                <c:pt idx="169">
                  <c:v>0.47</c:v>
                </c:pt>
                <c:pt idx="170">
                  <c:v>0.46</c:v>
                </c:pt>
                <c:pt idx="171">
                  <c:v>0.47</c:v>
                </c:pt>
                <c:pt idx="172">
                  <c:v>0.47</c:v>
                </c:pt>
                <c:pt idx="173">
                  <c:v>0.46</c:v>
                </c:pt>
                <c:pt idx="174">
                  <c:v>0.45</c:v>
                </c:pt>
                <c:pt idx="175">
                  <c:v>0.45</c:v>
                </c:pt>
                <c:pt idx="176">
                  <c:v>0.45</c:v>
                </c:pt>
                <c:pt idx="177">
                  <c:v>0.45</c:v>
                </c:pt>
                <c:pt idx="178">
                  <c:v>0.46</c:v>
                </c:pt>
                <c:pt idx="179">
                  <c:v>0.47</c:v>
                </c:pt>
                <c:pt idx="180">
                  <c:v>0.45</c:v>
                </c:pt>
                <c:pt idx="181">
                  <c:v>0.45</c:v>
                </c:pt>
                <c:pt idx="182">
                  <c:v>0.45</c:v>
                </c:pt>
                <c:pt idx="183">
                  <c:v>0.46</c:v>
                </c:pt>
                <c:pt idx="184">
                  <c:v>0.45</c:v>
                </c:pt>
                <c:pt idx="185">
                  <c:v>0.46</c:v>
                </c:pt>
                <c:pt idx="186">
                  <c:v>0.47</c:v>
                </c:pt>
                <c:pt idx="187">
                  <c:v>0.46</c:v>
                </c:pt>
                <c:pt idx="188">
                  <c:v>0.46</c:v>
                </c:pt>
                <c:pt idx="189">
                  <c:v>0.46</c:v>
                </c:pt>
                <c:pt idx="190">
                  <c:v>0.46</c:v>
                </c:pt>
                <c:pt idx="191">
                  <c:v>0.45</c:v>
                </c:pt>
                <c:pt idx="192">
                  <c:v>0.44</c:v>
                </c:pt>
                <c:pt idx="193">
                  <c:v>0.44</c:v>
                </c:pt>
                <c:pt idx="194">
                  <c:v>0.44</c:v>
                </c:pt>
                <c:pt idx="195">
                  <c:v>0.44</c:v>
                </c:pt>
                <c:pt idx="196">
                  <c:v>0.45</c:v>
                </c:pt>
                <c:pt idx="197">
                  <c:v>0.43</c:v>
                </c:pt>
                <c:pt idx="198">
                  <c:v>0.45</c:v>
                </c:pt>
                <c:pt idx="199">
                  <c:v>0.47</c:v>
                </c:pt>
                <c:pt idx="200">
                  <c:v>0.46</c:v>
                </c:pt>
                <c:pt idx="201">
                  <c:v>0.46</c:v>
                </c:pt>
                <c:pt idx="202">
                  <c:v>0.47</c:v>
                </c:pt>
                <c:pt idx="203">
                  <c:v>0.48</c:v>
                </c:pt>
                <c:pt idx="204">
                  <c:v>0.46</c:v>
                </c:pt>
                <c:pt idx="205">
                  <c:v>0.48</c:v>
                </c:pt>
                <c:pt idx="206">
                  <c:v>0.46</c:v>
                </c:pt>
                <c:pt idx="207">
                  <c:v>0.47</c:v>
                </c:pt>
                <c:pt idx="208">
                  <c:v>0.46</c:v>
                </c:pt>
                <c:pt idx="209">
                  <c:v>0.46</c:v>
                </c:pt>
                <c:pt idx="210">
                  <c:v>0.47</c:v>
                </c:pt>
                <c:pt idx="211">
                  <c:v>0.47</c:v>
                </c:pt>
                <c:pt idx="212">
                  <c:v>0.48</c:v>
                </c:pt>
                <c:pt idx="213">
                  <c:v>0.47</c:v>
                </c:pt>
                <c:pt idx="214">
                  <c:v>0.42</c:v>
                </c:pt>
                <c:pt idx="215">
                  <c:v>0.41</c:v>
                </c:pt>
                <c:pt idx="216">
                  <c:v>0.41</c:v>
                </c:pt>
                <c:pt idx="217">
                  <c:v>0.4</c:v>
                </c:pt>
                <c:pt idx="218">
                  <c:v>0.41</c:v>
                </c:pt>
                <c:pt idx="219">
                  <c:v>0.4</c:v>
                </c:pt>
                <c:pt idx="220">
                  <c:v>0.41</c:v>
                </c:pt>
                <c:pt idx="221">
                  <c:v>0.41</c:v>
                </c:pt>
                <c:pt idx="222">
                  <c:v>0.41</c:v>
                </c:pt>
                <c:pt idx="223">
                  <c:v>0.41</c:v>
                </c:pt>
                <c:pt idx="224">
                  <c:v>0.4</c:v>
                </c:pt>
                <c:pt idx="225">
                  <c:v>0.41</c:v>
                </c:pt>
                <c:pt idx="226">
                  <c:v>0.41</c:v>
                </c:pt>
                <c:pt idx="227">
                  <c:v>0.41</c:v>
                </c:pt>
                <c:pt idx="228">
                  <c:v>0.4</c:v>
                </c:pt>
                <c:pt idx="229">
                  <c:v>0.4</c:v>
                </c:pt>
                <c:pt idx="230">
                  <c:v>0.4</c:v>
                </c:pt>
                <c:pt idx="231">
                  <c:v>0.4</c:v>
                </c:pt>
                <c:pt idx="232">
                  <c:v>0.4</c:v>
                </c:pt>
                <c:pt idx="233">
                  <c:v>0.4</c:v>
                </c:pt>
                <c:pt idx="234">
                  <c:v>0.4</c:v>
                </c:pt>
                <c:pt idx="235">
                  <c:v>0.4</c:v>
                </c:pt>
                <c:pt idx="236">
                  <c:v>0.4</c:v>
                </c:pt>
                <c:pt idx="237">
                  <c:v>0.38</c:v>
                </c:pt>
                <c:pt idx="238">
                  <c:v>0.39</c:v>
                </c:pt>
                <c:pt idx="239">
                  <c:v>0.4</c:v>
                </c:pt>
                <c:pt idx="240">
                  <c:v>0.4</c:v>
                </c:pt>
                <c:pt idx="241">
                  <c:v>0.41</c:v>
                </c:pt>
                <c:pt idx="242">
                  <c:v>0.41</c:v>
                </c:pt>
                <c:pt idx="243">
                  <c:v>0.41</c:v>
                </c:pt>
                <c:pt idx="244">
                  <c:v>0.41</c:v>
                </c:pt>
                <c:pt idx="245">
                  <c:v>0.42</c:v>
                </c:pt>
                <c:pt idx="246">
                  <c:v>0.42</c:v>
                </c:pt>
                <c:pt idx="247">
                  <c:v>0.4</c:v>
                </c:pt>
                <c:pt idx="248">
                  <c:v>0.4</c:v>
                </c:pt>
                <c:pt idx="249">
                  <c:v>0.4</c:v>
                </c:pt>
                <c:pt idx="250">
                  <c:v>0.4</c:v>
                </c:pt>
                <c:pt idx="251">
                  <c:v>0.4</c:v>
                </c:pt>
                <c:pt idx="252">
                  <c:v>0.38</c:v>
                </c:pt>
                <c:pt idx="253">
                  <c:v>0.38</c:v>
                </c:pt>
                <c:pt idx="254">
                  <c:v>0.39</c:v>
                </c:pt>
                <c:pt idx="255">
                  <c:v>0.39</c:v>
                </c:pt>
                <c:pt idx="256">
                  <c:v>0.39</c:v>
                </c:pt>
                <c:pt idx="257">
                  <c:v>0.4</c:v>
                </c:pt>
                <c:pt idx="258">
                  <c:v>0.39</c:v>
                </c:pt>
                <c:pt idx="259">
                  <c:v>0.4</c:v>
                </c:pt>
                <c:pt idx="260">
                  <c:v>0.4</c:v>
                </c:pt>
                <c:pt idx="261">
                  <c:v>0.39</c:v>
                </c:pt>
                <c:pt idx="262">
                  <c:v>0.4</c:v>
                </c:pt>
                <c:pt idx="263">
                  <c:v>0.4</c:v>
                </c:pt>
                <c:pt idx="264">
                  <c:v>0.4</c:v>
                </c:pt>
                <c:pt idx="265">
                  <c:v>0.4</c:v>
                </c:pt>
                <c:pt idx="266">
                  <c:v>0.4</c:v>
                </c:pt>
                <c:pt idx="267">
                  <c:v>0.39</c:v>
                </c:pt>
                <c:pt idx="268">
                  <c:v>0.4</c:v>
                </c:pt>
                <c:pt idx="269">
                  <c:v>0.4</c:v>
                </c:pt>
                <c:pt idx="270">
                  <c:v>0.39</c:v>
                </c:pt>
                <c:pt idx="271">
                  <c:v>0.38</c:v>
                </c:pt>
                <c:pt idx="272">
                  <c:v>0.38</c:v>
                </c:pt>
                <c:pt idx="273">
                  <c:v>0.38</c:v>
                </c:pt>
                <c:pt idx="274">
                  <c:v>0.4</c:v>
                </c:pt>
                <c:pt idx="275">
                  <c:v>0.4</c:v>
                </c:pt>
                <c:pt idx="276">
                  <c:v>0.4</c:v>
                </c:pt>
                <c:pt idx="277">
                  <c:v>0.4</c:v>
                </c:pt>
                <c:pt idx="278">
                  <c:v>0.4</c:v>
                </c:pt>
                <c:pt idx="279">
                  <c:v>0.4</c:v>
                </c:pt>
                <c:pt idx="280">
                  <c:v>0.4</c:v>
                </c:pt>
                <c:pt idx="281">
                  <c:v>0.4</c:v>
                </c:pt>
                <c:pt idx="282">
                  <c:v>0.39</c:v>
                </c:pt>
                <c:pt idx="283">
                  <c:v>0.38</c:v>
                </c:pt>
                <c:pt idx="284">
                  <c:v>0.38</c:v>
                </c:pt>
                <c:pt idx="285">
                  <c:v>0.38</c:v>
                </c:pt>
                <c:pt idx="286">
                  <c:v>0.36</c:v>
                </c:pt>
                <c:pt idx="287">
                  <c:v>0.36</c:v>
                </c:pt>
                <c:pt idx="288">
                  <c:v>0.37</c:v>
                </c:pt>
                <c:pt idx="289">
                  <c:v>0.37</c:v>
                </c:pt>
                <c:pt idx="290">
                  <c:v>0.37</c:v>
                </c:pt>
                <c:pt idx="291">
                  <c:v>0.38</c:v>
                </c:pt>
                <c:pt idx="292">
                  <c:v>0.38</c:v>
                </c:pt>
                <c:pt idx="293">
                  <c:v>0.37</c:v>
                </c:pt>
                <c:pt idx="294">
                  <c:v>0.38</c:v>
                </c:pt>
                <c:pt idx="295">
                  <c:v>0.37</c:v>
                </c:pt>
                <c:pt idx="296">
                  <c:v>0.37</c:v>
                </c:pt>
                <c:pt idx="297">
                  <c:v>0.38</c:v>
                </c:pt>
                <c:pt idx="298">
                  <c:v>0.38</c:v>
                </c:pt>
                <c:pt idx="299">
                  <c:v>0.38</c:v>
                </c:pt>
                <c:pt idx="300">
                  <c:v>0.39</c:v>
                </c:pt>
                <c:pt idx="301">
                  <c:v>0.39</c:v>
                </c:pt>
                <c:pt idx="302">
                  <c:v>0.4</c:v>
                </c:pt>
                <c:pt idx="303">
                  <c:v>0.39</c:v>
                </c:pt>
                <c:pt idx="304">
                  <c:v>0.39</c:v>
                </c:pt>
                <c:pt idx="305">
                  <c:v>0.39</c:v>
                </c:pt>
                <c:pt idx="306">
                  <c:v>0.39</c:v>
                </c:pt>
                <c:pt idx="307">
                  <c:v>0.39</c:v>
                </c:pt>
                <c:pt idx="308">
                  <c:v>0.39</c:v>
                </c:pt>
                <c:pt idx="309">
                  <c:v>0.39</c:v>
                </c:pt>
                <c:pt idx="310">
                  <c:v>0.38</c:v>
                </c:pt>
                <c:pt idx="311">
                  <c:v>0.39</c:v>
                </c:pt>
                <c:pt idx="312">
                  <c:v>0.37</c:v>
                </c:pt>
                <c:pt idx="313">
                  <c:v>0.38</c:v>
                </c:pt>
                <c:pt idx="314">
                  <c:v>0.36</c:v>
                </c:pt>
                <c:pt idx="315">
                  <c:v>0.37</c:v>
                </c:pt>
                <c:pt idx="316">
                  <c:v>0.38</c:v>
                </c:pt>
                <c:pt idx="317">
                  <c:v>0.37</c:v>
                </c:pt>
                <c:pt idx="318">
                  <c:v>0.37</c:v>
                </c:pt>
                <c:pt idx="319">
                  <c:v>0.36</c:v>
                </c:pt>
                <c:pt idx="320">
                  <c:v>0.38</c:v>
                </c:pt>
                <c:pt idx="321">
                  <c:v>0.38</c:v>
                </c:pt>
                <c:pt idx="322">
                  <c:v>0.39</c:v>
                </c:pt>
                <c:pt idx="323">
                  <c:v>0.37</c:v>
                </c:pt>
                <c:pt idx="324">
                  <c:v>0.37</c:v>
                </c:pt>
                <c:pt idx="325">
                  <c:v>0.38</c:v>
                </c:pt>
                <c:pt idx="326">
                  <c:v>0.39</c:v>
                </c:pt>
                <c:pt idx="327">
                  <c:v>0.38</c:v>
                </c:pt>
                <c:pt idx="328">
                  <c:v>0.37</c:v>
                </c:pt>
                <c:pt idx="329">
                  <c:v>0.36</c:v>
                </c:pt>
                <c:pt idx="330">
                  <c:v>0.36</c:v>
                </c:pt>
                <c:pt idx="331">
                  <c:v>0.35</c:v>
                </c:pt>
                <c:pt idx="332">
                  <c:v>0.36</c:v>
                </c:pt>
                <c:pt idx="333">
                  <c:v>0.35</c:v>
                </c:pt>
                <c:pt idx="334">
                  <c:v>0.35</c:v>
                </c:pt>
                <c:pt idx="335">
                  <c:v>0.34</c:v>
                </c:pt>
                <c:pt idx="336">
                  <c:v>0.34</c:v>
                </c:pt>
                <c:pt idx="337">
                  <c:v>0.32</c:v>
                </c:pt>
                <c:pt idx="338">
                  <c:v>0.33</c:v>
                </c:pt>
                <c:pt idx="339">
                  <c:v>0.33</c:v>
                </c:pt>
                <c:pt idx="340">
                  <c:v>0.32</c:v>
                </c:pt>
                <c:pt idx="341">
                  <c:v>0.31</c:v>
                </c:pt>
                <c:pt idx="342">
                  <c:v>0.32</c:v>
                </c:pt>
                <c:pt idx="343">
                  <c:v>0.32</c:v>
                </c:pt>
                <c:pt idx="344">
                  <c:v>0.32</c:v>
                </c:pt>
                <c:pt idx="345">
                  <c:v>0.32</c:v>
                </c:pt>
                <c:pt idx="346">
                  <c:v>0.32</c:v>
                </c:pt>
                <c:pt idx="347">
                  <c:v>0.31</c:v>
                </c:pt>
                <c:pt idx="348">
                  <c:v>0.32</c:v>
                </c:pt>
                <c:pt idx="349">
                  <c:v>0.32</c:v>
                </c:pt>
                <c:pt idx="350">
                  <c:v>0.32</c:v>
                </c:pt>
                <c:pt idx="351">
                  <c:v>0.32</c:v>
                </c:pt>
                <c:pt idx="352">
                  <c:v>0.31</c:v>
                </c:pt>
                <c:pt idx="353">
                  <c:v>0.32</c:v>
                </c:pt>
                <c:pt idx="354">
                  <c:v>0.32</c:v>
                </c:pt>
                <c:pt idx="355">
                  <c:v>0.31</c:v>
                </c:pt>
                <c:pt idx="356">
                  <c:v>0.31</c:v>
                </c:pt>
                <c:pt idx="357">
                  <c:v>0.31</c:v>
                </c:pt>
                <c:pt idx="358">
                  <c:v>0.3</c:v>
                </c:pt>
                <c:pt idx="359">
                  <c:v>0.28000000000000003</c:v>
                </c:pt>
                <c:pt idx="360">
                  <c:v>0.3</c:v>
                </c:pt>
                <c:pt idx="361">
                  <c:v>0.28999999999999998</c:v>
                </c:pt>
                <c:pt idx="362">
                  <c:v>0.3</c:v>
                </c:pt>
                <c:pt idx="363">
                  <c:v>0.3</c:v>
                </c:pt>
                <c:pt idx="364">
                  <c:v>0.28000000000000003</c:v>
                </c:pt>
                <c:pt idx="365">
                  <c:v>0.28999999999999998</c:v>
                </c:pt>
                <c:pt idx="366">
                  <c:v>0.28999999999999998</c:v>
                </c:pt>
                <c:pt idx="367">
                  <c:v>0.28999999999999998</c:v>
                </c:pt>
                <c:pt idx="368">
                  <c:v>0.3</c:v>
                </c:pt>
                <c:pt idx="369">
                  <c:v>0.3</c:v>
                </c:pt>
                <c:pt idx="370">
                  <c:v>0.3</c:v>
                </c:pt>
                <c:pt idx="371">
                  <c:v>0.3</c:v>
                </c:pt>
                <c:pt idx="372">
                  <c:v>0.3</c:v>
                </c:pt>
                <c:pt idx="373">
                  <c:v>0.3</c:v>
                </c:pt>
                <c:pt idx="374">
                  <c:v>0.3</c:v>
                </c:pt>
                <c:pt idx="375">
                  <c:v>0.31</c:v>
                </c:pt>
                <c:pt idx="376">
                  <c:v>0.31</c:v>
                </c:pt>
                <c:pt idx="377">
                  <c:v>0.3</c:v>
                </c:pt>
                <c:pt idx="378">
                  <c:v>0.31</c:v>
                </c:pt>
                <c:pt idx="379">
                  <c:v>0.32</c:v>
                </c:pt>
                <c:pt idx="380">
                  <c:v>0.3</c:v>
                </c:pt>
                <c:pt idx="381">
                  <c:v>0.31</c:v>
                </c:pt>
                <c:pt idx="382">
                  <c:v>0.31</c:v>
                </c:pt>
                <c:pt idx="383">
                  <c:v>0.28999999999999998</c:v>
                </c:pt>
                <c:pt idx="384">
                  <c:v>0.28999999999999998</c:v>
                </c:pt>
                <c:pt idx="385">
                  <c:v>0.28999999999999998</c:v>
                </c:pt>
                <c:pt idx="386">
                  <c:v>0.28999999999999998</c:v>
                </c:pt>
                <c:pt idx="387">
                  <c:v>0.31</c:v>
                </c:pt>
                <c:pt idx="388">
                  <c:v>0.32</c:v>
                </c:pt>
                <c:pt idx="389">
                  <c:v>0.31</c:v>
                </c:pt>
                <c:pt idx="390">
                  <c:v>0.32</c:v>
                </c:pt>
                <c:pt idx="391">
                  <c:v>0.34</c:v>
                </c:pt>
              </c:numCache>
            </c:numRef>
          </c:val>
          <c:smooth val="0"/>
          <c:extLst>
            <c:ext xmlns:c16="http://schemas.microsoft.com/office/drawing/2014/chart" uri="{C3380CC4-5D6E-409C-BE32-E72D297353CC}">
              <c16:uniqueId val="{00000000-C37D-48CD-B97C-EFC885BBD124}"/>
            </c:ext>
          </c:extLst>
        </c:ser>
        <c:ser>
          <c:idx val="1"/>
          <c:order val="1"/>
          <c:tx>
            <c:strRef>
              <c:f>Worksheet!$L$1:$L$7</c:f>
              <c:strCache>
                <c:ptCount val="7"/>
                <c:pt idx="6">
                  <c:v>Biden</c:v>
                </c:pt>
              </c:strCache>
            </c:strRef>
          </c:tx>
          <c:spPr>
            <a:ln w="28575" cap="rnd">
              <a:solidFill>
                <a:schemeClr val="accent6"/>
              </a:solidFill>
              <a:round/>
            </a:ln>
            <a:effectLst/>
          </c:spPr>
          <c:marker>
            <c:symbol val="none"/>
          </c:marker>
          <c:cat>
            <c:numRef>
              <c:f>Worksheet!$J$7:$J$398</c:f>
              <c:numCache>
                <c:formatCode>dd\.mm\.yyyy</c:formatCode>
                <c:ptCount val="392"/>
                <c:pt idx="1">
                  <c:v>45519</c:v>
                </c:pt>
                <c:pt idx="2">
                  <c:v>45518</c:v>
                </c:pt>
                <c:pt idx="3">
                  <c:v>45517</c:v>
                </c:pt>
                <c:pt idx="4">
                  <c:v>45516</c:v>
                </c:pt>
                <c:pt idx="5">
                  <c:v>45515</c:v>
                </c:pt>
                <c:pt idx="6">
                  <c:v>45514</c:v>
                </c:pt>
                <c:pt idx="7">
                  <c:v>45513</c:v>
                </c:pt>
                <c:pt idx="8">
                  <c:v>45512</c:v>
                </c:pt>
                <c:pt idx="9">
                  <c:v>45511</c:v>
                </c:pt>
                <c:pt idx="10">
                  <c:v>45510</c:v>
                </c:pt>
                <c:pt idx="11">
                  <c:v>45509</c:v>
                </c:pt>
                <c:pt idx="12">
                  <c:v>45508</c:v>
                </c:pt>
                <c:pt idx="13">
                  <c:v>45507</c:v>
                </c:pt>
                <c:pt idx="14">
                  <c:v>45506</c:v>
                </c:pt>
                <c:pt idx="15">
                  <c:v>45505</c:v>
                </c:pt>
                <c:pt idx="16">
                  <c:v>45504</c:v>
                </c:pt>
                <c:pt idx="17">
                  <c:v>45503</c:v>
                </c:pt>
                <c:pt idx="18">
                  <c:v>45502</c:v>
                </c:pt>
                <c:pt idx="19">
                  <c:v>45501</c:v>
                </c:pt>
                <c:pt idx="20">
                  <c:v>45500</c:v>
                </c:pt>
                <c:pt idx="21">
                  <c:v>45499</c:v>
                </c:pt>
                <c:pt idx="22">
                  <c:v>45498</c:v>
                </c:pt>
                <c:pt idx="23">
                  <c:v>45497</c:v>
                </c:pt>
                <c:pt idx="24">
                  <c:v>45496</c:v>
                </c:pt>
                <c:pt idx="25">
                  <c:v>45495</c:v>
                </c:pt>
                <c:pt idx="26">
                  <c:v>45494</c:v>
                </c:pt>
                <c:pt idx="27">
                  <c:v>45493</c:v>
                </c:pt>
                <c:pt idx="28">
                  <c:v>45492</c:v>
                </c:pt>
                <c:pt idx="29">
                  <c:v>45491</c:v>
                </c:pt>
                <c:pt idx="30">
                  <c:v>45490</c:v>
                </c:pt>
                <c:pt idx="31">
                  <c:v>45489</c:v>
                </c:pt>
                <c:pt idx="32">
                  <c:v>45488</c:v>
                </c:pt>
                <c:pt idx="33">
                  <c:v>45487</c:v>
                </c:pt>
                <c:pt idx="34">
                  <c:v>45486</c:v>
                </c:pt>
                <c:pt idx="35">
                  <c:v>45485</c:v>
                </c:pt>
                <c:pt idx="36">
                  <c:v>45484</c:v>
                </c:pt>
                <c:pt idx="37">
                  <c:v>45483</c:v>
                </c:pt>
                <c:pt idx="38">
                  <c:v>45482</c:v>
                </c:pt>
                <c:pt idx="39">
                  <c:v>45481</c:v>
                </c:pt>
                <c:pt idx="40">
                  <c:v>45480</c:v>
                </c:pt>
                <c:pt idx="41">
                  <c:v>45479</c:v>
                </c:pt>
                <c:pt idx="42">
                  <c:v>45478</c:v>
                </c:pt>
                <c:pt idx="43">
                  <c:v>45477</c:v>
                </c:pt>
                <c:pt idx="44">
                  <c:v>45476</c:v>
                </c:pt>
                <c:pt idx="45">
                  <c:v>45475</c:v>
                </c:pt>
                <c:pt idx="46">
                  <c:v>45474</c:v>
                </c:pt>
                <c:pt idx="47">
                  <c:v>45473</c:v>
                </c:pt>
                <c:pt idx="48">
                  <c:v>45472</c:v>
                </c:pt>
                <c:pt idx="49">
                  <c:v>45471</c:v>
                </c:pt>
                <c:pt idx="50">
                  <c:v>45470</c:v>
                </c:pt>
                <c:pt idx="51">
                  <c:v>45469</c:v>
                </c:pt>
                <c:pt idx="52">
                  <c:v>45468</c:v>
                </c:pt>
                <c:pt idx="53">
                  <c:v>45467</c:v>
                </c:pt>
                <c:pt idx="54">
                  <c:v>45466</c:v>
                </c:pt>
                <c:pt idx="55">
                  <c:v>45465</c:v>
                </c:pt>
                <c:pt idx="56">
                  <c:v>45464</c:v>
                </c:pt>
                <c:pt idx="57">
                  <c:v>45463</c:v>
                </c:pt>
                <c:pt idx="58">
                  <c:v>45462</c:v>
                </c:pt>
                <c:pt idx="59">
                  <c:v>45461</c:v>
                </c:pt>
                <c:pt idx="60">
                  <c:v>45460</c:v>
                </c:pt>
                <c:pt idx="61">
                  <c:v>45459</c:v>
                </c:pt>
                <c:pt idx="62">
                  <c:v>45458</c:v>
                </c:pt>
                <c:pt idx="63">
                  <c:v>45457</c:v>
                </c:pt>
                <c:pt idx="64">
                  <c:v>45456</c:v>
                </c:pt>
                <c:pt idx="65">
                  <c:v>45455</c:v>
                </c:pt>
                <c:pt idx="66">
                  <c:v>45454</c:v>
                </c:pt>
                <c:pt idx="67">
                  <c:v>45453</c:v>
                </c:pt>
                <c:pt idx="68">
                  <c:v>45452</c:v>
                </c:pt>
                <c:pt idx="69">
                  <c:v>45451</c:v>
                </c:pt>
                <c:pt idx="70">
                  <c:v>45450</c:v>
                </c:pt>
                <c:pt idx="71">
                  <c:v>45449</c:v>
                </c:pt>
                <c:pt idx="72">
                  <c:v>45448</c:v>
                </c:pt>
                <c:pt idx="73">
                  <c:v>45447</c:v>
                </c:pt>
                <c:pt idx="74">
                  <c:v>45446</c:v>
                </c:pt>
                <c:pt idx="75">
                  <c:v>45445</c:v>
                </c:pt>
                <c:pt idx="76">
                  <c:v>45444</c:v>
                </c:pt>
                <c:pt idx="77">
                  <c:v>45443</c:v>
                </c:pt>
                <c:pt idx="78">
                  <c:v>45442</c:v>
                </c:pt>
                <c:pt idx="79">
                  <c:v>45441</c:v>
                </c:pt>
                <c:pt idx="80">
                  <c:v>45440</c:v>
                </c:pt>
                <c:pt idx="81">
                  <c:v>45439</c:v>
                </c:pt>
                <c:pt idx="82">
                  <c:v>45438</c:v>
                </c:pt>
                <c:pt idx="83">
                  <c:v>45437</c:v>
                </c:pt>
                <c:pt idx="84">
                  <c:v>45436</c:v>
                </c:pt>
                <c:pt idx="85">
                  <c:v>45435</c:v>
                </c:pt>
                <c:pt idx="86">
                  <c:v>45434</c:v>
                </c:pt>
                <c:pt idx="87">
                  <c:v>45433</c:v>
                </c:pt>
                <c:pt idx="88">
                  <c:v>45432</c:v>
                </c:pt>
                <c:pt idx="89">
                  <c:v>45431</c:v>
                </c:pt>
                <c:pt idx="90">
                  <c:v>45430</c:v>
                </c:pt>
                <c:pt idx="91">
                  <c:v>45429</c:v>
                </c:pt>
                <c:pt idx="92">
                  <c:v>45428</c:v>
                </c:pt>
                <c:pt idx="93">
                  <c:v>45427</c:v>
                </c:pt>
                <c:pt idx="94">
                  <c:v>45426</c:v>
                </c:pt>
                <c:pt idx="95">
                  <c:v>45425</c:v>
                </c:pt>
                <c:pt idx="96">
                  <c:v>45424</c:v>
                </c:pt>
                <c:pt idx="97">
                  <c:v>45423</c:v>
                </c:pt>
                <c:pt idx="98">
                  <c:v>45422</c:v>
                </c:pt>
                <c:pt idx="99">
                  <c:v>45421</c:v>
                </c:pt>
                <c:pt idx="100">
                  <c:v>45420</c:v>
                </c:pt>
                <c:pt idx="101">
                  <c:v>45419</c:v>
                </c:pt>
                <c:pt idx="102">
                  <c:v>45418</c:v>
                </c:pt>
                <c:pt idx="103">
                  <c:v>45417</c:v>
                </c:pt>
                <c:pt idx="104">
                  <c:v>45416</c:v>
                </c:pt>
                <c:pt idx="105">
                  <c:v>45415</c:v>
                </c:pt>
                <c:pt idx="106">
                  <c:v>45414</c:v>
                </c:pt>
                <c:pt idx="107">
                  <c:v>45413</c:v>
                </c:pt>
                <c:pt idx="108">
                  <c:v>45412</c:v>
                </c:pt>
                <c:pt idx="109">
                  <c:v>45411</c:v>
                </c:pt>
                <c:pt idx="110">
                  <c:v>45410</c:v>
                </c:pt>
                <c:pt idx="111">
                  <c:v>45409</c:v>
                </c:pt>
                <c:pt idx="112">
                  <c:v>45408</c:v>
                </c:pt>
                <c:pt idx="113">
                  <c:v>45407</c:v>
                </c:pt>
                <c:pt idx="114">
                  <c:v>45406</c:v>
                </c:pt>
                <c:pt idx="115">
                  <c:v>45405</c:v>
                </c:pt>
                <c:pt idx="116">
                  <c:v>45404</c:v>
                </c:pt>
                <c:pt idx="117">
                  <c:v>45403</c:v>
                </c:pt>
                <c:pt idx="118">
                  <c:v>45402</c:v>
                </c:pt>
                <c:pt idx="119">
                  <c:v>45401</c:v>
                </c:pt>
                <c:pt idx="120">
                  <c:v>45400</c:v>
                </c:pt>
                <c:pt idx="121">
                  <c:v>45399</c:v>
                </c:pt>
                <c:pt idx="122">
                  <c:v>45398</c:v>
                </c:pt>
                <c:pt idx="123">
                  <c:v>45397</c:v>
                </c:pt>
                <c:pt idx="124">
                  <c:v>45396</c:v>
                </c:pt>
                <c:pt idx="125">
                  <c:v>45395</c:v>
                </c:pt>
                <c:pt idx="126">
                  <c:v>45394</c:v>
                </c:pt>
                <c:pt idx="127">
                  <c:v>45393</c:v>
                </c:pt>
                <c:pt idx="128">
                  <c:v>45392</c:v>
                </c:pt>
                <c:pt idx="129">
                  <c:v>45391</c:v>
                </c:pt>
                <c:pt idx="130">
                  <c:v>45390</c:v>
                </c:pt>
                <c:pt idx="131">
                  <c:v>45389</c:v>
                </c:pt>
                <c:pt idx="132">
                  <c:v>45388</c:v>
                </c:pt>
                <c:pt idx="133">
                  <c:v>45387</c:v>
                </c:pt>
                <c:pt idx="134">
                  <c:v>45386</c:v>
                </c:pt>
                <c:pt idx="135">
                  <c:v>45385</c:v>
                </c:pt>
                <c:pt idx="136">
                  <c:v>45384</c:v>
                </c:pt>
                <c:pt idx="137">
                  <c:v>45383</c:v>
                </c:pt>
                <c:pt idx="138">
                  <c:v>45382</c:v>
                </c:pt>
                <c:pt idx="139">
                  <c:v>45381</c:v>
                </c:pt>
                <c:pt idx="140">
                  <c:v>45380</c:v>
                </c:pt>
                <c:pt idx="141">
                  <c:v>45379</c:v>
                </c:pt>
                <c:pt idx="142">
                  <c:v>45378</c:v>
                </c:pt>
                <c:pt idx="143">
                  <c:v>45377</c:v>
                </c:pt>
                <c:pt idx="144">
                  <c:v>45376</c:v>
                </c:pt>
                <c:pt idx="145">
                  <c:v>45375</c:v>
                </c:pt>
                <c:pt idx="146">
                  <c:v>45374</c:v>
                </c:pt>
                <c:pt idx="147">
                  <c:v>45373</c:v>
                </c:pt>
                <c:pt idx="148">
                  <c:v>45372</c:v>
                </c:pt>
                <c:pt idx="149">
                  <c:v>45371</c:v>
                </c:pt>
                <c:pt idx="150">
                  <c:v>45370</c:v>
                </c:pt>
                <c:pt idx="151">
                  <c:v>45369</c:v>
                </c:pt>
                <c:pt idx="152">
                  <c:v>45368</c:v>
                </c:pt>
                <c:pt idx="153">
                  <c:v>45367</c:v>
                </c:pt>
                <c:pt idx="154">
                  <c:v>45366</c:v>
                </c:pt>
                <c:pt idx="155">
                  <c:v>45365</c:v>
                </c:pt>
                <c:pt idx="156">
                  <c:v>45364</c:v>
                </c:pt>
                <c:pt idx="157">
                  <c:v>45363</c:v>
                </c:pt>
                <c:pt idx="158">
                  <c:v>45362</c:v>
                </c:pt>
                <c:pt idx="159">
                  <c:v>45361</c:v>
                </c:pt>
                <c:pt idx="160">
                  <c:v>45360</c:v>
                </c:pt>
                <c:pt idx="161">
                  <c:v>45359</c:v>
                </c:pt>
                <c:pt idx="162">
                  <c:v>45358</c:v>
                </c:pt>
                <c:pt idx="163">
                  <c:v>45357</c:v>
                </c:pt>
                <c:pt idx="164">
                  <c:v>45356</c:v>
                </c:pt>
                <c:pt idx="165">
                  <c:v>45355</c:v>
                </c:pt>
                <c:pt idx="166">
                  <c:v>45354</c:v>
                </c:pt>
                <c:pt idx="167">
                  <c:v>45353</c:v>
                </c:pt>
                <c:pt idx="168">
                  <c:v>45352</c:v>
                </c:pt>
                <c:pt idx="169">
                  <c:v>45351</c:v>
                </c:pt>
                <c:pt idx="170">
                  <c:v>45350</c:v>
                </c:pt>
                <c:pt idx="171">
                  <c:v>45349</c:v>
                </c:pt>
                <c:pt idx="172">
                  <c:v>45348</c:v>
                </c:pt>
                <c:pt idx="173">
                  <c:v>45347</c:v>
                </c:pt>
                <c:pt idx="174">
                  <c:v>45346</c:v>
                </c:pt>
                <c:pt idx="175">
                  <c:v>45345</c:v>
                </c:pt>
                <c:pt idx="176">
                  <c:v>45344</c:v>
                </c:pt>
                <c:pt idx="177">
                  <c:v>45343</c:v>
                </c:pt>
                <c:pt idx="178">
                  <c:v>45342</c:v>
                </c:pt>
                <c:pt idx="179">
                  <c:v>45341</c:v>
                </c:pt>
                <c:pt idx="180">
                  <c:v>45340</c:v>
                </c:pt>
                <c:pt idx="181">
                  <c:v>45339</c:v>
                </c:pt>
                <c:pt idx="182">
                  <c:v>45338</c:v>
                </c:pt>
                <c:pt idx="183">
                  <c:v>45337</c:v>
                </c:pt>
                <c:pt idx="184">
                  <c:v>45336</c:v>
                </c:pt>
                <c:pt idx="185">
                  <c:v>45335</c:v>
                </c:pt>
                <c:pt idx="186">
                  <c:v>45334</c:v>
                </c:pt>
                <c:pt idx="187">
                  <c:v>45333</c:v>
                </c:pt>
                <c:pt idx="188">
                  <c:v>45332</c:v>
                </c:pt>
                <c:pt idx="189">
                  <c:v>45331</c:v>
                </c:pt>
                <c:pt idx="190">
                  <c:v>45330</c:v>
                </c:pt>
                <c:pt idx="191">
                  <c:v>45329</c:v>
                </c:pt>
                <c:pt idx="192">
                  <c:v>45328</c:v>
                </c:pt>
                <c:pt idx="193">
                  <c:v>45327</c:v>
                </c:pt>
                <c:pt idx="194">
                  <c:v>45326</c:v>
                </c:pt>
                <c:pt idx="195">
                  <c:v>45325</c:v>
                </c:pt>
                <c:pt idx="196">
                  <c:v>45324</c:v>
                </c:pt>
                <c:pt idx="197">
                  <c:v>45323</c:v>
                </c:pt>
                <c:pt idx="198">
                  <c:v>45322</c:v>
                </c:pt>
                <c:pt idx="199">
                  <c:v>45321</c:v>
                </c:pt>
                <c:pt idx="200">
                  <c:v>45320</c:v>
                </c:pt>
                <c:pt idx="201">
                  <c:v>45319</c:v>
                </c:pt>
                <c:pt idx="202">
                  <c:v>45318</c:v>
                </c:pt>
                <c:pt idx="203">
                  <c:v>45317</c:v>
                </c:pt>
                <c:pt idx="204">
                  <c:v>45316</c:v>
                </c:pt>
                <c:pt idx="205">
                  <c:v>45315</c:v>
                </c:pt>
                <c:pt idx="206">
                  <c:v>45314</c:v>
                </c:pt>
                <c:pt idx="207">
                  <c:v>45313</c:v>
                </c:pt>
                <c:pt idx="208">
                  <c:v>45312</c:v>
                </c:pt>
                <c:pt idx="209">
                  <c:v>45311</c:v>
                </c:pt>
                <c:pt idx="210">
                  <c:v>45310</c:v>
                </c:pt>
                <c:pt idx="211">
                  <c:v>45309</c:v>
                </c:pt>
                <c:pt idx="212">
                  <c:v>45308</c:v>
                </c:pt>
                <c:pt idx="213">
                  <c:v>45307</c:v>
                </c:pt>
                <c:pt idx="214">
                  <c:v>45306</c:v>
                </c:pt>
                <c:pt idx="215">
                  <c:v>45305</c:v>
                </c:pt>
                <c:pt idx="216">
                  <c:v>45304</c:v>
                </c:pt>
                <c:pt idx="217">
                  <c:v>45303</c:v>
                </c:pt>
                <c:pt idx="218">
                  <c:v>45302</c:v>
                </c:pt>
                <c:pt idx="219">
                  <c:v>45301</c:v>
                </c:pt>
                <c:pt idx="220">
                  <c:v>45300</c:v>
                </c:pt>
                <c:pt idx="221">
                  <c:v>45299</c:v>
                </c:pt>
                <c:pt idx="222">
                  <c:v>45298</c:v>
                </c:pt>
                <c:pt idx="223">
                  <c:v>45297</c:v>
                </c:pt>
                <c:pt idx="224">
                  <c:v>45296</c:v>
                </c:pt>
                <c:pt idx="225">
                  <c:v>45295</c:v>
                </c:pt>
                <c:pt idx="226">
                  <c:v>45294</c:v>
                </c:pt>
                <c:pt idx="227">
                  <c:v>45293</c:v>
                </c:pt>
                <c:pt idx="228">
                  <c:v>45292</c:v>
                </c:pt>
                <c:pt idx="229">
                  <c:v>45291</c:v>
                </c:pt>
                <c:pt idx="230">
                  <c:v>45290</c:v>
                </c:pt>
                <c:pt idx="231">
                  <c:v>45289</c:v>
                </c:pt>
                <c:pt idx="232">
                  <c:v>45288</c:v>
                </c:pt>
                <c:pt idx="233">
                  <c:v>45287</c:v>
                </c:pt>
                <c:pt idx="234">
                  <c:v>45286</c:v>
                </c:pt>
                <c:pt idx="235">
                  <c:v>45285</c:v>
                </c:pt>
                <c:pt idx="236">
                  <c:v>45284</c:v>
                </c:pt>
                <c:pt idx="237">
                  <c:v>45283</c:v>
                </c:pt>
                <c:pt idx="238">
                  <c:v>45282</c:v>
                </c:pt>
                <c:pt idx="239">
                  <c:v>45281</c:v>
                </c:pt>
                <c:pt idx="240">
                  <c:v>45280</c:v>
                </c:pt>
                <c:pt idx="241">
                  <c:v>45279</c:v>
                </c:pt>
                <c:pt idx="242">
                  <c:v>45278</c:v>
                </c:pt>
                <c:pt idx="243">
                  <c:v>45277</c:v>
                </c:pt>
                <c:pt idx="244">
                  <c:v>45276</c:v>
                </c:pt>
                <c:pt idx="245">
                  <c:v>45275</c:v>
                </c:pt>
                <c:pt idx="246">
                  <c:v>45274</c:v>
                </c:pt>
                <c:pt idx="247">
                  <c:v>45273</c:v>
                </c:pt>
                <c:pt idx="248">
                  <c:v>45272</c:v>
                </c:pt>
                <c:pt idx="249">
                  <c:v>45271</c:v>
                </c:pt>
                <c:pt idx="250">
                  <c:v>45270</c:v>
                </c:pt>
                <c:pt idx="251">
                  <c:v>45269</c:v>
                </c:pt>
                <c:pt idx="252">
                  <c:v>45268</c:v>
                </c:pt>
                <c:pt idx="253">
                  <c:v>45267</c:v>
                </c:pt>
                <c:pt idx="254">
                  <c:v>45266</c:v>
                </c:pt>
                <c:pt idx="255">
                  <c:v>45265</c:v>
                </c:pt>
                <c:pt idx="256">
                  <c:v>45264</c:v>
                </c:pt>
                <c:pt idx="257">
                  <c:v>45263</c:v>
                </c:pt>
                <c:pt idx="258">
                  <c:v>45262</c:v>
                </c:pt>
                <c:pt idx="259">
                  <c:v>45261</c:v>
                </c:pt>
                <c:pt idx="260">
                  <c:v>45260</c:v>
                </c:pt>
                <c:pt idx="261">
                  <c:v>45259</c:v>
                </c:pt>
                <c:pt idx="262">
                  <c:v>45258</c:v>
                </c:pt>
                <c:pt idx="263">
                  <c:v>45257</c:v>
                </c:pt>
                <c:pt idx="264">
                  <c:v>45256</c:v>
                </c:pt>
                <c:pt idx="265">
                  <c:v>45255</c:v>
                </c:pt>
                <c:pt idx="266">
                  <c:v>45254</c:v>
                </c:pt>
                <c:pt idx="267">
                  <c:v>45253</c:v>
                </c:pt>
                <c:pt idx="268">
                  <c:v>45252</c:v>
                </c:pt>
                <c:pt idx="269">
                  <c:v>45251</c:v>
                </c:pt>
                <c:pt idx="270">
                  <c:v>45250</c:v>
                </c:pt>
                <c:pt idx="271">
                  <c:v>45249</c:v>
                </c:pt>
                <c:pt idx="272">
                  <c:v>45248</c:v>
                </c:pt>
                <c:pt idx="273">
                  <c:v>45247</c:v>
                </c:pt>
                <c:pt idx="274">
                  <c:v>45246</c:v>
                </c:pt>
                <c:pt idx="275">
                  <c:v>45245</c:v>
                </c:pt>
                <c:pt idx="276">
                  <c:v>45244</c:v>
                </c:pt>
                <c:pt idx="277">
                  <c:v>45243</c:v>
                </c:pt>
                <c:pt idx="278">
                  <c:v>45242</c:v>
                </c:pt>
                <c:pt idx="279">
                  <c:v>45241</c:v>
                </c:pt>
                <c:pt idx="280">
                  <c:v>45240</c:v>
                </c:pt>
                <c:pt idx="281">
                  <c:v>45239</c:v>
                </c:pt>
                <c:pt idx="282">
                  <c:v>45238</c:v>
                </c:pt>
                <c:pt idx="283">
                  <c:v>45237</c:v>
                </c:pt>
                <c:pt idx="284">
                  <c:v>45236</c:v>
                </c:pt>
                <c:pt idx="285">
                  <c:v>45235</c:v>
                </c:pt>
                <c:pt idx="286">
                  <c:v>45234</c:v>
                </c:pt>
                <c:pt idx="287">
                  <c:v>45233</c:v>
                </c:pt>
                <c:pt idx="288">
                  <c:v>45232</c:v>
                </c:pt>
                <c:pt idx="289">
                  <c:v>45231</c:v>
                </c:pt>
                <c:pt idx="290">
                  <c:v>45230</c:v>
                </c:pt>
                <c:pt idx="291">
                  <c:v>45229</c:v>
                </c:pt>
                <c:pt idx="292">
                  <c:v>45228</c:v>
                </c:pt>
                <c:pt idx="293">
                  <c:v>45227</c:v>
                </c:pt>
                <c:pt idx="294">
                  <c:v>45226</c:v>
                </c:pt>
                <c:pt idx="295">
                  <c:v>45225</c:v>
                </c:pt>
                <c:pt idx="296">
                  <c:v>45224</c:v>
                </c:pt>
                <c:pt idx="297">
                  <c:v>45223</c:v>
                </c:pt>
                <c:pt idx="298">
                  <c:v>45222</c:v>
                </c:pt>
                <c:pt idx="299">
                  <c:v>45221</c:v>
                </c:pt>
                <c:pt idx="300">
                  <c:v>45220</c:v>
                </c:pt>
                <c:pt idx="301">
                  <c:v>45219</c:v>
                </c:pt>
                <c:pt idx="302">
                  <c:v>45218</c:v>
                </c:pt>
                <c:pt idx="303">
                  <c:v>45217</c:v>
                </c:pt>
                <c:pt idx="304">
                  <c:v>45216</c:v>
                </c:pt>
                <c:pt idx="305">
                  <c:v>45215</c:v>
                </c:pt>
                <c:pt idx="306">
                  <c:v>45214</c:v>
                </c:pt>
                <c:pt idx="307">
                  <c:v>45213</c:v>
                </c:pt>
                <c:pt idx="308">
                  <c:v>45212</c:v>
                </c:pt>
                <c:pt idx="309">
                  <c:v>45211</c:v>
                </c:pt>
                <c:pt idx="310">
                  <c:v>45210</c:v>
                </c:pt>
                <c:pt idx="311">
                  <c:v>45209</c:v>
                </c:pt>
                <c:pt idx="312">
                  <c:v>45208</c:v>
                </c:pt>
                <c:pt idx="313">
                  <c:v>45207</c:v>
                </c:pt>
                <c:pt idx="314">
                  <c:v>45206</c:v>
                </c:pt>
                <c:pt idx="315">
                  <c:v>45205</c:v>
                </c:pt>
                <c:pt idx="316">
                  <c:v>45204</c:v>
                </c:pt>
                <c:pt idx="317">
                  <c:v>45203</c:v>
                </c:pt>
                <c:pt idx="318">
                  <c:v>45202</c:v>
                </c:pt>
                <c:pt idx="319">
                  <c:v>45201</c:v>
                </c:pt>
                <c:pt idx="320">
                  <c:v>45200</c:v>
                </c:pt>
                <c:pt idx="321">
                  <c:v>45199</c:v>
                </c:pt>
                <c:pt idx="322">
                  <c:v>45198</c:v>
                </c:pt>
                <c:pt idx="323">
                  <c:v>45197</c:v>
                </c:pt>
                <c:pt idx="324">
                  <c:v>45196</c:v>
                </c:pt>
                <c:pt idx="325">
                  <c:v>45195</c:v>
                </c:pt>
                <c:pt idx="326">
                  <c:v>45194</c:v>
                </c:pt>
                <c:pt idx="327">
                  <c:v>45193</c:v>
                </c:pt>
                <c:pt idx="328">
                  <c:v>45192</c:v>
                </c:pt>
                <c:pt idx="329">
                  <c:v>45191</c:v>
                </c:pt>
                <c:pt idx="330">
                  <c:v>45190</c:v>
                </c:pt>
                <c:pt idx="331">
                  <c:v>45189</c:v>
                </c:pt>
                <c:pt idx="332">
                  <c:v>45188</c:v>
                </c:pt>
                <c:pt idx="333">
                  <c:v>45187</c:v>
                </c:pt>
                <c:pt idx="334">
                  <c:v>45186</c:v>
                </c:pt>
                <c:pt idx="335">
                  <c:v>45185</c:v>
                </c:pt>
                <c:pt idx="336">
                  <c:v>45184</c:v>
                </c:pt>
                <c:pt idx="337">
                  <c:v>45183</c:v>
                </c:pt>
                <c:pt idx="338">
                  <c:v>45182</c:v>
                </c:pt>
                <c:pt idx="339">
                  <c:v>45181</c:v>
                </c:pt>
                <c:pt idx="340">
                  <c:v>45180</c:v>
                </c:pt>
                <c:pt idx="341">
                  <c:v>45179</c:v>
                </c:pt>
                <c:pt idx="342">
                  <c:v>45178</c:v>
                </c:pt>
                <c:pt idx="343">
                  <c:v>45177</c:v>
                </c:pt>
                <c:pt idx="344">
                  <c:v>45176</c:v>
                </c:pt>
                <c:pt idx="345">
                  <c:v>45175</c:v>
                </c:pt>
                <c:pt idx="346">
                  <c:v>45174</c:v>
                </c:pt>
                <c:pt idx="347">
                  <c:v>45173</c:v>
                </c:pt>
                <c:pt idx="348">
                  <c:v>45172</c:v>
                </c:pt>
                <c:pt idx="349">
                  <c:v>45171</c:v>
                </c:pt>
                <c:pt idx="350">
                  <c:v>45170</c:v>
                </c:pt>
                <c:pt idx="351">
                  <c:v>45169</c:v>
                </c:pt>
                <c:pt idx="352">
                  <c:v>45168</c:v>
                </c:pt>
                <c:pt idx="353">
                  <c:v>45167</c:v>
                </c:pt>
                <c:pt idx="354">
                  <c:v>45166</c:v>
                </c:pt>
                <c:pt idx="355">
                  <c:v>45165</c:v>
                </c:pt>
                <c:pt idx="356">
                  <c:v>45164</c:v>
                </c:pt>
                <c:pt idx="357">
                  <c:v>45163</c:v>
                </c:pt>
                <c:pt idx="358">
                  <c:v>45162</c:v>
                </c:pt>
                <c:pt idx="359">
                  <c:v>45161</c:v>
                </c:pt>
                <c:pt idx="360">
                  <c:v>45160</c:v>
                </c:pt>
                <c:pt idx="361">
                  <c:v>45159</c:v>
                </c:pt>
                <c:pt idx="362">
                  <c:v>45158</c:v>
                </c:pt>
                <c:pt idx="363">
                  <c:v>45157</c:v>
                </c:pt>
                <c:pt idx="364">
                  <c:v>45156</c:v>
                </c:pt>
                <c:pt idx="365">
                  <c:v>45155</c:v>
                </c:pt>
                <c:pt idx="366">
                  <c:v>45154</c:v>
                </c:pt>
                <c:pt idx="367">
                  <c:v>45153</c:v>
                </c:pt>
                <c:pt idx="368">
                  <c:v>45152</c:v>
                </c:pt>
                <c:pt idx="369">
                  <c:v>45151</c:v>
                </c:pt>
                <c:pt idx="370">
                  <c:v>45150</c:v>
                </c:pt>
                <c:pt idx="371">
                  <c:v>45149</c:v>
                </c:pt>
                <c:pt idx="372">
                  <c:v>45148</c:v>
                </c:pt>
                <c:pt idx="373">
                  <c:v>45147</c:v>
                </c:pt>
                <c:pt idx="374">
                  <c:v>45146</c:v>
                </c:pt>
                <c:pt idx="375">
                  <c:v>45145</c:v>
                </c:pt>
                <c:pt idx="376">
                  <c:v>45144</c:v>
                </c:pt>
                <c:pt idx="377">
                  <c:v>45143</c:v>
                </c:pt>
                <c:pt idx="378">
                  <c:v>45142</c:v>
                </c:pt>
                <c:pt idx="379">
                  <c:v>45141</c:v>
                </c:pt>
                <c:pt idx="380">
                  <c:v>45140</c:v>
                </c:pt>
                <c:pt idx="381">
                  <c:v>45139</c:v>
                </c:pt>
                <c:pt idx="382">
                  <c:v>45138</c:v>
                </c:pt>
                <c:pt idx="383">
                  <c:v>45137</c:v>
                </c:pt>
                <c:pt idx="384">
                  <c:v>45136</c:v>
                </c:pt>
                <c:pt idx="385">
                  <c:v>45135</c:v>
                </c:pt>
                <c:pt idx="386">
                  <c:v>45134</c:v>
                </c:pt>
                <c:pt idx="387">
                  <c:v>45133</c:v>
                </c:pt>
                <c:pt idx="388">
                  <c:v>45132</c:v>
                </c:pt>
                <c:pt idx="389">
                  <c:v>45131</c:v>
                </c:pt>
                <c:pt idx="390">
                  <c:v>45130</c:v>
                </c:pt>
                <c:pt idx="391">
                  <c:v>45129</c:v>
                </c:pt>
              </c:numCache>
            </c:numRef>
          </c:cat>
          <c:val>
            <c:numRef>
              <c:f>Worksheet!$L$7:$L$398</c:f>
              <c:numCache>
                <c:formatCode>General</c:formatCode>
                <c:ptCount val="392"/>
                <c:pt idx="0">
                  <c:v>0</c:v>
                </c:pt>
                <c:pt idx="1">
                  <c:v>0.01</c:v>
                </c:pt>
                <c:pt idx="2">
                  <c:v>0.01</c:v>
                </c:pt>
                <c:pt idx="3">
                  <c:v>0.01</c:v>
                </c:pt>
                <c:pt idx="4">
                  <c:v>0.01</c:v>
                </c:pt>
                <c:pt idx="5">
                  <c:v>0.01</c:v>
                </c:pt>
                <c:pt idx="6">
                  <c:v>0.01</c:v>
                </c:pt>
                <c:pt idx="7">
                  <c:v>0.01</c:v>
                </c:pt>
                <c:pt idx="8">
                  <c:v>0.01</c:v>
                </c:pt>
                <c:pt idx="9">
                  <c:v>0.01</c:v>
                </c:pt>
                <c:pt idx="10">
                  <c:v>0.01</c:v>
                </c:pt>
                <c:pt idx="11">
                  <c:v>0.01</c:v>
                </c:pt>
                <c:pt idx="12">
                  <c:v>0.01</c:v>
                </c:pt>
                <c:pt idx="13">
                  <c:v>0.01</c:v>
                </c:pt>
                <c:pt idx="14">
                  <c:v>0.01</c:v>
                </c:pt>
                <c:pt idx="15">
                  <c:v>0.01</c:v>
                </c:pt>
                <c:pt idx="16">
                  <c:v>0.01</c:v>
                </c:pt>
                <c:pt idx="17">
                  <c:v>0.01</c:v>
                </c:pt>
                <c:pt idx="18">
                  <c:v>0.01</c:v>
                </c:pt>
                <c:pt idx="19">
                  <c:v>0.01</c:v>
                </c:pt>
                <c:pt idx="20">
                  <c:v>0.01</c:v>
                </c:pt>
                <c:pt idx="21">
                  <c:v>0.01</c:v>
                </c:pt>
                <c:pt idx="22">
                  <c:v>0.01</c:v>
                </c:pt>
                <c:pt idx="23">
                  <c:v>0.01</c:v>
                </c:pt>
                <c:pt idx="24">
                  <c:v>0.01</c:v>
                </c:pt>
                <c:pt idx="25">
                  <c:v>0.01</c:v>
                </c:pt>
                <c:pt idx="26">
                  <c:v>0.02</c:v>
                </c:pt>
                <c:pt idx="27">
                  <c:v>0.15</c:v>
                </c:pt>
                <c:pt idx="28">
                  <c:v>0.16</c:v>
                </c:pt>
                <c:pt idx="29">
                  <c:v>0.1</c:v>
                </c:pt>
                <c:pt idx="30">
                  <c:v>0.18</c:v>
                </c:pt>
                <c:pt idx="31">
                  <c:v>0.28000000000000003</c:v>
                </c:pt>
                <c:pt idx="32">
                  <c:v>0.24</c:v>
                </c:pt>
                <c:pt idx="33">
                  <c:v>0.27</c:v>
                </c:pt>
                <c:pt idx="34">
                  <c:v>0.25</c:v>
                </c:pt>
                <c:pt idx="35">
                  <c:v>0.27</c:v>
                </c:pt>
                <c:pt idx="36">
                  <c:v>0.2</c:v>
                </c:pt>
                <c:pt idx="37">
                  <c:v>0.21</c:v>
                </c:pt>
                <c:pt idx="38">
                  <c:v>0.28000000000000003</c:v>
                </c:pt>
                <c:pt idx="39">
                  <c:v>0.27</c:v>
                </c:pt>
                <c:pt idx="40">
                  <c:v>0.21</c:v>
                </c:pt>
                <c:pt idx="41">
                  <c:v>0.21</c:v>
                </c:pt>
                <c:pt idx="42">
                  <c:v>0.21</c:v>
                </c:pt>
                <c:pt idx="43">
                  <c:v>0.21</c:v>
                </c:pt>
                <c:pt idx="44">
                  <c:v>0.25</c:v>
                </c:pt>
                <c:pt idx="45">
                  <c:v>0.24</c:v>
                </c:pt>
                <c:pt idx="46">
                  <c:v>0.32</c:v>
                </c:pt>
                <c:pt idx="47">
                  <c:v>0.31</c:v>
                </c:pt>
                <c:pt idx="48">
                  <c:v>0.28999999999999998</c:v>
                </c:pt>
                <c:pt idx="49">
                  <c:v>0.36</c:v>
                </c:pt>
                <c:pt idx="50">
                  <c:v>0.33</c:v>
                </c:pt>
                <c:pt idx="51">
                  <c:v>0.45</c:v>
                </c:pt>
                <c:pt idx="52">
                  <c:v>0.47</c:v>
                </c:pt>
                <c:pt idx="53">
                  <c:v>0.48</c:v>
                </c:pt>
                <c:pt idx="54">
                  <c:v>0.48</c:v>
                </c:pt>
                <c:pt idx="55">
                  <c:v>0.45</c:v>
                </c:pt>
                <c:pt idx="56">
                  <c:v>0.46</c:v>
                </c:pt>
                <c:pt idx="57">
                  <c:v>0.44</c:v>
                </c:pt>
                <c:pt idx="58">
                  <c:v>0.43</c:v>
                </c:pt>
                <c:pt idx="59">
                  <c:v>0.44</c:v>
                </c:pt>
                <c:pt idx="60">
                  <c:v>0.43</c:v>
                </c:pt>
                <c:pt idx="61">
                  <c:v>0.44</c:v>
                </c:pt>
                <c:pt idx="62">
                  <c:v>0.44</c:v>
                </c:pt>
                <c:pt idx="63">
                  <c:v>0.44</c:v>
                </c:pt>
                <c:pt idx="64">
                  <c:v>0.44</c:v>
                </c:pt>
                <c:pt idx="65">
                  <c:v>0.45</c:v>
                </c:pt>
                <c:pt idx="66">
                  <c:v>0.45</c:v>
                </c:pt>
                <c:pt idx="67">
                  <c:v>0.45</c:v>
                </c:pt>
                <c:pt idx="68">
                  <c:v>0.45</c:v>
                </c:pt>
                <c:pt idx="69">
                  <c:v>0.45</c:v>
                </c:pt>
                <c:pt idx="70">
                  <c:v>0.45</c:v>
                </c:pt>
                <c:pt idx="71">
                  <c:v>0.47</c:v>
                </c:pt>
                <c:pt idx="72">
                  <c:v>0.47</c:v>
                </c:pt>
                <c:pt idx="73">
                  <c:v>0.47</c:v>
                </c:pt>
                <c:pt idx="74">
                  <c:v>0.48</c:v>
                </c:pt>
                <c:pt idx="75">
                  <c:v>0.48</c:v>
                </c:pt>
                <c:pt idx="76">
                  <c:v>0.47</c:v>
                </c:pt>
                <c:pt idx="77">
                  <c:v>0.48</c:v>
                </c:pt>
                <c:pt idx="78">
                  <c:v>0.49</c:v>
                </c:pt>
                <c:pt idx="79">
                  <c:v>0.45</c:v>
                </c:pt>
                <c:pt idx="80">
                  <c:v>0.44</c:v>
                </c:pt>
                <c:pt idx="81">
                  <c:v>0.44</c:v>
                </c:pt>
                <c:pt idx="82">
                  <c:v>0.44</c:v>
                </c:pt>
                <c:pt idx="83">
                  <c:v>0.43</c:v>
                </c:pt>
                <c:pt idx="84">
                  <c:v>0.44</c:v>
                </c:pt>
                <c:pt idx="85">
                  <c:v>0.45</c:v>
                </c:pt>
                <c:pt idx="86">
                  <c:v>0.46</c:v>
                </c:pt>
                <c:pt idx="87">
                  <c:v>0.45</c:v>
                </c:pt>
                <c:pt idx="88">
                  <c:v>0.46</c:v>
                </c:pt>
                <c:pt idx="89">
                  <c:v>0.47</c:v>
                </c:pt>
                <c:pt idx="90">
                  <c:v>0.45</c:v>
                </c:pt>
                <c:pt idx="91">
                  <c:v>0.47</c:v>
                </c:pt>
                <c:pt idx="92">
                  <c:v>0.49</c:v>
                </c:pt>
                <c:pt idx="93">
                  <c:v>0.49</c:v>
                </c:pt>
                <c:pt idx="94">
                  <c:v>0.48</c:v>
                </c:pt>
                <c:pt idx="95">
                  <c:v>0.49</c:v>
                </c:pt>
                <c:pt idx="96">
                  <c:v>0.51</c:v>
                </c:pt>
                <c:pt idx="97">
                  <c:v>0.51</c:v>
                </c:pt>
                <c:pt idx="98">
                  <c:v>0.51</c:v>
                </c:pt>
                <c:pt idx="99">
                  <c:v>0.51</c:v>
                </c:pt>
                <c:pt idx="100">
                  <c:v>0.51</c:v>
                </c:pt>
                <c:pt idx="101">
                  <c:v>0.51</c:v>
                </c:pt>
                <c:pt idx="102">
                  <c:v>0.5</c:v>
                </c:pt>
                <c:pt idx="103">
                  <c:v>0.5</c:v>
                </c:pt>
                <c:pt idx="104">
                  <c:v>0.5</c:v>
                </c:pt>
                <c:pt idx="105">
                  <c:v>0.5</c:v>
                </c:pt>
                <c:pt idx="106">
                  <c:v>0.5</c:v>
                </c:pt>
                <c:pt idx="107">
                  <c:v>0.5</c:v>
                </c:pt>
                <c:pt idx="108">
                  <c:v>0.52</c:v>
                </c:pt>
                <c:pt idx="109">
                  <c:v>0.52</c:v>
                </c:pt>
                <c:pt idx="110">
                  <c:v>0.53</c:v>
                </c:pt>
                <c:pt idx="111">
                  <c:v>0.52</c:v>
                </c:pt>
                <c:pt idx="112">
                  <c:v>0.54</c:v>
                </c:pt>
                <c:pt idx="113">
                  <c:v>0.54</c:v>
                </c:pt>
                <c:pt idx="114">
                  <c:v>0.53</c:v>
                </c:pt>
                <c:pt idx="115">
                  <c:v>0.54</c:v>
                </c:pt>
                <c:pt idx="116">
                  <c:v>0.55000000000000004</c:v>
                </c:pt>
                <c:pt idx="117">
                  <c:v>0.54</c:v>
                </c:pt>
                <c:pt idx="118">
                  <c:v>0.54</c:v>
                </c:pt>
                <c:pt idx="119">
                  <c:v>0.54</c:v>
                </c:pt>
                <c:pt idx="120">
                  <c:v>0.52</c:v>
                </c:pt>
                <c:pt idx="121">
                  <c:v>0.52</c:v>
                </c:pt>
                <c:pt idx="122">
                  <c:v>0.53</c:v>
                </c:pt>
                <c:pt idx="123">
                  <c:v>0.53</c:v>
                </c:pt>
                <c:pt idx="124">
                  <c:v>0.52</c:v>
                </c:pt>
                <c:pt idx="125">
                  <c:v>0.53</c:v>
                </c:pt>
                <c:pt idx="126">
                  <c:v>0.52</c:v>
                </c:pt>
                <c:pt idx="127">
                  <c:v>0.53</c:v>
                </c:pt>
                <c:pt idx="128">
                  <c:v>0.52</c:v>
                </c:pt>
                <c:pt idx="129">
                  <c:v>0.53</c:v>
                </c:pt>
                <c:pt idx="130">
                  <c:v>0.52</c:v>
                </c:pt>
                <c:pt idx="131">
                  <c:v>0.51</c:v>
                </c:pt>
                <c:pt idx="132">
                  <c:v>0.51</c:v>
                </c:pt>
                <c:pt idx="133">
                  <c:v>0.5</c:v>
                </c:pt>
                <c:pt idx="134">
                  <c:v>0.51</c:v>
                </c:pt>
                <c:pt idx="135">
                  <c:v>0.5</c:v>
                </c:pt>
                <c:pt idx="136">
                  <c:v>0.49</c:v>
                </c:pt>
                <c:pt idx="137">
                  <c:v>0.48</c:v>
                </c:pt>
                <c:pt idx="138">
                  <c:v>0.48</c:v>
                </c:pt>
                <c:pt idx="139">
                  <c:v>0.47</c:v>
                </c:pt>
                <c:pt idx="140">
                  <c:v>0.47</c:v>
                </c:pt>
                <c:pt idx="141">
                  <c:v>0.48</c:v>
                </c:pt>
                <c:pt idx="142">
                  <c:v>0.47</c:v>
                </c:pt>
                <c:pt idx="143">
                  <c:v>0.48</c:v>
                </c:pt>
                <c:pt idx="144">
                  <c:v>0.47</c:v>
                </c:pt>
                <c:pt idx="145">
                  <c:v>0.47</c:v>
                </c:pt>
                <c:pt idx="146">
                  <c:v>0.47</c:v>
                </c:pt>
                <c:pt idx="147">
                  <c:v>0.47</c:v>
                </c:pt>
                <c:pt idx="148">
                  <c:v>0.47</c:v>
                </c:pt>
                <c:pt idx="149">
                  <c:v>0.46</c:v>
                </c:pt>
                <c:pt idx="150">
                  <c:v>0.47</c:v>
                </c:pt>
                <c:pt idx="151">
                  <c:v>0.47</c:v>
                </c:pt>
                <c:pt idx="152">
                  <c:v>0.47</c:v>
                </c:pt>
                <c:pt idx="153">
                  <c:v>0.47</c:v>
                </c:pt>
                <c:pt idx="154">
                  <c:v>0.46</c:v>
                </c:pt>
                <c:pt idx="155">
                  <c:v>0.46</c:v>
                </c:pt>
                <c:pt idx="156">
                  <c:v>0.45</c:v>
                </c:pt>
                <c:pt idx="157">
                  <c:v>0.45</c:v>
                </c:pt>
                <c:pt idx="158">
                  <c:v>0.44</c:v>
                </c:pt>
                <c:pt idx="159">
                  <c:v>0.45</c:v>
                </c:pt>
                <c:pt idx="160">
                  <c:v>0.45</c:v>
                </c:pt>
                <c:pt idx="161">
                  <c:v>0.45</c:v>
                </c:pt>
                <c:pt idx="162">
                  <c:v>0.44</c:v>
                </c:pt>
                <c:pt idx="163">
                  <c:v>0.43</c:v>
                </c:pt>
                <c:pt idx="164">
                  <c:v>0.43</c:v>
                </c:pt>
                <c:pt idx="165">
                  <c:v>0.42</c:v>
                </c:pt>
                <c:pt idx="166">
                  <c:v>0.42</c:v>
                </c:pt>
                <c:pt idx="167">
                  <c:v>0.41</c:v>
                </c:pt>
                <c:pt idx="168">
                  <c:v>0.41</c:v>
                </c:pt>
                <c:pt idx="169">
                  <c:v>0.42</c:v>
                </c:pt>
                <c:pt idx="170">
                  <c:v>0.42</c:v>
                </c:pt>
                <c:pt idx="171">
                  <c:v>0.41</c:v>
                </c:pt>
                <c:pt idx="172">
                  <c:v>0.4</c:v>
                </c:pt>
                <c:pt idx="173">
                  <c:v>0.4</c:v>
                </c:pt>
                <c:pt idx="174">
                  <c:v>0.41</c:v>
                </c:pt>
                <c:pt idx="175">
                  <c:v>0.4</c:v>
                </c:pt>
                <c:pt idx="176">
                  <c:v>0.4</c:v>
                </c:pt>
                <c:pt idx="177">
                  <c:v>0.41</c:v>
                </c:pt>
                <c:pt idx="178">
                  <c:v>0.41</c:v>
                </c:pt>
                <c:pt idx="179">
                  <c:v>0.41</c:v>
                </c:pt>
                <c:pt idx="180">
                  <c:v>0.42</c:v>
                </c:pt>
                <c:pt idx="181">
                  <c:v>0.41</c:v>
                </c:pt>
                <c:pt idx="182">
                  <c:v>0.42</c:v>
                </c:pt>
                <c:pt idx="183">
                  <c:v>0.4</c:v>
                </c:pt>
                <c:pt idx="184">
                  <c:v>0.41</c:v>
                </c:pt>
                <c:pt idx="185">
                  <c:v>0.41</c:v>
                </c:pt>
                <c:pt idx="186">
                  <c:v>0.4</c:v>
                </c:pt>
                <c:pt idx="187">
                  <c:v>0.42</c:v>
                </c:pt>
                <c:pt idx="188">
                  <c:v>0.41</c:v>
                </c:pt>
                <c:pt idx="189">
                  <c:v>0.41</c:v>
                </c:pt>
                <c:pt idx="190">
                  <c:v>0.43</c:v>
                </c:pt>
                <c:pt idx="191">
                  <c:v>0.47</c:v>
                </c:pt>
                <c:pt idx="192">
                  <c:v>0.48</c:v>
                </c:pt>
                <c:pt idx="193">
                  <c:v>0.48</c:v>
                </c:pt>
                <c:pt idx="194">
                  <c:v>0.47</c:v>
                </c:pt>
                <c:pt idx="195">
                  <c:v>0.48</c:v>
                </c:pt>
                <c:pt idx="196">
                  <c:v>0.49</c:v>
                </c:pt>
                <c:pt idx="197">
                  <c:v>0.47</c:v>
                </c:pt>
                <c:pt idx="198">
                  <c:v>0.47</c:v>
                </c:pt>
                <c:pt idx="199">
                  <c:v>0.47</c:v>
                </c:pt>
                <c:pt idx="200">
                  <c:v>0.48</c:v>
                </c:pt>
                <c:pt idx="201">
                  <c:v>0.47</c:v>
                </c:pt>
                <c:pt idx="202">
                  <c:v>0.46</c:v>
                </c:pt>
                <c:pt idx="203">
                  <c:v>0.46</c:v>
                </c:pt>
                <c:pt idx="204">
                  <c:v>0.47</c:v>
                </c:pt>
                <c:pt idx="205">
                  <c:v>0.47</c:v>
                </c:pt>
                <c:pt idx="206">
                  <c:v>0.47</c:v>
                </c:pt>
                <c:pt idx="207">
                  <c:v>0.45</c:v>
                </c:pt>
                <c:pt idx="208">
                  <c:v>0.45</c:v>
                </c:pt>
                <c:pt idx="209">
                  <c:v>0.44</c:v>
                </c:pt>
                <c:pt idx="210">
                  <c:v>0.43</c:v>
                </c:pt>
                <c:pt idx="211">
                  <c:v>0.42</c:v>
                </c:pt>
                <c:pt idx="212">
                  <c:v>0.41</c:v>
                </c:pt>
                <c:pt idx="213">
                  <c:v>0.41</c:v>
                </c:pt>
                <c:pt idx="214">
                  <c:v>0.39</c:v>
                </c:pt>
                <c:pt idx="215">
                  <c:v>0.38</c:v>
                </c:pt>
                <c:pt idx="216">
                  <c:v>0.37</c:v>
                </c:pt>
                <c:pt idx="217">
                  <c:v>0.38</c:v>
                </c:pt>
                <c:pt idx="218">
                  <c:v>0.37</c:v>
                </c:pt>
                <c:pt idx="219">
                  <c:v>0.37</c:v>
                </c:pt>
                <c:pt idx="220">
                  <c:v>0.38</c:v>
                </c:pt>
                <c:pt idx="221">
                  <c:v>0.4</c:v>
                </c:pt>
                <c:pt idx="222">
                  <c:v>0.39</c:v>
                </c:pt>
                <c:pt idx="223">
                  <c:v>0.39</c:v>
                </c:pt>
                <c:pt idx="224">
                  <c:v>0.4</c:v>
                </c:pt>
                <c:pt idx="225">
                  <c:v>0.39</c:v>
                </c:pt>
                <c:pt idx="226">
                  <c:v>0.39</c:v>
                </c:pt>
                <c:pt idx="227">
                  <c:v>0.38</c:v>
                </c:pt>
                <c:pt idx="228">
                  <c:v>0.38</c:v>
                </c:pt>
                <c:pt idx="229">
                  <c:v>0.38</c:v>
                </c:pt>
                <c:pt idx="230">
                  <c:v>0.38</c:v>
                </c:pt>
                <c:pt idx="231">
                  <c:v>0.38</c:v>
                </c:pt>
                <c:pt idx="232">
                  <c:v>0.38</c:v>
                </c:pt>
                <c:pt idx="233">
                  <c:v>0.38</c:v>
                </c:pt>
                <c:pt idx="234">
                  <c:v>0.38</c:v>
                </c:pt>
                <c:pt idx="235">
                  <c:v>0.37</c:v>
                </c:pt>
                <c:pt idx="236">
                  <c:v>0.38</c:v>
                </c:pt>
                <c:pt idx="237">
                  <c:v>0.38</c:v>
                </c:pt>
                <c:pt idx="238">
                  <c:v>0.38</c:v>
                </c:pt>
                <c:pt idx="239">
                  <c:v>0.38</c:v>
                </c:pt>
                <c:pt idx="240">
                  <c:v>0.38</c:v>
                </c:pt>
                <c:pt idx="241">
                  <c:v>0.38</c:v>
                </c:pt>
                <c:pt idx="242">
                  <c:v>0.38</c:v>
                </c:pt>
                <c:pt idx="243">
                  <c:v>0.39</c:v>
                </c:pt>
                <c:pt idx="244">
                  <c:v>0.39</c:v>
                </c:pt>
                <c:pt idx="245">
                  <c:v>0.4</c:v>
                </c:pt>
                <c:pt idx="246">
                  <c:v>0.39</c:v>
                </c:pt>
                <c:pt idx="247">
                  <c:v>0.4</c:v>
                </c:pt>
                <c:pt idx="248">
                  <c:v>0.38</c:v>
                </c:pt>
                <c:pt idx="249">
                  <c:v>0.39</c:v>
                </c:pt>
                <c:pt idx="250">
                  <c:v>0.38</c:v>
                </c:pt>
                <c:pt idx="251">
                  <c:v>0.39</c:v>
                </c:pt>
                <c:pt idx="252">
                  <c:v>0.38</c:v>
                </c:pt>
                <c:pt idx="253">
                  <c:v>0.39</c:v>
                </c:pt>
                <c:pt idx="254">
                  <c:v>0.39</c:v>
                </c:pt>
                <c:pt idx="255">
                  <c:v>0.4</c:v>
                </c:pt>
                <c:pt idx="256">
                  <c:v>0.39</c:v>
                </c:pt>
                <c:pt idx="257">
                  <c:v>0.39</c:v>
                </c:pt>
                <c:pt idx="258">
                  <c:v>0.4</c:v>
                </c:pt>
                <c:pt idx="259">
                  <c:v>0.39</c:v>
                </c:pt>
                <c:pt idx="260">
                  <c:v>0.37</c:v>
                </c:pt>
                <c:pt idx="261">
                  <c:v>0.38</c:v>
                </c:pt>
                <c:pt idx="262">
                  <c:v>0.36</c:v>
                </c:pt>
                <c:pt idx="263">
                  <c:v>0.37</c:v>
                </c:pt>
                <c:pt idx="264">
                  <c:v>0.37</c:v>
                </c:pt>
                <c:pt idx="265">
                  <c:v>0.36</c:v>
                </c:pt>
                <c:pt idx="266">
                  <c:v>0.37</c:v>
                </c:pt>
                <c:pt idx="267">
                  <c:v>0.37</c:v>
                </c:pt>
                <c:pt idx="268">
                  <c:v>0.38</c:v>
                </c:pt>
                <c:pt idx="269">
                  <c:v>0.38</c:v>
                </c:pt>
                <c:pt idx="270">
                  <c:v>0.38</c:v>
                </c:pt>
                <c:pt idx="271">
                  <c:v>0.39</c:v>
                </c:pt>
                <c:pt idx="272">
                  <c:v>0.39</c:v>
                </c:pt>
                <c:pt idx="273">
                  <c:v>0.39</c:v>
                </c:pt>
                <c:pt idx="274">
                  <c:v>0.39</c:v>
                </c:pt>
                <c:pt idx="275">
                  <c:v>0.4</c:v>
                </c:pt>
                <c:pt idx="276">
                  <c:v>0.42</c:v>
                </c:pt>
                <c:pt idx="277">
                  <c:v>0.42</c:v>
                </c:pt>
                <c:pt idx="278">
                  <c:v>0.4</c:v>
                </c:pt>
                <c:pt idx="279">
                  <c:v>0.41</c:v>
                </c:pt>
                <c:pt idx="280">
                  <c:v>0.42</c:v>
                </c:pt>
                <c:pt idx="281">
                  <c:v>0.42</c:v>
                </c:pt>
                <c:pt idx="282">
                  <c:v>0.43</c:v>
                </c:pt>
                <c:pt idx="283">
                  <c:v>0.41</c:v>
                </c:pt>
                <c:pt idx="284">
                  <c:v>0.42</c:v>
                </c:pt>
                <c:pt idx="285">
                  <c:v>0.43</c:v>
                </c:pt>
                <c:pt idx="286">
                  <c:v>0.43</c:v>
                </c:pt>
                <c:pt idx="287">
                  <c:v>0.44</c:v>
                </c:pt>
                <c:pt idx="288">
                  <c:v>0.44</c:v>
                </c:pt>
                <c:pt idx="289">
                  <c:v>0.43</c:v>
                </c:pt>
                <c:pt idx="290">
                  <c:v>0.43</c:v>
                </c:pt>
                <c:pt idx="291">
                  <c:v>0.44</c:v>
                </c:pt>
                <c:pt idx="292">
                  <c:v>0.42</c:v>
                </c:pt>
                <c:pt idx="293">
                  <c:v>0.44</c:v>
                </c:pt>
                <c:pt idx="294">
                  <c:v>0.42</c:v>
                </c:pt>
                <c:pt idx="295">
                  <c:v>0.42</c:v>
                </c:pt>
                <c:pt idx="296">
                  <c:v>0.43</c:v>
                </c:pt>
                <c:pt idx="297">
                  <c:v>0.42</c:v>
                </c:pt>
                <c:pt idx="298">
                  <c:v>0.43</c:v>
                </c:pt>
                <c:pt idx="299">
                  <c:v>0.42</c:v>
                </c:pt>
                <c:pt idx="300">
                  <c:v>0.42</c:v>
                </c:pt>
                <c:pt idx="301">
                  <c:v>0.43</c:v>
                </c:pt>
                <c:pt idx="302">
                  <c:v>0.42</c:v>
                </c:pt>
                <c:pt idx="303">
                  <c:v>0.43</c:v>
                </c:pt>
                <c:pt idx="304">
                  <c:v>0.43</c:v>
                </c:pt>
                <c:pt idx="305">
                  <c:v>0.44</c:v>
                </c:pt>
                <c:pt idx="306">
                  <c:v>0.43</c:v>
                </c:pt>
                <c:pt idx="307">
                  <c:v>0.43</c:v>
                </c:pt>
                <c:pt idx="308">
                  <c:v>0.42</c:v>
                </c:pt>
                <c:pt idx="309">
                  <c:v>0.42</c:v>
                </c:pt>
                <c:pt idx="310">
                  <c:v>0.43</c:v>
                </c:pt>
                <c:pt idx="311">
                  <c:v>0.42</c:v>
                </c:pt>
                <c:pt idx="312">
                  <c:v>0.42</c:v>
                </c:pt>
                <c:pt idx="313">
                  <c:v>0.42</c:v>
                </c:pt>
                <c:pt idx="314">
                  <c:v>0.43</c:v>
                </c:pt>
                <c:pt idx="315">
                  <c:v>0.42</c:v>
                </c:pt>
                <c:pt idx="316">
                  <c:v>0.43</c:v>
                </c:pt>
                <c:pt idx="317">
                  <c:v>0.43</c:v>
                </c:pt>
                <c:pt idx="318">
                  <c:v>0.43</c:v>
                </c:pt>
                <c:pt idx="319">
                  <c:v>0.43</c:v>
                </c:pt>
                <c:pt idx="320">
                  <c:v>0.41</c:v>
                </c:pt>
                <c:pt idx="321">
                  <c:v>0.42</c:v>
                </c:pt>
                <c:pt idx="322">
                  <c:v>0.42</c:v>
                </c:pt>
                <c:pt idx="323">
                  <c:v>0.42</c:v>
                </c:pt>
                <c:pt idx="324">
                  <c:v>0.43</c:v>
                </c:pt>
                <c:pt idx="325">
                  <c:v>0.42</c:v>
                </c:pt>
                <c:pt idx="326">
                  <c:v>0.43</c:v>
                </c:pt>
                <c:pt idx="327">
                  <c:v>0.43</c:v>
                </c:pt>
                <c:pt idx="328">
                  <c:v>0.43</c:v>
                </c:pt>
                <c:pt idx="329">
                  <c:v>0.43</c:v>
                </c:pt>
                <c:pt idx="330">
                  <c:v>0.43</c:v>
                </c:pt>
                <c:pt idx="331">
                  <c:v>0.43</c:v>
                </c:pt>
                <c:pt idx="332">
                  <c:v>0.42</c:v>
                </c:pt>
                <c:pt idx="333">
                  <c:v>0.43</c:v>
                </c:pt>
                <c:pt idx="334">
                  <c:v>0.42</c:v>
                </c:pt>
                <c:pt idx="335">
                  <c:v>0.42</c:v>
                </c:pt>
                <c:pt idx="336">
                  <c:v>0.41</c:v>
                </c:pt>
                <c:pt idx="337">
                  <c:v>0.42</c:v>
                </c:pt>
                <c:pt idx="338">
                  <c:v>0.43</c:v>
                </c:pt>
                <c:pt idx="339">
                  <c:v>0.43</c:v>
                </c:pt>
                <c:pt idx="340">
                  <c:v>0.44</c:v>
                </c:pt>
                <c:pt idx="341">
                  <c:v>0.44</c:v>
                </c:pt>
                <c:pt idx="342">
                  <c:v>0.44</c:v>
                </c:pt>
                <c:pt idx="343">
                  <c:v>0.44</c:v>
                </c:pt>
                <c:pt idx="344">
                  <c:v>0.45</c:v>
                </c:pt>
                <c:pt idx="345">
                  <c:v>0.44</c:v>
                </c:pt>
                <c:pt idx="346">
                  <c:v>0.44</c:v>
                </c:pt>
                <c:pt idx="347">
                  <c:v>0.44</c:v>
                </c:pt>
                <c:pt idx="348">
                  <c:v>0.44</c:v>
                </c:pt>
                <c:pt idx="349">
                  <c:v>0.45</c:v>
                </c:pt>
                <c:pt idx="350">
                  <c:v>0.46</c:v>
                </c:pt>
                <c:pt idx="351">
                  <c:v>0.44</c:v>
                </c:pt>
                <c:pt idx="352">
                  <c:v>0.44</c:v>
                </c:pt>
                <c:pt idx="353">
                  <c:v>0.45</c:v>
                </c:pt>
                <c:pt idx="354">
                  <c:v>0.46</c:v>
                </c:pt>
                <c:pt idx="355">
                  <c:v>0.44</c:v>
                </c:pt>
                <c:pt idx="356">
                  <c:v>0.44</c:v>
                </c:pt>
                <c:pt idx="357">
                  <c:v>0.43</c:v>
                </c:pt>
                <c:pt idx="358">
                  <c:v>0.42</c:v>
                </c:pt>
                <c:pt idx="359">
                  <c:v>0.44</c:v>
                </c:pt>
                <c:pt idx="360">
                  <c:v>0.43</c:v>
                </c:pt>
                <c:pt idx="361">
                  <c:v>0.44</c:v>
                </c:pt>
                <c:pt idx="362">
                  <c:v>0.45</c:v>
                </c:pt>
                <c:pt idx="363">
                  <c:v>0.46</c:v>
                </c:pt>
                <c:pt idx="364">
                  <c:v>0.46</c:v>
                </c:pt>
                <c:pt idx="365">
                  <c:v>0.46</c:v>
                </c:pt>
                <c:pt idx="366">
                  <c:v>0.45</c:v>
                </c:pt>
                <c:pt idx="367">
                  <c:v>0.45</c:v>
                </c:pt>
                <c:pt idx="368">
                  <c:v>0.46</c:v>
                </c:pt>
                <c:pt idx="369">
                  <c:v>0.45</c:v>
                </c:pt>
                <c:pt idx="370">
                  <c:v>0.45</c:v>
                </c:pt>
                <c:pt idx="371">
                  <c:v>0.46</c:v>
                </c:pt>
                <c:pt idx="372">
                  <c:v>0.45</c:v>
                </c:pt>
                <c:pt idx="373">
                  <c:v>0.45</c:v>
                </c:pt>
                <c:pt idx="374">
                  <c:v>0.45</c:v>
                </c:pt>
                <c:pt idx="375">
                  <c:v>0.44</c:v>
                </c:pt>
                <c:pt idx="376">
                  <c:v>0.45</c:v>
                </c:pt>
                <c:pt idx="377">
                  <c:v>0.46</c:v>
                </c:pt>
                <c:pt idx="378">
                  <c:v>0.45</c:v>
                </c:pt>
                <c:pt idx="379">
                  <c:v>0.45</c:v>
                </c:pt>
                <c:pt idx="380">
                  <c:v>0.44</c:v>
                </c:pt>
                <c:pt idx="381">
                  <c:v>0.44</c:v>
                </c:pt>
                <c:pt idx="382">
                  <c:v>0.44</c:v>
                </c:pt>
                <c:pt idx="383">
                  <c:v>0.43</c:v>
                </c:pt>
                <c:pt idx="384">
                  <c:v>0.43</c:v>
                </c:pt>
                <c:pt idx="385">
                  <c:v>0.43</c:v>
                </c:pt>
                <c:pt idx="386">
                  <c:v>0.42</c:v>
                </c:pt>
                <c:pt idx="387">
                  <c:v>0.42</c:v>
                </c:pt>
                <c:pt idx="388">
                  <c:v>0.42</c:v>
                </c:pt>
                <c:pt idx="389">
                  <c:v>0.42</c:v>
                </c:pt>
                <c:pt idx="390">
                  <c:v>0.43</c:v>
                </c:pt>
                <c:pt idx="391">
                  <c:v>0.44</c:v>
                </c:pt>
              </c:numCache>
            </c:numRef>
          </c:val>
          <c:smooth val="0"/>
          <c:extLst>
            <c:ext xmlns:c16="http://schemas.microsoft.com/office/drawing/2014/chart" uri="{C3380CC4-5D6E-409C-BE32-E72D297353CC}">
              <c16:uniqueId val="{00000001-C37D-48CD-B97C-EFC885BBD124}"/>
            </c:ext>
          </c:extLst>
        </c:ser>
        <c:ser>
          <c:idx val="2"/>
          <c:order val="2"/>
          <c:tx>
            <c:strRef>
              <c:f>Worksheet!$M$1:$M$7</c:f>
              <c:strCache>
                <c:ptCount val="7"/>
                <c:pt idx="6">
                  <c:v>Harris</c:v>
                </c:pt>
              </c:strCache>
            </c:strRef>
          </c:tx>
          <c:spPr>
            <a:ln w="28575" cap="rnd">
              <a:solidFill>
                <a:schemeClr val="tx2"/>
              </a:solidFill>
              <a:round/>
            </a:ln>
            <a:effectLst/>
          </c:spPr>
          <c:marker>
            <c:symbol val="none"/>
          </c:marker>
          <c:cat>
            <c:numRef>
              <c:f>Worksheet!$J$7:$J$398</c:f>
              <c:numCache>
                <c:formatCode>dd\.mm\.yyyy</c:formatCode>
                <c:ptCount val="392"/>
                <c:pt idx="1">
                  <c:v>45519</c:v>
                </c:pt>
                <c:pt idx="2">
                  <c:v>45518</c:v>
                </c:pt>
                <c:pt idx="3">
                  <c:v>45517</c:v>
                </c:pt>
                <c:pt idx="4">
                  <c:v>45516</c:v>
                </c:pt>
                <c:pt idx="5">
                  <c:v>45515</c:v>
                </c:pt>
                <c:pt idx="6">
                  <c:v>45514</c:v>
                </c:pt>
                <c:pt idx="7">
                  <c:v>45513</c:v>
                </c:pt>
                <c:pt idx="8">
                  <c:v>45512</c:v>
                </c:pt>
                <c:pt idx="9">
                  <c:v>45511</c:v>
                </c:pt>
                <c:pt idx="10">
                  <c:v>45510</c:v>
                </c:pt>
                <c:pt idx="11">
                  <c:v>45509</c:v>
                </c:pt>
                <c:pt idx="12">
                  <c:v>45508</c:v>
                </c:pt>
                <c:pt idx="13">
                  <c:v>45507</c:v>
                </c:pt>
                <c:pt idx="14">
                  <c:v>45506</c:v>
                </c:pt>
                <c:pt idx="15">
                  <c:v>45505</c:v>
                </c:pt>
                <c:pt idx="16">
                  <c:v>45504</c:v>
                </c:pt>
                <c:pt idx="17">
                  <c:v>45503</c:v>
                </c:pt>
                <c:pt idx="18">
                  <c:v>45502</c:v>
                </c:pt>
                <c:pt idx="19">
                  <c:v>45501</c:v>
                </c:pt>
                <c:pt idx="20">
                  <c:v>45500</c:v>
                </c:pt>
                <c:pt idx="21">
                  <c:v>45499</c:v>
                </c:pt>
                <c:pt idx="22">
                  <c:v>45498</c:v>
                </c:pt>
                <c:pt idx="23">
                  <c:v>45497</c:v>
                </c:pt>
                <c:pt idx="24">
                  <c:v>45496</c:v>
                </c:pt>
                <c:pt idx="25">
                  <c:v>45495</c:v>
                </c:pt>
                <c:pt idx="26">
                  <c:v>45494</c:v>
                </c:pt>
                <c:pt idx="27">
                  <c:v>45493</c:v>
                </c:pt>
                <c:pt idx="28">
                  <c:v>45492</c:v>
                </c:pt>
                <c:pt idx="29">
                  <c:v>45491</c:v>
                </c:pt>
                <c:pt idx="30">
                  <c:v>45490</c:v>
                </c:pt>
                <c:pt idx="31">
                  <c:v>45489</c:v>
                </c:pt>
                <c:pt idx="32">
                  <c:v>45488</c:v>
                </c:pt>
                <c:pt idx="33">
                  <c:v>45487</c:v>
                </c:pt>
                <c:pt idx="34">
                  <c:v>45486</c:v>
                </c:pt>
                <c:pt idx="35">
                  <c:v>45485</c:v>
                </c:pt>
                <c:pt idx="36">
                  <c:v>45484</c:v>
                </c:pt>
                <c:pt idx="37">
                  <c:v>45483</c:v>
                </c:pt>
                <c:pt idx="38">
                  <c:v>45482</c:v>
                </c:pt>
                <c:pt idx="39">
                  <c:v>45481</c:v>
                </c:pt>
                <c:pt idx="40">
                  <c:v>45480</c:v>
                </c:pt>
                <c:pt idx="41">
                  <c:v>45479</c:v>
                </c:pt>
                <c:pt idx="42">
                  <c:v>45478</c:v>
                </c:pt>
                <c:pt idx="43">
                  <c:v>45477</c:v>
                </c:pt>
                <c:pt idx="44">
                  <c:v>45476</c:v>
                </c:pt>
                <c:pt idx="45">
                  <c:v>45475</c:v>
                </c:pt>
                <c:pt idx="46">
                  <c:v>45474</c:v>
                </c:pt>
                <c:pt idx="47">
                  <c:v>45473</c:v>
                </c:pt>
                <c:pt idx="48">
                  <c:v>45472</c:v>
                </c:pt>
                <c:pt idx="49">
                  <c:v>45471</c:v>
                </c:pt>
                <c:pt idx="50">
                  <c:v>45470</c:v>
                </c:pt>
                <c:pt idx="51">
                  <c:v>45469</c:v>
                </c:pt>
                <c:pt idx="52">
                  <c:v>45468</c:v>
                </c:pt>
                <c:pt idx="53">
                  <c:v>45467</c:v>
                </c:pt>
                <c:pt idx="54">
                  <c:v>45466</c:v>
                </c:pt>
                <c:pt idx="55">
                  <c:v>45465</c:v>
                </c:pt>
                <c:pt idx="56">
                  <c:v>45464</c:v>
                </c:pt>
                <c:pt idx="57">
                  <c:v>45463</c:v>
                </c:pt>
                <c:pt idx="58">
                  <c:v>45462</c:v>
                </c:pt>
                <c:pt idx="59">
                  <c:v>45461</c:v>
                </c:pt>
                <c:pt idx="60">
                  <c:v>45460</c:v>
                </c:pt>
                <c:pt idx="61">
                  <c:v>45459</c:v>
                </c:pt>
                <c:pt idx="62">
                  <c:v>45458</c:v>
                </c:pt>
                <c:pt idx="63">
                  <c:v>45457</c:v>
                </c:pt>
                <c:pt idx="64">
                  <c:v>45456</c:v>
                </c:pt>
                <c:pt idx="65">
                  <c:v>45455</c:v>
                </c:pt>
                <c:pt idx="66">
                  <c:v>45454</c:v>
                </c:pt>
                <c:pt idx="67">
                  <c:v>45453</c:v>
                </c:pt>
                <c:pt idx="68">
                  <c:v>45452</c:v>
                </c:pt>
                <c:pt idx="69">
                  <c:v>45451</c:v>
                </c:pt>
                <c:pt idx="70">
                  <c:v>45450</c:v>
                </c:pt>
                <c:pt idx="71">
                  <c:v>45449</c:v>
                </c:pt>
                <c:pt idx="72">
                  <c:v>45448</c:v>
                </c:pt>
                <c:pt idx="73">
                  <c:v>45447</c:v>
                </c:pt>
                <c:pt idx="74">
                  <c:v>45446</c:v>
                </c:pt>
                <c:pt idx="75">
                  <c:v>45445</c:v>
                </c:pt>
                <c:pt idx="76">
                  <c:v>45444</c:v>
                </c:pt>
                <c:pt idx="77">
                  <c:v>45443</c:v>
                </c:pt>
                <c:pt idx="78">
                  <c:v>45442</c:v>
                </c:pt>
                <c:pt idx="79">
                  <c:v>45441</c:v>
                </c:pt>
                <c:pt idx="80">
                  <c:v>45440</c:v>
                </c:pt>
                <c:pt idx="81">
                  <c:v>45439</c:v>
                </c:pt>
                <c:pt idx="82">
                  <c:v>45438</c:v>
                </c:pt>
                <c:pt idx="83">
                  <c:v>45437</c:v>
                </c:pt>
                <c:pt idx="84">
                  <c:v>45436</c:v>
                </c:pt>
                <c:pt idx="85">
                  <c:v>45435</c:v>
                </c:pt>
                <c:pt idx="86">
                  <c:v>45434</c:v>
                </c:pt>
                <c:pt idx="87">
                  <c:v>45433</c:v>
                </c:pt>
                <c:pt idx="88">
                  <c:v>45432</c:v>
                </c:pt>
                <c:pt idx="89">
                  <c:v>45431</c:v>
                </c:pt>
                <c:pt idx="90">
                  <c:v>45430</c:v>
                </c:pt>
                <c:pt idx="91">
                  <c:v>45429</c:v>
                </c:pt>
                <c:pt idx="92">
                  <c:v>45428</c:v>
                </c:pt>
                <c:pt idx="93">
                  <c:v>45427</c:v>
                </c:pt>
                <c:pt idx="94">
                  <c:v>45426</c:v>
                </c:pt>
                <c:pt idx="95">
                  <c:v>45425</c:v>
                </c:pt>
                <c:pt idx="96">
                  <c:v>45424</c:v>
                </c:pt>
                <c:pt idx="97">
                  <c:v>45423</c:v>
                </c:pt>
                <c:pt idx="98">
                  <c:v>45422</c:v>
                </c:pt>
                <c:pt idx="99">
                  <c:v>45421</c:v>
                </c:pt>
                <c:pt idx="100">
                  <c:v>45420</c:v>
                </c:pt>
                <c:pt idx="101">
                  <c:v>45419</c:v>
                </c:pt>
                <c:pt idx="102">
                  <c:v>45418</c:v>
                </c:pt>
                <c:pt idx="103">
                  <c:v>45417</c:v>
                </c:pt>
                <c:pt idx="104">
                  <c:v>45416</c:v>
                </c:pt>
                <c:pt idx="105">
                  <c:v>45415</c:v>
                </c:pt>
                <c:pt idx="106">
                  <c:v>45414</c:v>
                </c:pt>
                <c:pt idx="107">
                  <c:v>45413</c:v>
                </c:pt>
                <c:pt idx="108">
                  <c:v>45412</c:v>
                </c:pt>
                <c:pt idx="109">
                  <c:v>45411</c:v>
                </c:pt>
                <c:pt idx="110">
                  <c:v>45410</c:v>
                </c:pt>
                <c:pt idx="111">
                  <c:v>45409</c:v>
                </c:pt>
                <c:pt idx="112">
                  <c:v>45408</c:v>
                </c:pt>
                <c:pt idx="113">
                  <c:v>45407</c:v>
                </c:pt>
                <c:pt idx="114">
                  <c:v>45406</c:v>
                </c:pt>
                <c:pt idx="115">
                  <c:v>45405</c:v>
                </c:pt>
                <c:pt idx="116">
                  <c:v>45404</c:v>
                </c:pt>
                <c:pt idx="117">
                  <c:v>45403</c:v>
                </c:pt>
                <c:pt idx="118">
                  <c:v>45402</c:v>
                </c:pt>
                <c:pt idx="119">
                  <c:v>45401</c:v>
                </c:pt>
                <c:pt idx="120">
                  <c:v>45400</c:v>
                </c:pt>
                <c:pt idx="121">
                  <c:v>45399</c:v>
                </c:pt>
                <c:pt idx="122">
                  <c:v>45398</c:v>
                </c:pt>
                <c:pt idx="123">
                  <c:v>45397</c:v>
                </c:pt>
                <c:pt idx="124">
                  <c:v>45396</c:v>
                </c:pt>
                <c:pt idx="125">
                  <c:v>45395</c:v>
                </c:pt>
                <c:pt idx="126">
                  <c:v>45394</c:v>
                </c:pt>
                <c:pt idx="127">
                  <c:v>45393</c:v>
                </c:pt>
                <c:pt idx="128">
                  <c:v>45392</c:v>
                </c:pt>
                <c:pt idx="129">
                  <c:v>45391</c:v>
                </c:pt>
                <c:pt idx="130">
                  <c:v>45390</c:v>
                </c:pt>
                <c:pt idx="131">
                  <c:v>45389</c:v>
                </c:pt>
                <c:pt idx="132">
                  <c:v>45388</c:v>
                </c:pt>
                <c:pt idx="133">
                  <c:v>45387</c:v>
                </c:pt>
                <c:pt idx="134">
                  <c:v>45386</c:v>
                </c:pt>
                <c:pt idx="135">
                  <c:v>45385</c:v>
                </c:pt>
                <c:pt idx="136">
                  <c:v>45384</c:v>
                </c:pt>
                <c:pt idx="137">
                  <c:v>45383</c:v>
                </c:pt>
                <c:pt idx="138">
                  <c:v>45382</c:v>
                </c:pt>
                <c:pt idx="139">
                  <c:v>45381</c:v>
                </c:pt>
                <c:pt idx="140">
                  <c:v>45380</c:v>
                </c:pt>
                <c:pt idx="141">
                  <c:v>45379</c:v>
                </c:pt>
                <c:pt idx="142">
                  <c:v>45378</c:v>
                </c:pt>
                <c:pt idx="143">
                  <c:v>45377</c:v>
                </c:pt>
                <c:pt idx="144">
                  <c:v>45376</c:v>
                </c:pt>
                <c:pt idx="145">
                  <c:v>45375</c:v>
                </c:pt>
                <c:pt idx="146">
                  <c:v>45374</c:v>
                </c:pt>
                <c:pt idx="147">
                  <c:v>45373</c:v>
                </c:pt>
                <c:pt idx="148">
                  <c:v>45372</c:v>
                </c:pt>
                <c:pt idx="149">
                  <c:v>45371</c:v>
                </c:pt>
                <c:pt idx="150">
                  <c:v>45370</c:v>
                </c:pt>
                <c:pt idx="151">
                  <c:v>45369</c:v>
                </c:pt>
                <c:pt idx="152">
                  <c:v>45368</c:v>
                </c:pt>
                <c:pt idx="153">
                  <c:v>45367</c:v>
                </c:pt>
                <c:pt idx="154">
                  <c:v>45366</c:v>
                </c:pt>
                <c:pt idx="155">
                  <c:v>45365</c:v>
                </c:pt>
                <c:pt idx="156">
                  <c:v>45364</c:v>
                </c:pt>
                <c:pt idx="157">
                  <c:v>45363</c:v>
                </c:pt>
                <c:pt idx="158">
                  <c:v>45362</c:v>
                </c:pt>
                <c:pt idx="159">
                  <c:v>45361</c:v>
                </c:pt>
                <c:pt idx="160">
                  <c:v>45360</c:v>
                </c:pt>
                <c:pt idx="161">
                  <c:v>45359</c:v>
                </c:pt>
                <c:pt idx="162">
                  <c:v>45358</c:v>
                </c:pt>
                <c:pt idx="163">
                  <c:v>45357</c:v>
                </c:pt>
                <c:pt idx="164">
                  <c:v>45356</c:v>
                </c:pt>
                <c:pt idx="165">
                  <c:v>45355</c:v>
                </c:pt>
                <c:pt idx="166">
                  <c:v>45354</c:v>
                </c:pt>
                <c:pt idx="167">
                  <c:v>45353</c:v>
                </c:pt>
                <c:pt idx="168">
                  <c:v>45352</c:v>
                </c:pt>
                <c:pt idx="169">
                  <c:v>45351</c:v>
                </c:pt>
                <c:pt idx="170">
                  <c:v>45350</c:v>
                </c:pt>
                <c:pt idx="171">
                  <c:v>45349</c:v>
                </c:pt>
                <c:pt idx="172">
                  <c:v>45348</c:v>
                </c:pt>
                <c:pt idx="173">
                  <c:v>45347</c:v>
                </c:pt>
                <c:pt idx="174">
                  <c:v>45346</c:v>
                </c:pt>
                <c:pt idx="175">
                  <c:v>45345</c:v>
                </c:pt>
                <c:pt idx="176">
                  <c:v>45344</c:v>
                </c:pt>
                <c:pt idx="177">
                  <c:v>45343</c:v>
                </c:pt>
                <c:pt idx="178">
                  <c:v>45342</c:v>
                </c:pt>
                <c:pt idx="179">
                  <c:v>45341</c:v>
                </c:pt>
                <c:pt idx="180">
                  <c:v>45340</c:v>
                </c:pt>
                <c:pt idx="181">
                  <c:v>45339</c:v>
                </c:pt>
                <c:pt idx="182">
                  <c:v>45338</c:v>
                </c:pt>
                <c:pt idx="183">
                  <c:v>45337</c:v>
                </c:pt>
                <c:pt idx="184">
                  <c:v>45336</c:v>
                </c:pt>
                <c:pt idx="185">
                  <c:v>45335</c:v>
                </c:pt>
                <c:pt idx="186">
                  <c:v>45334</c:v>
                </c:pt>
                <c:pt idx="187">
                  <c:v>45333</c:v>
                </c:pt>
                <c:pt idx="188">
                  <c:v>45332</c:v>
                </c:pt>
                <c:pt idx="189">
                  <c:v>45331</c:v>
                </c:pt>
                <c:pt idx="190">
                  <c:v>45330</c:v>
                </c:pt>
                <c:pt idx="191">
                  <c:v>45329</c:v>
                </c:pt>
                <c:pt idx="192">
                  <c:v>45328</c:v>
                </c:pt>
                <c:pt idx="193">
                  <c:v>45327</c:v>
                </c:pt>
                <c:pt idx="194">
                  <c:v>45326</c:v>
                </c:pt>
                <c:pt idx="195">
                  <c:v>45325</c:v>
                </c:pt>
                <c:pt idx="196">
                  <c:v>45324</c:v>
                </c:pt>
                <c:pt idx="197">
                  <c:v>45323</c:v>
                </c:pt>
                <c:pt idx="198">
                  <c:v>45322</c:v>
                </c:pt>
                <c:pt idx="199">
                  <c:v>45321</c:v>
                </c:pt>
                <c:pt idx="200">
                  <c:v>45320</c:v>
                </c:pt>
                <c:pt idx="201">
                  <c:v>45319</c:v>
                </c:pt>
                <c:pt idx="202">
                  <c:v>45318</c:v>
                </c:pt>
                <c:pt idx="203">
                  <c:v>45317</c:v>
                </c:pt>
                <c:pt idx="204">
                  <c:v>45316</c:v>
                </c:pt>
                <c:pt idx="205">
                  <c:v>45315</c:v>
                </c:pt>
                <c:pt idx="206">
                  <c:v>45314</c:v>
                </c:pt>
                <c:pt idx="207">
                  <c:v>45313</c:v>
                </c:pt>
                <c:pt idx="208">
                  <c:v>45312</c:v>
                </c:pt>
                <c:pt idx="209">
                  <c:v>45311</c:v>
                </c:pt>
                <c:pt idx="210">
                  <c:v>45310</c:v>
                </c:pt>
                <c:pt idx="211">
                  <c:v>45309</c:v>
                </c:pt>
                <c:pt idx="212">
                  <c:v>45308</c:v>
                </c:pt>
                <c:pt idx="213">
                  <c:v>45307</c:v>
                </c:pt>
                <c:pt idx="214">
                  <c:v>45306</c:v>
                </c:pt>
                <c:pt idx="215">
                  <c:v>45305</c:v>
                </c:pt>
                <c:pt idx="216">
                  <c:v>45304</c:v>
                </c:pt>
                <c:pt idx="217">
                  <c:v>45303</c:v>
                </c:pt>
                <c:pt idx="218">
                  <c:v>45302</c:v>
                </c:pt>
                <c:pt idx="219">
                  <c:v>45301</c:v>
                </c:pt>
                <c:pt idx="220">
                  <c:v>45300</c:v>
                </c:pt>
                <c:pt idx="221">
                  <c:v>45299</c:v>
                </c:pt>
                <c:pt idx="222">
                  <c:v>45298</c:v>
                </c:pt>
                <c:pt idx="223">
                  <c:v>45297</c:v>
                </c:pt>
                <c:pt idx="224">
                  <c:v>45296</c:v>
                </c:pt>
                <c:pt idx="225">
                  <c:v>45295</c:v>
                </c:pt>
                <c:pt idx="226">
                  <c:v>45294</c:v>
                </c:pt>
                <c:pt idx="227">
                  <c:v>45293</c:v>
                </c:pt>
                <c:pt idx="228">
                  <c:v>45292</c:v>
                </c:pt>
                <c:pt idx="229">
                  <c:v>45291</c:v>
                </c:pt>
                <c:pt idx="230">
                  <c:v>45290</c:v>
                </c:pt>
                <c:pt idx="231">
                  <c:v>45289</c:v>
                </c:pt>
                <c:pt idx="232">
                  <c:v>45288</c:v>
                </c:pt>
                <c:pt idx="233">
                  <c:v>45287</c:v>
                </c:pt>
                <c:pt idx="234">
                  <c:v>45286</c:v>
                </c:pt>
                <c:pt idx="235">
                  <c:v>45285</c:v>
                </c:pt>
                <c:pt idx="236">
                  <c:v>45284</c:v>
                </c:pt>
                <c:pt idx="237">
                  <c:v>45283</c:v>
                </c:pt>
                <c:pt idx="238">
                  <c:v>45282</c:v>
                </c:pt>
                <c:pt idx="239">
                  <c:v>45281</c:v>
                </c:pt>
                <c:pt idx="240">
                  <c:v>45280</c:v>
                </c:pt>
                <c:pt idx="241">
                  <c:v>45279</c:v>
                </c:pt>
                <c:pt idx="242">
                  <c:v>45278</c:v>
                </c:pt>
                <c:pt idx="243">
                  <c:v>45277</c:v>
                </c:pt>
                <c:pt idx="244">
                  <c:v>45276</c:v>
                </c:pt>
                <c:pt idx="245">
                  <c:v>45275</c:v>
                </c:pt>
                <c:pt idx="246">
                  <c:v>45274</c:v>
                </c:pt>
                <c:pt idx="247">
                  <c:v>45273</c:v>
                </c:pt>
                <c:pt idx="248">
                  <c:v>45272</c:v>
                </c:pt>
                <c:pt idx="249">
                  <c:v>45271</c:v>
                </c:pt>
                <c:pt idx="250">
                  <c:v>45270</c:v>
                </c:pt>
                <c:pt idx="251">
                  <c:v>45269</c:v>
                </c:pt>
                <c:pt idx="252">
                  <c:v>45268</c:v>
                </c:pt>
                <c:pt idx="253">
                  <c:v>45267</c:v>
                </c:pt>
                <c:pt idx="254">
                  <c:v>45266</c:v>
                </c:pt>
                <c:pt idx="255">
                  <c:v>45265</c:v>
                </c:pt>
                <c:pt idx="256">
                  <c:v>45264</c:v>
                </c:pt>
                <c:pt idx="257">
                  <c:v>45263</c:v>
                </c:pt>
                <c:pt idx="258">
                  <c:v>45262</c:v>
                </c:pt>
                <c:pt idx="259">
                  <c:v>45261</c:v>
                </c:pt>
                <c:pt idx="260">
                  <c:v>45260</c:v>
                </c:pt>
                <c:pt idx="261">
                  <c:v>45259</c:v>
                </c:pt>
                <c:pt idx="262">
                  <c:v>45258</c:v>
                </c:pt>
                <c:pt idx="263">
                  <c:v>45257</c:v>
                </c:pt>
                <c:pt idx="264">
                  <c:v>45256</c:v>
                </c:pt>
                <c:pt idx="265">
                  <c:v>45255</c:v>
                </c:pt>
                <c:pt idx="266">
                  <c:v>45254</c:v>
                </c:pt>
                <c:pt idx="267">
                  <c:v>45253</c:v>
                </c:pt>
                <c:pt idx="268">
                  <c:v>45252</c:v>
                </c:pt>
                <c:pt idx="269">
                  <c:v>45251</c:v>
                </c:pt>
                <c:pt idx="270">
                  <c:v>45250</c:v>
                </c:pt>
                <c:pt idx="271">
                  <c:v>45249</c:v>
                </c:pt>
                <c:pt idx="272">
                  <c:v>45248</c:v>
                </c:pt>
                <c:pt idx="273">
                  <c:v>45247</c:v>
                </c:pt>
                <c:pt idx="274">
                  <c:v>45246</c:v>
                </c:pt>
                <c:pt idx="275">
                  <c:v>45245</c:v>
                </c:pt>
                <c:pt idx="276">
                  <c:v>45244</c:v>
                </c:pt>
                <c:pt idx="277">
                  <c:v>45243</c:v>
                </c:pt>
                <c:pt idx="278">
                  <c:v>45242</c:v>
                </c:pt>
                <c:pt idx="279">
                  <c:v>45241</c:v>
                </c:pt>
                <c:pt idx="280">
                  <c:v>45240</c:v>
                </c:pt>
                <c:pt idx="281">
                  <c:v>45239</c:v>
                </c:pt>
                <c:pt idx="282">
                  <c:v>45238</c:v>
                </c:pt>
                <c:pt idx="283">
                  <c:v>45237</c:v>
                </c:pt>
                <c:pt idx="284">
                  <c:v>45236</c:v>
                </c:pt>
                <c:pt idx="285">
                  <c:v>45235</c:v>
                </c:pt>
                <c:pt idx="286">
                  <c:v>45234</c:v>
                </c:pt>
                <c:pt idx="287">
                  <c:v>45233</c:v>
                </c:pt>
                <c:pt idx="288">
                  <c:v>45232</c:v>
                </c:pt>
                <c:pt idx="289">
                  <c:v>45231</c:v>
                </c:pt>
                <c:pt idx="290">
                  <c:v>45230</c:v>
                </c:pt>
                <c:pt idx="291">
                  <c:v>45229</c:v>
                </c:pt>
                <c:pt idx="292">
                  <c:v>45228</c:v>
                </c:pt>
                <c:pt idx="293">
                  <c:v>45227</c:v>
                </c:pt>
                <c:pt idx="294">
                  <c:v>45226</c:v>
                </c:pt>
                <c:pt idx="295">
                  <c:v>45225</c:v>
                </c:pt>
                <c:pt idx="296">
                  <c:v>45224</c:v>
                </c:pt>
                <c:pt idx="297">
                  <c:v>45223</c:v>
                </c:pt>
                <c:pt idx="298">
                  <c:v>45222</c:v>
                </c:pt>
                <c:pt idx="299">
                  <c:v>45221</c:v>
                </c:pt>
                <c:pt idx="300">
                  <c:v>45220</c:v>
                </c:pt>
                <c:pt idx="301">
                  <c:v>45219</c:v>
                </c:pt>
                <c:pt idx="302">
                  <c:v>45218</c:v>
                </c:pt>
                <c:pt idx="303">
                  <c:v>45217</c:v>
                </c:pt>
                <c:pt idx="304">
                  <c:v>45216</c:v>
                </c:pt>
                <c:pt idx="305">
                  <c:v>45215</c:v>
                </c:pt>
                <c:pt idx="306">
                  <c:v>45214</c:v>
                </c:pt>
                <c:pt idx="307">
                  <c:v>45213</c:v>
                </c:pt>
                <c:pt idx="308">
                  <c:v>45212</c:v>
                </c:pt>
                <c:pt idx="309">
                  <c:v>45211</c:v>
                </c:pt>
                <c:pt idx="310">
                  <c:v>45210</c:v>
                </c:pt>
                <c:pt idx="311">
                  <c:v>45209</c:v>
                </c:pt>
                <c:pt idx="312">
                  <c:v>45208</c:v>
                </c:pt>
                <c:pt idx="313">
                  <c:v>45207</c:v>
                </c:pt>
                <c:pt idx="314">
                  <c:v>45206</c:v>
                </c:pt>
                <c:pt idx="315">
                  <c:v>45205</c:v>
                </c:pt>
                <c:pt idx="316">
                  <c:v>45204</c:v>
                </c:pt>
                <c:pt idx="317">
                  <c:v>45203</c:v>
                </c:pt>
                <c:pt idx="318">
                  <c:v>45202</c:v>
                </c:pt>
                <c:pt idx="319">
                  <c:v>45201</c:v>
                </c:pt>
                <c:pt idx="320">
                  <c:v>45200</c:v>
                </c:pt>
                <c:pt idx="321">
                  <c:v>45199</c:v>
                </c:pt>
                <c:pt idx="322">
                  <c:v>45198</c:v>
                </c:pt>
                <c:pt idx="323">
                  <c:v>45197</c:v>
                </c:pt>
                <c:pt idx="324">
                  <c:v>45196</c:v>
                </c:pt>
                <c:pt idx="325">
                  <c:v>45195</c:v>
                </c:pt>
                <c:pt idx="326">
                  <c:v>45194</c:v>
                </c:pt>
                <c:pt idx="327">
                  <c:v>45193</c:v>
                </c:pt>
                <c:pt idx="328">
                  <c:v>45192</c:v>
                </c:pt>
                <c:pt idx="329">
                  <c:v>45191</c:v>
                </c:pt>
                <c:pt idx="330">
                  <c:v>45190</c:v>
                </c:pt>
                <c:pt idx="331">
                  <c:v>45189</c:v>
                </c:pt>
                <c:pt idx="332">
                  <c:v>45188</c:v>
                </c:pt>
                <c:pt idx="333">
                  <c:v>45187</c:v>
                </c:pt>
                <c:pt idx="334">
                  <c:v>45186</c:v>
                </c:pt>
                <c:pt idx="335">
                  <c:v>45185</c:v>
                </c:pt>
                <c:pt idx="336">
                  <c:v>45184</c:v>
                </c:pt>
                <c:pt idx="337">
                  <c:v>45183</c:v>
                </c:pt>
                <c:pt idx="338">
                  <c:v>45182</c:v>
                </c:pt>
                <c:pt idx="339">
                  <c:v>45181</c:v>
                </c:pt>
                <c:pt idx="340">
                  <c:v>45180</c:v>
                </c:pt>
                <c:pt idx="341">
                  <c:v>45179</c:v>
                </c:pt>
                <c:pt idx="342">
                  <c:v>45178</c:v>
                </c:pt>
                <c:pt idx="343">
                  <c:v>45177</c:v>
                </c:pt>
                <c:pt idx="344">
                  <c:v>45176</c:v>
                </c:pt>
                <c:pt idx="345">
                  <c:v>45175</c:v>
                </c:pt>
                <c:pt idx="346">
                  <c:v>45174</c:v>
                </c:pt>
                <c:pt idx="347">
                  <c:v>45173</c:v>
                </c:pt>
                <c:pt idx="348">
                  <c:v>45172</c:v>
                </c:pt>
                <c:pt idx="349">
                  <c:v>45171</c:v>
                </c:pt>
                <c:pt idx="350">
                  <c:v>45170</c:v>
                </c:pt>
                <c:pt idx="351">
                  <c:v>45169</c:v>
                </c:pt>
                <c:pt idx="352">
                  <c:v>45168</c:v>
                </c:pt>
                <c:pt idx="353">
                  <c:v>45167</c:v>
                </c:pt>
                <c:pt idx="354">
                  <c:v>45166</c:v>
                </c:pt>
                <c:pt idx="355">
                  <c:v>45165</c:v>
                </c:pt>
                <c:pt idx="356">
                  <c:v>45164</c:v>
                </c:pt>
                <c:pt idx="357">
                  <c:v>45163</c:v>
                </c:pt>
                <c:pt idx="358">
                  <c:v>45162</c:v>
                </c:pt>
                <c:pt idx="359">
                  <c:v>45161</c:v>
                </c:pt>
                <c:pt idx="360">
                  <c:v>45160</c:v>
                </c:pt>
                <c:pt idx="361">
                  <c:v>45159</c:v>
                </c:pt>
                <c:pt idx="362">
                  <c:v>45158</c:v>
                </c:pt>
                <c:pt idx="363">
                  <c:v>45157</c:v>
                </c:pt>
                <c:pt idx="364">
                  <c:v>45156</c:v>
                </c:pt>
                <c:pt idx="365">
                  <c:v>45155</c:v>
                </c:pt>
                <c:pt idx="366">
                  <c:v>45154</c:v>
                </c:pt>
                <c:pt idx="367">
                  <c:v>45153</c:v>
                </c:pt>
                <c:pt idx="368">
                  <c:v>45152</c:v>
                </c:pt>
                <c:pt idx="369">
                  <c:v>45151</c:v>
                </c:pt>
                <c:pt idx="370">
                  <c:v>45150</c:v>
                </c:pt>
                <c:pt idx="371">
                  <c:v>45149</c:v>
                </c:pt>
                <c:pt idx="372">
                  <c:v>45148</c:v>
                </c:pt>
                <c:pt idx="373">
                  <c:v>45147</c:v>
                </c:pt>
                <c:pt idx="374">
                  <c:v>45146</c:v>
                </c:pt>
                <c:pt idx="375">
                  <c:v>45145</c:v>
                </c:pt>
                <c:pt idx="376">
                  <c:v>45144</c:v>
                </c:pt>
                <c:pt idx="377">
                  <c:v>45143</c:v>
                </c:pt>
                <c:pt idx="378">
                  <c:v>45142</c:v>
                </c:pt>
                <c:pt idx="379">
                  <c:v>45141</c:v>
                </c:pt>
                <c:pt idx="380">
                  <c:v>45140</c:v>
                </c:pt>
                <c:pt idx="381">
                  <c:v>45139</c:v>
                </c:pt>
                <c:pt idx="382">
                  <c:v>45138</c:v>
                </c:pt>
                <c:pt idx="383">
                  <c:v>45137</c:v>
                </c:pt>
                <c:pt idx="384">
                  <c:v>45136</c:v>
                </c:pt>
                <c:pt idx="385">
                  <c:v>45135</c:v>
                </c:pt>
                <c:pt idx="386">
                  <c:v>45134</c:v>
                </c:pt>
                <c:pt idx="387">
                  <c:v>45133</c:v>
                </c:pt>
                <c:pt idx="388">
                  <c:v>45132</c:v>
                </c:pt>
                <c:pt idx="389">
                  <c:v>45131</c:v>
                </c:pt>
                <c:pt idx="390">
                  <c:v>45130</c:v>
                </c:pt>
                <c:pt idx="391">
                  <c:v>45129</c:v>
                </c:pt>
              </c:numCache>
            </c:numRef>
          </c:cat>
          <c:val>
            <c:numRef>
              <c:f>Worksheet!$M$7:$M$398</c:f>
              <c:numCache>
                <c:formatCode>General</c:formatCode>
                <c:ptCount val="392"/>
                <c:pt idx="0">
                  <c:v>0</c:v>
                </c:pt>
                <c:pt idx="1">
                  <c:v>0.56999999999999995</c:v>
                </c:pt>
                <c:pt idx="2">
                  <c:v>0.56999999999999995</c:v>
                </c:pt>
                <c:pt idx="3">
                  <c:v>0.57999999999999996</c:v>
                </c:pt>
                <c:pt idx="4">
                  <c:v>0.59</c:v>
                </c:pt>
                <c:pt idx="5">
                  <c:v>0.59</c:v>
                </c:pt>
                <c:pt idx="6">
                  <c:v>0.56999999999999995</c:v>
                </c:pt>
                <c:pt idx="7">
                  <c:v>0.56999999999999995</c:v>
                </c:pt>
                <c:pt idx="8">
                  <c:v>0.56999999999999995</c:v>
                </c:pt>
                <c:pt idx="9">
                  <c:v>0.56000000000000005</c:v>
                </c:pt>
                <c:pt idx="10">
                  <c:v>0.55000000000000004</c:v>
                </c:pt>
                <c:pt idx="11">
                  <c:v>0.53</c:v>
                </c:pt>
                <c:pt idx="12">
                  <c:v>0.53</c:v>
                </c:pt>
                <c:pt idx="13">
                  <c:v>0.53</c:v>
                </c:pt>
                <c:pt idx="14">
                  <c:v>0.53</c:v>
                </c:pt>
                <c:pt idx="15">
                  <c:v>0.54</c:v>
                </c:pt>
                <c:pt idx="16">
                  <c:v>0.53</c:v>
                </c:pt>
                <c:pt idx="17">
                  <c:v>0.49</c:v>
                </c:pt>
                <c:pt idx="18">
                  <c:v>0.49</c:v>
                </c:pt>
                <c:pt idx="19">
                  <c:v>0.49</c:v>
                </c:pt>
                <c:pt idx="20">
                  <c:v>0.48</c:v>
                </c:pt>
                <c:pt idx="21">
                  <c:v>0.5</c:v>
                </c:pt>
                <c:pt idx="22">
                  <c:v>0.46</c:v>
                </c:pt>
                <c:pt idx="23">
                  <c:v>0.45</c:v>
                </c:pt>
                <c:pt idx="24">
                  <c:v>0.47</c:v>
                </c:pt>
                <c:pt idx="25">
                  <c:v>0.44</c:v>
                </c:pt>
                <c:pt idx="26">
                  <c:v>0.4</c:v>
                </c:pt>
                <c:pt idx="27">
                  <c:v>0.27</c:v>
                </c:pt>
                <c:pt idx="28">
                  <c:v>0.25</c:v>
                </c:pt>
                <c:pt idx="29">
                  <c:v>0.28999999999999998</c:v>
                </c:pt>
                <c:pt idx="30">
                  <c:v>0.27</c:v>
                </c:pt>
                <c:pt idx="31">
                  <c:v>0.1</c:v>
                </c:pt>
                <c:pt idx="32">
                  <c:v>0.13</c:v>
                </c:pt>
                <c:pt idx="33">
                  <c:v>0.12</c:v>
                </c:pt>
                <c:pt idx="34">
                  <c:v>0.14000000000000001</c:v>
                </c:pt>
                <c:pt idx="35">
                  <c:v>0.19</c:v>
                </c:pt>
                <c:pt idx="36">
                  <c:v>0.22</c:v>
                </c:pt>
                <c:pt idx="37">
                  <c:v>0.23</c:v>
                </c:pt>
                <c:pt idx="38">
                  <c:v>0.17</c:v>
                </c:pt>
                <c:pt idx="39">
                  <c:v>0.14000000000000001</c:v>
                </c:pt>
                <c:pt idx="40">
                  <c:v>0.23</c:v>
                </c:pt>
                <c:pt idx="41">
                  <c:v>0.24</c:v>
                </c:pt>
                <c:pt idx="42">
                  <c:v>0.24</c:v>
                </c:pt>
                <c:pt idx="43">
                  <c:v>0.22</c:v>
                </c:pt>
                <c:pt idx="44">
                  <c:v>0.21</c:v>
                </c:pt>
                <c:pt idx="45">
                  <c:v>0.19</c:v>
                </c:pt>
                <c:pt idx="46">
                  <c:v>0.08</c:v>
                </c:pt>
                <c:pt idx="47">
                  <c:v>7.0000000000000007E-2</c:v>
                </c:pt>
                <c:pt idx="48">
                  <c:v>0.14000000000000001</c:v>
                </c:pt>
                <c:pt idx="49">
                  <c:v>0.05</c:v>
                </c:pt>
                <c:pt idx="50">
                  <c:v>7.0000000000000007E-2</c:v>
                </c:pt>
                <c:pt idx="51">
                  <c:v>0.04</c:v>
                </c:pt>
                <c:pt idx="52">
                  <c:v>0.03</c:v>
                </c:pt>
                <c:pt idx="53">
                  <c:v>0.04</c:v>
                </c:pt>
                <c:pt idx="54">
                  <c:v>0.03</c:v>
                </c:pt>
                <c:pt idx="55">
                  <c:v>0.04</c:v>
                </c:pt>
                <c:pt idx="56">
                  <c:v>0.04</c:v>
                </c:pt>
                <c:pt idx="57">
                  <c:v>0.03</c:v>
                </c:pt>
                <c:pt idx="58">
                  <c:v>0.03</c:v>
                </c:pt>
                <c:pt idx="59">
                  <c:v>0.03</c:v>
                </c:pt>
                <c:pt idx="60">
                  <c:v>0.04</c:v>
                </c:pt>
                <c:pt idx="61">
                  <c:v>0.03</c:v>
                </c:pt>
                <c:pt idx="62">
                  <c:v>0.04</c:v>
                </c:pt>
                <c:pt idx="63">
                  <c:v>0.03</c:v>
                </c:pt>
                <c:pt idx="64">
                  <c:v>0.04</c:v>
                </c:pt>
                <c:pt idx="65">
                  <c:v>0.03</c:v>
                </c:pt>
                <c:pt idx="66">
                  <c:v>0.03</c:v>
                </c:pt>
                <c:pt idx="67">
                  <c:v>0.03</c:v>
                </c:pt>
                <c:pt idx="68">
                  <c:v>0.03</c:v>
                </c:pt>
                <c:pt idx="69">
                  <c:v>0.03</c:v>
                </c:pt>
                <c:pt idx="70">
                  <c:v>0.03</c:v>
                </c:pt>
                <c:pt idx="71">
                  <c:v>0.03</c:v>
                </c:pt>
                <c:pt idx="72">
                  <c:v>0.03</c:v>
                </c:pt>
                <c:pt idx="73">
                  <c:v>0.03</c:v>
                </c:pt>
                <c:pt idx="74">
                  <c:v>0.03</c:v>
                </c:pt>
                <c:pt idx="75">
                  <c:v>0.03</c:v>
                </c:pt>
                <c:pt idx="76">
                  <c:v>0.03</c:v>
                </c:pt>
                <c:pt idx="77">
                  <c:v>0.03</c:v>
                </c:pt>
                <c:pt idx="78">
                  <c:v>0.03</c:v>
                </c:pt>
                <c:pt idx="79">
                  <c:v>0.04</c:v>
                </c:pt>
                <c:pt idx="80">
                  <c:v>0.03</c:v>
                </c:pt>
                <c:pt idx="81">
                  <c:v>0.03</c:v>
                </c:pt>
                <c:pt idx="82">
                  <c:v>0.04</c:v>
                </c:pt>
                <c:pt idx="83">
                  <c:v>0.03</c:v>
                </c:pt>
                <c:pt idx="84">
                  <c:v>0.04</c:v>
                </c:pt>
                <c:pt idx="85">
                  <c:v>0.04</c:v>
                </c:pt>
                <c:pt idx="86">
                  <c:v>0.03</c:v>
                </c:pt>
                <c:pt idx="87">
                  <c:v>0.04</c:v>
                </c:pt>
                <c:pt idx="88">
                  <c:v>0.03</c:v>
                </c:pt>
                <c:pt idx="89">
                  <c:v>0.04</c:v>
                </c:pt>
                <c:pt idx="90">
                  <c:v>0.04</c:v>
                </c:pt>
                <c:pt idx="91">
                  <c:v>0.03</c:v>
                </c:pt>
                <c:pt idx="92">
                  <c:v>0.03</c:v>
                </c:pt>
                <c:pt idx="93">
                  <c:v>0.03</c:v>
                </c:pt>
                <c:pt idx="94">
                  <c:v>0.02</c:v>
                </c:pt>
                <c:pt idx="95">
                  <c:v>0.02</c:v>
                </c:pt>
                <c:pt idx="96">
                  <c:v>0.02</c:v>
                </c:pt>
                <c:pt idx="97">
                  <c:v>0.02</c:v>
                </c:pt>
                <c:pt idx="98">
                  <c:v>0.03</c:v>
                </c:pt>
                <c:pt idx="99">
                  <c:v>0.03</c:v>
                </c:pt>
                <c:pt idx="100">
                  <c:v>0.02</c:v>
                </c:pt>
                <c:pt idx="101">
                  <c:v>0.03</c:v>
                </c:pt>
                <c:pt idx="102">
                  <c:v>0.03</c:v>
                </c:pt>
                <c:pt idx="103">
                  <c:v>0.03</c:v>
                </c:pt>
                <c:pt idx="104">
                  <c:v>0.03</c:v>
                </c:pt>
                <c:pt idx="105">
                  <c:v>0.04</c:v>
                </c:pt>
                <c:pt idx="106">
                  <c:v>0.04</c:v>
                </c:pt>
                <c:pt idx="107">
                  <c:v>0.03</c:v>
                </c:pt>
                <c:pt idx="108">
                  <c:v>0.04</c:v>
                </c:pt>
                <c:pt idx="109">
                  <c:v>0.03</c:v>
                </c:pt>
                <c:pt idx="110">
                  <c:v>0.04</c:v>
                </c:pt>
                <c:pt idx="111">
                  <c:v>0.03</c:v>
                </c:pt>
                <c:pt idx="112">
                  <c:v>0.03</c:v>
                </c:pt>
                <c:pt idx="113">
                  <c:v>0.03</c:v>
                </c:pt>
                <c:pt idx="114">
                  <c:v>0.03</c:v>
                </c:pt>
                <c:pt idx="115">
                  <c:v>0.03</c:v>
                </c:pt>
                <c:pt idx="116">
                  <c:v>0.03</c:v>
                </c:pt>
                <c:pt idx="117">
                  <c:v>0.03</c:v>
                </c:pt>
                <c:pt idx="118">
                  <c:v>0.03</c:v>
                </c:pt>
                <c:pt idx="119">
                  <c:v>0.03</c:v>
                </c:pt>
                <c:pt idx="120">
                  <c:v>0.03</c:v>
                </c:pt>
                <c:pt idx="121">
                  <c:v>0.03</c:v>
                </c:pt>
                <c:pt idx="122">
                  <c:v>0.03</c:v>
                </c:pt>
                <c:pt idx="123">
                  <c:v>0.03</c:v>
                </c:pt>
                <c:pt idx="124">
                  <c:v>0.03</c:v>
                </c:pt>
                <c:pt idx="125">
                  <c:v>0.03</c:v>
                </c:pt>
                <c:pt idx="126">
                  <c:v>0.03</c:v>
                </c:pt>
                <c:pt idx="127">
                  <c:v>0.03</c:v>
                </c:pt>
                <c:pt idx="128">
                  <c:v>0.03</c:v>
                </c:pt>
                <c:pt idx="129">
                  <c:v>0.03</c:v>
                </c:pt>
                <c:pt idx="130">
                  <c:v>0.03</c:v>
                </c:pt>
                <c:pt idx="131">
                  <c:v>0.04</c:v>
                </c:pt>
                <c:pt idx="132">
                  <c:v>0.04</c:v>
                </c:pt>
                <c:pt idx="133">
                  <c:v>0.03</c:v>
                </c:pt>
                <c:pt idx="134">
                  <c:v>0.04</c:v>
                </c:pt>
                <c:pt idx="135">
                  <c:v>0.04</c:v>
                </c:pt>
                <c:pt idx="136">
                  <c:v>0.04</c:v>
                </c:pt>
                <c:pt idx="137">
                  <c:v>0.04</c:v>
                </c:pt>
                <c:pt idx="138">
                  <c:v>0.03</c:v>
                </c:pt>
                <c:pt idx="139">
                  <c:v>0.04</c:v>
                </c:pt>
                <c:pt idx="140">
                  <c:v>0.04</c:v>
                </c:pt>
                <c:pt idx="141">
                  <c:v>0.03</c:v>
                </c:pt>
                <c:pt idx="142">
                  <c:v>0.03</c:v>
                </c:pt>
                <c:pt idx="143">
                  <c:v>0.04</c:v>
                </c:pt>
                <c:pt idx="144">
                  <c:v>0.05</c:v>
                </c:pt>
                <c:pt idx="145">
                  <c:v>0.04</c:v>
                </c:pt>
                <c:pt idx="146">
                  <c:v>0.04</c:v>
                </c:pt>
                <c:pt idx="147">
                  <c:v>0.05</c:v>
                </c:pt>
                <c:pt idx="148">
                  <c:v>0.04</c:v>
                </c:pt>
                <c:pt idx="149">
                  <c:v>0.05</c:v>
                </c:pt>
                <c:pt idx="150">
                  <c:v>0.05</c:v>
                </c:pt>
                <c:pt idx="151">
                  <c:v>0.05</c:v>
                </c:pt>
                <c:pt idx="152">
                  <c:v>0.04</c:v>
                </c:pt>
                <c:pt idx="153">
                  <c:v>0.04</c:v>
                </c:pt>
                <c:pt idx="154">
                  <c:v>0.04</c:v>
                </c:pt>
                <c:pt idx="155">
                  <c:v>0.04</c:v>
                </c:pt>
                <c:pt idx="156">
                  <c:v>0.04</c:v>
                </c:pt>
                <c:pt idx="157">
                  <c:v>0.04</c:v>
                </c:pt>
                <c:pt idx="158">
                  <c:v>0.04</c:v>
                </c:pt>
                <c:pt idx="159">
                  <c:v>0.05</c:v>
                </c:pt>
                <c:pt idx="160">
                  <c:v>0.05</c:v>
                </c:pt>
                <c:pt idx="161">
                  <c:v>0.05</c:v>
                </c:pt>
                <c:pt idx="162">
                  <c:v>0.04</c:v>
                </c:pt>
                <c:pt idx="163">
                  <c:v>0.04</c:v>
                </c:pt>
                <c:pt idx="164">
                  <c:v>0.05</c:v>
                </c:pt>
                <c:pt idx="165">
                  <c:v>0.05</c:v>
                </c:pt>
                <c:pt idx="166">
                  <c:v>0.05</c:v>
                </c:pt>
                <c:pt idx="167">
                  <c:v>0.04</c:v>
                </c:pt>
                <c:pt idx="168">
                  <c:v>0.05</c:v>
                </c:pt>
                <c:pt idx="169">
                  <c:v>0.04</c:v>
                </c:pt>
                <c:pt idx="170">
                  <c:v>0.04</c:v>
                </c:pt>
                <c:pt idx="171">
                  <c:v>0.05</c:v>
                </c:pt>
                <c:pt idx="172">
                  <c:v>0.04</c:v>
                </c:pt>
                <c:pt idx="173">
                  <c:v>0.04</c:v>
                </c:pt>
                <c:pt idx="174">
                  <c:v>0.04</c:v>
                </c:pt>
                <c:pt idx="175">
                  <c:v>0.04</c:v>
                </c:pt>
                <c:pt idx="176">
                  <c:v>0.05</c:v>
                </c:pt>
                <c:pt idx="177">
                  <c:v>0.05</c:v>
                </c:pt>
                <c:pt idx="178">
                  <c:v>0.05</c:v>
                </c:pt>
                <c:pt idx="179">
                  <c:v>0.06</c:v>
                </c:pt>
                <c:pt idx="180">
                  <c:v>0.05</c:v>
                </c:pt>
                <c:pt idx="181">
                  <c:v>0.06</c:v>
                </c:pt>
                <c:pt idx="182">
                  <c:v>0.05</c:v>
                </c:pt>
                <c:pt idx="183">
                  <c:v>0.04</c:v>
                </c:pt>
                <c:pt idx="184">
                  <c:v>0.05</c:v>
                </c:pt>
                <c:pt idx="185">
                  <c:v>0.06</c:v>
                </c:pt>
                <c:pt idx="186">
                  <c:v>0.06</c:v>
                </c:pt>
                <c:pt idx="187">
                  <c:v>0.04</c:v>
                </c:pt>
                <c:pt idx="188">
                  <c:v>0.05</c:v>
                </c:pt>
                <c:pt idx="189">
                  <c:v>0.05</c:v>
                </c:pt>
                <c:pt idx="190">
                  <c:v>0.05</c:v>
                </c:pt>
                <c:pt idx="191">
                  <c:v>0.02</c:v>
                </c:pt>
                <c:pt idx="192">
                  <c:v>0.02</c:v>
                </c:pt>
                <c:pt idx="193">
                  <c:v>0.02</c:v>
                </c:pt>
                <c:pt idx="194">
                  <c:v>0.03</c:v>
                </c:pt>
                <c:pt idx="195">
                  <c:v>0.02</c:v>
                </c:pt>
                <c:pt idx="196">
                  <c:v>0.03</c:v>
                </c:pt>
                <c:pt idx="197">
                  <c:v>0.03</c:v>
                </c:pt>
                <c:pt idx="198">
                  <c:v>0.04</c:v>
                </c:pt>
                <c:pt idx="199">
                  <c:v>0.03</c:v>
                </c:pt>
                <c:pt idx="200">
                  <c:v>0.02</c:v>
                </c:pt>
                <c:pt idx="201">
                  <c:v>0.02</c:v>
                </c:pt>
                <c:pt idx="202">
                  <c:v>0.03</c:v>
                </c:pt>
                <c:pt idx="203">
                  <c:v>0.02</c:v>
                </c:pt>
                <c:pt idx="204">
                  <c:v>0.03</c:v>
                </c:pt>
                <c:pt idx="205">
                  <c:v>0.02</c:v>
                </c:pt>
                <c:pt idx="206">
                  <c:v>0.02</c:v>
                </c:pt>
                <c:pt idx="207">
                  <c:v>0.02</c:v>
                </c:pt>
                <c:pt idx="208">
                  <c:v>0.02</c:v>
                </c:pt>
                <c:pt idx="209">
                  <c:v>0.03</c:v>
                </c:pt>
                <c:pt idx="210">
                  <c:v>0.02</c:v>
                </c:pt>
                <c:pt idx="211">
                  <c:v>0.03</c:v>
                </c:pt>
                <c:pt idx="212">
                  <c:v>0.03</c:v>
                </c:pt>
                <c:pt idx="213">
                  <c:v>0.03</c:v>
                </c:pt>
                <c:pt idx="214">
                  <c:v>0.02</c:v>
                </c:pt>
                <c:pt idx="215">
                  <c:v>0.03</c:v>
                </c:pt>
                <c:pt idx="216">
                  <c:v>0.03</c:v>
                </c:pt>
                <c:pt idx="217">
                  <c:v>0.03</c:v>
                </c:pt>
                <c:pt idx="218">
                  <c:v>0.02</c:v>
                </c:pt>
                <c:pt idx="219">
                  <c:v>0.03</c:v>
                </c:pt>
                <c:pt idx="220">
                  <c:v>0.03</c:v>
                </c:pt>
                <c:pt idx="221">
                  <c:v>0.03</c:v>
                </c:pt>
                <c:pt idx="222">
                  <c:v>0.03</c:v>
                </c:pt>
                <c:pt idx="223">
                  <c:v>0.03</c:v>
                </c:pt>
                <c:pt idx="224">
                  <c:v>0.03</c:v>
                </c:pt>
                <c:pt idx="225">
                  <c:v>0.03</c:v>
                </c:pt>
                <c:pt idx="226">
                  <c:v>0.03</c:v>
                </c:pt>
                <c:pt idx="227">
                  <c:v>0.04</c:v>
                </c:pt>
                <c:pt idx="228">
                  <c:v>0.04</c:v>
                </c:pt>
                <c:pt idx="229">
                  <c:v>0.03</c:v>
                </c:pt>
                <c:pt idx="230">
                  <c:v>0.03</c:v>
                </c:pt>
                <c:pt idx="231">
                  <c:v>0.03</c:v>
                </c:pt>
                <c:pt idx="232">
                  <c:v>0.03</c:v>
                </c:pt>
                <c:pt idx="233">
                  <c:v>0.03</c:v>
                </c:pt>
                <c:pt idx="234">
                  <c:v>0.03</c:v>
                </c:pt>
                <c:pt idx="235">
                  <c:v>0.03</c:v>
                </c:pt>
                <c:pt idx="236">
                  <c:v>0.03</c:v>
                </c:pt>
                <c:pt idx="237">
                  <c:v>0.03</c:v>
                </c:pt>
                <c:pt idx="238">
                  <c:v>0.03</c:v>
                </c:pt>
                <c:pt idx="239">
                  <c:v>0.02</c:v>
                </c:pt>
                <c:pt idx="240">
                  <c:v>0.03</c:v>
                </c:pt>
                <c:pt idx="241">
                  <c:v>0.03</c:v>
                </c:pt>
                <c:pt idx="242">
                  <c:v>0.03</c:v>
                </c:pt>
                <c:pt idx="243">
                  <c:v>0.03</c:v>
                </c:pt>
                <c:pt idx="244">
                  <c:v>0.03</c:v>
                </c:pt>
                <c:pt idx="245">
                  <c:v>0.03</c:v>
                </c:pt>
                <c:pt idx="246">
                  <c:v>0.03</c:v>
                </c:pt>
                <c:pt idx="247">
                  <c:v>0.04</c:v>
                </c:pt>
                <c:pt idx="248">
                  <c:v>0.04</c:v>
                </c:pt>
                <c:pt idx="249">
                  <c:v>0.04</c:v>
                </c:pt>
                <c:pt idx="250">
                  <c:v>0.04</c:v>
                </c:pt>
                <c:pt idx="251">
                  <c:v>0.03</c:v>
                </c:pt>
                <c:pt idx="252">
                  <c:v>0.03</c:v>
                </c:pt>
                <c:pt idx="253">
                  <c:v>0.03</c:v>
                </c:pt>
                <c:pt idx="254">
                  <c:v>0.03</c:v>
                </c:pt>
                <c:pt idx="255">
                  <c:v>0.03</c:v>
                </c:pt>
                <c:pt idx="256">
                  <c:v>0.03</c:v>
                </c:pt>
                <c:pt idx="257">
                  <c:v>0.04</c:v>
                </c:pt>
                <c:pt idx="258">
                  <c:v>0.04</c:v>
                </c:pt>
                <c:pt idx="259">
                  <c:v>0.04</c:v>
                </c:pt>
                <c:pt idx="260">
                  <c:v>0.05</c:v>
                </c:pt>
                <c:pt idx="261">
                  <c:v>0.04</c:v>
                </c:pt>
                <c:pt idx="262">
                  <c:v>0.03</c:v>
                </c:pt>
                <c:pt idx="263">
                  <c:v>0.04</c:v>
                </c:pt>
                <c:pt idx="264">
                  <c:v>0.04</c:v>
                </c:pt>
                <c:pt idx="265">
                  <c:v>0.03</c:v>
                </c:pt>
                <c:pt idx="266">
                  <c:v>0.04</c:v>
                </c:pt>
                <c:pt idx="267">
                  <c:v>0.03</c:v>
                </c:pt>
                <c:pt idx="268">
                  <c:v>0.03</c:v>
                </c:pt>
                <c:pt idx="269">
                  <c:v>0.04</c:v>
                </c:pt>
                <c:pt idx="270">
                  <c:v>0.03</c:v>
                </c:pt>
                <c:pt idx="271">
                  <c:v>0.03</c:v>
                </c:pt>
                <c:pt idx="272">
                  <c:v>0.03</c:v>
                </c:pt>
                <c:pt idx="273">
                  <c:v>0.03</c:v>
                </c:pt>
                <c:pt idx="274">
                  <c:v>0.04</c:v>
                </c:pt>
                <c:pt idx="275">
                  <c:v>0.04</c:v>
                </c:pt>
                <c:pt idx="276">
                  <c:v>0.05</c:v>
                </c:pt>
                <c:pt idx="277">
                  <c:v>0.04</c:v>
                </c:pt>
                <c:pt idx="278">
                  <c:v>0.04</c:v>
                </c:pt>
                <c:pt idx="279">
                  <c:v>0.04</c:v>
                </c:pt>
                <c:pt idx="280">
                  <c:v>0.04</c:v>
                </c:pt>
                <c:pt idx="281">
                  <c:v>0.04</c:v>
                </c:pt>
                <c:pt idx="282">
                  <c:v>0.04</c:v>
                </c:pt>
                <c:pt idx="283">
                  <c:v>0.05</c:v>
                </c:pt>
                <c:pt idx="284">
                  <c:v>0.04</c:v>
                </c:pt>
                <c:pt idx="285">
                  <c:v>0.04</c:v>
                </c:pt>
                <c:pt idx="286">
                  <c:v>0.04</c:v>
                </c:pt>
                <c:pt idx="287">
                  <c:v>0.04</c:v>
                </c:pt>
                <c:pt idx="288">
                  <c:v>0.04</c:v>
                </c:pt>
                <c:pt idx="289">
                  <c:v>0.04</c:v>
                </c:pt>
                <c:pt idx="290">
                  <c:v>0.04</c:v>
                </c:pt>
                <c:pt idx="291">
                  <c:v>0.04</c:v>
                </c:pt>
                <c:pt idx="292">
                  <c:v>0.04</c:v>
                </c:pt>
                <c:pt idx="293">
                  <c:v>0.05</c:v>
                </c:pt>
                <c:pt idx="294">
                  <c:v>0.04</c:v>
                </c:pt>
                <c:pt idx="295">
                  <c:v>0.04</c:v>
                </c:pt>
                <c:pt idx="296">
                  <c:v>0.04</c:v>
                </c:pt>
                <c:pt idx="297">
                  <c:v>0.04</c:v>
                </c:pt>
                <c:pt idx="298">
                  <c:v>0.04</c:v>
                </c:pt>
                <c:pt idx="299">
                  <c:v>0.04</c:v>
                </c:pt>
                <c:pt idx="300">
                  <c:v>0.04</c:v>
                </c:pt>
                <c:pt idx="301">
                  <c:v>0.04</c:v>
                </c:pt>
                <c:pt idx="302">
                  <c:v>0.04</c:v>
                </c:pt>
                <c:pt idx="303">
                  <c:v>0.04</c:v>
                </c:pt>
                <c:pt idx="304">
                  <c:v>0.05</c:v>
                </c:pt>
                <c:pt idx="305">
                  <c:v>0.04</c:v>
                </c:pt>
                <c:pt idx="306">
                  <c:v>0.04</c:v>
                </c:pt>
                <c:pt idx="307">
                  <c:v>0.05</c:v>
                </c:pt>
                <c:pt idx="308">
                  <c:v>0.04</c:v>
                </c:pt>
                <c:pt idx="309">
                  <c:v>0.05</c:v>
                </c:pt>
                <c:pt idx="310">
                  <c:v>0.05</c:v>
                </c:pt>
                <c:pt idx="311">
                  <c:v>0.04</c:v>
                </c:pt>
                <c:pt idx="312">
                  <c:v>0.04</c:v>
                </c:pt>
                <c:pt idx="313">
                  <c:v>0.05</c:v>
                </c:pt>
                <c:pt idx="314">
                  <c:v>0.04</c:v>
                </c:pt>
                <c:pt idx="315">
                  <c:v>0.04</c:v>
                </c:pt>
                <c:pt idx="316">
                  <c:v>0.05</c:v>
                </c:pt>
                <c:pt idx="317">
                  <c:v>0.05</c:v>
                </c:pt>
                <c:pt idx="318">
                  <c:v>0.04</c:v>
                </c:pt>
                <c:pt idx="319">
                  <c:v>0.04</c:v>
                </c:pt>
                <c:pt idx="320">
                  <c:v>0.05</c:v>
                </c:pt>
                <c:pt idx="321">
                  <c:v>0.04</c:v>
                </c:pt>
                <c:pt idx="322">
                  <c:v>0.04</c:v>
                </c:pt>
                <c:pt idx="323">
                  <c:v>0.04</c:v>
                </c:pt>
                <c:pt idx="324">
                  <c:v>0.04</c:v>
                </c:pt>
                <c:pt idx="325">
                  <c:v>0.04</c:v>
                </c:pt>
                <c:pt idx="326">
                  <c:v>0.05</c:v>
                </c:pt>
                <c:pt idx="327">
                  <c:v>0.04</c:v>
                </c:pt>
                <c:pt idx="328">
                  <c:v>0.04</c:v>
                </c:pt>
                <c:pt idx="329">
                  <c:v>0.04</c:v>
                </c:pt>
                <c:pt idx="330">
                  <c:v>0.04</c:v>
                </c:pt>
                <c:pt idx="331">
                  <c:v>0.04</c:v>
                </c:pt>
                <c:pt idx="332">
                  <c:v>0.04</c:v>
                </c:pt>
                <c:pt idx="333">
                  <c:v>0.04</c:v>
                </c:pt>
                <c:pt idx="334">
                  <c:v>0.04</c:v>
                </c:pt>
                <c:pt idx="335">
                  <c:v>0.05</c:v>
                </c:pt>
                <c:pt idx="336">
                  <c:v>0.04</c:v>
                </c:pt>
                <c:pt idx="337">
                  <c:v>0.04</c:v>
                </c:pt>
                <c:pt idx="338">
                  <c:v>0.04</c:v>
                </c:pt>
                <c:pt idx="339">
                  <c:v>0.04</c:v>
                </c:pt>
                <c:pt idx="340">
                  <c:v>0.05</c:v>
                </c:pt>
                <c:pt idx="341">
                  <c:v>0.05</c:v>
                </c:pt>
                <c:pt idx="342">
                  <c:v>0.04</c:v>
                </c:pt>
                <c:pt idx="343">
                  <c:v>0.04</c:v>
                </c:pt>
                <c:pt idx="344">
                  <c:v>0.05</c:v>
                </c:pt>
                <c:pt idx="345">
                  <c:v>0.04</c:v>
                </c:pt>
                <c:pt idx="346">
                  <c:v>0.04</c:v>
                </c:pt>
                <c:pt idx="347">
                  <c:v>0.04</c:v>
                </c:pt>
                <c:pt idx="348">
                  <c:v>0.04</c:v>
                </c:pt>
                <c:pt idx="349">
                  <c:v>0.05</c:v>
                </c:pt>
                <c:pt idx="350">
                  <c:v>0.04</c:v>
                </c:pt>
                <c:pt idx="351">
                  <c:v>0.05</c:v>
                </c:pt>
                <c:pt idx="352">
                  <c:v>0.04</c:v>
                </c:pt>
                <c:pt idx="353">
                  <c:v>0.05</c:v>
                </c:pt>
                <c:pt idx="354">
                  <c:v>0.04</c:v>
                </c:pt>
                <c:pt idx="355">
                  <c:v>0.04</c:v>
                </c:pt>
                <c:pt idx="356">
                  <c:v>0.04</c:v>
                </c:pt>
                <c:pt idx="357">
                  <c:v>0.04</c:v>
                </c:pt>
                <c:pt idx="358">
                  <c:v>0.04</c:v>
                </c:pt>
                <c:pt idx="359">
                  <c:v>0.04</c:v>
                </c:pt>
                <c:pt idx="360">
                  <c:v>0.04</c:v>
                </c:pt>
                <c:pt idx="361">
                  <c:v>0.04</c:v>
                </c:pt>
                <c:pt idx="362">
                  <c:v>0.04</c:v>
                </c:pt>
                <c:pt idx="363">
                  <c:v>0.05</c:v>
                </c:pt>
                <c:pt idx="364">
                  <c:v>0.04</c:v>
                </c:pt>
                <c:pt idx="365">
                  <c:v>0.04</c:v>
                </c:pt>
                <c:pt idx="366">
                  <c:v>0.04</c:v>
                </c:pt>
                <c:pt idx="367">
                  <c:v>0.04</c:v>
                </c:pt>
                <c:pt idx="368">
                  <c:v>0.04</c:v>
                </c:pt>
                <c:pt idx="369">
                  <c:v>0.04</c:v>
                </c:pt>
                <c:pt idx="370">
                  <c:v>0.04</c:v>
                </c:pt>
                <c:pt idx="371">
                  <c:v>0.04</c:v>
                </c:pt>
                <c:pt idx="372">
                  <c:v>0.04</c:v>
                </c:pt>
                <c:pt idx="373">
                  <c:v>0.04</c:v>
                </c:pt>
                <c:pt idx="374">
                  <c:v>0.04</c:v>
                </c:pt>
                <c:pt idx="375">
                  <c:v>0.05</c:v>
                </c:pt>
                <c:pt idx="376">
                  <c:v>0.04</c:v>
                </c:pt>
                <c:pt idx="377">
                  <c:v>0.04</c:v>
                </c:pt>
                <c:pt idx="378">
                  <c:v>0.04</c:v>
                </c:pt>
                <c:pt idx="379">
                  <c:v>0.04</c:v>
                </c:pt>
                <c:pt idx="380">
                  <c:v>0.05</c:v>
                </c:pt>
                <c:pt idx="381">
                  <c:v>0.05</c:v>
                </c:pt>
                <c:pt idx="382">
                  <c:v>0.05</c:v>
                </c:pt>
                <c:pt idx="383">
                  <c:v>0.04</c:v>
                </c:pt>
                <c:pt idx="384">
                  <c:v>0.04</c:v>
                </c:pt>
                <c:pt idx="385">
                  <c:v>0.04</c:v>
                </c:pt>
                <c:pt idx="386">
                  <c:v>0.04</c:v>
                </c:pt>
                <c:pt idx="387">
                  <c:v>0.04</c:v>
                </c:pt>
                <c:pt idx="388">
                  <c:v>0.04</c:v>
                </c:pt>
                <c:pt idx="389">
                  <c:v>0.04</c:v>
                </c:pt>
                <c:pt idx="390">
                  <c:v>0.04</c:v>
                </c:pt>
                <c:pt idx="391">
                  <c:v>0.04</c:v>
                </c:pt>
              </c:numCache>
            </c:numRef>
          </c:val>
          <c:smooth val="0"/>
          <c:extLst>
            <c:ext xmlns:c16="http://schemas.microsoft.com/office/drawing/2014/chart" uri="{C3380CC4-5D6E-409C-BE32-E72D297353CC}">
              <c16:uniqueId val="{00000002-C37D-48CD-B97C-EFC885BBD124}"/>
            </c:ext>
          </c:extLst>
        </c:ser>
        <c:dLbls>
          <c:showLegendKey val="0"/>
          <c:showVal val="0"/>
          <c:showCatName val="0"/>
          <c:showSerName val="0"/>
          <c:showPercent val="0"/>
          <c:showBubbleSize val="0"/>
        </c:dLbls>
        <c:smooth val="0"/>
        <c:axId val="1768368072"/>
        <c:axId val="1754646176"/>
      </c:lineChart>
      <c:dateAx>
        <c:axId val="1768368072"/>
        <c:scaling>
          <c:orientation val="minMax"/>
        </c:scaling>
        <c:delete val="0"/>
        <c:axPos val="b"/>
        <c:numFmt formatCode="[$-407]mmm/\ yy;@" sourceLinked="0"/>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crossAx val="1754646176"/>
        <c:crossesAt val="0.5"/>
        <c:auto val="1"/>
        <c:lblOffset val="100"/>
        <c:baseTimeUnit val="days"/>
        <c:majorUnit val="2"/>
        <c:majorTimeUnit val="months"/>
      </c:dateAx>
      <c:valAx>
        <c:axId val="1754646176"/>
        <c:scaling>
          <c:orientation val="minMax"/>
          <c:max val="0.70000000000000007"/>
          <c:min val="0"/>
        </c:scaling>
        <c:delete val="0"/>
        <c:axPos val="l"/>
        <c:numFmt formatCode="0\ %"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crossAx val="1768368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de-DE"/>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017178362573101E-2"/>
          <c:y val="0.12121220043572982"/>
          <c:w val="0.94544133771929828"/>
          <c:h val="0.80797450980392171"/>
        </c:manualLayout>
      </c:layout>
      <c:barChart>
        <c:barDir val="bar"/>
        <c:grouping val="stacked"/>
        <c:varyColors val="0"/>
        <c:ser>
          <c:idx val="1"/>
          <c:order val="0"/>
          <c:tx>
            <c:strRef>
              <c:f>HarrisCompareBalken!$S$7</c:f>
              <c:strCache>
                <c:ptCount val="1"/>
                <c:pt idx="0">
                  <c:v>Neutral</c:v>
                </c:pt>
              </c:strCache>
            </c:strRef>
          </c:tx>
          <c:spPr>
            <a:noFill/>
            <a:ln>
              <a:noFill/>
            </a:ln>
            <a:effectLst/>
          </c:spPr>
          <c:invertIfNegative val="0"/>
          <c:dLbls>
            <c:dLbl>
              <c:idx val="0"/>
              <c:tx>
                <c:rich>
                  <a:bodyPr/>
                  <a:lstStyle/>
                  <a:p>
                    <a:fld id="{FF892574-ECDB-46B1-9038-904D825153D8}" type="CELLRANGE">
                      <a:rPr lang="en-US"/>
                      <a:pPr/>
                      <a:t>[ZELLBEREICH]</a:t>
                    </a:fld>
                    <a:endParaRPr lang="de-DE"/>
                  </a:p>
                </c:rich>
              </c:tx>
              <c:dLblPos val="in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96B-4264-932D-1A45433BB41D}"/>
                </c:ext>
              </c:extLst>
            </c:dLbl>
            <c:dLbl>
              <c:idx val="1"/>
              <c:tx>
                <c:rich>
                  <a:bodyPr/>
                  <a:lstStyle/>
                  <a:p>
                    <a:fld id="{C4E9B4ED-0EDD-42CD-8EC4-F36293ABC1A8}" type="CELLRANGE">
                      <a:rPr lang="de-DE"/>
                      <a:pPr/>
                      <a:t>[ZELLBEREICH]</a:t>
                    </a:fld>
                    <a:endParaRPr lang="de-DE"/>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96B-4264-932D-1A45433BB41D}"/>
                </c:ext>
              </c:extLst>
            </c:dLbl>
            <c:dLbl>
              <c:idx val="2"/>
              <c:tx>
                <c:rich>
                  <a:bodyPr/>
                  <a:lstStyle/>
                  <a:p>
                    <a:endParaRPr lang="de-DE"/>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2-C96B-4264-932D-1A45433BB41D}"/>
                </c:ext>
              </c:extLst>
            </c:dLbl>
            <c:dLbl>
              <c:idx val="3"/>
              <c:tx>
                <c:rich>
                  <a:bodyPr/>
                  <a:lstStyle/>
                  <a:p>
                    <a:fld id="{536F201C-72EC-4CE1-A7D6-6A3F751F6D27}" type="CELLRANGE">
                      <a:rPr lang="de-DE"/>
                      <a:pPr/>
                      <a:t>[ZELLBEREICH]</a:t>
                    </a:fld>
                    <a:endParaRPr lang="de-DE"/>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96B-4264-932D-1A45433BB41D}"/>
                </c:ext>
              </c:extLst>
            </c:dLbl>
            <c:dLbl>
              <c:idx val="4"/>
              <c:tx>
                <c:rich>
                  <a:bodyPr/>
                  <a:lstStyle/>
                  <a:p>
                    <a:fld id="{877A6F78-7845-4F15-8F10-001FB5476E69}" type="CELLRANGE">
                      <a:rPr lang="de-DE"/>
                      <a:pPr/>
                      <a:t>[ZELLBEREICH]</a:t>
                    </a:fld>
                    <a:endParaRPr lang="de-DE"/>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96B-4264-932D-1A45433BB41D}"/>
                </c:ext>
              </c:extLst>
            </c:dLbl>
            <c:dLbl>
              <c:idx val="5"/>
              <c:tx>
                <c:rich>
                  <a:bodyPr/>
                  <a:lstStyle/>
                  <a:p>
                    <a:endParaRPr lang="de-DE"/>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5-C96B-4264-932D-1A45433BB41D}"/>
                </c:ext>
              </c:extLst>
            </c:dLbl>
            <c:dLbl>
              <c:idx val="6"/>
              <c:tx>
                <c:rich>
                  <a:bodyPr/>
                  <a:lstStyle/>
                  <a:p>
                    <a:fld id="{FE90E66C-A51C-474B-81C7-019E098BD425}" type="CELLRANGE">
                      <a:rPr lang="de-DE"/>
                      <a:pPr/>
                      <a:t>[ZELLBEREICH]</a:t>
                    </a:fld>
                    <a:endParaRPr lang="de-DE"/>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96B-4264-932D-1A45433BB41D}"/>
                </c:ext>
              </c:extLst>
            </c:dLbl>
            <c:dLbl>
              <c:idx val="7"/>
              <c:tx>
                <c:rich>
                  <a:bodyPr/>
                  <a:lstStyle/>
                  <a:p>
                    <a:fld id="{3A42159B-376B-452C-9A2E-BF50AB25F5C8}" type="CELLRANGE">
                      <a:rPr lang="de-DE"/>
                      <a:pPr/>
                      <a:t>[ZELLBEREICH]</a:t>
                    </a:fld>
                    <a:endParaRPr lang="de-DE"/>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96B-4264-932D-1A45433BB41D}"/>
                </c:ext>
              </c:extLst>
            </c:dLbl>
            <c:dLbl>
              <c:idx val="8"/>
              <c:tx>
                <c:rich>
                  <a:bodyPr/>
                  <a:lstStyle/>
                  <a:p>
                    <a:endParaRPr lang="de-DE"/>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8-C96B-4264-932D-1A45433BB41D}"/>
                </c:ext>
              </c:extLst>
            </c:dLbl>
            <c:dLbl>
              <c:idx val="9"/>
              <c:tx>
                <c:rich>
                  <a:bodyPr/>
                  <a:lstStyle/>
                  <a:p>
                    <a:fld id="{788EE1C7-CEA0-445E-B47D-E55A5747B314}" type="CELLRANGE">
                      <a:rPr lang="de-DE"/>
                      <a:pPr/>
                      <a:t>[ZELLBEREICH]</a:t>
                    </a:fld>
                    <a:endParaRPr lang="de-DE"/>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96B-4264-932D-1A45433BB41D}"/>
                </c:ext>
              </c:extLst>
            </c:dLbl>
            <c:dLbl>
              <c:idx val="10"/>
              <c:tx>
                <c:rich>
                  <a:bodyPr/>
                  <a:lstStyle/>
                  <a:p>
                    <a:fld id="{AB19E544-D9F8-4976-99E4-CF4C35BBF1DB}" type="CELLRANGE">
                      <a:rPr lang="de-DE"/>
                      <a:pPr/>
                      <a:t>[ZELLBEREICH]</a:t>
                    </a:fld>
                    <a:endParaRPr lang="de-DE"/>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C96B-4264-932D-1A45433BB41D}"/>
                </c:ext>
              </c:extLst>
            </c:dLbl>
            <c:dLbl>
              <c:idx val="11"/>
              <c:tx>
                <c:rich>
                  <a:bodyPr/>
                  <a:lstStyle/>
                  <a:p>
                    <a:endParaRPr lang="de-DE"/>
                  </a:p>
                </c:rich>
              </c:tx>
              <c:dLblPos val="inEnd"/>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B-C96B-4264-932D-1A45433BB41D}"/>
                </c:ext>
              </c:extLst>
            </c:dLbl>
            <c:dLbl>
              <c:idx val="12"/>
              <c:tx>
                <c:rich>
                  <a:bodyPr/>
                  <a:lstStyle/>
                  <a:p>
                    <a:fld id="{A5BFED30-E4A8-408A-B3E3-6F794F674158}" type="CELLRANGE">
                      <a:rPr lang="de-DE"/>
                      <a:pPr/>
                      <a:t>[ZELLBEREICH]</a:t>
                    </a:fld>
                    <a:endParaRPr lang="de-DE"/>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C96B-4264-932D-1A45433BB41D}"/>
                </c:ext>
              </c:extLst>
            </c:dLbl>
            <c:dLbl>
              <c:idx val="13"/>
              <c:tx>
                <c:rich>
                  <a:bodyPr/>
                  <a:lstStyle/>
                  <a:p>
                    <a:fld id="{042E54BA-7946-4AF6-B9A5-ED01A9F4BCCA}" type="CELLRANGE">
                      <a:rPr lang="de-DE"/>
                      <a:pPr/>
                      <a:t>[ZELLBEREICH]</a:t>
                    </a:fld>
                    <a:endParaRPr lang="de-DE"/>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C96B-4264-932D-1A45433BB41D}"/>
                </c:ext>
              </c:extLst>
            </c:dLbl>
            <c:dLbl>
              <c:idx val="14"/>
              <c:delete val="1"/>
              <c:extLst>
                <c:ext xmlns:c15="http://schemas.microsoft.com/office/drawing/2012/chart" uri="{CE6537A1-D6FC-4f65-9D91-7224C49458BB}"/>
                <c:ext xmlns:c16="http://schemas.microsoft.com/office/drawing/2014/chart" uri="{C3380CC4-5D6E-409C-BE32-E72D297353CC}">
                  <c16:uniqueId val="{0000000E-C96B-4264-932D-1A45433BB41D}"/>
                </c:ext>
              </c:extLst>
            </c:dLbl>
            <c:dLbl>
              <c:idx val="15"/>
              <c:tx>
                <c:rich>
                  <a:bodyPr/>
                  <a:lstStyle/>
                  <a:p>
                    <a:fld id="{5921DE0E-FC43-4527-8834-AA3684BA47E0}" type="CELLRANGE">
                      <a:rPr lang="de-DE"/>
                      <a:pPr/>
                      <a:t>[ZELLBEREICH]</a:t>
                    </a:fld>
                    <a:endParaRPr lang="de-DE"/>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C96B-4264-932D-1A45433BB41D}"/>
                </c:ext>
              </c:extLst>
            </c:dLbl>
            <c:dLbl>
              <c:idx val="16"/>
              <c:tx>
                <c:rich>
                  <a:bodyPr/>
                  <a:lstStyle/>
                  <a:p>
                    <a:fld id="{3F1EE007-94AC-44C0-84DE-D0F5FCAEEC10}" type="CELLRANGE">
                      <a:rPr lang="de-DE"/>
                      <a:pPr/>
                      <a:t>[ZELLBEREICH]</a:t>
                    </a:fld>
                    <a:endParaRPr lang="de-DE"/>
                  </a:p>
                </c:rich>
              </c:tx>
              <c:dLblPos val="in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C96B-4264-932D-1A45433BB41D}"/>
                </c:ext>
              </c:extLst>
            </c:dLbl>
            <c:dLbl>
              <c:idx val="17"/>
              <c:delete val="1"/>
              <c:extLst>
                <c:ext xmlns:c15="http://schemas.microsoft.com/office/drawing/2012/chart" uri="{CE6537A1-D6FC-4f65-9D91-7224C49458BB}"/>
                <c:ext xmlns:c16="http://schemas.microsoft.com/office/drawing/2014/chart" uri="{C3380CC4-5D6E-409C-BE32-E72D297353CC}">
                  <c16:uniqueId val="{00000011-C96B-4264-932D-1A45433BB41D}"/>
                </c:ext>
              </c:extLst>
            </c:dLbl>
            <c:spPr>
              <a:noFill/>
              <a:ln>
                <a:noFill/>
              </a:ln>
              <a:effectLst/>
            </c:spPr>
            <c:txPr>
              <a:bodyPr wrap="square" lIns="38100" tIns="19050" rIns="38100" bIns="19050" anchor="ctr">
                <a:spAutoFit/>
              </a:bodyPr>
              <a:lstStyle/>
              <a:p>
                <a:pPr>
                  <a:defRPr sz="1000" b="1">
                    <a:solidFill>
                      <a:schemeClr val="accent3">
                        <a:lumMod val="50000"/>
                      </a:schemeClr>
                    </a:solidFill>
                  </a:defRPr>
                </a:pPr>
                <a:endParaRPr lang="de-DE"/>
              </a:p>
            </c:txPr>
            <c:dLblPos val="in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multiLvlStrRef>
              <c:f>HarrisCompareBalken!$P$8:$Q$25</c:f>
              <c:multiLvlStrCache>
                <c:ptCount val="18"/>
                <c:lvl>
                  <c:pt idx="0">
                    <c:v>Biden</c:v>
                  </c:pt>
                  <c:pt idx="1">
                    <c:v>Harris</c:v>
                  </c:pt>
                  <c:pt idx="3">
                    <c:v>Biden</c:v>
                  </c:pt>
                  <c:pt idx="4">
                    <c:v>Harris</c:v>
                  </c:pt>
                  <c:pt idx="6">
                    <c:v>Biden</c:v>
                  </c:pt>
                  <c:pt idx="7">
                    <c:v>Harris</c:v>
                  </c:pt>
                  <c:pt idx="9">
                    <c:v>Biden</c:v>
                  </c:pt>
                  <c:pt idx="10">
                    <c:v>Harris</c:v>
                  </c:pt>
                  <c:pt idx="12">
                    <c:v>Biden</c:v>
                  </c:pt>
                  <c:pt idx="13">
                    <c:v>Harris</c:v>
                  </c:pt>
                  <c:pt idx="15">
                    <c:v>Biden</c:v>
                  </c:pt>
                  <c:pt idx="16">
                    <c:v>Harris</c:v>
                  </c:pt>
                  <c:pt idx="17">
                    <c:v>Republikaner</c:v>
                  </c:pt>
                </c:lvl>
                <c:lvl>
                  <c:pt idx="1">
                    <c:v>Wisconsin</c:v>
                  </c:pt>
                  <c:pt idx="4">
                    <c:v>Pennsylvania</c:v>
                  </c:pt>
                  <c:pt idx="7">
                    <c:v>Nevada</c:v>
                  </c:pt>
                  <c:pt idx="10">
                    <c:v>Michigan</c:v>
                  </c:pt>
                  <c:pt idx="13">
                    <c:v>Georgia</c:v>
                  </c:pt>
                  <c:pt idx="16">
                    <c:v>Arizona</c:v>
                  </c:pt>
                  <c:pt idx="17">
                    <c:v>Demokraten</c:v>
                  </c:pt>
                </c:lvl>
              </c:multiLvlStrCache>
            </c:multiLvlStrRef>
          </c:cat>
          <c:val>
            <c:numRef>
              <c:f>HarrisCompareBalken!$S$8:$S$25</c:f>
              <c:numCache>
                <c:formatCode>General</c:formatCode>
                <c:ptCount val="18"/>
                <c:pt idx="0">
                  <c:v>-27</c:v>
                </c:pt>
                <c:pt idx="1">
                  <c:v>-27</c:v>
                </c:pt>
                <c:pt idx="3">
                  <c:v>-27</c:v>
                </c:pt>
                <c:pt idx="4">
                  <c:v>-27</c:v>
                </c:pt>
                <c:pt idx="6">
                  <c:v>-27</c:v>
                </c:pt>
                <c:pt idx="7">
                  <c:v>-27</c:v>
                </c:pt>
                <c:pt idx="9">
                  <c:v>-27</c:v>
                </c:pt>
                <c:pt idx="10">
                  <c:v>-27</c:v>
                </c:pt>
                <c:pt idx="12">
                  <c:v>-27</c:v>
                </c:pt>
                <c:pt idx="13">
                  <c:v>-27</c:v>
                </c:pt>
                <c:pt idx="15">
                  <c:v>-27</c:v>
                </c:pt>
                <c:pt idx="16">
                  <c:v>-27</c:v>
                </c:pt>
                <c:pt idx="17">
                  <c:v>-27</c:v>
                </c:pt>
              </c:numCache>
            </c:numRef>
          </c:val>
          <c:extLst>
            <c:ext xmlns:c15="http://schemas.microsoft.com/office/drawing/2012/chart" uri="{02D57815-91ED-43cb-92C2-25804820EDAC}">
              <c15:datalabelsRange>
                <c15:f>HarrisCompareBalken!$P$8:$P$25</c15:f>
                <c15:dlblRangeCache>
                  <c:ptCount val="18"/>
                  <c:pt idx="1">
                    <c:v>Wisconsin</c:v>
                  </c:pt>
                  <c:pt idx="4">
                    <c:v>Pennsylvania</c:v>
                  </c:pt>
                  <c:pt idx="7">
                    <c:v>Nevada</c:v>
                  </c:pt>
                  <c:pt idx="10">
                    <c:v>Michigan</c:v>
                  </c:pt>
                  <c:pt idx="13">
                    <c:v>Georgia</c:v>
                  </c:pt>
                  <c:pt idx="16">
                    <c:v>Arizona</c:v>
                  </c:pt>
                  <c:pt idx="17">
                    <c:v>Demokraten</c:v>
                  </c:pt>
                </c15:dlblRangeCache>
              </c15:datalabelsRange>
            </c:ext>
            <c:ext xmlns:c16="http://schemas.microsoft.com/office/drawing/2014/chart" uri="{C3380CC4-5D6E-409C-BE32-E72D297353CC}">
              <c16:uniqueId val="{00000012-C96B-4264-932D-1A45433BB41D}"/>
            </c:ext>
          </c:extLst>
        </c:ser>
        <c:ser>
          <c:idx val="0"/>
          <c:order val="1"/>
          <c:tx>
            <c:strRef>
              <c:f>HarrisCompareBalken!$R$7</c:f>
              <c:strCache>
                <c:ptCount val="1"/>
                <c:pt idx="0">
                  <c:v>Trump</c:v>
                </c:pt>
              </c:strCache>
            </c:strRef>
          </c:tx>
          <c:spPr>
            <a:solidFill>
              <a:srgbClr val="BE2839"/>
            </a:solidFill>
            <a:ln>
              <a:noFill/>
            </a:ln>
            <a:effectLst/>
          </c:spPr>
          <c:invertIfNegative val="0"/>
          <c:dPt>
            <c:idx val="0"/>
            <c:invertIfNegative val="0"/>
            <c:bubble3D val="0"/>
            <c:extLst>
              <c:ext xmlns:c16="http://schemas.microsoft.com/office/drawing/2014/chart" uri="{C3380CC4-5D6E-409C-BE32-E72D297353CC}">
                <c16:uniqueId val="{00000013-C96B-4264-932D-1A45433BB41D}"/>
              </c:ext>
            </c:extLst>
          </c:dPt>
          <c:dPt>
            <c:idx val="1"/>
            <c:invertIfNegative val="0"/>
            <c:bubble3D val="0"/>
            <c:spPr>
              <a:noFill/>
              <a:ln>
                <a:solidFill>
                  <a:srgbClr val="C00000"/>
                </a:solidFill>
              </a:ln>
              <a:effectLst/>
            </c:spPr>
            <c:extLst>
              <c:ext xmlns:c16="http://schemas.microsoft.com/office/drawing/2014/chart" uri="{C3380CC4-5D6E-409C-BE32-E72D297353CC}">
                <c16:uniqueId val="{00000015-C96B-4264-932D-1A45433BB41D}"/>
              </c:ext>
            </c:extLst>
          </c:dPt>
          <c:dPt>
            <c:idx val="3"/>
            <c:invertIfNegative val="0"/>
            <c:bubble3D val="0"/>
            <c:extLst>
              <c:ext xmlns:c16="http://schemas.microsoft.com/office/drawing/2014/chart" uri="{C3380CC4-5D6E-409C-BE32-E72D297353CC}">
                <c16:uniqueId val="{00000016-C96B-4264-932D-1A45433BB41D}"/>
              </c:ext>
            </c:extLst>
          </c:dPt>
          <c:dPt>
            <c:idx val="4"/>
            <c:invertIfNegative val="0"/>
            <c:bubble3D val="0"/>
            <c:spPr>
              <a:noFill/>
              <a:ln>
                <a:solidFill>
                  <a:srgbClr val="BE2839"/>
                </a:solidFill>
              </a:ln>
              <a:effectLst/>
            </c:spPr>
            <c:extLst>
              <c:ext xmlns:c16="http://schemas.microsoft.com/office/drawing/2014/chart" uri="{C3380CC4-5D6E-409C-BE32-E72D297353CC}">
                <c16:uniqueId val="{00000018-C96B-4264-932D-1A45433BB41D}"/>
              </c:ext>
            </c:extLst>
          </c:dPt>
          <c:dPt>
            <c:idx val="6"/>
            <c:invertIfNegative val="0"/>
            <c:bubble3D val="0"/>
            <c:extLst>
              <c:ext xmlns:c16="http://schemas.microsoft.com/office/drawing/2014/chart" uri="{C3380CC4-5D6E-409C-BE32-E72D297353CC}">
                <c16:uniqueId val="{00000019-C96B-4264-932D-1A45433BB41D}"/>
              </c:ext>
            </c:extLst>
          </c:dPt>
          <c:dPt>
            <c:idx val="9"/>
            <c:invertIfNegative val="0"/>
            <c:bubble3D val="0"/>
            <c:extLst>
              <c:ext xmlns:c16="http://schemas.microsoft.com/office/drawing/2014/chart" uri="{C3380CC4-5D6E-409C-BE32-E72D297353CC}">
                <c16:uniqueId val="{0000001A-C96B-4264-932D-1A45433BB41D}"/>
              </c:ext>
            </c:extLst>
          </c:dPt>
          <c:dPt>
            <c:idx val="10"/>
            <c:invertIfNegative val="0"/>
            <c:bubble3D val="0"/>
            <c:spPr>
              <a:noFill/>
              <a:ln>
                <a:solidFill>
                  <a:srgbClr val="C00000"/>
                </a:solidFill>
              </a:ln>
              <a:effectLst/>
            </c:spPr>
            <c:extLst>
              <c:ext xmlns:c16="http://schemas.microsoft.com/office/drawing/2014/chart" uri="{C3380CC4-5D6E-409C-BE32-E72D297353CC}">
                <c16:uniqueId val="{0000001C-C96B-4264-932D-1A45433BB41D}"/>
              </c:ext>
            </c:extLst>
          </c:dPt>
          <c:dPt>
            <c:idx val="12"/>
            <c:invertIfNegative val="0"/>
            <c:bubble3D val="0"/>
            <c:extLst>
              <c:ext xmlns:c16="http://schemas.microsoft.com/office/drawing/2014/chart" uri="{C3380CC4-5D6E-409C-BE32-E72D297353CC}">
                <c16:uniqueId val="{0000001D-C96B-4264-932D-1A45433BB41D}"/>
              </c:ext>
            </c:extLst>
          </c:dPt>
          <c:dPt>
            <c:idx val="13"/>
            <c:invertIfNegative val="0"/>
            <c:bubble3D val="0"/>
            <c:spPr>
              <a:solidFill>
                <a:srgbClr val="BE2839"/>
              </a:solidFill>
              <a:ln>
                <a:solidFill>
                  <a:srgbClr val="C00000"/>
                </a:solidFill>
              </a:ln>
              <a:effectLst/>
            </c:spPr>
            <c:extLst>
              <c:ext xmlns:c16="http://schemas.microsoft.com/office/drawing/2014/chart" uri="{C3380CC4-5D6E-409C-BE32-E72D297353CC}">
                <c16:uniqueId val="{0000001F-C96B-4264-932D-1A45433BB41D}"/>
              </c:ext>
            </c:extLst>
          </c:dPt>
          <c:dPt>
            <c:idx val="14"/>
            <c:invertIfNegative val="0"/>
            <c:bubble3D val="0"/>
            <c:spPr>
              <a:solidFill>
                <a:sysClr val="window" lastClr="FFFFFF"/>
              </a:solidFill>
              <a:ln>
                <a:noFill/>
              </a:ln>
              <a:effectLst/>
            </c:spPr>
            <c:extLst>
              <c:ext xmlns:c16="http://schemas.microsoft.com/office/drawing/2014/chart" uri="{C3380CC4-5D6E-409C-BE32-E72D297353CC}">
                <c16:uniqueId val="{00000021-C96B-4264-932D-1A45433BB41D}"/>
              </c:ext>
            </c:extLst>
          </c:dPt>
          <c:dPt>
            <c:idx val="16"/>
            <c:invertIfNegative val="0"/>
            <c:bubble3D val="0"/>
            <c:spPr>
              <a:noFill/>
              <a:ln>
                <a:solidFill>
                  <a:srgbClr val="C00000"/>
                </a:solidFill>
              </a:ln>
              <a:effectLst/>
            </c:spPr>
            <c:extLst>
              <c:ext xmlns:c16="http://schemas.microsoft.com/office/drawing/2014/chart" uri="{C3380CC4-5D6E-409C-BE32-E72D297353CC}">
                <c16:uniqueId val="{00000023-C96B-4264-932D-1A45433BB41D}"/>
              </c:ext>
            </c:extLst>
          </c:dPt>
          <c:dPt>
            <c:idx val="17"/>
            <c:invertIfNegative val="0"/>
            <c:bubble3D val="0"/>
            <c:spPr>
              <a:solidFill>
                <a:sysClr val="window" lastClr="FFFFFF"/>
              </a:solidFill>
              <a:ln>
                <a:noFill/>
              </a:ln>
              <a:effectLst/>
            </c:spPr>
            <c:extLst>
              <c:ext xmlns:c16="http://schemas.microsoft.com/office/drawing/2014/chart" uri="{C3380CC4-5D6E-409C-BE32-E72D297353CC}">
                <c16:uniqueId val="{00000025-C96B-4264-932D-1A45433BB41D}"/>
              </c:ext>
            </c:extLst>
          </c:dPt>
          <c:dLbls>
            <c:dLbl>
              <c:idx val="1"/>
              <c:numFmt formatCode="0.0;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C00000"/>
                      </a:solidFill>
                      <a:latin typeface="+mn-lt"/>
                      <a:ea typeface="+mn-ea"/>
                      <a:cs typeface="+mn-cs"/>
                    </a:defRPr>
                  </a:pPr>
                  <a:endParaRPr lang="de-DE"/>
                </a:p>
              </c:txPr>
              <c:dLblPos val="inBase"/>
              <c:showLegendKey val="0"/>
              <c:showVal val="1"/>
              <c:showCatName val="0"/>
              <c:showSerName val="0"/>
              <c:showPercent val="0"/>
              <c:showBubbleSize val="0"/>
              <c:extLst>
                <c:ext xmlns:c16="http://schemas.microsoft.com/office/drawing/2014/chart" uri="{C3380CC4-5D6E-409C-BE32-E72D297353CC}">
                  <c16:uniqueId val="{00000015-C96B-4264-932D-1A45433BB41D}"/>
                </c:ext>
              </c:extLst>
            </c:dLbl>
            <c:dLbl>
              <c:idx val="4"/>
              <c:numFmt formatCode="0.0;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BE2839"/>
                      </a:solidFill>
                      <a:latin typeface="+mn-lt"/>
                      <a:ea typeface="+mn-ea"/>
                      <a:cs typeface="+mn-cs"/>
                    </a:defRPr>
                  </a:pPr>
                  <a:endParaRPr lang="de-DE"/>
                </a:p>
              </c:txPr>
              <c:dLblPos val="inBase"/>
              <c:showLegendKey val="0"/>
              <c:showVal val="1"/>
              <c:showCatName val="0"/>
              <c:showSerName val="0"/>
              <c:showPercent val="0"/>
              <c:showBubbleSize val="0"/>
              <c:extLst>
                <c:ext xmlns:c16="http://schemas.microsoft.com/office/drawing/2014/chart" uri="{C3380CC4-5D6E-409C-BE32-E72D297353CC}">
                  <c16:uniqueId val="{00000018-C96B-4264-932D-1A45433BB41D}"/>
                </c:ext>
              </c:extLst>
            </c:dLbl>
            <c:dLbl>
              <c:idx val="10"/>
              <c:numFmt formatCode="0.0;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C00000"/>
                      </a:solidFill>
                      <a:latin typeface="+mn-lt"/>
                      <a:ea typeface="+mn-ea"/>
                      <a:cs typeface="+mn-cs"/>
                    </a:defRPr>
                  </a:pPr>
                  <a:endParaRPr lang="de-DE"/>
                </a:p>
              </c:txPr>
              <c:dLblPos val="inBase"/>
              <c:showLegendKey val="0"/>
              <c:showVal val="1"/>
              <c:showCatName val="0"/>
              <c:showSerName val="0"/>
              <c:showPercent val="0"/>
              <c:showBubbleSize val="0"/>
              <c:extLst>
                <c:ext xmlns:c16="http://schemas.microsoft.com/office/drawing/2014/chart" uri="{C3380CC4-5D6E-409C-BE32-E72D297353CC}">
                  <c16:uniqueId val="{0000001C-C96B-4264-932D-1A45433BB41D}"/>
                </c:ext>
              </c:extLst>
            </c:dLbl>
            <c:dLbl>
              <c:idx val="14"/>
              <c:numFmt formatCode="0.0;0.0" sourceLinked="0"/>
              <c:spPr>
                <a:noFill/>
                <a:ln>
                  <a:noFill/>
                </a:ln>
                <a:effectLst/>
              </c:spPr>
              <c:txPr>
                <a:bodyPr rot="0" spcFirstLastPara="1" vertOverflow="ellipsis" vert="horz" wrap="none" lIns="38100" tIns="19050" rIns="0" bIns="19050" anchor="ctr" anchorCtr="1">
                  <a:spAutoFit/>
                </a:bodyPr>
                <a:lstStyle/>
                <a:p>
                  <a:pPr>
                    <a:defRPr sz="1000" b="1" i="0" u="none" strike="noStrike" kern="1200" baseline="0">
                      <a:solidFill>
                        <a:srgbClr val="C00000"/>
                      </a:solidFill>
                      <a:latin typeface="+mn-lt"/>
                      <a:ea typeface="+mn-ea"/>
                      <a:cs typeface="+mn-cs"/>
                    </a:defRPr>
                  </a:pPr>
                  <a:endParaRPr lang="de-DE"/>
                </a:p>
              </c:txPr>
              <c:dLblPos val="inEnd"/>
              <c:showLegendKey val="0"/>
              <c:showVal val="0"/>
              <c:showCatName val="0"/>
              <c:showSerName val="1"/>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C96B-4264-932D-1A45433BB41D}"/>
                </c:ext>
              </c:extLst>
            </c:dLbl>
            <c:dLbl>
              <c:idx val="16"/>
              <c:numFmt formatCode="0.0;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C00000"/>
                      </a:solidFill>
                      <a:latin typeface="+mn-lt"/>
                      <a:ea typeface="+mn-ea"/>
                      <a:cs typeface="+mn-cs"/>
                    </a:defRPr>
                  </a:pPr>
                  <a:endParaRPr lang="de-DE"/>
                </a:p>
              </c:txPr>
              <c:dLblPos val="inBase"/>
              <c:showLegendKey val="0"/>
              <c:showVal val="1"/>
              <c:showCatName val="0"/>
              <c:showSerName val="0"/>
              <c:showPercent val="0"/>
              <c:showBubbleSize val="0"/>
              <c:extLst>
                <c:ext xmlns:c16="http://schemas.microsoft.com/office/drawing/2014/chart" uri="{C3380CC4-5D6E-409C-BE32-E72D297353CC}">
                  <c16:uniqueId val="{00000023-C96B-4264-932D-1A45433BB41D}"/>
                </c:ext>
              </c:extLst>
            </c:dLbl>
            <c:dLbl>
              <c:idx val="17"/>
              <c:numFmt formatCode="0.0;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C00000"/>
                      </a:solidFill>
                      <a:latin typeface="+mn-lt"/>
                      <a:ea typeface="+mn-ea"/>
                      <a:cs typeface="+mn-cs"/>
                    </a:defRPr>
                  </a:pPr>
                  <a:endParaRPr lang="de-DE"/>
                </a:p>
              </c:txPr>
              <c:dLblPos val="inEnd"/>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25-C96B-4264-932D-1A45433BB41D}"/>
                </c:ext>
              </c:extLst>
            </c:dLbl>
            <c:numFmt formatCode="0.0;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de-DE"/>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multiLvlStrRef>
              <c:f>HarrisCompareBalken!$P$8:$Q$25</c:f>
              <c:multiLvlStrCache>
                <c:ptCount val="18"/>
                <c:lvl>
                  <c:pt idx="0">
                    <c:v>Biden</c:v>
                  </c:pt>
                  <c:pt idx="1">
                    <c:v>Harris</c:v>
                  </c:pt>
                  <c:pt idx="3">
                    <c:v>Biden</c:v>
                  </c:pt>
                  <c:pt idx="4">
                    <c:v>Harris</c:v>
                  </c:pt>
                  <c:pt idx="6">
                    <c:v>Biden</c:v>
                  </c:pt>
                  <c:pt idx="7">
                    <c:v>Harris</c:v>
                  </c:pt>
                  <c:pt idx="9">
                    <c:v>Biden</c:v>
                  </c:pt>
                  <c:pt idx="10">
                    <c:v>Harris</c:v>
                  </c:pt>
                  <c:pt idx="12">
                    <c:v>Biden</c:v>
                  </c:pt>
                  <c:pt idx="13">
                    <c:v>Harris</c:v>
                  </c:pt>
                  <c:pt idx="15">
                    <c:v>Biden</c:v>
                  </c:pt>
                  <c:pt idx="16">
                    <c:v>Harris</c:v>
                  </c:pt>
                  <c:pt idx="17">
                    <c:v>Republikaner</c:v>
                  </c:pt>
                </c:lvl>
                <c:lvl>
                  <c:pt idx="1">
                    <c:v>Wisconsin</c:v>
                  </c:pt>
                  <c:pt idx="4">
                    <c:v>Pennsylvania</c:v>
                  </c:pt>
                  <c:pt idx="7">
                    <c:v>Nevada</c:v>
                  </c:pt>
                  <c:pt idx="10">
                    <c:v>Michigan</c:v>
                  </c:pt>
                  <c:pt idx="13">
                    <c:v>Georgia</c:v>
                  </c:pt>
                  <c:pt idx="16">
                    <c:v>Arizona</c:v>
                  </c:pt>
                  <c:pt idx="17">
                    <c:v>Demokraten</c:v>
                  </c:pt>
                </c:lvl>
              </c:multiLvlStrCache>
            </c:multiLvlStrRef>
          </c:cat>
          <c:val>
            <c:numRef>
              <c:f>HarrisCompareBalken!$R$8:$R$25</c:f>
              <c:numCache>
                <c:formatCode>General</c:formatCode>
                <c:ptCount val="18"/>
                <c:pt idx="0">
                  <c:v>-44.5</c:v>
                </c:pt>
                <c:pt idx="1">
                  <c:v>-43.8</c:v>
                </c:pt>
                <c:pt idx="3">
                  <c:v>-45.5</c:v>
                </c:pt>
                <c:pt idx="4">
                  <c:v>-44.2</c:v>
                </c:pt>
                <c:pt idx="6">
                  <c:v>-44.3</c:v>
                </c:pt>
                <c:pt idx="7">
                  <c:v>-44.5</c:v>
                </c:pt>
                <c:pt idx="9">
                  <c:v>-43.8</c:v>
                </c:pt>
                <c:pt idx="10">
                  <c:v>-42.9</c:v>
                </c:pt>
                <c:pt idx="12">
                  <c:v>-45.1</c:v>
                </c:pt>
                <c:pt idx="13">
                  <c:v>-45.9</c:v>
                </c:pt>
                <c:pt idx="15">
                  <c:v>-45</c:v>
                </c:pt>
                <c:pt idx="16">
                  <c:v>-44.7</c:v>
                </c:pt>
                <c:pt idx="17">
                  <c:v>-42</c:v>
                </c:pt>
              </c:numCache>
            </c:numRef>
          </c:val>
          <c:extLst>
            <c:ext xmlns:c16="http://schemas.microsoft.com/office/drawing/2014/chart" uri="{C3380CC4-5D6E-409C-BE32-E72D297353CC}">
              <c16:uniqueId val="{00000026-C96B-4264-932D-1A45433BB41D}"/>
            </c:ext>
          </c:extLst>
        </c:ser>
        <c:ser>
          <c:idx val="2"/>
          <c:order val="2"/>
          <c:tx>
            <c:strRef>
              <c:f>HarrisCompareBalken!$T$7</c:f>
              <c:strCache>
                <c:ptCount val="1"/>
                <c:pt idx="0">
                  <c:v>Neutral</c:v>
                </c:pt>
              </c:strCache>
            </c:strRef>
          </c:tx>
          <c:spPr>
            <a:noFill/>
            <a:ln>
              <a:noFill/>
            </a:ln>
            <a:effectLst/>
          </c:spPr>
          <c:invertIfNegative val="0"/>
          <c:dLbls>
            <c:dLbl>
              <c:idx val="0"/>
              <c:tx>
                <c:rich>
                  <a:bodyPr/>
                  <a:lstStyle/>
                  <a:p>
                    <a:fld id="{2ADA655E-DFEA-48AD-84A7-DC5B78FA91B4}" type="CELLRANGE">
                      <a:rPr lang="de-DE"/>
                      <a:pPr/>
                      <a:t>[ZELLBEREICH]</a:t>
                    </a:fld>
                    <a:endParaRPr lang="de-D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7-C96B-4264-932D-1A45433BB41D}"/>
                </c:ext>
              </c:extLst>
            </c:dLbl>
            <c:dLbl>
              <c:idx val="1"/>
              <c:tx>
                <c:rich>
                  <a:bodyPr rot="0" spcFirstLastPara="1" vertOverflow="ellipsis" vert="horz" wrap="square" lIns="38100" tIns="19050" rIns="38100" bIns="19050" anchor="ctr" anchorCtr="0">
                    <a:spAutoFit/>
                  </a:bodyPr>
                  <a:lstStyle/>
                  <a:p>
                    <a:pPr algn="l">
                      <a:defRPr sz="900" b="1" i="0" u="none" strike="noStrike" kern="1200" baseline="0">
                        <a:solidFill>
                          <a:schemeClr val="tx2"/>
                        </a:solidFill>
                        <a:latin typeface="+mn-lt"/>
                        <a:ea typeface="+mn-ea"/>
                        <a:cs typeface="+mn-cs"/>
                      </a:defRPr>
                    </a:pPr>
                    <a:fld id="{A59E7CBE-E535-4B8C-B9BA-8B0881B3BA52}" type="CELLRANGE">
                      <a:rPr lang="de-DE"/>
                      <a:pPr algn="l">
                        <a:defRPr sz="900" b="1" i="0" u="none" strike="noStrike" kern="1200" baseline="0">
                          <a:solidFill>
                            <a:schemeClr val="tx2"/>
                          </a:solidFill>
                          <a:latin typeface="+mn-lt"/>
                          <a:ea typeface="+mn-ea"/>
                          <a:cs typeface="+mn-cs"/>
                        </a:defRPr>
                      </a:pPr>
                      <a:t>[ZELLBEREICH]</a:t>
                    </a:fld>
                    <a:endParaRPr lang="de-DE"/>
                  </a:p>
                </c:rich>
              </c:tx>
              <c:spPr>
                <a:noFill/>
                <a:ln>
                  <a:noFill/>
                </a:ln>
                <a:effectLst/>
              </c:spPr>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8-C96B-4264-932D-1A45433BB41D}"/>
                </c:ext>
              </c:extLst>
            </c:dLbl>
            <c:dLbl>
              <c:idx val="2"/>
              <c:tx>
                <c:rich>
                  <a:bodyPr/>
                  <a:lstStyle/>
                  <a:p>
                    <a:endParaRPr lang="de-DE"/>
                  </a:p>
                </c:rich>
              </c:tx>
              <c:dLblPos val="inBase"/>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9-C96B-4264-932D-1A45433BB41D}"/>
                </c:ext>
              </c:extLst>
            </c:dLbl>
            <c:dLbl>
              <c:idx val="3"/>
              <c:tx>
                <c:rich>
                  <a:bodyPr/>
                  <a:lstStyle/>
                  <a:p>
                    <a:fld id="{3EE9A441-CB70-4F2D-810B-8725A99EDC27}" type="CELLRANGE">
                      <a:rPr lang="de-DE"/>
                      <a:pPr/>
                      <a:t>[ZELLBEREICH]</a:t>
                    </a:fld>
                    <a:endParaRPr lang="de-D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A-C96B-4264-932D-1A45433BB41D}"/>
                </c:ext>
              </c:extLst>
            </c:dLbl>
            <c:dLbl>
              <c:idx val="4"/>
              <c:tx>
                <c:rich>
                  <a:bodyPr rot="0" spcFirstLastPara="1" vertOverflow="ellipsis" vert="horz" wrap="square" lIns="38100" tIns="19050" rIns="38100" bIns="19050" anchor="ctr" anchorCtr="0">
                    <a:spAutoFit/>
                  </a:bodyPr>
                  <a:lstStyle/>
                  <a:p>
                    <a:pPr algn="l">
                      <a:defRPr sz="900" b="1" i="0" u="none" strike="noStrike" kern="1200" baseline="0">
                        <a:solidFill>
                          <a:schemeClr val="tx2"/>
                        </a:solidFill>
                        <a:latin typeface="+mn-lt"/>
                        <a:ea typeface="+mn-ea"/>
                        <a:cs typeface="+mn-cs"/>
                      </a:defRPr>
                    </a:pPr>
                    <a:fld id="{9F51BCC5-4AED-433F-A93B-D899FF6E558C}" type="CELLRANGE">
                      <a:rPr lang="de-DE"/>
                      <a:pPr algn="l">
                        <a:defRPr sz="900" b="1" i="0" u="none" strike="noStrike" kern="1200" baseline="0">
                          <a:solidFill>
                            <a:schemeClr val="tx2"/>
                          </a:solidFill>
                          <a:latin typeface="+mn-lt"/>
                          <a:ea typeface="+mn-ea"/>
                          <a:cs typeface="+mn-cs"/>
                        </a:defRPr>
                      </a:pPr>
                      <a:t>[ZELLBEREICH]</a:t>
                    </a:fld>
                    <a:endParaRPr lang="de-DE"/>
                  </a:p>
                </c:rich>
              </c:tx>
              <c:spPr>
                <a:noFill/>
                <a:ln>
                  <a:noFill/>
                </a:ln>
                <a:effectLst/>
              </c:spPr>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B-C96B-4264-932D-1A45433BB41D}"/>
                </c:ext>
              </c:extLst>
            </c:dLbl>
            <c:dLbl>
              <c:idx val="5"/>
              <c:tx>
                <c:rich>
                  <a:bodyPr/>
                  <a:lstStyle/>
                  <a:p>
                    <a:endParaRPr lang="de-DE"/>
                  </a:p>
                </c:rich>
              </c:tx>
              <c:dLblPos val="inBase"/>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C-C96B-4264-932D-1A45433BB41D}"/>
                </c:ext>
              </c:extLst>
            </c:dLbl>
            <c:dLbl>
              <c:idx val="6"/>
              <c:tx>
                <c:rich>
                  <a:bodyPr/>
                  <a:lstStyle/>
                  <a:p>
                    <a:fld id="{DD781DDF-DAD1-40D8-AE9B-72E9B7250DF2}" type="CELLRANGE">
                      <a:rPr lang="de-DE"/>
                      <a:pPr/>
                      <a:t>[ZELLBEREICH]</a:t>
                    </a:fld>
                    <a:endParaRPr lang="de-D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D-C96B-4264-932D-1A45433BB41D}"/>
                </c:ext>
              </c:extLst>
            </c:dLbl>
            <c:dLbl>
              <c:idx val="7"/>
              <c:tx>
                <c:rich>
                  <a:bodyPr rot="0" spcFirstLastPara="1" vertOverflow="ellipsis" vert="horz" wrap="square" lIns="38100" tIns="19050" rIns="38100" bIns="19050" anchor="ctr" anchorCtr="0">
                    <a:spAutoFit/>
                  </a:bodyPr>
                  <a:lstStyle/>
                  <a:p>
                    <a:pPr algn="l">
                      <a:defRPr sz="900" b="1" i="0" u="none" strike="noStrike" kern="1200" baseline="0">
                        <a:solidFill>
                          <a:schemeClr val="tx2"/>
                        </a:solidFill>
                        <a:latin typeface="+mn-lt"/>
                        <a:ea typeface="+mn-ea"/>
                        <a:cs typeface="+mn-cs"/>
                      </a:defRPr>
                    </a:pPr>
                    <a:fld id="{EE19ED1C-DFA2-43AC-98A3-6B0B47B54898}" type="CELLRANGE">
                      <a:rPr lang="de-DE"/>
                      <a:pPr algn="l">
                        <a:defRPr sz="900" b="1" i="0" u="none" strike="noStrike" kern="1200" baseline="0">
                          <a:solidFill>
                            <a:schemeClr val="tx2"/>
                          </a:solidFill>
                          <a:latin typeface="+mn-lt"/>
                          <a:ea typeface="+mn-ea"/>
                          <a:cs typeface="+mn-cs"/>
                        </a:defRPr>
                      </a:pPr>
                      <a:t>[ZELLBEREICH]</a:t>
                    </a:fld>
                    <a:endParaRPr lang="de-DE"/>
                  </a:p>
                </c:rich>
              </c:tx>
              <c:spPr>
                <a:noFill/>
                <a:ln>
                  <a:noFill/>
                </a:ln>
                <a:effectLst/>
              </c:spPr>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2E-C96B-4264-932D-1A45433BB41D}"/>
                </c:ext>
              </c:extLst>
            </c:dLbl>
            <c:dLbl>
              <c:idx val="8"/>
              <c:tx>
                <c:rich>
                  <a:bodyPr/>
                  <a:lstStyle/>
                  <a:p>
                    <a:endParaRPr lang="de-DE"/>
                  </a:p>
                </c:rich>
              </c:tx>
              <c:dLblPos val="inBase"/>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F-C96B-4264-932D-1A45433BB41D}"/>
                </c:ext>
              </c:extLst>
            </c:dLbl>
            <c:dLbl>
              <c:idx val="9"/>
              <c:tx>
                <c:rich>
                  <a:bodyPr/>
                  <a:lstStyle/>
                  <a:p>
                    <a:fld id="{3305EE7A-7CA2-4EEC-8CBF-14C671913A7F}" type="CELLRANGE">
                      <a:rPr lang="de-DE"/>
                      <a:pPr/>
                      <a:t>[ZELLBEREICH]</a:t>
                    </a:fld>
                    <a:endParaRPr lang="de-D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0-C96B-4264-932D-1A45433BB41D}"/>
                </c:ext>
              </c:extLst>
            </c:dLbl>
            <c:dLbl>
              <c:idx val="10"/>
              <c:tx>
                <c:rich>
                  <a:bodyPr rot="0" spcFirstLastPara="1" vertOverflow="ellipsis" vert="horz" wrap="square" lIns="38100" tIns="19050" rIns="38100" bIns="19050" anchor="ctr" anchorCtr="0">
                    <a:spAutoFit/>
                  </a:bodyPr>
                  <a:lstStyle/>
                  <a:p>
                    <a:pPr algn="l">
                      <a:defRPr sz="900" b="1" i="0" u="none" strike="noStrike" kern="1200" baseline="0">
                        <a:solidFill>
                          <a:schemeClr val="tx2"/>
                        </a:solidFill>
                        <a:latin typeface="+mn-lt"/>
                        <a:ea typeface="+mn-ea"/>
                        <a:cs typeface="+mn-cs"/>
                      </a:defRPr>
                    </a:pPr>
                    <a:fld id="{6D00DEDE-B6A6-4C9E-ACB2-AD161B068CCB}" type="CELLRANGE">
                      <a:rPr lang="de-DE"/>
                      <a:pPr algn="l">
                        <a:defRPr sz="900" b="1" i="0" u="none" strike="noStrike" kern="1200" baseline="0">
                          <a:solidFill>
                            <a:schemeClr val="tx2"/>
                          </a:solidFill>
                          <a:latin typeface="+mn-lt"/>
                          <a:ea typeface="+mn-ea"/>
                          <a:cs typeface="+mn-cs"/>
                        </a:defRPr>
                      </a:pPr>
                      <a:t>[ZELLBEREICH]</a:t>
                    </a:fld>
                    <a:endParaRPr lang="de-DE"/>
                  </a:p>
                </c:rich>
              </c:tx>
              <c:spPr>
                <a:noFill/>
                <a:ln>
                  <a:noFill/>
                </a:ln>
                <a:effectLst/>
              </c:spPr>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1-C96B-4264-932D-1A45433BB41D}"/>
                </c:ext>
              </c:extLst>
            </c:dLbl>
            <c:dLbl>
              <c:idx val="11"/>
              <c:tx>
                <c:rich>
                  <a:bodyPr/>
                  <a:lstStyle/>
                  <a:p>
                    <a:endParaRPr lang="de-DE"/>
                  </a:p>
                </c:rich>
              </c:tx>
              <c:dLblPos val="inBase"/>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2-C96B-4264-932D-1A45433BB41D}"/>
                </c:ext>
              </c:extLst>
            </c:dLbl>
            <c:dLbl>
              <c:idx val="12"/>
              <c:tx>
                <c:rich>
                  <a:bodyPr/>
                  <a:lstStyle/>
                  <a:p>
                    <a:fld id="{B6191BA4-945C-422E-A2CA-5EAB14B39EC2}" type="CELLRANGE">
                      <a:rPr lang="de-DE"/>
                      <a:pPr/>
                      <a:t>[ZELLBEREICH]</a:t>
                    </a:fld>
                    <a:endParaRPr lang="de-D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C96B-4264-932D-1A45433BB41D}"/>
                </c:ext>
              </c:extLst>
            </c:dLbl>
            <c:dLbl>
              <c:idx val="13"/>
              <c:tx>
                <c:rich>
                  <a:bodyPr rot="0" spcFirstLastPara="1" vertOverflow="ellipsis" vert="horz" wrap="square" lIns="38100" tIns="19050" rIns="38100" bIns="19050" anchor="ctr" anchorCtr="0">
                    <a:spAutoFit/>
                  </a:bodyPr>
                  <a:lstStyle/>
                  <a:p>
                    <a:pPr algn="l">
                      <a:defRPr sz="900" b="1" i="0" u="none" strike="noStrike" kern="1200" baseline="0">
                        <a:solidFill>
                          <a:schemeClr val="tx2"/>
                        </a:solidFill>
                        <a:latin typeface="+mn-lt"/>
                        <a:ea typeface="+mn-ea"/>
                        <a:cs typeface="+mn-cs"/>
                      </a:defRPr>
                    </a:pPr>
                    <a:fld id="{776EFC71-B68E-46A4-A668-50A569E620E7}" type="CELLRANGE">
                      <a:rPr lang="de-DE"/>
                      <a:pPr algn="l">
                        <a:defRPr sz="900" b="1" i="0" u="none" strike="noStrike" kern="1200" baseline="0">
                          <a:solidFill>
                            <a:schemeClr val="tx2"/>
                          </a:solidFill>
                          <a:latin typeface="+mn-lt"/>
                          <a:ea typeface="+mn-ea"/>
                          <a:cs typeface="+mn-cs"/>
                        </a:defRPr>
                      </a:pPr>
                      <a:t>[ZELLBEREICH]</a:t>
                    </a:fld>
                    <a:endParaRPr lang="de-DE"/>
                  </a:p>
                </c:rich>
              </c:tx>
              <c:spPr>
                <a:noFill/>
                <a:ln>
                  <a:noFill/>
                </a:ln>
                <a:effectLst/>
              </c:spPr>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C96B-4264-932D-1A45433BB41D}"/>
                </c:ext>
              </c:extLst>
            </c:dLbl>
            <c:dLbl>
              <c:idx val="14"/>
              <c:tx>
                <c:rich>
                  <a:bodyPr/>
                  <a:lstStyle/>
                  <a:p>
                    <a:endParaRPr lang="de-DE"/>
                  </a:p>
                </c:rich>
              </c:tx>
              <c:dLblPos val="inBase"/>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35-C96B-4264-932D-1A45433BB41D}"/>
                </c:ext>
              </c:extLst>
            </c:dLbl>
            <c:dLbl>
              <c:idx val="15"/>
              <c:tx>
                <c:rich>
                  <a:bodyPr/>
                  <a:lstStyle/>
                  <a:p>
                    <a:fld id="{94251368-BE9D-4901-95FC-45840F09ECC4}" type="CELLRANGE">
                      <a:rPr lang="de-DE"/>
                      <a:pPr/>
                      <a:t>[ZELLBEREICH]</a:t>
                    </a:fld>
                    <a:endParaRPr lang="de-DE"/>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C96B-4264-932D-1A45433BB41D}"/>
                </c:ext>
              </c:extLst>
            </c:dLbl>
            <c:dLbl>
              <c:idx val="16"/>
              <c:tx>
                <c:rich>
                  <a:bodyPr rot="0" spcFirstLastPara="1" vertOverflow="ellipsis" vert="horz" wrap="square" lIns="38100" tIns="19050" rIns="38100" bIns="19050" anchor="ctr" anchorCtr="0">
                    <a:spAutoFit/>
                  </a:bodyPr>
                  <a:lstStyle/>
                  <a:p>
                    <a:pPr algn="l">
                      <a:defRPr sz="900" b="1" i="0" u="none" strike="noStrike" kern="1200" baseline="0">
                        <a:solidFill>
                          <a:schemeClr val="tx2"/>
                        </a:solidFill>
                        <a:latin typeface="+mn-lt"/>
                        <a:ea typeface="+mn-ea"/>
                        <a:cs typeface="+mn-cs"/>
                      </a:defRPr>
                    </a:pPr>
                    <a:fld id="{54BDE7CA-903F-4080-804A-FF13355A12B3}" type="CELLRANGE">
                      <a:rPr lang="de-DE"/>
                      <a:pPr algn="l">
                        <a:defRPr sz="900" b="1" i="0" u="none" strike="noStrike" kern="1200" baseline="0">
                          <a:solidFill>
                            <a:schemeClr val="tx2"/>
                          </a:solidFill>
                          <a:latin typeface="+mn-lt"/>
                          <a:ea typeface="+mn-ea"/>
                          <a:cs typeface="+mn-cs"/>
                        </a:defRPr>
                      </a:pPr>
                      <a:t>[ZELLBEREICH]</a:t>
                    </a:fld>
                    <a:endParaRPr lang="de-DE"/>
                  </a:p>
                </c:rich>
              </c:tx>
              <c:spPr>
                <a:noFill/>
                <a:ln>
                  <a:noFill/>
                </a:ln>
                <a:effectLst/>
              </c:spPr>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7-C96B-4264-932D-1A45433BB41D}"/>
                </c:ext>
              </c:extLst>
            </c:dLbl>
            <c:dLbl>
              <c:idx val="17"/>
              <c:delete val="1"/>
              <c:extLst>
                <c:ext xmlns:c15="http://schemas.microsoft.com/office/drawing/2012/chart" uri="{CE6537A1-D6FC-4f65-9D91-7224C49458BB}"/>
                <c:ext xmlns:c16="http://schemas.microsoft.com/office/drawing/2014/chart" uri="{C3380CC4-5D6E-409C-BE32-E72D297353CC}">
                  <c16:uniqueId val="{00000038-C96B-4264-932D-1A45433BB41D}"/>
                </c:ext>
              </c:extLst>
            </c:dLbl>
            <c:spPr>
              <a:noFill/>
              <a:ln>
                <a:noFill/>
              </a:ln>
              <a:effectLst/>
            </c:spPr>
            <c:txPr>
              <a:bodyPr rot="0" spcFirstLastPara="1" vertOverflow="ellipsis" vert="horz" wrap="square" lIns="38100" tIns="19050" rIns="38100" bIns="19050" anchor="ctr" anchorCtr="0">
                <a:spAutoFit/>
              </a:bodyPr>
              <a:lstStyle/>
              <a:p>
                <a:pPr algn="l">
                  <a:defRPr sz="900" b="0" i="0" u="none" strike="noStrike" kern="1200" baseline="0">
                    <a:solidFill>
                      <a:schemeClr val="accent3">
                        <a:lumMod val="50000"/>
                      </a:schemeClr>
                    </a:solidFill>
                    <a:latin typeface="+mn-lt"/>
                    <a:ea typeface="+mn-ea"/>
                    <a:cs typeface="+mn-cs"/>
                  </a:defRPr>
                </a:pPr>
                <a:endParaRPr lang="de-DE"/>
              </a:p>
            </c:txPr>
            <c:dLblPos val="inBase"/>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multiLvlStrRef>
              <c:f>HarrisCompareBalken!$P$8:$Q$25</c:f>
              <c:multiLvlStrCache>
                <c:ptCount val="18"/>
                <c:lvl>
                  <c:pt idx="0">
                    <c:v>Biden</c:v>
                  </c:pt>
                  <c:pt idx="1">
                    <c:v>Harris</c:v>
                  </c:pt>
                  <c:pt idx="3">
                    <c:v>Biden</c:v>
                  </c:pt>
                  <c:pt idx="4">
                    <c:v>Harris</c:v>
                  </c:pt>
                  <c:pt idx="6">
                    <c:v>Biden</c:v>
                  </c:pt>
                  <c:pt idx="7">
                    <c:v>Harris</c:v>
                  </c:pt>
                  <c:pt idx="9">
                    <c:v>Biden</c:v>
                  </c:pt>
                  <c:pt idx="10">
                    <c:v>Harris</c:v>
                  </c:pt>
                  <c:pt idx="12">
                    <c:v>Biden</c:v>
                  </c:pt>
                  <c:pt idx="13">
                    <c:v>Harris</c:v>
                  </c:pt>
                  <c:pt idx="15">
                    <c:v>Biden</c:v>
                  </c:pt>
                  <c:pt idx="16">
                    <c:v>Harris</c:v>
                  </c:pt>
                  <c:pt idx="17">
                    <c:v>Republikaner</c:v>
                  </c:pt>
                </c:lvl>
                <c:lvl>
                  <c:pt idx="1">
                    <c:v>Wisconsin</c:v>
                  </c:pt>
                  <c:pt idx="4">
                    <c:v>Pennsylvania</c:v>
                  </c:pt>
                  <c:pt idx="7">
                    <c:v>Nevada</c:v>
                  </c:pt>
                  <c:pt idx="10">
                    <c:v>Michigan</c:v>
                  </c:pt>
                  <c:pt idx="13">
                    <c:v>Georgia</c:v>
                  </c:pt>
                  <c:pt idx="16">
                    <c:v>Arizona</c:v>
                  </c:pt>
                  <c:pt idx="17">
                    <c:v>Demokraten</c:v>
                  </c:pt>
                </c:lvl>
              </c:multiLvlStrCache>
            </c:multiLvlStrRef>
          </c:cat>
          <c:val>
            <c:numRef>
              <c:f>HarrisCompareBalken!$T$8:$T$25</c:f>
              <c:numCache>
                <c:formatCode>General</c:formatCode>
                <c:ptCount val="18"/>
                <c:pt idx="0">
                  <c:v>27</c:v>
                </c:pt>
                <c:pt idx="1">
                  <c:v>27</c:v>
                </c:pt>
                <c:pt idx="3">
                  <c:v>27</c:v>
                </c:pt>
                <c:pt idx="4">
                  <c:v>27</c:v>
                </c:pt>
                <c:pt idx="6">
                  <c:v>27</c:v>
                </c:pt>
                <c:pt idx="7">
                  <c:v>27</c:v>
                </c:pt>
                <c:pt idx="9">
                  <c:v>27</c:v>
                </c:pt>
                <c:pt idx="10">
                  <c:v>27</c:v>
                </c:pt>
                <c:pt idx="12">
                  <c:v>27</c:v>
                </c:pt>
                <c:pt idx="13">
                  <c:v>27</c:v>
                </c:pt>
                <c:pt idx="15">
                  <c:v>27</c:v>
                </c:pt>
                <c:pt idx="16">
                  <c:v>27</c:v>
                </c:pt>
                <c:pt idx="17">
                  <c:v>27</c:v>
                </c:pt>
              </c:numCache>
            </c:numRef>
          </c:val>
          <c:extLst>
            <c:ext xmlns:c15="http://schemas.microsoft.com/office/drawing/2012/chart" uri="{02D57815-91ED-43cb-92C2-25804820EDAC}">
              <c15:datalabelsRange>
                <c15:f>HarrisCompareBalken!$Q$8:$Q$25</c15:f>
                <c15:dlblRangeCache>
                  <c:ptCount val="18"/>
                  <c:pt idx="0">
                    <c:v>Biden</c:v>
                  </c:pt>
                  <c:pt idx="1">
                    <c:v>Harris</c:v>
                  </c:pt>
                  <c:pt idx="3">
                    <c:v>Biden</c:v>
                  </c:pt>
                  <c:pt idx="4">
                    <c:v>Harris</c:v>
                  </c:pt>
                  <c:pt idx="6">
                    <c:v>Biden</c:v>
                  </c:pt>
                  <c:pt idx="7">
                    <c:v>Harris</c:v>
                  </c:pt>
                  <c:pt idx="9">
                    <c:v>Biden</c:v>
                  </c:pt>
                  <c:pt idx="10">
                    <c:v>Harris</c:v>
                  </c:pt>
                  <c:pt idx="12">
                    <c:v>Biden</c:v>
                  </c:pt>
                  <c:pt idx="13">
                    <c:v>Harris</c:v>
                  </c:pt>
                  <c:pt idx="15">
                    <c:v>Biden</c:v>
                  </c:pt>
                  <c:pt idx="16">
                    <c:v>Harris</c:v>
                  </c:pt>
                  <c:pt idx="17">
                    <c:v>Republikaner</c:v>
                  </c:pt>
                </c15:dlblRangeCache>
              </c15:datalabelsRange>
            </c:ext>
            <c:ext xmlns:c16="http://schemas.microsoft.com/office/drawing/2014/chart" uri="{C3380CC4-5D6E-409C-BE32-E72D297353CC}">
              <c16:uniqueId val="{00000039-C96B-4264-932D-1A45433BB41D}"/>
            </c:ext>
          </c:extLst>
        </c:ser>
        <c:ser>
          <c:idx val="3"/>
          <c:order val="3"/>
          <c:tx>
            <c:strRef>
              <c:f>HarrisCompareBalken!$U$7</c:f>
              <c:strCache>
                <c:ptCount val="1"/>
              </c:strCache>
            </c:strRef>
          </c:tx>
          <c:spPr>
            <a:solidFill>
              <a:srgbClr val="BE2839"/>
            </a:solidFill>
            <a:ln>
              <a:noFill/>
            </a:ln>
            <a:effectLst/>
          </c:spPr>
          <c:invertIfNegative val="0"/>
          <c:dPt>
            <c:idx val="0"/>
            <c:invertIfNegative val="0"/>
            <c:bubble3D val="0"/>
            <c:spPr>
              <a:noFill/>
              <a:ln>
                <a:solidFill>
                  <a:schemeClr val="tx2"/>
                </a:solidFill>
              </a:ln>
              <a:effectLst/>
            </c:spPr>
            <c:extLst>
              <c:ext xmlns:c16="http://schemas.microsoft.com/office/drawing/2014/chart" uri="{C3380CC4-5D6E-409C-BE32-E72D297353CC}">
                <c16:uniqueId val="{0000003B-C96B-4264-932D-1A45433BB41D}"/>
              </c:ext>
            </c:extLst>
          </c:dPt>
          <c:dPt>
            <c:idx val="1"/>
            <c:invertIfNegative val="0"/>
            <c:bubble3D val="0"/>
            <c:spPr>
              <a:solidFill>
                <a:schemeClr val="tx2"/>
              </a:solidFill>
              <a:ln>
                <a:noFill/>
              </a:ln>
              <a:effectLst/>
            </c:spPr>
            <c:extLst>
              <c:ext xmlns:c16="http://schemas.microsoft.com/office/drawing/2014/chart" uri="{C3380CC4-5D6E-409C-BE32-E72D297353CC}">
                <c16:uniqueId val="{0000003D-C96B-4264-932D-1A45433BB41D}"/>
              </c:ext>
            </c:extLst>
          </c:dPt>
          <c:dPt>
            <c:idx val="3"/>
            <c:invertIfNegative val="0"/>
            <c:bubble3D val="0"/>
            <c:spPr>
              <a:noFill/>
              <a:ln>
                <a:solidFill>
                  <a:schemeClr val="tx2"/>
                </a:solidFill>
              </a:ln>
              <a:effectLst/>
            </c:spPr>
            <c:extLst>
              <c:ext xmlns:c16="http://schemas.microsoft.com/office/drawing/2014/chart" uri="{C3380CC4-5D6E-409C-BE32-E72D297353CC}">
                <c16:uniqueId val="{0000003F-C96B-4264-932D-1A45433BB41D}"/>
              </c:ext>
            </c:extLst>
          </c:dPt>
          <c:dPt>
            <c:idx val="4"/>
            <c:invertIfNegative val="0"/>
            <c:bubble3D val="0"/>
            <c:spPr>
              <a:solidFill>
                <a:schemeClr val="tx2"/>
              </a:solidFill>
              <a:ln>
                <a:noFill/>
              </a:ln>
              <a:effectLst/>
            </c:spPr>
            <c:extLst>
              <c:ext xmlns:c16="http://schemas.microsoft.com/office/drawing/2014/chart" uri="{C3380CC4-5D6E-409C-BE32-E72D297353CC}">
                <c16:uniqueId val="{00000041-C96B-4264-932D-1A45433BB41D}"/>
              </c:ext>
            </c:extLst>
          </c:dPt>
          <c:dPt>
            <c:idx val="6"/>
            <c:invertIfNegative val="0"/>
            <c:bubble3D val="0"/>
            <c:spPr>
              <a:noFill/>
              <a:ln>
                <a:solidFill>
                  <a:schemeClr val="tx2"/>
                </a:solidFill>
              </a:ln>
              <a:effectLst/>
            </c:spPr>
            <c:extLst>
              <c:ext xmlns:c16="http://schemas.microsoft.com/office/drawing/2014/chart" uri="{C3380CC4-5D6E-409C-BE32-E72D297353CC}">
                <c16:uniqueId val="{00000043-C96B-4264-932D-1A45433BB41D}"/>
              </c:ext>
            </c:extLst>
          </c:dPt>
          <c:dPt>
            <c:idx val="7"/>
            <c:invertIfNegative val="0"/>
            <c:bubble3D val="0"/>
            <c:spPr>
              <a:noFill/>
              <a:ln>
                <a:solidFill>
                  <a:schemeClr val="tx2"/>
                </a:solidFill>
              </a:ln>
              <a:effectLst/>
            </c:spPr>
            <c:extLst>
              <c:ext xmlns:c16="http://schemas.microsoft.com/office/drawing/2014/chart" uri="{C3380CC4-5D6E-409C-BE32-E72D297353CC}">
                <c16:uniqueId val="{00000045-C96B-4264-932D-1A45433BB41D}"/>
              </c:ext>
            </c:extLst>
          </c:dPt>
          <c:dPt>
            <c:idx val="9"/>
            <c:invertIfNegative val="0"/>
            <c:bubble3D val="0"/>
            <c:spPr>
              <a:noFill/>
              <a:ln>
                <a:solidFill>
                  <a:schemeClr val="tx2"/>
                </a:solidFill>
              </a:ln>
              <a:effectLst/>
            </c:spPr>
            <c:extLst>
              <c:ext xmlns:c16="http://schemas.microsoft.com/office/drawing/2014/chart" uri="{C3380CC4-5D6E-409C-BE32-E72D297353CC}">
                <c16:uniqueId val="{00000047-C96B-4264-932D-1A45433BB41D}"/>
              </c:ext>
            </c:extLst>
          </c:dPt>
          <c:dPt>
            <c:idx val="10"/>
            <c:invertIfNegative val="0"/>
            <c:bubble3D val="0"/>
            <c:spPr>
              <a:solidFill>
                <a:schemeClr val="tx2"/>
              </a:solidFill>
              <a:ln>
                <a:noFill/>
              </a:ln>
              <a:effectLst/>
            </c:spPr>
            <c:extLst>
              <c:ext xmlns:c16="http://schemas.microsoft.com/office/drawing/2014/chart" uri="{C3380CC4-5D6E-409C-BE32-E72D297353CC}">
                <c16:uniqueId val="{00000049-C96B-4264-932D-1A45433BB41D}"/>
              </c:ext>
            </c:extLst>
          </c:dPt>
          <c:dPt>
            <c:idx val="12"/>
            <c:invertIfNegative val="0"/>
            <c:bubble3D val="0"/>
            <c:spPr>
              <a:noFill/>
              <a:ln>
                <a:solidFill>
                  <a:schemeClr val="tx2"/>
                </a:solidFill>
              </a:ln>
              <a:effectLst/>
            </c:spPr>
            <c:extLst>
              <c:ext xmlns:c16="http://schemas.microsoft.com/office/drawing/2014/chart" uri="{C3380CC4-5D6E-409C-BE32-E72D297353CC}">
                <c16:uniqueId val="{0000004B-C96B-4264-932D-1A45433BB41D}"/>
              </c:ext>
            </c:extLst>
          </c:dPt>
          <c:dPt>
            <c:idx val="13"/>
            <c:invertIfNegative val="0"/>
            <c:bubble3D val="0"/>
            <c:spPr>
              <a:solidFill>
                <a:schemeClr val="bg1"/>
              </a:solidFill>
              <a:ln>
                <a:solidFill>
                  <a:schemeClr val="tx2"/>
                </a:solidFill>
              </a:ln>
              <a:effectLst/>
            </c:spPr>
            <c:extLst>
              <c:ext xmlns:c16="http://schemas.microsoft.com/office/drawing/2014/chart" uri="{C3380CC4-5D6E-409C-BE32-E72D297353CC}">
                <c16:uniqueId val="{0000004D-C96B-4264-932D-1A45433BB41D}"/>
              </c:ext>
            </c:extLst>
          </c:dPt>
          <c:dPt>
            <c:idx val="14"/>
            <c:invertIfNegative val="0"/>
            <c:bubble3D val="0"/>
            <c:spPr>
              <a:noFill/>
              <a:ln>
                <a:noFill/>
              </a:ln>
              <a:effectLst/>
            </c:spPr>
            <c:extLst>
              <c:ext xmlns:c16="http://schemas.microsoft.com/office/drawing/2014/chart" uri="{C3380CC4-5D6E-409C-BE32-E72D297353CC}">
                <c16:uniqueId val="{0000004F-C96B-4264-932D-1A45433BB41D}"/>
              </c:ext>
            </c:extLst>
          </c:dPt>
          <c:dPt>
            <c:idx val="15"/>
            <c:invertIfNegative val="0"/>
            <c:bubble3D val="0"/>
            <c:spPr>
              <a:noFill/>
              <a:ln>
                <a:solidFill>
                  <a:schemeClr val="tx2"/>
                </a:solidFill>
              </a:ln>
              <a:effectLst/>
            </c:spPr>
            <c:extLst>
              <c:ext xmlns:c16="http://schemas.microsoft.com/office/drawing/2014/chart" uri="{C3380CC4-5D6E-409C-BE32-E72D297353CC}">
                <c16:uniqueId val="{00000051-C96B-4264-932D-1A45433BB41D}"/>
              </c:ext>
            </c:extLst>
          </c:dPt>
          <c:dPt>
            <c:idx val="16"/>
            <c:invertIfNegative val="0"/>
            <c:bubble3D val="0"/>
            <c:spPr>
              <a:solidFill>
                <a:schemeClr val="tx2"/>
              </a:solidFill>
              <a:ln>
                <a:noFill/>
              </a:ln>
              <a:effectLst/>
            </c:spPr>
            <c:extLst>
              <c:ext xmlns:c16="http://schemas.microsoft.com/office/drawing/2014/chart" uri="{C3380CC4-5D6E-409C-BE32-E72D297353CC}">
                <c16:uniqueId val="{00000053-C96B-4264-932D-1A45433BB41D}"/>
              </c:ext>
            </c:extLst>
          </c:dPt>
          <c:dPt>
            <c:idx val="17"/>
            <c:invertIfNegative val="0"/>
            <c:bubble3D val="0"/>
            <c:spPr>
              <a:solidFill>
                <a:sysClr val="window" lastClr="FFFFFF"/>
              </a:solidFill>
              <a:ln>
                <a:noFill/>
              </a:ln>
              <a:effectLst/>
            </c:spPr>
            <c:extLst>
              <c:ext xmlns:c16="http://schemas.microsoft.com/office/drawing/2014/chart" uri="{C3380CC4-5D6E-409C-BE32-E72D297353CC}">
                <c16:uniqueId val="{00000055-C96B-4264-932D-1A45433BB41D}"/>
              </c:ext>
            </c:extLst>
          </c:dPt>
          <c:dLbls>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2"/>
                      </a:solidFill>
                      <a:latin typeface="+mn-lt"/>
                      <a:ea typeface="+mn-ea"/>
                      <a:cs typeface="+mn-cs"/>
                    </a:defRPr>
                  </a:pPr>
                  <a:endParaRPr lang="de-DE"/>
                </a:p>
              </c:txPr>
              <c:dLblPos val="inEnd"/>
              <c:showLegendKey val="0"/>
              <c:showVal val="1"/>
              <c:showCatName val="0"/>
              <c:showSerName val="0"/>
              <c:showPercent val="0"/>
              <c:showBubbleSize val="0"/>
              <c:extLst>
                <c:ext xmlns:c16="http://schemas.microsoft.com/office/drawing/2014/chart" uri="{C3380CC4-5D6E-409C-BE32-E72D297353CC}">
                  <c16:uniqueId val="{0000003B-C96B-4264-932D-1A45433BB41D}"/>
                </c:ext>
              </c:extLst>
            </c:dLbl>
            <c:dLbl>
              <c:idx val="3"/>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2"/>
                      </a:solidFill>
                      <a:latin typeface="+mn-lt"/>
                      <a:ea typeface="+mn-ea"/>
                      <a:cs typeface="+mn-cs"/>
                    </a:defRPr>
                  </a:pPr>
                  <a:endParaRPr lang="de-DE"/>
                </a:p>
              </c:txPr>
              <c:dLblPos val="inEnd"/>
              <c:showLegendKey val="0"/>
              <c:showVal val="1"/>
              <c:showCatName val="0"/>
              <c:showSerName val="0"/>
              <c:showPercent val="0"/>
              <c:showBubbleSize val="0"/>
              <c:extLst>
                <c:ext xmlns:c16="http://schemas.microsoft.com/office/drawing/2014/chart" uri="{C3380CC4-5D6E-409C-BE32-E72D297353CC}">
                  <c16:uniqueId val="{0000003F-C96B-4264-932D-1A45433BB41D}"/>
                </c:ext>
              </c:extLst>
            </c:dLbl>
            <c:dLbl>
              <c:idx val="6"/>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2"/>
                      </a:solidFill>
                      <a:latin typeface="+mn-lt"/>
                      <a:ea typeface="+mn-ea"/>
                      <a:cs typeface="+mn-cs"/>
                    </a:defRPr>
                  </a:pPr>
                  <a:endParaRPr lang="de-DE"/>
                </a:p>
              </c:txPr>
              <c:dLblPos val="inEnd"/>
              <c:showLegendKey val="0"/>
              <c:showVal val="1"/>
              <c:showCatName val="0"/>
              <c:showSerName val="0"/>
              <c:showPercent val="0"/>
              <c:showBubbleSize val="0"/>
              <c:extLst>
                <c:ext xmlns:c16="http://schemas.microsoft.com/office/drawing/2014/chart" uri="{C3380CC4-5D6E-409C-BE32-E72D297353CC}">
                  <c16:uniqueId val="{00000043-C96B-4264-932D-1A45433BB41D}"/>
                </c:ext>
              </c:extLst>
            </c:dLbl>
            <c:dLbl>
              <c:idx val="7"/>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2"/>
                      </a:solidFill>
                      <a:latin typeface="+mn-lt"/>
                      <a:ea typeface="+mn-ea"/>
                      <a:cs typeface="+mn-cs"/>
                    </a:defRPr>
                  </a:pPr>
                  <a:endParaRPr lang="de-DE"/>
                </a:p>
              </c:txPr>
              <c:dLblPos val="inEnd"/>
              <c:showLegendKey val="0"/>
              <c:showVal val="1"/>
              <c:showCatName val="0"/>
              <c:showSerName val="0"/>
              <c:showPercent val="0"/>
              <c:showBubbleSize val="0"/>
              <c:extLst>
                <c:ext xmlns:c16="http://schemas.microsoft.com/office/drawing/2014/chart" uri="{C3380CC4-5D6E-409C-BE32-E72D297353CC}">
                  <c16:uniqueId val="{00000045-C96B-4264-932D-1A45433BB41D}"/>
                </c:ext>
              </c:extLst>
            </c:dLbl>
            <c:dLbl>
              <c:idx val="9"/>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2"/>
                      </a:solidFill>
                      <a:latin typeface="+mn-lt"/>
                      <a:ea typeface="+mn-ea"/>
                      <a:cs typeface="+mn-cs"/>
                    </a:defRPr>
                  </a:pPr>
                  <a:endParaRPr lang="de-DE"/>
                </a:p>
              </c:txPr>
              <c:dLblPos val="inEnd"/>
              <c:showLegendKey val="0"/>
              <c:showVal val="1"/>
              <c:showCatName val="0"/>
              <c:showSerName val="0"/>
              <c:showPercent val="0"/>
              <c:showBubbleSize val="0"/>
              <c:extLst>
                <c:ext xmlns:c16="http://schemas.microsoft.com/office/drawing/2014/chart" uri="{C3380CC4-5D6E-409C-BE32-E72D297353CC}">
                  <c16:uniqueId val="{00000047-C96B-4264-932D-1A45433BB41D}"/>
                </c:ext>
              </c:extLst>
            </c:dLbl>
            <c:dLbl>
              <c:idx val="12"/>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2"/>
                      </a:solidFill>
                      <a:latin typeface="+mn-lt"/>
                      <a:ea typeface="+mn-ea"/>
                      <a:cs typeface="+mn-cs"/>
                    </a:defRPr>
                  </a:pPr>
                  <a:endParaRPr lang="de-DE"/>
                </a:p>
              </c:txPr>
              <c:dLblPos val="inEnd"/>
              <c:showLegendKey val="0"/>
              <c:showVal val="1"/>
              <c:showCatName val="0"/>
              <c:showSerName val="0"/>
              <c:showPercent val="0"/>
              <c:showBubbleSize val="0"/>
              <c:extLst>
                <c:ext xmlns:c16="http://schemas.microsoft.com/office/drawing/2014/chart" uri="{C3380CC4-5D6E-409C-BE32-E72D297353CC}">
                  <c16:uniqueId val="{0000004B-C96B-4264-932D-1A45433BB41D}"/>
                </c:ext>
              </c:extLst>
            </c:dLbl>
            <c:dLbl>
              <c:idx val="13"/>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2"/>
                      </a:solidFill>
                      <a:latin typeface="+mn-lt"/>
                      <a:ea typeface="+mn-ea"/>
                      <a:cs typeface="+mn-cs"/>
                    </a:defRPr>
                  </a:pPr>
                  <a:endParaRPr lang="de-DE"/>
                </a:p>
              </c:txPr>
              <c:dLblPos val="inEnd"/>
              <c:showLegendKey val="0"/>
              <c:showVal val="1"/>
              <c:showCatName val="0"/>
              <c:showSerName val="0"/>
              <c:showPercent val="0"/>
              <c:showBubbleSize val="0"/>
              <c:extLst>
                <c:ext xmlns:c16="http://schemas.microsoft.com/office/drawing/2014/chart" uri="{C3380CC4-5D6E-409C-BE32-E72D297353CC}">
                  <c16:uniqueId val="{0000004D-C96B-4264-932D-1A45433BB41D}"/>
                </c:ext>
              </c:extLst>
            </c:dLbl>
            <c:dLbl>
              <c:idx val="14"/>
              <c:spPr>
                <a:noFill/>
                <a:ln>
                  <a:noFill/>
                </a:ln>
                <a:effectLst/>
              </c:spPr>
              <c:txPr>
                <a:bodyPr rot="0" spcFirstLastPara="1" vertOverflow="ellipsis" vert="horz" wrap="none" lIns="0" tIns="19050" rIns="38100" bIns="19050" anchor="ctr" anchorCtr="1">
                  <a:spAutoFit/>
                </a:bodyPr>
                <a:lstStyle/>
                <a:p>
                  <a:pPr>
                    <a:defRPr sz="1000" b="1" i="0" u="none" strike="noStrike" kern="1200" baseline="0">
                      <a:solidFill>
                        <a:srgbClr val="BE2839"/>
                      </a:solidFill>
                      <a:latin typeface="+mn-lt"/>
                      <a:ea typeface="+mn-ea"/>
                      <a:cs typeface="+mn-cs"/>
                    </a:defRPr>
                  </a:pPr>
                  <a:endParaRPr lang="de-DE"/>
                </a:p>
              </c:txPr>
              <c:dLblPos val="inBase"/>
              <c:showLegendKey val="0"/>
              <c:showVal val="0"/>
              <c:showCatName val="0"/>
              <c:showSerName val="1"/>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F-C96B-4264-932D-1A45433BB41D}"/>
                </c:ext>
              </c:extLst>
            </c:dLbl>
            <c:dLbl>
              <c:idx val="15"/>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2"/>
                      </a:solidFill>
                      <a:latin typeface="+mn-lt"/>
                      <a:ea typeface="+mn-ea"/>
                      <a:cs typeface="+mn-cs"/>
                    </a:defRPr>
                  </a:pPr>
                  <a:endParaRPr lang="de-DE"/>
                </a:p>
              </c:txPr>
              <c:dLblPos val="inEnd"/>
              <c:showLegendKey val="0"/>
              <c:showVal val="1"/>
              <c:showCatName val="0"/>
              <c:showSerName val="0"/>
              <c:showPercent val="0"/>
              <c:showBubbleSize val="0"/>
              <c:extLst>
                <c:ext xmlns:c16="http://schemas.microsoft.com/office/drawing/2014/chart" uri="{C3380CC4-5D6E-409C-BE32-E72D297353CC}">
                  <c16:uniqueId val="{00000051-C96B-4264-932D-1A45433BB41D}"/>
                </c:ext>
              </c:extLst>
            </c:dLbl>
            <c:dLbl>
              <c:idx val="17"/>
              <c:delete val="1"/>
              <c:extLst>
                <c:ext xmlns:c15="http://schemas.microsoft.com/office/drawing/2012/chart" uri="{CE6537A1-D6FC-4f65-9D91-7224C49458BB}"/>
                <c:ext xmlns:c16="http://schemas.microsoft.com/office/drawing/2014/chart" uri="{C3380CC4-5D6E-409C-BE32-E72D297353CC}">
                  <c16:uniqueId val="{00000055-C96B-4264-932D-1A45433BB41D}"/>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multiLvlStrRef>
              <c:f>HarrisCompareBalken!$P$8:$Q$25</c:f>
              <c:multiLvlStrCache>
                <c:ptCount val="18"/>
                <c:lvl>
                  <c:pt idx="0">
                    <c:v>Biden</c:v>
                  </c:pt>
                  <c:pt idx="1">
                    <c:v>Harris</c:v>
                  </c:pt>
                  <c:pt idx="3">
                    <c:v>Biden</c:v>
                  </c:pt>
                  <c:pt idx="4">
                    <c:v>Harris</c:v>
                  </c:pt>
                  <c:pt idx="6">
                    <c:v>Biden</c:v>
                  </c:pt>
                  <c:pt idx="7">
                    <c:v>Harris</c:v>
                  </c:pt>
                  <c:pt idx="9">
                    <c:v>Biden</c:v>
                  </c:pt>
                  <c:pt idx="10">
                    <c:v>Harris</c:v>
                  </c:pt>
                  <c:pt idx="12">
                    <c:v>Biden</c:v>
                  </c:pt>
                  <c:pt idx="13">
                    <c:v>Harris</c:v>
                  </c:pt>
                  <c:pt idx="15">
                    <c:v>Biden</c:v>
                  </c:pt>
                  <c:pt idx="16">
                    <c:v>Harris</c:v>
                  </c:pt>
                  <c:pt idx="17">
                    <c:v>Republikaner</c:v>
                  </c:pt>
                </c:lvl>
                <c:lvl>
                  <c:pt idx="1">
                    <c:v>Wisconsin</c:v>
                  </c:pt>
                  <c:pt idx="4">
                    <c:v>Pennsylvania</c:v>
                  </c:pt>
                  <c:pt idx="7">
                    <c:v>Nevada</c:v>
                  </c:pt>
                  <c:pt idx="10">
                    <c:v>Michigan</c:v>
                  </c:pt>
                  <c:pt idx="13">
                    <c:v>Georgia</c:v>
                  </c:pt>
                  <c:pt idx="16">
                    <c:v>Arizona</c:v>
                  </c:pt>
                  <c:pt idx="17">
                    <c:v>Demokraten</c:v>
                  </c:pt>
                </c:lvl>
              </c:multiLvlStrCache>
            </c:multiLvlStrRef>
          </c:cat>
          <c:val>
            <c:numRef>
              <c:f>HarrisCompareBalken!$U$8:$U$25</c:f>
              <c:numCache>
                <c:formatCode>General</c:formatCode>
                <c:ptCount val="18"/>
                <c:pt idx="0">
                  <c:v>42.2</c:v>
                </c:pt>
                <c:pt idx="1">
                  <c:v>47.3</c:v>
                </c:pt>
                <c:pt idx="3">
                  <c:v>41.1</c:v>
                </c:pt>
                <c:pt idx="4">
                  <c:v>46.3</c:v>
                </c:pt>
                <c:pt idx="6">
                  <c:v>38.6</c:v>
                </c:pt>
                <c:pt idx="7">
                  <c:v>44.3</c:v>
                </c:pt>
                <c:pt idx="9">
                  <c:v>41.4</c:v>
                </c:pt>
                <c:pt idx="10">
                  <c:v>46.3</c:v>
                </c:pt>
                <c:pt idx="12">
                  <c:v>39.200000000000003</c:v>
                </c:pt>
                <c:pt idx="13">
                  <c:v>45.8</c:v>
                </c:pt>
                <c:pt idx="15">
                  <c:v>39.5</c:v>
                </c:pt>
                <c:pt idx="16">
                  <c:v>45.3</c:v>
                </c:pt>
                <c:pt idx="17">
                  <c:v>43</c:v>
                </c:pt>
              </c:numCache>
            </c:numRef>
          </c:val>
          <c:extLst>
            <c:ext xmlns:c16="http://schemas.microsoft.com/office/drawing/2014/chart" uri="{C3380CC4-5D6E-409C-BE32-E72D297353CC}">
              <c16:uniqueId val="{00000056-C96B-4264-932D-1A45433BB41D}"/>
            </c:ext>
          </c:extLst>
        </c:ser>
        <c:dLbls>
          <c:showLegendKey val="0"/>
          <c:showVal val="0"/>
          <c:showCatName val="0"/>
          <c:showSerName val="0"/>
          <c:showPercent val="0"/>
          <c:showBubbleSize val="0"/>
        </c:dLbls>
        <c:gapWidth val="30"/>
        <c:overlap val="100"/>
        <c:axId val="402026447"/>
        <c:axId val="402026807"/>
      </c:barChart>
      <c:catAx>
        <c:axId val="402026447"/>
        <c:scaling>
          <c:orientation val="minMax"/>
        </c:scaling>
        <c:delete val="1"/>
        <c:axPos val="l"/>
        <c:numFmt formatCode="General" sourceLinked="1"/>
        <c:majorTickMark val="none"/>
        <c:minorTickMark val="none"/>
        <c:tickLblPos val="nextTo"/>
        <c:crossAx val="402026807"/>
        <c:crosses val="autoZero"/>
        <c:auto val="1"/>
        <c:lblAlgn val="ctr"/>
        <c:lblOffset val="100"/>
        <c:noMultiLvlLbl val="0"/>
      </c:catAx>
      <c:valAx>
        <c:axId val="402026807"/>
        <c:scaling>
          <c:orientation val="minMax"/>
          <c:min val="-80"/>
        </c:scaling>
        <c:delete val="1"/>
        <c:axPos val="b"/>
        <c:numFmt formatCode="General" sourceLinked="1"/>
        <c:majorTickMark val="none"/>
        <c:minorTickMark val="none"/>
        <c:tickLblPos val="nextTo"/>
        <c:crossAx val="40202644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de-DE"/>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529448227667853E-2"/>
          <c:y val="3.5455278001611606E-2"/>
          <c:w val="0.97381631391363555"/>
          <c:h val="0.79266682317409742"/>
        </c:manualLayout>
      </c:layout>
      <c:barChart>
        <c:barDir val="col"/>
        <c:grouping val="clustered"/>
        <c:varyColors val="0"/>
        <c:ser>
          <c:idx val="0"/>
          <c:order val="0"/>
          <c:tx>
            <c:strRef>
              <c:f>Tabelle1!$B$8</c:f>
              <c:strCache>
                <c:ptCount val="1"/>
                <c:pt idx="0">
                  <c:v>31.12.2021</c:v>
                </c:pt>
              </c:strCache>
            </c:strRef>
          </c:tx>
          <c:spPr>
            <a:solidFill>
              <a:schemeClr val="accent2"/>
            </a:solidFill>
            <a:ln>
              <a:noFill/>
            </a:ln>
            <a:effectLst/>
          </c:spPr>
          <c:invertIfNegative val="0"/>
          <c:dLbls>
            <c:numFmt formatCode="0.0&quot; %&quot;"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2"/>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9:$A$13</c:f>
              <c:strCache>
                <c:ptCount val="5"/>
                <c:pt idx="0">
                  <c:v>Staatsanleihen Euroland</c:v>
                </c:pt>
                <c:pt idx="1">
                  <c:v>Covered Bonds</c:v>
                </c:pt>
                <c:pt idx="2">
                  <c:v>Unternehmensanleihen Hohe Bonität</c:v>
                </c:pt>
                <c:pt idx="3">
                  <c:v>Unternehmensanleihen Hochzins</c:v>
                </c:pt>
                <c:pt idx="4">
                  <c:v>Staatsanleihen Schwellenländer *</c:v>
                </c:pt>
              </c:strCache>
            </c:strRef>
          </c:cat>
          <c:val>
            <c:numRef>
              <c:f>Tabelle1!$B$9:$B$13</c:f>
              <c:numCache>
                <c:formatCode>General</c:formatCode>
                <c:ptCount val="5"/>
                <c:pt idx="0">
                  <c:v>0.48099999999999998</c:v>
                </c:pt>
                <c:pt idx="1">
                  <c:v>0</c:v>
                </c:pt>
                <c:pt idx="2">
                  <c:v>0.60199999999999998</c:v>
                </c:pt>
                <c:pt idx="3">
                  <c:v>3.258</c:v>
                </c:pt>
                <c:pt idx="4">
                  <c:v>5.3137999999999996</c:v>
                </c:pt>
              </c:numCache>
            </c:numRef>
          </c:val>
          <c:extLst>
            <c:ext xmlns:c16="http://schemas.microsoft.com/office/drawing/2014/chart" uri="{C3380CC4-5D6E-409C-BE32-E72D297353CC}">
              <c16:uniqueId val="{00000000-CE49-4374-BB77-EB420E249289}"/>
            </c:ext>
          </c:extLst>
        </c:ser>
        <c:ser>
          <c:idx val="1"/>
          <c:order val="1"/>
          <c:tx>
            <c:strRef>
              <c:f>Tabelle1!$C$8</c:f>
              <c:strCache>
                <c:ptCount val="1"/>
                <c:pt idx="0">
                  <c:v>15.08.2024</c:v>
                </c:pt>
              </c:strCache>
            </c:strRef>
          </c:tx>
          <c:spPr>
            <a:solidFill>
              <a:schemeClr val="accent1"/>
            </a:solidFill>
            <a:ln>
              <a:noFill/>
            </a:ln>
            <a:effectLst/>
          </c:spPr>
          <c:invertIfNegative val="0"/>
          <c:dLbls>
            <c:numFmt formatCode="0.0&quot; %&quot;" sourceLinked="0"/>
            <c:spPr>
              <a:noFill/>
              <a:ln>
                <a:noFill/>
              </a:ln>
              <a:effectLst/>
            </c:spPr>
            <c:txPr>
              <a:bodyPr rot="0" spcFirstLastPara="1" vertOverflow="ellipsis" vert="horz" wrap="square" lIns="38100" tIns="19050" rIns="38100" bIns="19050" anchor="ctr" anchorCtr="0">
                <a:spAutoFit/>
              </a:bodyPr>
              <a:lstStyle/>
              <a:p>
                <a:pPr algn="ctr">
                  <a:defRPr sz="1400" b="1" i="0" u="none" strike="noStrike" kern="1200" baseline="0">
                    <a:solidFill>
                      <a:schemeClr val="tx2"/>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9:$A$13</c:f>
              <c:strCache>
                <c:ptCount val="5"/>
                <c:pt idx="0">
                  <c:v>Staatsanleihen Euroland</c:v>
                </c:pt>
                <c:pt idx="1">
                  <c:v>Covered Bonds</c:v>
                </c:pt>
                <c:pt idx="2">
                  <c:v>Unternehmensanleihen Hohe Bonität</c:v>
                </c:pt>
                <c:pt idx="3">
                  <c:v>Unternehmensanleihen Hochzins</c:v>
                </c:pt>
                <c:pt idx="4">
                  <c:v>Staatsanleihen Schwellenländer *</c:v>
                </c:pt>
              </c:strCache>
            </c:strRef>
          </c:cat>
          <c:val>
            <c:numRef>
              <c:f>Tabelle1!$C$9:$C$13</c:f>
              <c:numCache>
                <c:formatCode>General</c:formatCode>
                <c:ptCount val="5"/>
                <c:pt idx="0">
                  <c:v>3.0009999999999999</c:v>
                </c:pt>
                <c:pt idx="1">
                  <c:v>2.895</c:v>
                </c:pt>
                <c:pt idx="2">
                  <c:v>3.5720000000000001</c:v>
                </c:pt>
                <c:pt idx="3">
                  <c:v>6.48</c:v>
                </c:pt>
                <c:pt idx="4">
                  <c:v>8.0359999999999996</c:v>
                </c:pt>
              </c:numCache>
            </c:numRef>
          </c:val>
          <c:extLst>
            <c:ext xmlns:c16="http://schemas.microsoft.com/office/drawing/2014/chart" uri="{C3380CC4-5D6E-409C-BE32-E72D297353CC}">
              <c16:uniqueId val="{00000001-CE49-4374-BB77-EB420E249289}"/>
            </c:ext>
          </c:extLst>
        </c:ser>
        <c:dLbls>
          <c:showLegendKey val="0"/>
          <c:showVal val="0"/>
          <c:showCatName val="0"/>
          <c:showSerName val="0"/>
          <c:showPercent val="0"/>
          <c:showBubbleSize val="0"/>
        </c:dLbls>
        <c:gapWidth val="75"/>
        <c:overlap val="-27"/>
        <c:axId val="1766801120"/>
        <c:axId val="1766803416"/>
      </c:barChart>
      <c:catAx>
        <c:axId val="1766801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1766803416"/>
        <c:crosses val="autoZero"/>
        <c:auto val="1"/>
        <c:lblAlgn val="ctr"/>
        <c:lblOffset val="100"/>
        <c:noMultiLvlLbl val="0"/>
      </c:catAx>
      <c:valAx>
        <c:axId val="1766803416"/>
        <c:scaling>
          <c:orientation val="minMax"/>
        </c:scaling>
        <c:delete val="1"/>
        <c:axPos val="l"/>
        <c:numFmt formatCode="General" sourceLinked="1"/>
        <c:majorTickMark val="out"/>
        <c:minorTickMark val="none"/>
        <c:tickLblPos val="nextTo"/>
        <c:crossAx val="1766801120"/>
        <c:crosses val="autoZero"/>
        <c:crossBetween val="between"/>
      </c:valAx>
      <c:spPr>
        <a:noFill/>
        <a:ln>
          <a:noFill/>
        </a:ln>
        <a:effectLst/>
      </c:spPr>
    </c:plotArea>
    <c:legend>
      <c:legendPos val="b"/>
      <c:layout>
        <c:manualLayout>
          <c:xMode val="edge"/>
          <c:yMode val="edge"/>
          <c:x val="0.27458356115518101"/>
          <c:y val="0"/>
          <c:w val="0.40905723420865653"/>
          <c:h val="7.824627078746503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83454322572344997"/>
          <c:h val="0.74866088736529735"/>
        </c:manualLayout>
      </c:layout>
      <c:lineChart>
        <c:grouping val="standard"/>
        <c:varyColors val="0"/>
        <c:ser>
          <c:idx val="0"/>
          <c:order val="0"/>
          <c:tx>
            <c:strRef>
              <c:f>Tabelle1!$B$1</c:f>
              <c:strCache>
                <c:ptCount val="1"/>
                <c:pt idx="0">
                  <c:v>Bundesanleihen</c:v>
                </c:pt>
              </c:strCache>
            </c:strRef>
          </c:tx>
          <c:spPr>
            <a:ln w="28575">
              <a:solidFill>
                <a:srgbClr val="00358E"/>
              </a:solidFill>
              <a:prstDash val="solid"/>
            </a:ln>
          </c:spPr>
          <c:marker>
            <c:symbol val="none"/>
          </c:marker>
          <c:dLbls>
            <c:delete val="1"/>
          </c:dLbls>
          <c:cat>
            <c:strRef>
              <c:f>Tabelle1!$A$2:$A$10</c:f>
              <c:strCache>
                <c:ptCount val="9"/>
                <c:pt idx="0">
                  <c:v>1Y</c:v>
                </c:pt>
                <c:pt idx="1">
                  <c:v>2Y</c:v>
                </c:pt>
                <c:pt idx="2">
                  <c:v>3Y</c:v>
                </c:pt>
                <c:pt idx="3">
                  <c:v>4Y</c:v>
                </c:pt>
                <c:pt idx="4">
                  <c:v>5Y</c:v>
                </c:pt>
                <c:pt idx="5">
                  <c:v>7Y</c:v>
                </c:pt>
                <c:pt idx="6">
                  <c:v>8Y</c:v>
                </c:pt>
                <c:pt idx="7">
                  <c:v>9Y</c:v>
                </c:pt>
                <c:pt idx="8">
                  <c:v>10Y</c:v>
                </c:pt>
              </c:strCache>
            </c:strRef>
          </c:cat>
          <c:val>
            <c:numRef>
              <c:f>Tabelle1!$B$2:$B$10</c:f>
              <c:numCache>
                <c:formatCode>General</c:formatCode>
                <c:ptCount val="9"/>
                <c:pt idx="0">
                  <c:v>2.8149999999999999</c:v>
                </c:pt>
                <c:pt idx="1">
                  <c:v>2.3650000000000002</c:v>
                </c:pt>
                <c:pt idx="2">
                  <c:v>2.2269999999999999</c:v>
                </c:pt>
                <c:pt idx="3">
                  <c:v>2.1469999999999998</c:v>
                </c:pt>
                <c:pt idx="4">
                  <c:v>2.1389999999999998</c:v>
                </c:pt>
                <c:pt idx="5">
                  <c:v>2.1219999999999999</c:v>
                </c:pt>
                <c:pt idx="6">
                  <c:v>2.149</c:v>
                </c:pt>
                <c:pt idx="7">
                  <c:v>2.1949999999999998</c:v>
                </c:pt>
                <c:pt idx="8">
                  <c:v>2.2490000000000001</c:v>
                </c:pt>
              </c:numCache>
            </c:numRef>
          </c:val>
          <c:smooth val="0"/>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1-35E4-43CA-AF34-49C093D7ADF6}"/>
            </c:ext>
          </c:extLst>
        </c:ser>
        <c:ser>
          <c:idx val="1"/>
          <c:order val="1"/>
          <c:tx>
            <c:strRef>
              <c:f>Tabelle1!$C$1</c:f>
              <c:strCache>
                <c:ptCount val="1"/>
                <c:pt idx="0">
                  <c:v>Covered Bonds</c:v>
                </c:pt>
              </c:strCache>
            </c:strRef>
          </c:tx>
          <c:spPr>
            <a:ln w="28575">
              <a:solidFill>
                <a:srgbClr val="888888"/>
              </a:solidFill>
              <a:prstDash val="solid"/>
            </a:ln>
          </c:spPr>
          <c:marker>
            <c:symbol val="none"/>
          </c:marker>
          <c:dLbls>
            <c:delete val="1"/>
          </c:dLbls>
          <c:cat>
            <c:strRef>
              <c:f>Tabelle1!$A$2:$A$10</c:f>
              <c:strCache>
                <c:ptCount val="9"/>
                <c:pt idx="0">
                  <c:v>1Y</c:v>
                </c:pt>
                <c:pt idx="1">
                  <c:v>2Y</c:v>
                </c:pt>
                <c:pt idx="2">
                  <c:v>3Y</c:v>
                </c:pt>
                <c:pt idx="3">
                  <c:v>4Y</c:v>
                </c:pt>
                <c:pt idx="4">
                  <c:v>5Y</c:v>
                </c:pt>
                <c:pt idx="5">
                  <c:v>7Y</c:v>
                </c:pt>
                <c:pt idx="6">
                  <c:v>8Y</c:v>
                </c:pt>
                <c:pt idx="7">
                  <c:v>9Y</c:v>
                </c:pt>
                <c:pt idx="8">
                  <c:v>10Y</c:v>
                </c:pt>
              </c:strCache>
            </c:strRef>
          </c:cat>
          <c:val>
            <c:numRef>
              <c:f>Tabelle1!$C$2:$C$10</c:f>
              <c:numCache>
                <c:formatCode>General</c:formatCode>
                <c:ptCount val="9"/>
                <c:pt idx="0">
                  <c:v>3.1930000000000001</c:v>
                </c:pt>
                <c:pt idx="1">
                  <c:v>2.9820000000000002</c:v>
                </c:pt>
                <c:pt idx="2">
                  <c:v>2.8359999999999999</c:v>
                </c:pt>
                <c:pt idx="3">
                  <c:v>2.7949999999999999</c:v>
                </c:pt>
                <c:pt idx="4">
                  <c:v>2.8010000000000002</c:v>
                </c:pt>
                <c:pt idx="5">
                  <c:v>2.8540000000000001</c:v>
                </c:pt>
                <c:pt idx="6">
                  <c:v>2.8820000000000001</c:v>
                </c:pt>
                <c:pt idx="7">
                  <c:v>2.915</c:v>
                </c:pt>
                <c:pt idx="8">
                  <c:v>2.9510000000000001</c:v>
                </c:pt>
              </c:numCache>
            </c:numRef>
          </c:val>
          <c:smooth val="0"/>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4-35E4-43CA-AF34-49C093D7ADF6}"/>
            </c:ext>
          </c:extLst>
        </c:ser>
        <c:ser>
          <c:idx val="2"/>
          <c:order val="2"/>
          <c:tx>
            <c:strRef>
              <c:f>Tabelle1!$D$1</c:f>
              <c:strCache>
                <c:ptCount val="1"/>
                <c:pt idx="0">
                  <c:v>IG-Unternehmensanleihen</c:v>
                </c:pt>
              </c:strCache>
            </c:strRef>
          </c:tx>
          <c:spPr>
            <a:ln w="28575">
              <a:solidFill>
                <a:srgbClr val="43B02A"/>
              </a:solidFill>
              <a:prstDash val="solid"/>
            </a:ln>
          </c:spPr>
          <c:marker>
            <c:symbol val="none"/>
          </c:marker>
          <c:dLbls>
            <c:delete val="1"/>
          </c:dLbls>
          <c:cat>
            <c:strRef>
              <c:f>Tabelle1!$A$2:$A$10</c:f>
              <c:strCache>
                <c:ptCount val="9"/>
                <c:pt idx="0">
                  <c:v>1Y</c:v>
                </c:pt>
                <c:pt idx="1">
                  <c:v>2Y</c:v>
                </c:pt>
                <c:pt idx="2">
                  <c:v>3Y</c:v>
                </c:pt>
                <c:pt idx="3">
                  <c:v>4Y</c:v>
                </c:pt>
                <c:pt idx="4">
                  <c:v>5Y</c:v>
                </c:pt>
                <c:pt idx="5">
                  <c:v>7Y</c:v>
                </c:pt>
                <c:pt idx="6">
                  <c:v>8Y</c:v>
                </c:pt>
                <c:pt idx="7">
                  <c:v>9Y</c:v>
                </c:pt>
                <c:pt idx="8">
                  <c:v>10Y</c:v>
                </c:pt>
              </c:strCache>
            </c:strRef>
          </c:cat>
          <c:val>
            <c:numRef>
              <c:f>Tabelle1!$D$2:$D$10</c:f>
              <c:numCache>
                <c:formatCode>General</c:formatCode>
                <c:ptCount val="9"/>
                <c:pt idx="0">
                  <c:v>3.5209999999999999</c:v>
                </c:pt>
                <c:pt idx="1">
                  <c:v>3.2970000000000002</c:v>
                </c:pt>
                <c:pt idx="2">
                  <c:v>3.2130000000000001</c:v>
                </c:pt>
                <c:pt idx="3">
                  <c:v>3.2069999999999999</c:v>
                </c:pt>
                <c:pt idx="4">
                  <c:v>3.254</c:v>
                </c:pt>
                <c:pt idx="5">
                  <c:v>3.3959999999999999</c:v>
                </c:pt>
                <c:pt idx="6">
                  <c:v>3.4830000000000001</c:v>
                </c:pt>
                <c:pt idx="7">
                  <c:v>3.5209999999999999</c:v>
                </c:pt>
                <c:pt idx="8">
                  <c:v>3.5670000000000002</c:v>
                </c:pt>
              </c:numCache>
            </c:numRef>
          </c:val>
          <c:smooth val="0"/>
          <c:extLst xmlns:mc="http://schemas.openxmlformats.org/markup-compatibility/2006" xmlns:c14="http://schemas.microsoft.com/office/drawing/2007/8/2/chart" xmlns:c15="http://schemas.microsoft.com/office/drawing/2012/chart" xmlns:c16="http://schemas.microsoft.com/office/drawing/2014/chart">
            <c:ext xmlns:c16="http://schemas.microsoft.com/office/drawing/2014/chart" uri="{C3380CC4-5D6E-409C-BE32-E72D297353CC}">
              <c16:uniqueId val="{00000006-35E4-43CA-AF34-49C093D7ADF6}"/>
            </c:ext>
          </c:extLst>
        </c:ser>
        <c:dLbls>
          <c:dLblPos val="t"/>
          <c:showLegendKey val="0"/>
          <c:showVal val="1"/>
          <c:showCatName val="0"/>
          <c:showSerName val="0"/>
          <c:showPercent val="0"/>
          <c:showBubbleSize val="0"/>
        </c:dLbls>
        <c:smooth val="0"/>
        <c:axId val="645083904"/>
        <c:axId val="645085440"/>
      </c:lineChart>
      <c:catAx>
        <c:axId val="645083904"/>
        <c:scaling>
          <c:orientation val="minMax"/>
        </c:scaling>
        <c:delete val="0"/>
        <c:axPos val="b"/>
        <c:numFmt formatCode="General" sourceLinked="1"/>
        <c:majorTickMark val="none"/>
        <c:minorTickMark val="none"/>
        <c:tickLblPos val="low"/>
        <c:spPr>
          <a:ln w="9525">
            <a:solidFill>
              <a:srgbClr val="888888"/>
            </a:solidFill>
          </a:ln>
        </c:spPr>
        <c:txPr>
          <a:bodyPr/>
          <a:lstStyle/>
          <a:p>
            <a:pPr>
              <a:defRPr>
                <a:solidFill>
                  <a:schemeClr val="tx1"/>
                </a:solidFill>
              </a:defRPr>
            </a:pPr>
            <a:endParaRPr lang="de-DE"/>
          </a:p>
        </c:txPr>
        <c:crossAx val="645085440"/>
        <c:crosses val="autoZero"/>
        <c:auto val="1"/>
        <c:lblAlgn val="ctr"/>
        <c:lblOffset val="100"/>
        <c:tickLblSkip val="1"/>
        <c:noMultiLvlLbl val="0"/>
      </c:catAx>
      <c:valAx>
        <c:axId val="645085440"/>
        <c:scaling>
          <c:orientation val="minMax"/>
          <c:max val="3.6"/>
          <c:min val="2.1"/>
        </c:scaling>
        <c:delete val="0"/>
        <c:axPos val="l"/>
        <c:numFmt formatCode="#,##0.0\ &quot;%&quot;" sourceLinked="0"/>
        <c:majorTickMark val="out"/>
        <c:minorTickMark val="none"/>
        <c:tickLblPos val="nextTo"/>
        <c:spPr>
          <a:ln>
            <a:noFill/>
          </a:ln>
        </c:spPr>
        <c:crossAx val="645083904"/>
        <c:crosses val="autoZero"/>
        <c:crossBetween val="midCat"/>
        <c:majorUnit val="0.2"/>
      </c:valAx>
      <c:spPr>
        <a:ln>
          <a:noFill/>
        </a:ln>
      </c:spPr>
    </c:plotArea>
    <c:legend>
      <c:legendPos val="b"/>
      <c:layout>
        <c:manualLayout>
          <c:xMode val="edge"/>
          <c:yMode val="edge"/>
          <c:x val="7.4852269105603095E-2"/>
          <c:y val="0.85809490203851146"/>
          <c:w val="0.88046662787603758"/>
          <c:h val="0.10902018738043324"/>
        </c:manualLayout>
      </c:layout>
      <c:overlay val="0"/>
    </c:legend>
    <c:plotVisOnly val="1"/>
    <c:dispBlanksAs val="gap"/>
    <c:showDLblsOverMax val="0"/>
  </c:chart>
  <c:spPr>
    <a:ln>
      <a:noFill/>
    </a:ln>
  </c:spPr>
  <c:txPr>
    <a:bodyPr/>
    <a:lstStyle/>
    <a:p>
      <a:pPr>
        <a:defRPr sz="1400">
          <a:solidFill>
            <a:schemeClr val="tx1"/>
          </a:solidFill>
        </a:defRPr>
      </a:pPr>
      <a:endParaRPr lang="de-DE"/>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064544249700561E-2"/>
          <c:y val="3.8325859491778774E-2"/>
          <c:w val="0.84477033530124668"/>
          <c:h val="0.84335802777388691"/>
        </c:manualLayout>
      </c:layout>
      <c:lineChart>
        <c:grouping val="standard"/>
        <c:varyColors val="0"/>
        <c:ser>
          <c:idx val="0"/>
          <c:order val="0"/>
          <c:spPr>
            <a:ln w="28575" cap="rnd">
              <a:solidFill>
                <a:schemeClr val="accent1"/>
              </a:solidFill>
              <a:round/>
            </a:ln>
            <a:effectLst/>
          </c:spPr>
          <c:marker>
            <c:symbol val="none"/>
          </c:marker>
          <c:cat>
            <c:numRef>
              <c:f>Worksheet!$A$7:$A$77</c:f>
              <c:numCache>
                <c:formatCode>dd\.mm\.yyyy</c:formatCode>
                <c:ptCount val="71"/>
                <c:pt idx="0">
                  <c:v>44043</c:v>
                </c:pt>
                <c:pt idx="1">
                  <c:v>44074</c:v>
                </c:pt>
                <c:pt idx="2">
                  <c:v>44104</c:v>
                </c:pt>
                <c:pt idx="3">
                  <c:v>44135</c:v>
                </c:pt>
                <c:pt idx="4">
                  <c:v>44165</c:v>
                </c:pt>
                <c:pt idx="5">
                  <c:v>44196</c:v>
                </c:pt>
                <c:pt idx="6">
                  <c:v>44227</c:v>
                </c:pt>
                <c:pt idx="7">
                  <c:v>44255</c:v>
                </c:pt>
                <c:pt idx="8">
                  <c:v>44286</c:v>
                </c:pt>
                <c:pt idx="9">
                  <c:v>44316</c:v>
                </c:pt>
                <c:pt idx="10">
                  <c:v>44347</c:v>
                </c:pt>
                <c:pt idx="11">
                  <c:v>44377</c:v>
                </c:pt>
                <c:pt idx="12">
                  <c:v>44408</c:v>
                </c:pt>
                <c:pt idx="13">
                  <c:v>44439</c:v>
                </c:pt>
                <c:pt idx="14">
                  <c:v>44469</c:v>
                </c:pt>
                <c:pt idx="15">
                  <c:v>44500</c:v>
                </c:pt>
                <c:pt idx="16">
                  <c:v>44530</c:v>
                </c:pt>
                <c:pt idx="17">
                  <c:v>44561</c:v>
                </c:pt>
                <c:pt idx="18">
                  <c:v>44592</c:v>
                </c:pt>
                <c:pt idx="19">
                  <c:v>44620</c:v>
                </c:pt>
                <c:pt idx="20">
                  <c:v>44651</c:v>
                </c:pt>
                <c:pt idx="21">
                  <c:v>44681</c:v>
                </c:pt>
                <c:pt idx="22">
                  <c:v>44712</c:v>
                </c:pt>
                <c:pt idx="23">
                  <c:v>44742</c:v>
                </c:pt>
                <c:pt idx="24">
                  <c:v>44773</c:v>
                </c:pt>
                <c:pt idx="25">
                  <c:v>44804</c:v>
                </c:pt>
                <c:pt idx="26">
                  <c:v>44834</c:v>
                </c:pt>
                <c:pt idx="27">
                  <c:v>44865</c:v>
                </c:pt>
                <c:pt idx="28">
                  <c:v>44895</c:v>
                </c:pt>
                <c:pt idx="29">
                  <c:v>44926</c:v>
                </c:pt>
                <c:pt idx="30">
                  <c:v>44957</c:v>
                </c:pt>
                <c:pt idx="31">
                  <c:v>44985</c:v>
                </c:pt>
                <c:pt idx="32">
                  <c:v>45016</c:v>
                </c:pt>
                <c:pt idx="33">
                  <c:v>45046</c:v>
                </c:pt>
                <c:pt idx="34">
                  <c:v>45077</c:v>
                </c:pt>
                <c:pt idx="35">
                  <c:v>45107</c:v>
                </c:pt>
                <c:pt idx="36">
                  <c:v>45138</c:v>
                </c:pt>
                <c:pt idx="37">
                  <c:v>45169</c:v>
                </c:pt>
                <c:pt idx="38">
                  <c:v>45199</c:v>
                </c:pt>
                <c:pt idx="39">
                  <c:v>45230</c:v>
                </c:pt>
                <c:pt idx="40">
                  <c:v>45260</c:v>
                </c:pt>
                <c:pt idx="41">
                  <c:v>45291</c:v>
                </c:pt>
                <c:pt idx="42">
                  <c:v>45322</c:v>
                </c:pt>
                <c:pt idx="43">
                  <c:v>45351</c:v>
                </c:pt>
                <c:pt idx="44">
                  <c:v>45382</c:v>
                </c:pt>
                <c:pt idx="45">
                  <c:v>45412</c:v>
                </c:pt>
                <c:pt idx="46">
                  <c:v>45443</c:v>
                </c:pt>
                <c:pt idx="47">
                  <c:v>45473</c:v>
                </c:pt>
                <c:pt idx="48">
                  <c:v>45504</c:v>
                </c:pt>
              </c:numCache>
            </c:numRef>
          </c:cat>
          <c:val>
            <c:numRef>
              <c:f>Worksheet!$B$7:$B$77</c:f>
              <c:numCache>
                <c:formatCode>General</c:formatCode>
                <c:ptCount val="71"/>
                <c:pt idx="0">
                  <c:v>60.9</c:v>
                </c:pt>
                <c:pt idx="1">
                  <c:v>64.400000000000006</c:v>
                </c:pt>
                <c:pt idx="2">
                  <c:v>59.9</c:v>
                </c:pt>
                <c:pt idx="3">
                  <c:v>66.599999999999994</c:v>
                </c:pt>
                <c:pt idx="4">
                  <c:v>64.8</c:v>
                </c:pt>
                <c:pt idx="5">
                  <c:v>67.2</c:v>
                </c:pt>
                <c:pt idx="6">
                  <c:v>64.400000000000006</c:v>
                </c:pt>
                <c:pt idx="7">
                  <c:v>66.099999999999994</c:v>
                </c:pt>
                <c:pt idx="8">
                  <c:v>67.400000000000006</c:v>
                </c:pt>
                <c:pt idx="9">
                  <c:v>64.8</c:v>
                </c:pt>
                <c:pt idx="10">
                  <c:v>66.400000000000006</c:v>
                </c:pt>
                <c:pt idx="11">
                  <c:v>67.2</c:v>
                </c:pt>
                <c:pt idx="12">
                  <c:v>65.5</c:v>
                </c:pt>
                <c:pt idx="13">
                  <c:v>63.8</c:v>
                </c:pt>
                <c:pt idx="14">
                  <c:v>64.2</c:v>
                </c:pt>
                <c:pt idx="15">
                  <c:v>60.2</c:v>
                </c:pt>
                <c:pt idx="16">
                  <c:v>60.7</c:v>
                </c:pt>
                <c:pt idx="17">
                  <c:v>60.6</c:v>
                </c:pt>
                <c:pt idx="18">
                  <c:v>58.7</c:v>
                </c:pt>
                <c:pt idx="19">
                  <c:v>61.3</c:v>
                </c:pt>
                <c:pt idx="20">
                  <c:v>54.5</c:v>
                </c:pt>
                <c:pt idx="21">
                  <c:v>53.7</c:v>
                </c:pt>
                <c:pt idx="22">
                  <c:v>55.3</c:v>
                </c:pt>
                <c:pt idx="23">
                  <c:v>50</c:v>
                </c:pt>
                <c:pt idx="24">
                  <c:v>48.4</c:v>
                </c:pt>
                <c:pt idx="25">
                  <c:v>50.1</c:v>
                </c:pt>
                <c:pt idx="26">
                  <c:v>46.9</c:v>
                </c:pt>
                <c:pt idx="27">
                  <c:v>48.7</c:v>
                </c:pt>
                <c:pt idx="28">
                  <c:v>46.4</c:v>
                </c:pt>
                <c:pt idx="29">
                  <c:v>44.9</c:v>
                </c:pt>
                <c:pt idx="30">
                  <c:v>42.8</c:v>
                </c:pt>
                <c:pt idx="31">
                  <c:v>47</c:v>
                </c:pt>
                <c:pt idx="32">
                  <c:v>44.6</c:v>
                </c:pt>
                <c:pt idx="33">
                  <c:v>45.5</c:v>
                </c:pt>
                <c:pt idx="34">
                  <c:v>42.9</c:v>
                </c:pt>
                <c:pt idx="35">
                  <c:v>45.7</c:v>
                </c:pt>
                <c:pt idx="36">
                  <c:v>47</c:v>
                </c:pt>
                <c:pt idx="37">
                  <c:v>46.4</c:v>
                </c:pt>
                <c:pt idx="38">
                  <c:v>48.6</c:v>
                </c:pt>
                <c:pt idx="39">
                  <c:v>46.2</c:v>
                </c:pt>
                <c:pt idx="40">
                  <c:v>47.8</c:v>
                </c:pt>
                <c:pt idx="41">
                  <c:v>47</c:v>
                </c:pt>
                <c:pt idx="42">
                  <c:v>52.5</c:v>
                </c:pt>
                <c:pt idx="43">
                  <c:v>49.2</c:v>
                </c:pt>
                <c:pt idx="44">
                  <c:v>51.4</c:v>
                </c:pt>
                <c:pt idx="45">
                  <c:v>49.1</c:v>
                </c:pt>
                <c:pt idx="46">
                  <c:v>45.4</c:v>
                </c:pt>
                <c:pt idx="47">
                  <c:v>49.3</c:v>
                </c:pt>
                <c:pt idx="48">
                  <c:v>47.4</c:v>
                </c:pt>
              </c:numCache>
            </c:numRef>
          </c:val>
          <c:smooth val="0"/>
          <c:extLst>
            <c:ext xmlns:c16="http://schemas.microsoft.com/office/drawing/2014/chart" uri="{C3380CC4-5D6E-409C-BE32-E72D297353CC}">
              <c16:uniqueId val="{00000000-8FAA-4035-BD86-5068D5ED9134}"/>
            </c:ext>
          </c:extLst>
        </c:ser>
        <c:dLbls>
          <c:showLegendKey val="0"/>
          <c:showVal val="0"/>
          <c:showCatName val="0"/>
          <c:showSerName val="0"/>
          <c:showPercent val="0"/>
          <c:showBubbleSize val="0"/>
        </c:dLbls>
        <c:smooth val="0"/>
        <c:axId val="1600857696"/>
        <c:axId val="1600860576"/>
      </c:lineChart>
      <c:dateAx>
        <c:axId val="1600857696"/>
        <c:scaling>
          <c:orientation val="minMax"/>
          <c:min val="44197"/>
        </c:scaling>
        <c:delete val="0"/>
        <c:axPos val="b"/>
        <c:numFmt formatCode="yyyy" sourceLinked="0"/>
        <c:majorTickMark val="none"/>
        <c:minorTickMark val="none"/>
        <c:tickLblPos val="nextTo"/>
        <c:spPr>
          <a:noFill/>
          <a:ln w="9525" cap="flat" cmpd="sng" algn="ctr">
            <a:solidFill>
              <a:schemeClr val="accent3"/>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crossAx val="1600860576"/>
        <c:crosses val="autoZero"/>
        <c:auto val="1"/>
        <c:lblOffset val="100"/>
        <c:baseTimeUnit val="months"/>
        <c:majorUnit val="12"/>
        <c:majorTimeUnit val="months"/>
      </c:dateAx>
      <c:valAx>
        <c:axId val="1600860576"/>
        <c:scaling>
          <c:orientation val="minMax"/>
          <c:min val="4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crossAx val="16008576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402354408669214E-2"/>
          <c:y val="4.1313200208679693E-2"/>
          <c:w val="0.86637249551726836"/>
          <c:h val="0.83755082507647871"/>
        </c:manualLayout>
      </c:layout>
      <c:lineChart>
        <c:grouping val="standard"/>
        <c:varyColors val="0"/>
        <c:ser>
          <c:idx val="0"/>
          <c:order val="0"/>
          <c:spPr>
            <a:ln w="28575" cap="rnd">
              <a:solidFill>
                <a:schemeClr val="accent1"/>
              </a:solidFill>
              <a:round/>
            </a:ln>
            <a:effectLst/>
          </c:spPr>
          <c:marker>
            <c:symbol val="none"/>
          </c:marker>
          <c:cat>
            <c:numRef>
              <c:f>Worksheet!$A$7:$A$55</c:f>
              <c:numCache>
                <c:formatCode>dd\.mm\.yyyy</c:formatCode>
                <c:ptCount val="49"/>
                <c:pt idx="0">
                  <c:v>44043</c:v>
                </c:pt>
                <c:pt idx="1">
                  <c:v>44074</c:v>
                </c:pt>
                <c:pt idx="2">
                  <c:v>44104</c:v>
                </c:pt>
                <c:pt idx="3">
                  <c:v>44135</c:v>
                </c:pt>
                <c:pt idx="4">
                  <c:v>44165</c:v>
                </c:pt>
                <c:pt idx="5">
                  <c:v>44196</c:v>
                </c:pt>
                <c:pt idx="6">
                  <c:v>44227</c:v>
                </c:pt>
                <c:pt idx="7">
                  <c:v>44255</c:v>
                </c:pt>
                <c:pt idx="8">
                  <c:v>44286</c:v>
                </c:pt>
                <c:pt idx="9">
                  <c:v>44316</c:v>
                </c:pt>
                <c:pt idx="10">
                  <c:v>44347</c:v>
                </c:pt>
                <c:pt idx="11">
                  <c:v>44377</c:v>
                </c:pt>
                <c:pt idx="12">
                  <c:v>44408</c:v>
                </c:pt>
                <c:pt idx="13">
                  <c:v>44439</c:v>
                </c:pt>
                <c:pt idx="14">
                  <c:v>44469</c:v>
                </c:pt>
                <c:pt idx="15">
                  <c:v>44500</c:v>
                </c:pt>
                <c:pt idx="16">
                  <c:v>44530</c:v>
                </c:pt>
                <c:pt idx="17">
                  <c:v>44561</c:v>
                </c:pt>
                <c:pt idx="18">
                  <c:v>44592</c:v>
                </c:pt>
                <c:pt idx="19">
                  <c:v>44620</c:v>
                </c:pt>
                <c:pt idx="20">
                  <c:v>44651</c:v>
                </c:pt>
                <c:pt idx="21">
                  <c:v>44681</c:v>
                </c:pt>
                <c:pt idx="22">
                  <c:v>44712</c:v>
                </c:pt>
                <c:pt idx="23">
                  <c:v>44742</c:v>
                </c:pt>
                <c:pt idx="24">
                  <c:v>44773</c:v>
                </c:pt>
                <c:pt idx="25">
                  <c:v>44804</c:v>
                </c:pt>
                <c:pt idx="26">
                  <c:v>44834</c:v>
                </c:pt>
                <c:pt idx="27">
                  <c:v>44865</c:v>
                </c:pt>
                <c:pt idx="28">
                  <c:v>44895</c:v>
                </c:pt>
                <c:pt idx="29">
                  <c:v>44926</c:v>
                </c:pt>
                <c:pt idx="30">
                  <c:v>44957</c:v>
                </c:pt>
                <c:pt idx="31">
                  <c:v>44985</c:v>
                </c:pt>
                <c:pt idx="32">
                  <c:v>45016</c:v>
                </c:pt>
                <c:pt idx="33">
                  <c:v>45046</c:v>
                </c:pt>
                <c:pt idx="34">
                  <c:v>45077</c:v>
                </c:pt>
                <c:pt idx="35">
                  <c:v>45107</c:v>
                </c:pt>
                <c:pt idx="36">
                  <c:v>45138</c:v>
                </c:pt>
                <c:pt idx="37">
                  <c:v>45169</c:v>
                </c:pt>
                <c:pt idx="38">
                  <c:v>45199</c:v>
                </c:pt>
                <c:pt idx="39">
                  <c:v>45230</c:v>
                </c:pt>
                <c:pt idx="40">
                  <c:v>45260</c:v>
                </c:pt>
                <c:pt idx="41">
                  <c:v>45291</c:v>
                </c:pt>
                <c:pt idx="42">
                  <c:v>45322</c:v>
                </c:pt>
                <c:pt idx="43">
                  <c:v>45351</c:v>
                </c:pt>
                <c:pt idx="44">
                  <c:v>45382</c:v>
                </c:pt>
                <c:pt idx="45">
                  <c:v>45412</c:v>
                </c:pt>
                <c:pt idx="46">
                  <c:v>45443</c:v>
                </c:pt>
                <c:pt idx="47">
                  <c:v>45473</c:v>
                </c:pt>
                <c:pt idx="48">
                  <c:v>45504</c:v>
                </c:pt>
              </c:numCache>
            </c:numRef>
          </c:cat>
          <c:val>
            <c:numRef>
              <c:f>Worksheet!$B$7:$B$55</c:f>
              <c:numCache>
                <c:formatCode>General</c:formatCode>
                <c:ptCount val="49"/>
                <c:pt idx="0">
                  <c:v>65.900000000000006</c:v>
                </c:pt>
                <c:pt idx="1">
                  <c:v>68.5</c:v>
                </c:pt>
                <c:pt idx="2">
                  <c:v>75.599999999999994</c:v>
                </c:pt>
                <c:pt idx="3">
                  <c:v>79.2</c:v>
                </c:pt>
                <c:pt idx="4">
                  <c:v>70.5</c:v>
                </c:pt>
                <c:pt idx="5">
                  <c:v>74.599999999999994</c:v>
                </c:pt>
                <c:pt idx="6">
                  <c:v>74</c:v>
                </c:pt>
                <c:pt idx="7">
                  <c:v>70.7</c:v>
                </c:pt>
                <c:pt idx="8">
                  <c:v>79.7</c:v>
                </c:pt>
                <c:pt idx="9">
                  <c:v>82.7</c:v>
                </c:pt>
                <c:pt idx="10">
                  <c:v>78.8</c:v>
                </c:pt>
                <c:pt idx="11">
                  <c:v>83.5</c:v>
                </c:pt>
                <c:pt idx="12">
                  <c:v>79</c:v>
                </c:pt>
                <c:pt idx="13">
                  <c:v>65.099999999999994</c:v>
                </c:pt>
                <c:pt idx="14">
                  <c:v>68.099999999999994</c:v>
                </c:pt>
                <c:pt idx="15">
                  <c:v>67.900000000000006</c:v>
                </c:pt>
                <c:pt idx="16">
                  <c:v>63.5</c:v>
                </c:pt>
                <c:pt idx="17">
                  <c:v>68.3</c:v>
                </c:pt>
                <c:pt idx="18">
                  <c:v>64.099999999999994</c:v>
                </c:pt>
                <c:pt idx="19">
                  <c:v>59.4</c:v>
                </c:pt>
                <c:pt idx="20">
                  <c:v>54.3</c:v>
                </c:pt>
                <c:pt idx="21">
                  <c:v>62.5</c:v>
                </c:pt>
                <c:pt idx="22">
                  <c:v>55.2</c:v>
                </c:pt>
                <c:pt idx="23">
                  <c:v>47.5</c:v>
                </c:pt>
                <c:pt idx="24">
                  <c:v>47.3</c:v>
                </c:pt>
                <c:pt idx="25">
                  <c:v>58</c:v>
                </c:pt>
                <c:pt idx="26">
                  <c:v>58</c:v>
                </c:pt>
                <c:pt idx="27">
                  <c:v>56.2</c:v>
                </c:pt>
                <c:pt idx="28">
                  <c:v>55.5</c:v>
                </c:pt>
                <c:pt idx="29">
                  <c:v>60</c:v>
                </c:pt>
                <c:pt idx="30">
                  <c:v>62.6</c:v>
                </c:pt>
                <c:pt idx="31">
                  <c:v>64.5</c:v>
                </c:pt>
                <c:pt idx="32">
                  <c:v>59.2</c:v>
                </c:pt>
                <c:pt idx="33">
                  <c:v>60.6</c:v>
                </c:pt>
                <c:pt idx="34">
                  <c:v>55.1</c:v>
                </c:pt>
                <c:pt idx="35">
                  <c:v>61.1</c:v>
                </c:pt>
                <c:pt idx="36">
                  <c:v>68.3</c:v>
                </c:pt>
                <c:pt idx="37">
                  <c:v>65.400000000000006</c:v>
                </c:pt>
                <c:pt idx="38">
                  <c:v>65.8</c:v>
                </c:pt>
                <c:pt idx="39">
                  <c:v>59.3</c:v>
                </c:pt>
                <c:pt idx="40">
                  <c:v>56.8</c:v>
                </c:pt>
                <c:pt idx="41">
                  <c:v>67.400000000000006</c:v>
                </c:pt>
                <c:pt idx="42">
                  <c:v>77.099999999999994</c:v>
                </c:pt>
                <c:pt idx="43">
                  <c:v>75.2</c:v>
                </c:pt>
                <c:pt idx="44">
                  <c:v>77.400000000000006</c:v>
                </c:pt>
                <c:pt idx="45">
                  <c:v>76</c:v>
                </c:pt>
                <c:pt idx="46">
                  <c:v>68.8</c:v>
                </c:pt>
                <c:pt idx="47">
                  <c:v>69.599999999999994</c:v>
                </c:pt>
                <c:pt idx="48">
                  <c:v>68.8</c:v>
                </c:pt>
              </c:numCache>
            </c:numRef>
          </c:val>
          <c:smooth val="0"/>
          <c:extLst>
            <c:ext xmlns:c16="http://schemas.microsoft.com/office/drawing/2014/chart" uri="{C3380CC4-5D6E-409C-BE32-E72D297353CC}">
              <c16:uniqueId val="{00000000-F557-42C2-9043-231A2BABD813}"/>
            </c:ext>
          </c:extLst>
        </c:ser>
        <c:dLbls>
          <c:showLegendKey val="0"/>
          <c:showVal val="0"/>
          <c:showCatName val="0"/>
          <c:showSerName val="0"/>
          <c:showPercent val="0"/>
          <c:showBubbleSize val="0"/>
        </c:dLbls>
        <c:smooth val="0"/>
        <c:axId val="1377634648"/>
        <c:axId val="1377639328"/>
      </c:lineChart>
      <c:dateAx>
        <c:axId val="1377634648"/>
        <c:scaling>
          <c:orientation val="minMax"/>
          <c:min val="44197"/>
        </c:scaling>
        <c:delete val="0"/>
        <c:axPos val="b"/>
        <c:numFmt formatCode="yyyy" sourceLinked="0"/>
        <c:majorTickMark val="none"/>
        <c:minorTickMark val="none"/>
        <c:tickLblPos val="nextTo"/>
        <c:spPr>
          <a:noFill/>
          <a:ln w="9525" cap="flat" cmpd="sng" algn="ctr">
            <a:solidFill>
              <a:schemeClr val="accent3"/>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crossAx val="1377639328"/>
        <c:crosses val="autoZero"/>
        <c:auto val="1"/>
        <c:lblOffset val="100"/>
        <c:baseTimeUnit val="months"/>
        <c:majorUnit val="12"/>
        <c:majorTimeUnit val="months"/>
      </c:dateAx>
      <c:valAx>
        <c:axId val="1377639328"/>
        <c:scaling>
          <c:orientation val="minMax"/>
          <c:max val="85"/>
          <c:min val="45"/>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crossAx val="13776346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965810754303775"/>
          <c:y val="4.288478076777702E-2"/>
          <c:w val="0.80073793206092259"/>
          <c:h val="0.83842928945375872"/>
        </c:manualLayout>
      </c:layout>
      <c:lineChart>
        <c:grouping val="standard"/>
        <c:varyColors val="0"/>
        <c:ser>
          <c:idx val="0"/>
          <c:order val="0"/>
          <c:spPr>
            <a:ln w="28575" cap="rnd">
              <a:solidFill>
                <a:schemeClr val="accent1"/>
              </a:solidFill>
              <a:round/>
            </a:ln>
            <a:effectLst/>
          </c:spPr>
          <c:marker>
            <c:symbol val="none"/>
          </c:marker>
          <c:cat>
            <c:numRef>
              <c:f>Worksheet!$A$7:$A$55</c:f>
              <c:numCache>
                <c:formatCode>dd\.mm\.yyyy</c:formatCode>
                <c:ptCount val="49"/>
                <c:pt idx="0">
                  <c:v>44043</c:v>
                </c:pt>
                <c:pt idx="1">
                  <c:v>44074</c:v>
                </c:pt>
                <c:pt idx="2">
                  <c:v>44104</c:v>
                </c:pt>
                <c:pt idx="3">
                  <c:v>44135</c:v>
                </c:pt>
                <c:pt idx="4">
                  <c:v>44165</c:v>
                </c:pt>
                <c:pt idx="5">
                  <c:v>44196</c:v>
                </c:pt>
                <c:pt idx="6">
                  <c:v>44227</c:v>
                </c:pt>
                <c:pt idx="7">
                  <c:v>44255</c:v>
                </c:pt>
                <c:pt idx="8">
                  <c:v>44286</c:v>
                </c:pt>
                <c:pt idx="9">
                  <c:v>44316</c:v>
                </c:pt>
                <c:pt idx="10">
                  <c:v>44347</c:v>
                </c:pt>
                <c:pt idx="11">
                  <c:v>44377</c:v>
                </c:pt>
                <c:pt idx="12">
                  <c:v>44408</c:v>
                </c:pt>
                <c:pt idx="13">
                  <c:v>44439</c:v>
                </c:pt>
                <c:pt idx="14">
                  <c:v>44469</c:v>
                </c:pt>
                <c:pt idx="15">
                  <c:v>44500</c:v>
                </c:pt>
                <c:pt idx="16">
                  <c:v>44530</c:v>
                </c:pt>
                <c:pt idx="17">
                  <c:v>44561</c:v>
                </c:pt>
                <c:pt idx="18">
                  <c:v>44592</c:v>
                </c:pt>
                <c:pt idx="19">
                  <c:v>44620</c:v>
                </c:pt>
                <c:pt idx="20">
                  <c:v>44651</c:v>
                </c:pt>
                <c:pt idx="21">
                  <c:v>44681</c:v>
                </c:pt>
                <c:pt idx="22">
                  <c:v>44712</c:v>
                </c:pt>
                <c:pt idx="23">
                  <c:v>44742</c:v>
                </c:pt>
                <c:pt idx="24">
                  <c:v>44773</c:v>
                </c:pt>
                <c:pt idx="25">
                  <c:v>44804</c:v>
                </c:pt>
                <c:pt idx="26">
                  <c:v>44834</c:v>
                </c:pt>
                <c:pt idx="27">
                  <c:v>44865</c:v>
                </c:pt>
                <c:pt idx="28">
                  <c:v>44895</c:v>
                </c:pt>
                <c:pt idx="29">
                  <c:v>44926</c:v>
                </c:pt>
                <c:pt idx="30">
                  <c:v>44957</c:v>
                </c:pt>
                <c:pt idx="31">
                  <c:v>44985</c:v>
                </c:pt>
                <c:pt idx="32">
                  <c:v>45016</c:v>
                </c:pt>
                <c:pt idx="33">
                  <c:v>45046</c:v>
                </c:pt>
                <c:pt idx="34">
                  <c:v>45077</c:v>
                </c:pt>
                <c:pt idx="35">
                  <c:v>45107</c:v>
                </c:pt>
                <c:pt idx="36">
                  <c:v>45138</c:v>
                </c:pt>
                <c:pt idx="37">
                  <c:v>45169</c:v>
                </c:pt>
                <c:pt idx="38">
                  <c:v>45199</c:v>
                </c:pt>
                <c:pt idx="39">
                  <c:v>45230</c:v>
                </c:pt>
                <c:pt idx="40">
                  <c:v>45260</c:v>
                </c:pt>
                <c:pt idx="41">
                  <c:v>45291</c:v>
                </c:pt>
                <c:pt idx="42">
                  <c:v>45322</c:v>
                </c:pt>
                <c:pt idx="43">
                  <c:v>45351</c:v>
                </c:pt>
                <c:pt idx="44">
                  <c:v>45382</c:v>
                </c:pt>
                <c:pt idx="45">
                  <c:v>45412</c:v>
                </c:pt>
                <c:pt idx="46">
                  <c:v>45443</c:v>
                </c:pt>
                <c:pt idx="47">
                  <c:v>45473</c:v>
                </c:pt>
                <c:pt idx="48">
                  <c:v>45504</c:v>
                </c:pt>
              </c:numCache>
            </c:numRef>
          </c:cat>
          <c:val>
            <c:numRef>
              <c:f>Worksheet!$B$7:$B$55</c:f>
              <c:numCache>
                <c:formatCode>General</c:formatCode>
                <c:ptCount val="49"/>
                <c:pt idx="0">
                  <c:v>6.1</c:v>
                </c:pt>
                <c:pt idx="1">
                  <c:v>5.8</c:v>
                </c:pt>
                <c:pt idx="2">
                  <c:v>5.7</c:v>
                </c:pt>
                <c:pt idx="3">
                  <c:v>5.6</c:v>
                </c:pt>
                <c:pt idx="4">
                  <c:v>5.7</c:v>
                </c:pt>
                <c:pt idx="5">
                  <c:v>6</c:v>
                </c:pt>
                <c:pt idx="6">
                  <c:v>6.1</c:v>
                </c:pt>
                <c:pt idx="7">
                  <c:v>6.5</c:v>
                </c:pt>
                <c:pt idx="8">
                  <c:v>6.4</c:v>
                </c:pt>
                <c:pt idx="9">
                  <c:v>6.2</c:v>
                </c:pt>
                <c:pt idx="10">
                  <c:v>6.5</c:v>
                </c:pt>
                <c:pt idx="11">
                  <c:v>6.7</c:v>
                </c:pt>
                <c:pt idx="12">
                  <c:v>6.6</c:v>
                </c:pt>
                <c:pt idx="13">
                  <c:v>6.7</c:v>
                </c:pt>
                <c:pt idx="14">
                  <c:v>6.5</c:v>
                </c:pt>
                <c:pt idx="15">
                  <c:v>7.1</c:v>
                </c:pt>
                <c:pt idx="16">
                  <c:v>7.3</c:v>
                </c:pt>
                <c:pt idx="17">
                  <c:v>6.9</c:v>
                </c:pt>
                <c:pt idx="18">
                  <c:v>6.8</c:v>
                </c:pt>
                <c:pt idx="19">
                  <c:v>7.1</c:v>
                </c:pt>
                <c:pt idx="20">
                  <c:v>7.9</c:v>
                </c:pt>
                <c:pt idx="21">
                  <c:v>7.5</c:v>
                </c:pt>
                <c:pt idx="22">
                  <c:v>7.5</c:v>
                </c:pt>
                <c:pt idx="23">
                  <c:v>7.9</c:v>
                </c:pt>
                <c:pt idx="24">
                  <c:v>7.4</c:v>
                </c:pt>
                <c:pt idx="25">
                  <c:v>7</c:v>
                </c:pt>
                <c:pt idx="26">
                  <c:v>6.8</c:v>
                </c:pt>
                <c:pt idx="27">
                  <c:v>6.9</c:v>
                </c:pt>
                <c:pt idx="28">
                  <c:v>7.1</c:v>
                </c:pt>
                <c:pt idx="29">
                  <c:v>6.6</c:v>
                </c:pt>
                <c:pt idx="30">
                  <c:v>6.7</c:v>
                </c:pt>
                <c:pt idx="31">
                  <c:v>6.2</c:v>
                </c:pt>
                <c:pt idx="32">
                  <c:v>6.3</c:v>
                </c:pt>
                <c:pt idx="33">
                  <c:v>6.2</c:v>
                </c:pt>
                <c:pt idx="34">
                  <c:v>6.1</c:v>
                </c:pt>
                <c:pt idx="35">
                  <c:v>5.8</c:v>
                </c:pt>
                <c:pt idx="36">
                  <c:v>5.7</c:v>
                </c:pt>
                <c:pt idx="37">
                  <c:v>5.7</c:v>
                </c:pt>
                <c:pt idx="38">
                  <c:v>5.7</c:v>
                </c:pt>
                <c:pt idx="39">
                  <c:v>5.9</c:v>
                </c:pt>
                <c:pt idx="40">
                  <c:v>5.7</c:v>
                </c:pt>
                <c:pt idx="41">
                  <c:v>5.5</c:v>
                </c:pt>
                <c:pt idx="42">
                  <c:v>5.3</c:v>
                </c:pt>
                <c:pt idx="43">
                  <c:v>5.2</c:v>
                </c:pt>
                <c:pt idx="44">
                  <c:v>5.3</c:v>
                </c:pt>
                <c:pt idx="45">
                  <c:v>5.3</c:v>
                </c:pt>
                <c:pt idx="46">
                  <c:v>5.4</c:v>
                </c:pt>
                <c:pt idx="47">
                  <c:v>5.4</c:v>
                </c:pt>
                <c:pt idx="48">
                  <c:v>5.4</c:v>
                </c:pt>
              </c:numCache>
            </c:numRef>
          </c:val>
          <c:smooth val="0"/>
          <c:extLst>
            <c:ext xmlns:c16="http://schemas.microsoft.com/office/drawing/2014/chart" uri="{C3380CC4-5D6E-409C-BE32-E72D297353CC}">
              <c16:uniqueId val="{00000000-178D-432F-88A0-6014DCE8B740}"/>
            </c:ext>
          </c:extLst>
        </c:ser>
        <c:dLbls>
          <c:showLegendKey val="0"/>
          <c:showVal val="0"/>
          <c:showCatName val="0"/>
          <c:showSerName val="0"/>
          <c:showPercent val="0"/>
          <c:showBubbleSize val="0"/>
        </c:dLbls>
        <c:smooth val="0"/>
        <c:axId val="1377635008"/>
        <c:axId val="1377637528"/>
      </c:lineChart>
      <c:dateAx>
        <c:axId val="1377635008"/>
        <c:scaling>
          <c:orientation val="minMax"/>
          <c:min val="44197"/>
        </c:scaling>
        <c:delete val="0"/>
        <c:axPos val="b"/>
        <c:numFmt formatCode="yyyy" sourceLinked="0"/>
        <c:majorTickMark val="none"/>
        <c:minorTickMark val="none"/>
        <c:tickLblPos val="nextTo"/>
        <c:spPr>
          <a:noFill/>
          <a:ln w="9525" cap="flat" cmpd="sng" algn="ctr">
            <a:solidFill>
              <a:schemeClr val="accent3"/>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crossAx val="1377637528"/>
        <c:crosses val="autoZero"/>
        <c:auto val="1"/>
        <c:lblOffset val="100"/>
        <c:baseTimeUnit val="months"/>
        <c:majorUnit val="12"/>
        <c:majorTimeUnit val="months"/>
      </c:dateAx>
      <c:valAx>
        <c:axId val="1377637528"/>
        <c:scaling>
          <c:orientation val="minMax"/>
          <c:max val="8"/>
          <c:min val="5"/>
        </c:scaling>
        <c:delete val="0"/>
        <c:axPos val="l"/>
        <c:numFmt formatCode="#,##0.0\ &quot;%&quot;"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crossAx val="13776350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960410214249772"/>
          <c:y val="4.3830935895768877E-2"/>
          <c:w val="0.80999085735345189"/>
          <c:h val="0.851583391011285"/>
        </c:manualLayout>
      </c:layout>
      <c:lineChart>
        <c:grouping val="standard"/>
        <c:varyColors val="0"/>
        <c:ser>
          <c:idx val="0"/>
          <c:order val="0"/>
          <c:spPr>
            <a:ln w="28575" cap="rnd">
              <a:solidFill>
                <a:schemeClr val="accent1"/>
              </a:solidFill>
              <a:round/>
            </a:ln>
            <a:effectLst/>
          </c:spPr>
          <c:marker>
            <c:symbol val="none"/>
          </c:marker>
          <c:cat>
            <c:numRef>
              <c:f>Worksheet!$A$7:$A$53</c:f>
              <c:numCache>
                <c:formatCode>dd\.mm\.yyyy</c:formatCode>
                <c:ptCount val="47"/>
                <c:pt idx="0">
                  <c:v>45504</c:v>
                </c:pt>
                <c:pt idx="1">
                  <c:v>45473</c:v>
                </c:pt>
                <c:pt idx="2">
                  <c:v>45443</c:v>
                </c:pt>
                <c:pt idx="3">
                  <c:v>45412</c:v>
                </c:pt>
                <c:pt idx="4">
                  <c:v>45382</c:v>
                </c:pt>
                <c:pt idx="5">
                  <c:v>45351</c:v>
                </c:pt>
                <c:pt idx="6">
                  <c:v>45322</c:v>
                </c:pt>
                <c:pt idx="7">
                  <c:v>45291</c:v>
                </c:pt>
                <c:pt idx="8">
                  <c:v>45260</c:v>
                </c:pt>
                <c:pt idx="9">
                  <c:v>45230</c:v>
                </c:pt>
                <c:pt idx="10">
                  <c:v>45199</c:v>
                </c:pt>
                <c:pt idx="11">
                  <c:v>45169</c:v>
                </c:pt>
                <c:pt idx="12">
                  <c:v>45138</c:v>
                </c:pt>
                <c:pt idx="13">
                  <c:v>45107</c:v>
                </c:pt>
                <c:pt idx="14">
                  <c:v>45077</c:v>
                </c:pt>
                <c:pt idx="15">
                  <c:v>45046</c:v>
                </c:pt>
                <c:pt idx="16">
                  <c:v>45016</c:v>
                </c:pt>
                <c:pt idx="17">
                  <c:v>44985</c:v>
                </c:pt>
                <c:pt idx="18">
                  <c:v>44957</c:v>
                </c:pt>
                <c:pt idx="19">
                  <c:v>44926</c:v>
                </c:pt>
                <c:pt idx="20">
                  <c:v>44895</c:v>
                </c:pt>
                <c:pt idx="21">
                  <c:v>44865</c:v>
                </c:pt>
                <c:pt idx="22">
                  <c:v>44834</c:v>
                </c:pt>
                <c:pt idx="23">
                  <c:v>44804</c:v>
                </c:pt>
                <c:pt idx="24">
                  <c:v>44773</c:v>
                </c:pt>
                <c:pt idx="25">
                  <c:v>44742</c:v>
                </c:pt>
                <c:pt idx="26">
                  <c:v>44712</c:v>
                </c:pt>
                <c:pt idx="27">
                  <c:v>44681</c:v>
                </c:pt>
                <c:pt idx="28">
                  <c:v>44651</c:v>
                </c:pt>
                <c:pt idx="29">
                  <c:v>44620</c:v>
                </c:pt>
                <c:pt idx="30">
                  <c:v>44592</c:v>
                </c:pt>
                <c:pt idx="31">
                  <c:v>44561</c:v>
                </c:pt>
                <c:pt idx="32">
                  <c:v>44530</c:v>
                </c:pt>
                <c:pt idx="33">
                  <c:v>44500</c:v>
                </c:pt>
                <c:pt idx="34">
                  <c:v>44469</c:v>
                </c:pt>
                <c:pt idx="35">
                  <c:v>44439</c:v>
                </c:pt>
                <c:pt idx="36">
                  <c:v>44408</c:v>
                </c:pt>
                <c:pt idx="37">
                  <c:v>44377</c:v>
                </c:pt>
                <c:pt idx="38">
                  <c:v>44347</c:v>
                </c:pt>
                <c:pt idx="39">
                  <c:v>44316</c:v>
                </c:pt>
                <c:pt idx="40">
                  <c:v>44286</c:v>
                </c:pt>
                <c:pt idx="41">
                  <c:v>44255</c:v>
                </c:pt>
                <c:pt idx="42">
                  <c:v>44227</c:v>
                </c:pt>
                <c:pt idx="43">
                  <c:v>44196</c:v>
                </c:pt>
                <c:pt idx="44">
                  <c:v>44165</c:v>
                </c:pt>
                <c:pt idx="45">
                  <c:v>44135</c:v>
                </c:pt>
                <c:pt idx="46">
                  <c:v>44104</c:v>
                </c:pt>
              </c:numCache>
            </c:numRef>
          </c:cat>
          <c:val>
            <c:numRef>
              <c:f>Worksheet!$B$7:$B$53</c:f>
              <c:numCache>
                <c:formatCode>General</c:formatCode>
                <c:ptCount val="47"/>
                <c:pt idx="0">
                  <c:v>-13</c:v>
                </c:pt>
                <c:pt idx="1">
                  <c:v>-14</c:v>
                </c:pt>
                <c:pt idx="2">
                  <c:v>-14.3</c:v>
                </c:pt>
                <c:pt idx="3">
                  <c:v>-14.7</c:v>
                </c:pt>
                <c:pt idx="4">
                  <c:v>-14.8</c:v>
                </c:pt>
                <c:pt idx="5">
                  <c:v>-15.5</c:v>
                </c:pt>
                <c:pt idx="6">
                  <c:v>-16.100000000000001</c:v>
                </c:pt>
                <c:pt idx="7">
                  <c:v>-15.1</c:v>
                </c:pt>
                <c:pt idx="8">
                  <c:v>-17</c:v>
                </c:pt>
                <c:pt idx="9">
                  <c:v>-18</c:v>
                </c:pt>
                <c:pt idx="10">
                  <c:v>-17.8</c:v>
                </c:pt>
                <c:pt idx="11">
                  <c:v>-16</c:v>
                </c:pt>
                <c:pt idx="12">
                  <c:v>-15.2</c:v>
                </c:pt>
                <c:pt idx="13">
                  <c:v>-16.100000000000001</c:v>
                </c:pt>
                <c:pt idx="14">
                  <c:v>-17.399999999999999</c:v>
                </c:pt>
                <c:pt idx="15">
                  <c:v>-17.5</c:v>
                </c:pt>
                <c:pt idx="16">
                  <c:v>-19.100000000000001</c:v>
                </c:pt>
                <c:pt idx="17">
                  <c:v>-19</c:v>
                </c:pt>
                <c:pt idx="18">
                  <c:v>-20.7</c:v>
                </c:pt>
                <c:pt idx="19">
                  <c:v>-22</c:v>
                </c:pt>
                <c:pt idx="20">
                  <c:v>-23.7</c:v>
                </c:pt>
                <c:pt idx="21">
                  <c:v>-27.4</c:v>
                </c:pt>
                <c:pt idx="22">
                  <c:v>-28.6</c:v>
                </c:pt>
                <c:pt idx="23">
                  <c:v>-25.1</c:v>
                </c:pt>
                <c:pt idx="24">
                  <c:v>-27.4</c:v>
                </c:pt>
                <c:pt idx="25">
                  <c:v>-24.1</c:v>
                </c:pt>
                <c:pt idx="26">
                  <c:v>-21.5</c:v>
                </c:pt>
                <c:pt idx="27">
                  <c:v>-22.4</c:v>
                </c:pt>
                <c:pt idx="28">
                  <c:v>-22</c:v>
                </c:pt>
                <c:pt idx="29">
                  <c:v>-9.4</c:v>
                </c:pt>
                <c:pt idx="30">
                  <c:v>-9.5</c:v>
                </c:pt>
                <c:pt idx="31">
                  <c:v>-9.1999999999999993</c:v>
                </c:pt>
                <c:pt idx="32">
                  <c:v>-8.1</c:v>
                </c:pt>
                <c:pt idx="33">
                  <c:v>-5.0999999999999996</c:v>
                </c:pt>
                <c:pt idx="34">
                  <c:v>-3.6</c:v>
                </c:pt>
                <c:pt idx="35">
                  <c:v>-5.3</c:v>
                </c:pt>
                <c:pt idx="36">
                  <c:v>-3.9</c:v>
                </c:pt>
                <c:pt idx="37">
                  <c:v>-2.2000000000000002</c:v>
                </c:pt>
                <c:pt idx="38">
                  <c:v>-5.6</c:v>
                </c:pt>
                <c:pt idx="39">
                  <c:v>-10</c:v>
                </c:pt>
                <c:pt idx="40">
                  <c:v>-9.8000000000000007</c:v>
                </c:pt>
                <c:pt idx="41">
                  <c:v>-13</c:v>
                </c:pt>
                <c:pt idx="42">
                  <c:v>-13.8</c:v>
                </c:pt>
                <c:pt idx="43">
                  <c:v>-12.1</c:v>
                </c:pt>
                <c:pt idx="44">
                  <c:v>-16.600000000000001</c:v>
                </c:pt>
                <c:pt idx="45">
                  <c:v>-14.5</c:v>
                </c:pt>
                <c:pt idx="46">
                  <c:v>-12.8</c:v>
                </c:pt>
              </c:numCache>
            </c:numRef>
          </c:val>
          <c:smooth val="0"/>
          <c:extLst>
            <c:ext xmlns:c16="http://schemas.microsoft.com/office/drawing/2014/chart" uri="{C3380CC4-5D6E-409C-BE32-E72D297353CC}">
              <c16:uniqueId val="{00000000-C38D-4E66-9ECD-6A4E92EDBE78}"/>
            </c:ext>
          </c:extLst>
        </c:ser>
        <c:dLbls>
          <c:showLegendKey val="0"/>
          <c:showVal val="0"/>
          <c:showCatName val="0"/>
          <c:showSerName val="0"/>
          <c:showPercent val="0"/>
          <c:showBubbleSize val="0"/>
        </c:dLbls>
        <c:smooth val="0"/>
        <c:axId val="1320927336"/>
        <c:axId val="1320932584"/>
      </c:lineChart>
      <c:dateAx>
        <c:axId val="1320927336"/>
        <c:scaling>
          <c:orientation val="minMax"/>
          <c:min val="44197"/>
        </c:scaling>
        <c:delete val="0"/>
        <c:axPos val="b"/>
        <c:numFmt formatCode="yyyy" sourceLinked="0"/>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crossAx val="1320932584"/>
        <c:crosses val="autoZero"/>
        <c:auto val="1"/>
        <c:lblOffset val="100"/>
        <c:baseTimeUnit val="months"/>
        <c:majorUnit val="12"/>
        <c:majorTimeUnit val="months"/>
      </c:dateAx>
      <c:valAx>
        <c:axId val="1320932584"/>
        <c:scaling>
          <c:orientation val="minMax"/>
          <c:min val="-3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crossAx val="13209273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82642437472094"/>
          <c:y val="4.0727325485408965E-2"/>
          <c:w val="0.83756961522923945"/>
          <c:h val="0.78754046116978438"/>
        </c:manualLayout>
      </c:layout>
      <c:lineChart>
        <c:grouping val="standard"/>
        <c:varyColors val="0"/>
        <c:ser>
          <c:idx val="0"/>
          <c:order val="0"/>
          <c:tx>
            <c:strRef>
              <c:f>Tabelle1!$F$6</c:f>
              <c:strCache>
                <c:ptCount val="1"/>
                <c:pt idx="0">
                  <c:v>Verarbeitendes Gewerbe</c:v>
                </c:pt>
              </c:strCache>
            </c:strRef>
          </c:tx>
          <c:spPr>
            <a:ln w="28575" cap="rnd">
              <a:solidFill>
                <a:schemeClr val="accent1"/>
              </a:solidFill>
              <a:round/>
            </a:ln>
            <a:effectLst/>
          </c:spPr>
          <c:marker>
            <c:symbol val="none"/>
          </c:marker>
          <c:cat>
            <c:numRef>
              <c:f>Tabelle1!$E$7:$E$42</c:f>
              <c:numCache>
                <c:formatCode>dd\.mm\.yyyy</c:formatCode>
                <c:ptCount val="36"/>
                <c:pt idx="0">
                  <c:v>45504</c:v>
                </c:pt>
                <c:pt idx="1">
                  <c:v>45473</c:v>
                </c:pt>
                <c:pt idx="2">
                  <c:v>45443</c:v>
                </c:pt>
                <c:pt idx="3">
                  <c:v>45412</c:v>
                </c:pt>
                <c:pt idx="4">
                  <c:v>45382</c:v>
                </c:pt>
                <c:pt idx="5">
                  <c:v>45351</c:v>
                </c:pt>
                <c:pt idx="6">
                  <c:v>45322</c:v>
                </c:pt>
                <c:pt idx="7">
                  <c:v>45291</c:v>
                </c:pt>
                <c:pt idx="8">
                  <c:v>45260</c:v>
                </c:pt>
                <c:pt idx="9">
                  <c:v>45230</c:v>
                </c:pt>
                <c:pt idx="10">
                  <c:v>45199</c:v>
                </c:pt>
                <c:pt idx="11">
                  <c:v>45169</c:v>
                </c:pt>
                <c:pt idx="12">
                  <c:v>45138</c:v>
                </c:pt>
                <c:pt idx="13">
                  <c:v>45107</c:v>
                </c:pt>
                <c:pt idx="14">
                  <c:v>45077</c:v>
                </c:pt>
                <c:pt idx="15">
                  <c:v>45046</c:v>
                </c:pt>
                <c:pt idx="16">
                  <c:v>45016</c:v>
                </c:pt>
                <c:pt idx="17">
                  <c:v>44985</c:v>
                </c:pt>
                <c:pt idx="18">
                  <c:v>44957</c:v>
                </c:pt>
                <c:pt idx="19">
                  <c:v>44926</c:v>
                </c:pt>
                <c:pt idx="20">
                  <c:v>44895</c:v>
                </c:pt>
                <c:pt idx="21">
                  <c:v>44865</c:v>
                </c:pt>
                <c:pt idx="22">
                  <c:v>44834</c:v>
                </c:pt>
                <c:pt idx="23">
                  <c:v>44804</c:v>
                </c:pt>
                <c:pt idx="24">
                  <c:v>44773</c:v>
                </c:pt>
                <c:pt idx="25">
                  <c:v>44742</c:v>
                </c:pt>
                <c:pt idx="26">
                  <c:v>44712</c:v>
                </c:pt>
                <c:pt idx="27">
                  <c:v>44681</c:v>
                </c:pt>
                <c:pt idx="28">
                  <c:v>44651</c:v>
                </c:pt>
                <c:pt idx="29">
                  <c:v>44620</c:v>
                </c:pt>
                <c:pt idx="30">
                  <c:v>44592</c:v>
                </c:pt>
                <c:pt idx="31">
                  <c:v>44561</c:v>
                </c:pt>
                <c:pt idx="32">
                  <c:v>44530</c:v>
                </c:pt>
                <c:pt idx="33">
                  <c:v>44500</c:v>
                </c:pt>
                <c:pt idx="34">
                  <c:v>44469</c:v>
                </c:pt>
                <c:pt idx="35">
                  <c:v>44439</c:v>
                </c:pt>
              </c:numCache>
            </c:numRef>
          </c:cat>
          <c:val>
            <c:numRef>
              <c:f>Tabelle1!$F$7:$F$42</c:f>
              <c:numCache>
                <c:formatCode>General</c:formatCode>
                <c:ptCount val="36"/>
                <c:pt idx="0">
                  <c:v>45.8</c:v>
                </c:pt>
                <c:pt idx="1">
                  <c:v>45.8</c:v>
                </c:pt>
                <c:pt idx="2">
                  <c:v>47.3</c:v>
                </c:pt>
                <c:pt idx="3">
                  <c:v>45.7</c:v>
                </c:pt>
                <c:pt idx="4">
                  <c:v>46.1</c:v>
                </c:pt>
                <c:pt idx="5">
                  <c:v>46.5</c:v>
                </c:pt>
                <c:pt idx="6">
                  <c:v>46.6</c:v>
                </c:pt>
                <c:pt idx="7">
                  <c:v>44.4</c:v>
                </c:pt>
                <c:pt idx="8">
                  <c:v>44.2</c:v>
                </c:pt>
                <c:pt idx="9">
                  <c:v>43.1</c:v>
                </c:pt>
                <c:pt idx="10">
                  <c:v>43.4</c:v>
                </c:pt>
                <c:pt idx="11">
                  <c:v>43.5</c:v>
                </c:pt>
                <c:pt idx="12">
                  <c:v>42.7</c:v>
                </c:pt>
                <c:pt idx="13">
                  <c:v>43.4</c:v>
                </c:pt>
                <c:pt idx="14">
                  <c:v>44.8</c:v>
                </c:pt>
                <c:pt idx="15">
                  <c:v>45.8</c:v>
                </c:pt>
                <c:pt idx="16">
                  <c:v>47.3</c:v>
                </c:pt>
                <c:pt idx="17">
                  <c:v>48.5</c:v>
                </c:pt>
                <c:pt idx="18">
                  <c:v>48.8</c:v>
                </c:pt>
                <c:pt idx="19">
                  <c:v>47.8</c:v>
                </c:pt>
                <c:pt idx="20">
                  <c:v>47.1</c:v>
                </c:pt>
                <c:pt idx="21">
                  <c:v>46.4</c:v>
                </c:pt>
                <c:pt idx="22">
                  <c:v>48.4</c:v>
                </c:pt>
                <c:pt idx="23">
                  <c:v>49.6</c:v>
                </c:pt>
                <c:pt idx="24">
                  <c:v>49.8</c:v>
                </c:pt>
                <c:pt idx="25">
                  <c:v>52.1</c:v>
                </c:pt>
                <c:pt idx="26">
                  <c:v>54.6</c:v>
                </c:pt>
                <c:pt idx="27">
                  <c:v>55.5</c:v>
                </c:pt>
                <c:pt idx="28">
                  <c:v>56.5</c:v>
                </c:pt>
                <c:pt idx="29">
                  <c:v>58.2</c:v>
                </c:pt>
                <c:pt idx="30">
                  <c:v>58.7</c:v>
                </c:pt>
                <c:pt idx="31">
                  <c:v>58</c:v>
                </c:pt>
                <c:pt idx="32">
                  <c:v>58.4</c:v>
                </c:pt>
                <c:pt idx="33">
                  <c:v>58.3</c:v>
                </c:pt>
                <c:pt idx="34">
                  <c:v>58.6</c:v>
                </c:pt>
                <c:pt idx="35">
                  <c:v>61.4</c:v>
                </c:pt>
              </c:numCache>
            </c:numRef>
          </c:val>
          <c:smooth val="0"/>
          <c:extLst>
            <c:ext xmlns:c16="http://schemas.microsoft.com/office/drawing/2014/chart" uri="{C3380CC4-5D6E-409C-BE32-E72D297353CC}">
              <c16:uniqueId val="{00000000-B992-4AFC-8B5E-F7BDA4ED4AC7}"/>
            </c:ext>
          </c:extLst>
        </c:ser>
        <c:ser>
          <c:idx val="1"/>
          <c:order val="1"/>
          <c:tx>
            <c:strRef>
              <c:f>Tabelle1!$G$6</c:f>
              <c:strCache>
                <c:ptCount val="1"/>
                <c:pt idx="0">
                  <c:v>Dienstleistungen</c:v>
                </c:pt>
              </c:strCache>
            </c:strRef>
          </c:tx>
          <c:spPr>
            <a:ln w="28575" cap="rnd">
              <a:solidFill>
                <a:schemeClr val="accent2"/>
              </a:solidFill>
              <a:round/>
            </a:ln>
            <a:effectLst/>
          </c:spPr>
          <c:marker>
            <c:symbol val="none"/>
          </c:marker>
          <c:cat>
            <c:numRef>
              <c:f>Tabelle1!$E$7:$E$42</c:f>
              <c:numCache>
                <c:formatCode>dd\.mm\.yyyy</c:formatCode>
                <c:ptCount val="36"/>
                <c:pt idx="0">
                  <c:v>45504</c:v>
                </c:pt>
                <c:pt idx="1">
                  <c:v>45473</c:v>
                </c:pt>
                <c:pt idx="2">
                  <c:v>45443</c:v>
                </c:pt>
                <c:pt idx="3">
                  <c:v>45412</c:v>
                </c:pt>
                <c:pt idx="4">
                  <c:v>45382</c:v>
                </c:pt>
                <c:pt idx="5">
                  <c:v>45351</c:v>
                </c:pt>
                <c:pt idx="6">
                  <c:v>45322</c:v>
                </c:pt>
                <c:pt idx="7">
                  <c:v>45291</c:v>
                </c:pt>
                <c:pt idx="8">
                  <c:v>45260</c:v>
                </c:pt>
                <c:pt idx="9">
                  <c:v>45230</c:v>
                </c:pt>
                <c:pt idx="10">
                  <c:v>45199</c:v>
                </c:pt>
                <c:pt idx="11">
                  <c:v>45169</c:v>
                </c:pt>
                <c:pt idx="12">
                  <c:v>45138</c:v>
                </c:pt>
                <c:pt idx="13">
                  <c:v>45107</c:v>
                </c:pt>
                <c:pt idx="14">
                  <c:v>45077</c:v>
                </c:pt>
                <c:pt idx="15">
                  <c:v>45046</c:v>
                </c:pt>
                <c:pt idx="16">
                  <c:v>45016</c:v>
                </c:pt>
                <c:pt idx="17">
                  <c:v>44985</c:v>
                </c:pt>
                <c:pt idx="18">
                  <c:v>44957</c:v>
                </c:pt>
                <c:pt idx="19">
                  <c:v>44926</c:v>
                </c:pt>
                <c:pt idx="20">
                  <c:v>44895</c:v>
                </c:pt>
                <c:pt idx="21">
                  <c:v>44865</c:v>
                </c:pt>
                <c:pt idx="22">
                  <c:v>44834</c:v>
                </c:pt>
                <c:pt idx="23">
                  <c:v>44804</c:v>
                </c:pt>
                <c:pt idx="24">
                  <c:v>44773</c:v>
                </c:pt>
                <c:pt idx="25">
                  <c:v>44742</c:v>
                </c:pt>
                <c:pt idx="26">
                  <c:v>44712</c:v>
                </c:pt>
                <c:pt idx="27">
                  <c:v>44681</c:v>
                </c:pt>
                <c:pt idx="28">
                  <c:v>44651</c:v>
                </c:pt>
                <c:pt idx="29">
                  <c:v>44620</c:v>
                </c:pt>
                <c:pt idx="30">
                  <c:v>44592</c:v>
                </c:pt>
                <c:pt idx="31">
                  <c:v>44561</c:v>
                </c:pt>
                <c:pt idx="32">
                  <c:v>44530</c:v>
                </c:pt>
                <c:pt idx="33">
                  <c:v>44500</c:v>
                </c:pt>
                <c:pt idx="34">
                  <c:v>44469</c:v>
                </c:pt>
                <c:pt idx="35">
                  <c:v>44439</c:v>
                </c:pt>
              </c:numCache>
            </c:numRef>
          </c:cat>
          <c:val>
            <c:numRef>
              <c:f>Tabelle1!$G$7:$G$42</c:f>
              <c:numCache>
                <c:formatCode>General</c:formatCode>
                <c:ptCount val="36"/>
                <c:pt idx="0">
                  <c:v>51.9</c:v>
                </c:pt>
                <c:pt idx="1">
                  <c:v>52.8</c:v>
                </c:pt>
                <c:pt idx="2">
                  <c:v>53.2</c:v>
                </c:pt>
                <c:pt idx="3">
                  <c:v>53.3</c:v>
                </c:pt>
                <c:pt idx="4">
                  <c:v>51.5</c:v>
                </c:pt>
                <c:pt idx="5">
                  <c:v>50.2</c:v>
                </c:pt>
                <c:pt idx="6">
                  <c:v>48.4</c:v>
                </c:pt>
                <c:pt idx="7">
                  <c:v>48.8</c:v>
                </c:pt>
                <c:pt idx="8">
                  <c:v>48.7</c:v>
                </c:pt>
                <c:pt idx="9">
                  <c:v>47.8</c:v>
                </c:pt>
                <c:pt idx="10">
                  <c:v>48.7</c:v>
                </c:pt>
                <c:pt idx="11">
                  <c:v>47.9</c:v>
                </c:pt>
                <c:pt idx="12">
                  <c:v>50.9</c:v>
                </c:pt>
                <c:pt idx="13">
                  <c:v>52</c:v>
                </c:pt>
                <c:pt idx="14">
                  <c:v>55.1</c:v>
                </c:pt>
                <c:pt idx="15">
                  <c:v>56.2</c:v>
                </c:pt>
                <c:pt idx="16">
                  <c:v>55</c:v>
                </c:pt>
                <c:pt idx="17">
                  <c:v>52.7</c:v>
                </c:pt>
                <c:pt idx="18">
                  <c:v>50.8</c:v>
                </c:pt>
                <c:pt idx="19">
                  <c:v>49.8</c:v>
                </c:pt>
                <c:pt idx="20">
                  <c:v>48.5</c:v>
                </c:pt>
                <c:pt idx="21">
                  <c:v>48.6</c:v>
                </c:pt>
                <c:pt idx="22">
                  <c:v>48.8</c:v>
                </c:pt>
                <c:pt idx="23">
                  <c:v>49.8</c:v>
                </c:pt>
                <c:pt idx="24">
                  <c:v>51.2</c:v>
                </c:pt>
                <c:pt idx="25">
                  <c:v>53</c:v>
                </c:pt>
                <c:pt idx="26">
                  <c:v>56.1</c:v>
                </c:pt>
                <c:pt idx="27">
                  <c:v>57.7</c:v>
                </c:pt>
                <c:pt idx="28">
                  <c:v>55.6</c:v>
                </c:pt>
                <c:pt idx="29">
                  <c:v>55.5</c:v>
                </c:pt>
                <c:pt idx="30">
                  <c:v>51.1</c:v>
                </c:pt>
                <c:pt idx="31">
                  <c:v>53.1</c:v>
                </c:pt>
                <c:pt idx="32">
                  <c:v>55.9</c:v>
                </c:pt>
                <c:pt idx="33">
                  <c:v>54.6</c:v>
                </c:pt>
                <c:pt idx="34">
                  <c:v>56.4</c:v>
                </c:pt>
                <c:pt idx="35">
                  <c:v>59</c:v>
                </c:pt>
              </c:numCache>
            </c:numRef>
          </c:val>
          <c:smooth val="0"/>
          <c:extLst>
            <c:ext xmlns:c16="http://schemas.microsoft.com/office/drawing/2014/chart" uri="{C3380CC4-5D6E-409C-BE32-E72D297353CC}">
              <c16:uniqueId val="{00000001-B992-4AFC-8B5E-F7BDA4ED4AC7}"/>
            </c:ext>
          </c:extLst>
        </c:ser>
        <c:dLbls>
          <c:showLegendKey val="0"/>
          <c:showVal val="0"/>
          <c:showCatName val="0"/>
          <c:showSerName val="0"/>
          <c:showPercent val="0"/>
          <c:showBubbleSize val="0"/>
        </c:dLbls>
        <c:smooth val="0"/>
        <c:axId val="1900569760"/>
        <c:axId val="1900570088"/>
      </c:lineChart>
      <c:dateAx>
        <c:axId val="1900569760"/>
        <c:scaling>
          <c:orientation val="minMax"/>
        </c:scaling>
        <c:delete val="0"/>
        <c:axPos val="b"/>
        <c:numFmt formatCode="yyyy" sourceLinked="0"/>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crossAx val="1900570088"/>
        <c:crossesAt val="50"/>
        <c:auto val="1"/>
        <c:lblOffset val="100"/>
        <c:baseTimeUnit val="months"/>
        <c:majorUnit val="350"/>
        <c:majorTimeUnit val="days"/>
      </c:dateAx>
      <c:valAx>
        <c:axId val="1900570088"/>
        <c:scaling>
          <c:orientation val="minMax"/>
          <c:max val="65"/>
          <c:min val="4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crossAx val="1900569760"/>
        <c:crosses val="autoZero"/>
        <c:crossBetween val="between"/>
      </c:valAx>
      <c:spPr>
        <a:noFill/>
        <a:ln>
          <a:noFill/>
        </a:ln>
        <a:effectLst/>
      </c:spPr>
    </c:plotArea>
    <c:legend>
      <c:legendPos val="b"/>
      <c:layout>
        <c:manualLayout>
          <c:xMode val="edge"/>
          <c:yMode val="edge"/>
          <c:x val="2.1517112341155377E-4"/>
          <c:y val="0.90320987777850059"/>
          <c:w val="0.99978482887658848"/>
          <c:h val="9.6790122221499575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de-DE"/>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286242797508097"/>
          <c:y val="3.6331610886316382E-2"/>
          <c:w val="0.72513037130484703"/>
          <c:h val="0.8542370398729211"/>
        </c:manualLayout>
      </c:layout>
      <c:lineChart>
        <c:grouping val="standard"/>
        <c:varyColors val="0"/>
        <c:ser>
          <c:idx val="1"/>
          <c:order val="0"/>
          <c:spPr>
            <a:ln w="28575" cap="rnd">
              <a:solidFill>
                <a:schemeClr val="tx2"/>
              </a:solidFill>
              <a:round/>
            </a:ln>
            <a:effectLst/>
          </c:spPr>
          <c:marker>
            <c:symbol val="none"/>
          </c:marker>
          <c:cat>
            <c:numRef>
              <c:f>Worksheet!$A$7:$A$47</c:f>
              <c:numCache>
                <c:formatCode>dd\.mm\.yyyy</c:formatCode>
                <c:ptCount val="41"/>
                <c:pt idx="0">
                  <c:v>45473</c:v>
                </c:pt>
                <c:pt idx="1">
                  <c:v>45443</c:v>
                </c:pt>
                <c:pt idx="2">
                  <c:v>45412</c:v>
                </c:pt>
                <c:pt idx="3">
                  <c:v>45382</c:v>
                </c:pt>
                <c:pt idx="4">
                  <c:v>45351</c:v>
                </c:pt>
                <c:pt idx="5">
                  <c:v>45322</c:v>
                </c:pt>
                <c:pt idx="6">
                  <c:v>45291</c:v>
                </c:pt>
                <c:pt idx="7">
                  <c:v>45260</c:v>
                </c:pt>
                <c:pt idx="8">
                  <c:v>45230</c:v>
                </c:pt>
                <c:pt idx="9">
                  <c:v>45199</c:v>
                </c:pt>
                <c:pt idx="10">
                  <c:v>45169</c:v>
                </c:pt>
                <c:pt idx="11">
                  <c:v>45138</c:v>
                </c:pt>
                <c:pt idx="12">
                  <c:v>45107</c:v>
                </c:pt>
                <c:pt idx="13">
                  <c:v>45077</c:v>
                </c:pt>
                <c:pt idx="14">
                  <c:v>45046</c:v>
                </c:pt>
                <c:pt idx="15">
                  <c:v>45016</c:v>
                </c:pt>
                <c:pt idx="16">
                  <c:v>44985</c:v>
                </c:pt>
                <c:pt idx="17">
                  <c:v>44957</c:v>
                </c:pt>
                <c:pt idx="18">
                  <c:v>44926</c:v>
                </c:pt>
                <c:pt idx="19">
                  <c:v>44895</c:v>
                </c:pt>
                <c:pt idx="20">
                  <c:v>44865</c:v>
                </c:pt>
                <c:pt idx="21">
                  <c:v>44834</c:v>
                </c:pt>
                <c:pt idx="22">
                  <c:v>44804</c:v>
                </c:pt>
                <c:pt idx="23">
                  <c:v>44773</c:v>
                </c:pt>
                <c:pt idx="24">
                  <c:v>44742</c:v>
                </c:pt>
                <c:pt idx="25">
                  <c:v>44712</c:v>
                </c:pt>
                <c:pt idx="26">
                  <c:v>44681</c:v>
                </c:pt>
                <c:pt idx="27">
                  <c:v>44651</c:v>
                </c:pt>
                <c:pt idx="28">
                  <c:v>44620</c:v>
                </c:pt>
                <c:pt idx="29">
                  <c:v>44592</c:v>
                </c:pt>
                <c:pt idx="30">
                  <c:v>44561</c:v>
                </c:pt>
                <c:pt idx="31">
                  <c:v>44530</c:v>
                </c:pt>
                <c:pt idx="32">
                  <c:v>44500</c:v>
                </c:pt>
                <c:pt idx="33">
                  <c:v>44469</c:v>
                </c:pt>
                <c:pt idx="34">
                  <c:v>44439</c:v>
                </c:pt>
                <c:pt idx="35">
                  <c:v>44408</c:v>
                </c:pt>
                <c:pt idx="36">
                  <c:v>44377</c:v>
                </c:pt>
                <c:pt idx="37">
                  <c:v>44347</c:v>
                </c:pt>
                <c:pt idx="38">
                  <c:v>44316</c:v>
                </c:pt>
                <c:pt idx="39">
                  <c:v>44286</c:v>
                </c:pt>
                <c:pt idx="40">
                  <c:v>44255</c:v>
                </c:pt>
              </c:numCache>
            </c:numRef>
          </c:cat>
          <c:val>
            <c:numRef>
              <c:f>Worksheet!$B$7:$B$47</c:f>
              <c:numCache>
                <c:formatCode>General</c:formatCode>
                <c:ptCount val="41"/>
                <c:pt idx="0">
                  <c:v>2.8</c:v>
                </c:pt>
                <c:pt idx="1">
                  <c:v>2.8</c:v>
                </c:pt>
                <c:pt idx="2">
                  <c:v>2.9</c:v>
                </c:pt>
                <c:pt idx="3">
                  <c:v>3</c:v>
                </c:pt>
                <c:pt idx="4">
                  <c:v>3.1</c:v>
                </c:pt>
                <c:pt idx="5">
                  <c:v>3.3</c:v>
                </c:pt>
                <c:pt idx="6">
                  <c:v>3.2</c:v>
                </c:pt>
                <c:pt idx="7">
                  <c:v>3.5</c:v>
                </c:pt>
                <c:pt idx="8">
                  <c:v>4</c:v>
                </c:pt>
                <c:pt idx="9">
                  <c:v>4.0999999999999996</c:v>
                </c:pt>
                <c:pt idx="10">
                  <c:v>3.9</c:v>
                </c:pt>
                <c:pt idx="11">
                  <c:v>3.5</c:v>
                </c:pt>
                <c:pt idx="12">
                  <c:v>3.6</c:v>
                </c:pt>
                <c:pt idx="13">
                  <c:v>4</c:v>
                </c:pt>
                <c:pt idx="14">
                  <c:v>4.5</c:v>
                </c:pt>
                <c:pt idx="15">
                  <c:v>5</c:v>
                </c:pt>
                <c:pt idx="16">
                  <c:v>4.9000000000000004</c:v>
                </c:pt>
                <c:pt idx="17">
                  <c:v>5</c:v>
                </c:pt>
                <c:pt idx="18">
                  <c:v>5</c:v>
                </c:pt>
                <c:pt idx="19">
                  <c:v>5.0999999999999996</c:v>
                </c:pt>
                <c:pt idx="20">
                  <c:v>5.8</c:v>
                </c:pt>
                <c:pt idx="21">
                  <c:v>5.5</c:v>
                </c:pt>
                <c:pt idx="22">
                  <c:v>5</c:v>
                </c:pt>
                <c:pt idx="23">
                  <c:v>5.0999999999999996</c:v>
                </c:pt>
                <c:pt idx="24">
                  <c:v>5</c:v>
                </c:pt>
                <c:pt idx="25">
                  <c:v>5</c:v>
                </c:pt>
                <c:pt idx="26">
                  <c:v>5</c:v>
                </c:pt>
                <c:pt idx="27">
                  <c:v>5</c:v>
                </c:pt>
                <c:pt idx="28">
                  <c:v>3.2</c:v>
                </c:pt>
                <c:pt idx="29">
                  <c:v>3</c:v>
                </c:pt>
                <c:pt idx="30">
                  <c:v>3</c:v>
                </c:pt>
                <c:pt idx="31">
                  <c:v>3</c:v>
                </c:pt>
                <c:pt idx="32">
                  <c:v>3</c:v>
                </c:pt>
                <c:pt idx="33">
                  <c:v>2.4</c:v>
                </c:pt>
                <c:pt idx="34">
                  <c:v>2.1</c:v>
                </c:pt>
                <c:pt idx="35">
                  <c:v>2.1</c:v>
                </c:pt>
                <c:pt idx="36">
                  <c:v>2</c:v>
                </c:pt>
                <c:pt idx="37">
                  <c:v>2</c:v>
                </c:pt>
                <c:pt idx="38">
                  <c:v>2</c:v>
                </c:pt>
                <c:pt idx="39">
                  <c:v>2</c:v>
                </c:pt>
                <c:pt idx="40">
                  <c:v>1.9</c:v>
                </c:pt>
              </c:numCache>
            </c:numRef>
          </c:val>
          <c:smooth val="0"/>
          <c:extLst>
            <c:ext xmlns:c16="http://schemas.microsoft.com/office/drawing/2014/chart" uri="{C3380CC4-5D6E-409C-BE32-E72D297353CC}">
              <c16:uniqueId val="{00000000-B101-4FC3-81BC-5FB015D2C836}"/>
            </c:ext>
          </c:extLst>
        </c:ser>
        <c:dLbls>
          <c:showLegendKey val="0"/>
          <c:showVal val="0"/>
          <c:showCatName val="0"/>
          <c:showSerName val="0"/>
          <c:showPercent val="0"/>
          <c:showBubbleSize val="0"/>
        </c:dLbls>
        <c:smooth val="0"/>
        <c:axId val="245316551"/>
        <c:axId val="245315895"/>
      </c:lineChart>
      <c:dateAx>
        <c:axId val="245316551"/>
        <c:scaling>
          <c:orientation val="minMax"/>
        </c:scaling>
        <c:delete val="0"/>
        <c:axPos val="b"/>
        <c:numFmt formatCode="yyyy" sourceLinked="0"/>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crossAx val="245315895"/>
        <c:crosses val="autoZero"/>
        <c:auto val="0"/>
        <c:lblOffset val="100"/>
        <c:baseTimeUnit val="months"/>
        <c:majorUnit val="1"/>
        <c:majorTimeUnit val="years"/>
      </c:dateAx>
      <c:valAx>
        <c:axId val="245315895"/>
        <c:scaling>
          <c:orientation val="minMax"/>
          <c:max val="6"/>
          <c:min val="1.5"/>
        </c:scaling>
        <c:delete val="0"/>
        <c:axPos val="l"/>
        <c:numFmt formatCode="#,##0.0\ &quot;%&quot;"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e-DE"/>
          </a:p>
        </c:txPr>
        <c:crossAx val="24531655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cdr:x>
      <cdr:y>0</cdr:y>
    </cdr:from>
    <cdr:to>
      <cdr:x>0.90819</cdr:x>
      <cdr:y>0.1207</cdr:y>
    </cdr:to>
    <cdr:sp macro="" textlink="">
      <cdr:nvSpPr>
        <cdr:cNvPr id="2" name="Textfeld 1">
          <a:extLst xmlns:a="http://schemas.openxmlformats.org/drawingml/2006/main">
            <a:ext uri="{FF2B5EF4-FFF2-40B4-BE49-F238E27FC236}">
              <a16:creationId xmlns:a16="http://schemas.microsoft.com/office/drawing/2014/main" id="{10AED412-6E9A-0384-61CC-4DBF0ACEF052}"/>
            </a:ext>
          </a:extLst>
        </cdr:cNvPr>
        <cdr:cNvSpPr txBox="1"/>
      </cdr:nvSpPr>
      <cdr:spPr>
        <a:xfrm xmlns:a="http://schemas.openxmlformats.org/drawingml/2006/main">
          <a:off x="0" y="0"/>
          <a:ext cx="4935967" cy="553998"/>
        </a:xfrm>
        <a:prstGeom xmlns:a="http://schemas.openxmlformats.org/drawingml/2006/main" prst="rect">
          <a:avLst/>
        </a:prstGeom>
      </cdr:spPr>
      <cdr:txBody>
        <a:bodyPr xmlns:a="http://schemas.openxmlformats.org/drawingml/2006/main" vertOverflow="clip" horzOverflow="clip" wrap="none" rtlCol="0">
          <a:spAutoFit/>
        </a:bodyPr>
        <a:lstStyle xmlns:a="http://schemas.openxmlformats.org/drawingml/2006/main"/>
        <a:p xmlns:a="http://schemas.openxmlformats.org/drawingml/2006/main">
          <a:r>
            <a:rPr lang="de-DE" sz="1800" dirty="0">
              <a:solidFill>
                <a:schemeClr val="accent2"/>
              </a:solidFill>
            </a:rPr>
            <a:t>Wahlumfragen für Harris besser als für Biden</a:t>
          </a:r>
        </a:p>
        <a:p xmlns:a="http://schemas.openxmlformats.org/drawingml/2006/main">
          <a:r>
            <a:rPr lang="de-DE" sz="1200" dirty="0">
              <a:solidFill>
                <a:schemeClr val="accent1"/>
              </a:solidFill>
            </a:rPr>
            <a:t>Unterstützung</a:t>
          </a:r>
          <a:r>
            <a:rPr lang="de-DE" sz="1200" baseline="0" dirty="0">
              <a:solidFill>
                <a:schemeClr val="accent1"/>
              </a:solidFill>
            </a:rPr>
            <a:t> in Prozent (Werte für Biden vor Rückzugsankündigung)</a:t>
          </a:r>
          <a:endParaRPr lang="de-DE" sz="1200" dirty="0">
            <a:solidFill>
              <a:schemeClr val="accent1"/>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1"/>
            <a:ext cx="3078427" cy="511731"/>
          </a:xfrm>
          <a:prstGeom prst="rect">
            <a:avLst/>
          </a:prstGeom>
          <a:ln>
            <a:noFill/>
          </a:ln>
        </p:spPr>
        <p:txBody>
          <a:bodyPr vert="horz" lIns="94787" tIns="47393" rIns="94787" bIns="47393" rtlCol="0"/>
          <a:lstStyle>
            <a:lvl1pPr algn="l">
              <a:defRPr sz="1200"/>
            </a:lvl1pPr>
          </a:lstStyle>
          <a:p>
            <a:endParaRPr lang="de-DE"/>
          </a:p>
        </p:txBody>
      </p:sp>
      <p:sp>
        <p:nvSpPr>
          <p:cNvPr id="3" name="Datumsplatzhalter 2"/>
          <p:cNvSpPr>
            <a:spLocks noGrp="1"/>
          </p:cNvSpPr>
          <p:nvPr>
            <p:ph type="dt" sz="quarter" idx="1"/>
          </p:nvPr>
        </p:nvSpPr>
        <p:spPr>
          <a:xfrm>
            <a:off x="4023994" y="1"/>
            <a:ext cx="3078427" cy="511731"/>
          </a:xfrm>
          <a:prstGeom prst="rect">
            <a:avLst/>
          </a:prstGeom>
          <a:ln>
            <a:noFill/>
          </a:ln>
        </p:spPr>
        <p:txBody>
          <a:bodyPr vert="horz" lIns="94787" tIns="47393" rIns="94787" bIns="47393" rtlCol="0"/>
          <a:lstStyle>
            <a:lvl1pPr algn="r">
              <a:defRPr sz="1200"/>
            </a:lvl1pPr>
          </a:lstStyle>
          <a:p>
            <a:fld id="{65603B79-9BF5-4C61-AF4B-3E3651CE1574}" type="datetimeFigureOut">
              <a:rPr lang="de-DE"/>
              <a:t>23.08.2024</a:t>
            </a:fld>
            <a:endParaRPr lang="de-DE"/>
          </a:p>
        </p:txBody>
      </p:sp>
      <p:sp>
        <p:nvSpPr>
          <p:cNvPr id="4" name="Fußzeilenplatzhalter 3"/>
          <p:cNvSpPr>
            <a:spLocks noGrp="1"/>
          </p:cNvSpPr>
          <p:nvPr>
            <p:ph type="ftr" sz="quarter" idx="2"/>
          </p:nvPr>
        </p:nvSpPr>
        <p:spPr>
          <a:xfrm>
            <a:off x="2" y="9721107"/>
            <a:ext cx="3078427" cy="511731"/>
          </a:xfrm>
          <a:prstGeom prst="rect">
            <a:avLst/>
          </a:prstGeom>
          <a:ln>
            <a:noFill/>
          </a:ln>
        </p:spPr>
        <p:txBody>
          <a:bodyPr vert="horz" lIns="94787" tIns="47393" rIns="94787" bIns="47393" rtlCol="0" anchor="b"/>
          <a:lstStyle>
            <a:lvl1pPr algn="l">
              <a:defRPr sz="1200"/>
            </a:lvl1pPr>
          </a:lstStyle>
          <a:p>
            <a:endParaRPr lang="de-DE"/>
          </a:p>
        </p:txBody>
      </p:sp>
      <p:sp>
        <p:nvSpPr>
          <p:cNvPr id="5" name="Foliennummernplatzhalter 4"/>
          <p:cNvSpPr>
            <a:spLocks noGrp="1"/>
          </p:cNvSpPr>
          <p:nvPr>
            <p:ph type="sldNum" sz="quarter" idx="3"/>
          </p:nvPr>
        </p:nvSpPr>
        <p:spPr>
          <a:xfrm>
            <a:off x="4023994" y="9721107"/>
            <a:ext cx="3078427" cy="511731"/>
          </a:xfrm>
          <a:prstGeom prst="rect">
            <a:avLst/>
          </a:prstGeom>
          <a:ln>
            <a:noFill/>
          </a:ln>
        </p:spPr>
        <p:txBody>
          <a:bodyPr vert="horz" lIns="94787" tIns="47393" rIns="94787" bIns="47393" rtlCol="0" anchor="b"/>
          <a:lstStyle>
            <a:lvl1pPr algn="r">
              <a:defRPr sz="1200"/>
            </a:lvl1pPr>
          </a:lstStyle>
          <a:p>
            <a:fld id="{820D8548-CBEA-4F0E-AE33-C9036DC36070}" type="slidenum">
              <a:rPr lang="de-DE"/>
              <a:t>‹Nr.›</a:t>
            </a:fld>
            <a:endParaRPr lang="de-DE"/>
          </a:p>
        </p:txBody>
      </p:sp>
    </p:spTree>
    <p:extLst>
      <p:ext uri="{BB962C8B-B14F-4D97-AF65-F5344CB8AC3E}">
        <p14:creationId xmlns:p14="http://schemas.microsoft.com/office/powerpoint/2010/main" val="383313343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3078427" cy="513508"/>
          </a:xfrm>
          <a:prstGeom prst="rect">
            <a:avLst/>
          </a:prstGeom>
        </p:spPr>
        <p:txBody>
          <a:bodyPr vert="horz" lIns="94787" tIns="47393" rIns="94787" bIns="47393" rtlCol="0"/>
          <a:lstStyle>
            <a:lvl1pPr algn="l">
              <a:defRPr sz="1000">
                <a:latin typeface="Arial" panose="020B0604020202020204" pitchFamily="34" charset="0"/>
                <a:cs typeface="Arial" panose="020B0604020202020204" pitchFamily="34" charset="0"/>
              </a:defRPr>
            </a:lvl1pPr>
          </a:lstStyle>
          <a:p>
            <a:endParaRPr lang="de-DE"/>
          </a:p>
        </p:txBody>
      </p:sp>
      <p:sp>
        <p:nvSpPr>
          <p:cNvPr id="3" name="Datumsplatzhalter 2"/>
          <p:cNvSpPr>
            <a:spLocks noGrp="1"/>
          </p:cNvSpPr>
          <p:nvPr>
            <p:ph type="dt" idx="1"/>
          </p:nvPr>
        </p:nvSpPr>
        <p:spPr>
          <a:xfrm>
            <a:off x="4023994" y="0"/>
            <a:ext cx="3078427" cy="513508"/>
          </a:xfrm>
          <a:prstGeom prst="rect">
            <a:avLst/>
          </a:prstGeom>
        </p:spPr>
        <p:txBody>
          <a:bodyPr vert="horz" lIns="94787" tIns="47393" rIns="94787" bIns="47393" rtlCol="0"/>
          <a:lstStyle>
            <a:lvl1pPr algn="r">
              <a:defRPr sz="1000">
                <a:latin typeface="Arial" panose="020B0604020202020204" pitchFamily="34" charset="0"/>
                <a:cs typeface="Arial" panose="020B0604020202020204" pitchFamily="34" charset="0"/>
              </a:defRPr>
            </a:lvl1pPr>
          </a:lstStyle>
          <a:p>
            <a:fld id="{88543454-F04F-40F8-A629-192B1E168B36}" type="datetimeFigureOut">
              <a:rPr lang="de-DE"/>
              <a:pPr/>
              <a:t>23.08.2024</a:t>
            </a:fld>
            <a:endParaRPr lang="de-DE"/>
          </a:p>
        </p:txBody>
      </p:sp>
      <p:sp>
        <p:nvSpPr>
          <p:cNvPr id="4" name="Folienbildplatzhalter 3"/>
          <p:cNvSpPr>
            <a:spLocks noGrp="1" noRot="1" noChangeAspect="1"/>
          </p:cNvSpPr>
          <p:nvPr>
            <p:ph type="sldImg" idx="2"/>
          </p:nvPr>
        </p:nvSpPr>
        <p:spPr>
          <a:xfrm>
            <a:off x="-76200" y="763588"/>
            <a:ext cx="7256463" cy="4081462"/>
          </a:xfrm>
          <a:prstGeom prst="rect">
            <a:avLst/>
          </a:prstGeom>
          <a:noFill/>
          <a:ln w="12700">
            <a:solidFill>
              <a:schemeClr val="bg1"/>
            </a:solidFill>
          </a:ln>
        </p:spPr>
        <p:txBody>
          <a:bodyPr vert="horz" lIns="94787" tIns="47393" rIns="94787" bIns="47393" rtlCol="0" anchor="ctr"/>
          <a:lstStyle/>
          <a:p>
            <a:endParaRPr lang="de-DE"/>
          </a:p>
        </p:txBody>
      </p:sp>
      <p:sp>
        <p:nvSpPr>
          <p:cNvPr id="6" name="Fußzeilenplatzhalter 5"/>
          <p:cNvSpPr>
            <a:spLocks noGrp="1"/>
          </p:cNvSpPr>
          <p:nvPr>
            <p:ph type="ftr" sz="quarter" idx="4"/>
          </p:nvPr>
        </p:nvSpPr>
        <p:spPr>
          <a:xfrm>
            <a:off x="2" y="9721108"/>
            <a:ext cx="3078427" cy="513507"/>
          </a:xfrm>
          <a:prstGeom prst="rect">
            <a:avLst/>
          </a:prstGeom>
        </p:spPr>
        <p:txBody>
          <a:bodyPr vert="horz" lIns="94787" tIns="47393" rIns="94787" bIns="47393" rtlCol="0" anchor="b"/>
          <a:lstStyle>
            <a:lvl1pPr algn="l">
              <a:defRPr sz="1000">
                <a:latin typeface="Arial" panose="020B0604020202020204" pitchFamily="34" charset="0"/>
                <a:cs typeface="Arial" panose="020B0604020202020204" pitchFamily="34" charset="0"/>
              </a:defRPr>
            </a:lvl1pPr>
          </a:lstStyle>
          <a:p>
            <a:endParaRPr lang="de-DE"/>
          </a:p>
        </p:txBody>
      </p:sp>
      <p:sp>
        <p:nvSpPr>
          <p:cNvPr id="7" name="Foliennummernplatzhalter 6"/>
          <p:cNvSpPr>
            <a:spLocks noGrp="1"/>
          </p:cNvSpPr>
          <p:nvPr>
            <p:ph type="sldNum" sz="quarter" idx="5"/>
          </p:nvPr>
        </p:nvSpPr>
        <p:spPr>
          <a:xfrm>
            <a:off x="4023994" y="9721108"/>
            <a:ext cx="3078427" cy="513507"/>
          </a:xfrm>
          <a:prstGeom prst="rect">
            <a:avLst/>
          </a:prstGeom>
        </p:spPr>
        <p:txBody>
          <a:bodyPr vert="horz" lIns="94787" tIns="47393" rIns="94787" bIns="47393" rtlCol="0" anchor="b"/>
          <a:lstStyle>
            <a:lvl1pPr algn="r">
              <a:defRPr sz="1000">
                <a:latin typeface="Arial" panose="020B0604020202020204" pitchFamily="34" charset="0"/>
                <a:cs typeface="Arial" panose="020B0604020202020204" pitchFamily="34" charset="0"/>
              </a:defRPr>
            </a:lvl1pPr>
          </a:lstStyle>
          <a:p>
            <a:fld id="{9B6DC374-C861-474F-A939-BEDE4D9BCDAD}" type="slidenum">
              <a:rPr lang="de-DE"/>
              <a:pPr/>
              <a:t>‹Nr.›</a:t>
            </a:fld>
            <a:endParaRPr lang="de-DE"/>
          </a:p>
        </p:txBody>
      </p:sp>
      <p:sp>
        <p:nvSpPr>
          <p:cNvPr id="5" name="Notizenplatzhalter 4"/>
          <p:cNvSpPr>
            <a:spLocks noGrp="1"/>
          </p:cNvSpPr>
          <p:nvPr>
            <p:ph type="body" sz="quarter" idx="3"/>
          </p:nvPr>
        </p:nvSpPr>
        <p:spPr>
          <a:xfrm>
            <a:off x="195782" y="5277997"/>
            <a:ext cx="6712500" cy="4029879"/>
          </a:xfrm>
          <a:prstGeom prst="rect">
            <a:avLst/>
          </a:prstGeom>
        </p:spPr>
        <p:txBody>
          <a:bodyPr vert="horz" lIns="0" tIns="0" rIns="0" bIns="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Tree>
    <p:extLst>
      <p:ext uri="{BB962C8B-B14F-4D97-AF65-F5344CB8AC3E}">
        <p14:creationId xmlns:p14="http://schemas.microsoft.com/office/powerpoint/2010/main" val="622954825"/>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1200"/>
      </a:spcBef>
      <a:defRPr lang="de-DE" sz="1200" b="0" kern="1200" dirty="0">
        <a:solidFill>
          <a:schemeClr val="tx2"/>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600"/>
      </a:spcBef>
      <a:defRPr lang="de-DE" sz="1200" kern="1200" dirty="0">
        <a:solidFill>
          <a:schemeClr val="tx1"/>
        </a:solidFill>
        <a:latin typeface="Arial" panose="020B0604020202020204" pitchFamily="34" charset="0"/>
        <a:ea typeface="+mn-ea"/>
        <a:cs typeface="Arial" panose="020B0604020202020204" pitchFamily="34" charset="0"/>
      </a:defRPr>
    </a:lvl2pPr>
    <a:lvl3pPr marL="180000" indent="-180000" algn="l" defTabSz="914400" rtl="0" eaLnBrk="1" latinLnBrk="0" hangingPunct="1">
      <a:spcBef>
        <a:spcPts val="600"/>
      </a:spcBef>
      <a:buClr>
        <a:schemeClr val="tx1"/>
      </a:buClr>
      <a:buFont typeface="Wingdings" panose="05000000000000000000" pitchFamily="2" charset="2"/>
      <a:buChar char=""/>
      <a:defRPr lang="de-DE" sz="1200" kern="1200" dirty="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spcBef>
        <a:spcPts val="400"/>
      </a:spcBef>
      <a:buFont typeface="Arial" panose="020B0604020202020204" pitchFamily="34" charset="0"/>
      <a:buChar char="•"/>
      <a:defRPr lang="de-DE" sz="1200" kern="1200" dirty="0">
        <a:solidFill>
          <a:schemeClr val="tx1"/>
        </a:solidFill>
        <a:latin typeface="Arial" panose="020B0604020202020204" pitchFamily="34" charset="0"/>
        <a:ea typeface="+mn-ea"/>
        <a:cs typeface="Arial" panose="020B0604020202020204" pitchFamily="34" charset="0"/>
      </a:defRPr>
    </a:lvl4pPr>
    <a:lvl5pPr marL="576000" indent="-216000" algn="l" defTabSz="914400" rtl="0" eaLnBrk="1" latinLnBrk="0" hangingPunct="1">
      <a:spcBef>
        <a:spcPts val="400"/>
      </a:spcBef>
      <a:buFont typeface="Symbol" panose="05050102010706020507" pitchFamily="18" charset="2"/>
      <a:buChar char="-"/>
      <a:defRPr lang="de-DE" sz="1200" kern="1200" dirty="0">
        <a:solidFill>
          <a:schemeClr val="tx1"/>
        </a:solidFill>
        <a:latin typeface="Arial" panose="020B0604020202020204" pitchFamily="34" charset="0"/>
        <a:ea typeface="+mn-ea"/>
        <a:cs typeface="Arial" panose="020B0604020202020204" pitchFamily="34" charset="0"/>
      </a:defRPr>
    </a:lvl5pPr>
    <a:lvl6pPr marL="576000" indent="-216000" algn="l" defTabSz="914400" rtl="0" eaLnBrk="1" latinLnBrk="0" hangingPunct="1">
      <a:spcBef>
        <a:spcPts val="400"/>
      </a:spcBef>
      <a:buFont typeface="Symbol" panose="05050102010706020507" pitchFamily="18" charset="2"/>
      <a:buChar char="-"/>
      <a:defRPr lang="de-DE" sz="1200" kern="1200" dirty="0">
        <a:solidFill>
          <a:schemeClr val="tx1"/>
        </a:solidFill>
        <a:latin typeface="+mn-lt"/>
        <a:ea typeface="+mn-ea"/>
        <a:cs typeface="+mn-cs"/>
      </a:defRPr>
    </a:lvl6pPr>
    <a:lvl7pPr marL="576000" indent="-216000" algn="l" defTabSz="914400" rtl="0" eaLnBrk="1" latinLnBrk="0" hangingPunct="1">
      <a:spcBef>
        <a:spcPts val="400"/>
      </a:spcBef>
      <a:buFont typeface="Symbol" panose="05050102010706020507" pitchFamily="18" charset="2"/>
      <a:buChar char="-"/>
      <a:defRPr lang="de-DE" sz="1200" kern="1200" baseline="0" dirty="0">
        <a:solidFill>
          <a:schemeClr val="tx1"/>
        </a:solidFill>
        <a:latin typeface="+mn-lt"/>
        <a:ea typeface="+mn-ea"/>
        <a:cs typeface="+mn-cs"/>
      </a:defRPr>
    </a:lvl7pPr>
    <a:lvl8pPr marL="576000" indent="-216000" algn="l" defTabSz="914400" rtl="0" eaLnBrk="1" latinLnBrk="0" hangingPunct="1">
      <a:spcBef>
        <a:spcPts val="400"/>
      </a:spcBef>
      <a:buFont typeface="Symbol" panose="05050102010706020507" pitchFamily="18" charset="2"/>
      <a:buChar char="-"/>
      <a:defRPr lang="de-DE" sz="1200" kern="1200" dirty="0">
        <a:solidFill>
          <a:schemeClr val="tx1"/>
        </a:solidFill>
        <a:latin typeface="+mn-lt"/>
        <a:ea typeface="+mn-ea"/>
        <a:cs typeface="+mn-cs"/>
      </a:defRPr>
    </a:lvl8pPr>
    <a:lvl9pPr marL="576000" indent="-216000" algn="l" defTabSz="914400" rtl="0" eaLnBrk="1" latinLnBrk="0" hangingPunct="1">
      <a:spcBef>
        <a:spcPts val="400"/>
      </a:spcBef>
      <a:buFont typeface="Symbol" panose="05050102010706020507" pitchFamily="18" charset="2"/>
      <a:buChar char="-"/>
      <a:defRPr lang="de-DE" sz="1200" kern="1200" dirty="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39713" y="704850"/>
            <a:ext cx="6684962" cy="3759200"/>
          </a:xfrm>
        </p:spPr>
      </p:sp>
      <p:sp>
        <p:nvSpPr>
          <p:cNvPr id="3" name="Notizenplatzhalter 2"/>
          <p:cNvSpPr>
            <a:spLocks noGrp="1"/>
          </p:cNvSpPr>
          <p:nvPr>
            <p:ph type="body" idx="1"/>
          </p:nvPr>
        </p:nvSpPr>
        <p:spPr/>
        <p:txBody>
          <a:bodyPr/>
          <a:lstStyle/>
          <a:p>
            <a:r>
              <a:rPr lang="de-DE" dirty="0"/>
              <a:t>Wiener Börse wurde 1771 als eine der ersten Wertpapierbörsen der Welt von Maria Theresia gegründet.</a:t>
            </a:r>
          </a:p>
          <a:p>
            <a:r>
              <a:rPr lang="de-DE" dirty="0"/>
              <a:t>Die OeNB war 1818 die an der </a:t>
            </a:r>
            <a:r>
              <a:rPr lang="de-DE" dirty="0" err="1"/>
              <a:t>Wr</a:t>
            </a:r>
            <a:r>
              <a:rPr lang="de-DE" dirty="0"/>
              <a:t> Börse notierte. Ludwig v. Beethoven war 1819 einer der ersten Aktionäre der OeNB.</a:t>
            </a:r>
          </a:p>
          <a:p>
            <a:endParaRPr lang="de-DE" dirty="0"/>
          </a:p>
          <a:p>
            <a:r>
              <a:rPr lang="de-DE" dirty="0"/>
              <a:t>Ein Blick auf die </a:t>
            </a:r>
            <a:r>
              <a:rPr lang="de-DE" dirty="0" err="1"/>
              <a:t>Börsenachrichten</a:t>
            </a:r>
            <a:r>
              <a:rPr lang="de-DE" dirty="0"/>
              <a:t> (Baha/</a:t>
            </a:r>
            <a:r>
              <a:rPr lang="de-DE" dirty="0" err="1"/>
              <a:t>Telerate</a:t>
            </a:r>
            <a:r>
              <a:rPr lang="de-DE" dirty="0"/>
              <a:t>) von Freitag:</a:t>
            </a:r>
          </a:p>
          <a:p>
            <a:endParaRPr lang="de-DE" dirty="0"/>
          </a:p>
        </p:txBody>
      </p:sp>
      <p:sp>
        <p:nvSpPr>
          <p:cNvPr id="4" name="Foliennummernplatzhalter 3"/>
          <p:cNvSpPr>
            <a:spLocks noGrp="1"/>
          </p:cNvSpPr>
          <p:nvPr>
            <p:ph type="sldNum" sz="quarter" idx="5"/>
          </p:nvPr>
        </p:nvSpPr>
        <p:spPr/>
        <p:txBody>
          <a:bodyPr/>
          <a:lstStyle/>
          <a:p>
            <a:fld id="{9B6DC374-C861-474F-A939-BEDE4D9BCDAD}" type="slidenum">
              <a:rPr lang="de-DE"/>
              <a:pPr/>
              <a:t>1</a:t>
            </a:fld>
            <a:endParaRPr lang="de-DE"/>
          </a:p>
        </p:txBody>
      </p:sp>
    </p:spTree>
    <p:extLst>
      <p:ext uri="{BB962C8B-B14F-4D97-AF65-F5344CB8AC3E}">
        <p14:creationId xmlns:p14="http://schemas.microsoft.com/office/powerpoint/2010/main" val="3387575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88913" y="684213"/>
            <a:ext cx="6480175" cy="3644900"/>
          </a:xfrm>
        </p:spPr>
      </p:sp>
      <p:sp>
        <p:nvSpPr>
          <p:cNvPr id="3" name="Notizenplatzhalter 2"/>
          <p:cNvSpPr>
            <a:spLocks noGrp="1"/>
          </p:cNvSpPr>
          <p:nvPr>
            <p:ph type="body" idx="1"/>
          </p:nvPr>
        </p:nvSpPr>
        <p:spPr/>
        <p:txBody>
          <a:bodyPr/>
          <a:lstStyle/>
          <a:p>
            <a:r>
              <a:rPr lang="de-DE" dirty="0"/>
              <a:t>Rechter Chart: SPX MOV </a:t>
            </a:r>
            <a:r>
              <a:rPr lang="de-DE" dirty="0" err="1"/>
              <a:t>History</a:t>
            </a:r>
            <a:r>
              <a:rPr lang="de-DE" dirty="0"/>
              <a:t> YTD, sortiert nach Indexpunkten (Top und Flop 10, bei Alphabet nur eine </a:t>
            </a:r>
            <a:r>
              <a:rPr lang="de-DE" dirty="0" err="1"/>
              <a:t>Shareclass</a:t>
            </a:r>
            <a:r>
              <a:rPr lang="de-DE" dirty="0"/>
              <a:t>)</a:t>
            </a:r>
          </a:p>
        </p:txBody>
      </p:sp>
      <p:sp>
        <p:nvSpPr>
          <p:cNvPr id="4" name="Foliennummernplatzhalter 3"/>
          <p:cNvSpPr>
            <a:spLocks noGrp="1"/>
          </p:cNvSpPr>
          <p:nvPr>
            <p:ph type="sldNum" sz="quarter" idx="5"/>
          </p:nvPr>
        </p:nvSpPr>
        <p:spPr/>
        <p:txBody>
          <a:bodyPr/>
          <a:lstStyle/>
          <a:p>
            <a:fld id="{9B6DC374-C861-474F-A939-BEDE4D9BCDAD}" type="slidenum">
              <a:rPr lang="de-DE" smtClean="0"/>
              <a:pPr/>
              <a:t>12</a:t>
            </a:fld>
            <a:endParaRPr lang="de-DE"/>
          </a:p>
        </p:txBody>
      </p:sp>
    </p:spTree>
    <p:extLst>
      <p:ext uri="{BB962C8B-B14F-4D97-AF65-F5344CB8AC3E}">
        <p14:creationId xmlns:p14="http://schemas.microsoft.com/office/powerpoint/2010/main" val="4523122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41300" y="704850"/>
            <a:ext cx="6683375" cy="3759200"/>
          </a:xfrm>
        </p:spPr>
      </p:sp>
      <p:sp>
        <p:nvSpPr>
          <p:cNvPr id="3" name="Notizenplatzhalter 2"/>
          <p:cNvSpPr>
            <a:spLocks noGrp="1"/>
          </p:cNvSpPr>
          <p:nvPr>
            <p:ph type="body" idx="1"/>
          </p:nvPr>
        </p:nvSpPr>
        <p:spPr>
          <a:xfrm>
            <a:off x="197518" y="4861867"/>
            <a:ext cx="6772070" cy="4380745"/>
          </a:xfrm>
        </p:spPr>
        <p:txBody>
          <a:bodyPr/>
          <a:lstStyle/>
          <a:p>
            <a:pPr marL="177742" indent="-177742">
              <a:buFont typeface="Arial" panose="020B0604020202020204" pitchFamily="34" charset="0"/>
              <a:buChar char="•"/>
            </a:pPr>
            <a:r>
              <a:rPr lang="de-DE" dirty="0"/>
              <a:t> </a:t>
            </a:r>
          </a:p>
        </p:txBody>
      </p:sp>
      <p:sp>
        <p:nvSpPr>
          <p:cNvPr id="4" name="Foliennummernplatzhalter 3"/>
          <p:cNvSpPr>
            <a:spLocks noGrp="1"/>
          </p:cNvSpPr>
          <p:nvPr>
            <p:ph type="sldNum" sz="quarter" idx="5"/>
          </p:nvPr>
        </p:nvSpPr>
        <p:spPr/>
        <p:txBody>
          <a:bodyPr/>
          <a:lstStyle/>
          <a:p>
            <a:fld id="{9B6DC374-C861-474F-A939-BEDE4D9BCDAD}" type="slidenum">
              <a:rPr lang="de-DE" smtClean="0"/>
              <a:pPr/>
              <a:t>13</a:t>
            </a:fld>
            <a:endParaRPr lang="de-DE"/>
          </a:p>
        </p:txBody>
      </p:sp>
    </p:spTree>
    <p:extLst>
      <p:ext uri="{BB962C8B-B14F-4D97-AF65-F5344CB8AC3E}">
        <p14:creationId xmlns:p14="http://schemas.microsoft.com/office/powerpoint/2010/main" val="38738308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88913" y="684213"/>
            <a:ext cx="6480175" cy="364490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9B6DC374-C861-474F-A939-BEDE4D9BCDAD}" type="slidenum">
              <a:rPr lang="de-DE" smtClean="0"/>
              <a:pPr/>
              <a:t>14</a:t>
            </a:fld>
            <a:endParaRPr lang="de-DE"/>
          </a:p>
        </p:txBody>
      </p:sp>
    </p:spTree>
    <p:extLst>
      <p:ext uri="{BB962C8B-B14F-4D97-AF65-F5344CB8AC3E}">
        <p14:creationId xmlns:p14="http://schemas.microsoft.com/office/powerpoint/2010/main" val="27509205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9B6DC374-C861-474F-A939-BEDE4D9BCDAD}" type="slidenum">
              <a:rPr lang="de-DE" smtClean="0"/>
              <a:pPr/>
              <a:t>17</a:t>
            </a:fld>
            <a:endParaRPr lang="de-DE"/>
          </a:p>
        </p:txBody>
      </p:sp>
    </p:spTree>
    <p:extLst>
      <p:ext uri="{BB962C8B-B14F-4D97-AF65-F5344CB8AC3E}">
        <p14:creationId xmlns:p14="http://schemas.microsoft.com/office/powerpoint/2010/main" val="42104293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9B6DC374-C861-474F-A939-BEDE4D9BCDAD}" type="slidenum">
              <a:rPr lang="de-DE" smtClean="0"/>
              <a:pPr/>
              <a:t>18</a:t>
            </a:fld>
            <a:endParaRPr lang="de-DE"/>
          </a:p>
        </p:txBody>
      </p:sp>
    </p:spTree>
    <p:extLst>
      <p:ext uri="{BB962C8B-B14F-4D97-AF65-F5344CB8AC3E}">
        <p14:creationId xmlns:p14="http://schemas.microsoft.com/office/powerpoint/2010/main" val="16893444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4613" y="766763"/>
            <a:ext cx="7253288" cy="4078287"/>
          </a:xfrm>
        </p:spPr>
      </p:sp>
      <p:sp>
        <p:nvSpPr>
          <p:cNvPr id="3" name="Notizenplatzhalter 2"/>
          <p:cNvSpPr>
            <a:spLocks noGrp="1"/>
          </p:cNvSpPr>
          <p:nvPr>
            <p:ph type="body" idx="1"/>
          </p:nvPr>
        </p:nvSpPr>
        <p:spPr/>
        <p:txBody>
          <a:bodyPr/>
          <a:lstStyle/>
          <a:p>
            <a:r>
              <a:rPr lang="de-DE" dirty="0"/>
              <a:t>Der Anfang September geschlossene </a:t>
            </a:r>
            <a:r>
              <a:rPr lang="de-DE" dirty="0" err="1"/>
              <a:t>UniEuroRenta</a:t>
            </a:r>
            <a:r>
              <a:rPr lang="de-DE" dirty="0"/>
              <a:t> Unternehmensanleihen 2029 hat in 182 Anleihen investiert von denen 174 „unter pari“ notieren. Der Durchschnittskurs liegt aktuell bei etwas über 88,4. Alle Anleihen werden aber zu 100 getilgt.</a:t>
            </a:r>
          </a:p>
        </p:txBody>
      </p:sp>
      <p:sp>
        <p:nvSpPr>
          <p:cNvPr id="4" name="Foliennummernplatzhalter 3"/>
          <p:cNvSpPr>
            <a:spLocks noGrp="1"/>
          </p:cNvSpPr>
          <p:nvPr>
            <p:ph type="sldNum" sz="quarter" idx="5"/>
          </p:nvPr>
        </p:nvSpPr>
        <p:spPr/>
        <p:txBody>
          <a:bodyPr/>
          <a:lstStyle/>
          <a:p>
            <a:fld id="{9B6DC374-C861-474F-A939-BEDE4D9BCDAD}" type="slidenum">
              <a:rPr lang="de-DE" smtClean="0"/>
              <a:pPr/>
              <a:t>19</a:t>
            </a:fld>
            <a:endParaRPr lang="de-DE"/>
          </a:p>
        </p:txBody>
      </p:sp>
    </p:spTree>
    <p:extLst>
      <p:ext uri="{BB962C8B-B14F-4D97-AF65-F5344CB8AC3E}">
        <p14:creationId xmlns:p14="http://schemas.microsoft.com/office/powerpoint/2010/main" val="12043841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de-DE" dirty="0"/>
              <a:t>1 Jahr: SDG: 19,47%, </a:t>
            </a:r>
            <a:r>
              <a:rPr lang="de-DE" dirty="0" err="1"/>
              <a:t>Rak</a:t>
            </a:r>
            <a:r>
              <a:rPr lang="de-DE" dirty="0"/>
              <a:t> Nach: 16,13%. </a:t>
            </a:r>
            <a:r>
              <a:rPr lang="de-DE" dirty="0" err="1"/>
              <a:t>RakNachKons</a:t>
            </a:r>
            <a:r>
              <a:rPr lang="de-DE" dirty="0"/>
              <a:t>: 11,02% ; rund 7 Jahre Darstellung.</a:t>
            </a:r>
          </a:p>
          <a:p>
            <a:pPr algn="l"/>
            <a:r>
              <a:rPr lang="de-DE" dirty="0"/>
              <a:t>: </a:t>
            </a:r>
          </a:p>
        </p:txBody>
      </p:sp>
      <p:sp>
        <p:nvSpPr>
          <p:cNvPr id="4" name="Foliennummernplatzhalter 3"/>
          <p:cNvSpPr>
            <a:spLocks noGrp="1"/>
          </p:cNvSpPr>
          <p:nvPr>
            <p:ph type="sldNum" sz="quarter" idx="5"/>
          </p:nvPr>
        </p:nvSpPr>
        <p:spPr/>
        <p:txBody>
          <a:bodyPr/>
          <a:lstStyle/>
          <a:p>
            <a:fld id="{9B6DC374-C861-474F-A939-BEDE4D9BCDAD}" type="slidenum">
              <a:rPr lang="de-DE" smtClean="0"/>
              <a:pPr/>
              <a:t>21</a:t>
            </a:fld>
            <a:endParaRPr lang="de-DE" dirty="0"/>
          </a:p>
        </p:txBody>
      </p:sp>
    </p:spTree>
    <p:extLst>
      <p:ext uri="{BB962C8B-B14F-4D97-AF65-F5344CB8AC3E}">
        <p14:creationId xmlns:p14="http://schemas.microsoft.com/office/powerpoint/2010/main" val="8926846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nalysieren Sie Ihre Liquiditätsstruktur zusammen mit Ihrem Bankberater. Planen Sie ruhig einen Puffer für etwaige Eventualitäten ein. Aber investieren Sie den Teil Ihrer Liquidität, den Sie mittel- bis langfristig nicht verplant haben auch mittel- bis langfristig und sichern Sie sich so das aktuell hohe Zinsniveau für längere Zeit. Und: verwenden Sie freie Cash </a:t>
            </a:r>
            <a:r>
              <a:rPr lang="de-DE" dirty="0" err="1"/>
              <a:t>Flows</a:t>
            </a:r>
            <a:r>
              <a:rPr lang="de-DE" dirty="0"/>
              <a:t> um sukzessive auch eine Aktienquote aufzubauen, am besten in Form eines Fondssparplanes, mit dem Sie kurzfristig die aktuell hohen Schwankungen an den Aktienmärkten nutzen und langfristig vom positiven Umfeld der großen Transformation profitieren. Ihr Kommerzkundenbetreuer und Ihr Anlageberater der Volksbank Steiermark beraten Sie gerne auf Ihre individuelle Unternehmenssituation zugeschnitten im Team. Die Kollegen sind heute hier und stehen Ihnen, genauso wie ich heute, gerne noch für vertiefende Gespräche zur Verfügung.</a:t>
            </a:r>
          </a:p>
        </p:txBody>
      </p:sp>
      <p:sp>
        <p:nvSpPr>
          <p:cNvPr id="4" name="Foliennummernplatzhalter 3"/>
          <p:cNvSpPr>
            <a:spLocks noGrp="1"/>
          </p:cNvSpPr>
          <p:nvPr>
            <p:ph type="sldNum" sz="quarter" idx="5"/>
          </p:nvPr>
        </p:nvSpPr>
        <p:spPr/>
        <p:txBody>
          <a:bodyPr/>
          <a:lstStyle/>
          <a:p>
            <a:fld id="{9B6DC374-C861-474F-A939-BEDE4D9BCDAD}" type="slidenum">
              <a:rPr lang="de-DE" smtClean="0"/>
              <a:pPr/>
              <a:t>22</a:t>
            </a:fld>
            <a:endParaRPr lang="de-DE"/>
          </a:p>
        </p:txBody>
      </p:sp>
    </p:spTree>
    <p:extLst>
      <p:ext uri="{BB962C8B-B14F-4D97-AF65-F5344CB8AC3E}">
        <p14:creationId xmlns:p14="http://schemas.microsoft.com/office/powerpoint/2010/main" val="198062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41300" y="704850"/>
            <a:ext cx="6683375" cy="37592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B6DC374-C861-474F-A939-BEDE4D9BCDAD}" type="slidenum">
              <a:rPr lang="de-DE"/>
              <a:pPr/>
              <a:t>23</a:t>
            </a:fld>
            <a:endParaRPr lang="de-DE" dirty="0"/>
          </a:p>
        </p:txBody>
      </p:sp>
    </p:spTree>
    <p:extLst>
      <p:ext uri="{BB962C8B-B14F-4D97-AF65-F5344CB8AC3E}">
        <p14:creationId xmlns:p14="http://schemas.microsoft.com/office/powerpoint/2010/main" val="40732073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6200" y="854075"/>
            <a:ext cx="7256463" cy="4081463"/>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B6DC374-C861-474F-A939-BEDE4D9BCDAD}" type="slidenum">
              <a:rPr lang="de-DE" smtClean="0"/>
              <a:pPr/>
              <a:t>2</a:t>
            </a:fld>
            <a:endParaRPr lang="de-DE"/>
          </a:p>
        </p:txBody>
      </p:sp>
    </p:spTree>
    <p:extLst>
      <p:ext uri="{BB962C8B-B14F-4D97-AF65-F5344CB8AC3E}">
        <p14:creationId xmlns:p14="http://schemas.microsoft.com/office/powerpoint/2010/main" val="34535175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0" i="0" dirty="0">
                <a:solidFill>
                  <a:srgbClr val="181818"/>
                </a:solidFill>
                <a:effectLst/>
                <a:latin typeface="Frutiger Neue"/>
              </a:rPr>
              <a:t>Bei wirkungsbezogenen Investmentfonds handelt es sich um Investitionen, die neben einer finanziellen Rendite auch einen positiven Beitrag zur Lösung von ökologischen und/oder sozialen Problemen leisten.</a:t>
            </a:r>
            <a:endParaRPr lang="de-DE" dirty="0"/>
          </a:p>
        </p:txBody>
      </p:sp>
      <p:sp>
        <p:nvSpPr>
          <p:cNvPr id="4" name="Foliennummernplatzhalter 3"/>
          <p:cNvSpPr>
            <a:spLocks noGrp="1"/>
          </p:cNvSpPr>
          <p:nvPr>
            <p:ph type="sldNum" sz="quarter" idx="5"/>
          </p:nvPr>
        </p:nvSpPr>
        <p:spPr/>
        <p:txBody>
          <a:bodyPr/>
          <a:lstStyle/>
          <a:p>
            <a:fld id="{9B6DC374-C861-474F-A939-BEDE4D9BCDAD}" type="slidenum">
              <a:rPr lang="de-DE" smtClean="0"/>
              <a:pPr/>
              <a:t>5</a:t>
            </a:fld>
            <a:endParaRPr lang="de-DE"/>
          </a:p>
        </p:txBody>
      </p:sp>
    </p:spTree>
    <p:extLst>
      <p:ext uri="{BB962C8B-B14F-4D97-AF65-F5344CB8AC3E}">
        <p14:creationId xmlns:p14="http://schemas.microsoft.com/office/powerpoint/2010/main" val="32387257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88913" y="684213"/>
            <a:ext cx="6480175" cy="364490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9B6DC374-C861-474F-A939-BEDE4D9BCDAD}" type="slidenum">
              <a:rPr lang="de-DE" smtClean="0"/>
              <a:pPr/>
              <a:t>6</a:t>
            </a:fld>
            <a:endParaRPr lang="de-DE"/>
          </a:p>
        </p:txBody>
      </p:sp>
    </p:spTree>
    <p:extLst>
      <p:ext uri="{BB962C8B-B14F-4D97-AF65-F5344CB8AC3E}">
        <p14:creationId xmlns:p14="http://schemas.microsoft.com/office/powerpoint/2010/main" val="27509205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Folienbildplatzhalter 1">
            <a:extLst>
              <a:ext uri="{FF2B5EF4-FFF2-40B4-BE49-F238E27FC236}">
                <a16:creationId xmlns:a16="http://schemas.microsoft.com/office/drawing/2014/main" id="{3C13BB03-116A-4951-BB7E-813E54A1C143}"/>
              </a:ext>
            </a:extLst>
          </p:cNvPr>
          <p:cNvSpPr>
            <a:spLocks noGrp="1" noRot="1" noChangeAspect="1" noChangeArrowheads="1" noTextEdit="1"/>
          </p:cNvSpPr>
          <p:nvPr>
            <p:ph type="sldImg"/>
          </p:nvPr>
        </p:nvSpPr>
        <p:spPr bwMode="auto">
          <a:xfrm>
            <a:off x="-192088" y="698500"/>
            <a:ext cx="6616701" cy="3722688"/>
          </a:xfrm>
          <a:noFill/>
          <a:ln>
            <a:miter lim="800000"/>
            <a:headEnd/>
            <a:tailEnd/>
          </a:ln>
          <a:extLst>
            <a:ext uri="{909E8E84-426E-40DD-AFC4-6F175D3DCCD1}">
              <a14:hiddenFill xmlns:a14="http://schemas.microsoft.com/office/drawing/2010/main">
                <a:solidFill>
                  <a:srgbClr val="FFFFFF"/>
                </a:solidFill>
              </a14:hiddenFill>
            </a:ext>
          </a:extLst>
        </p:spPr>
      </p:sp>
      <p:sp>
        <p:nvSpPr>
          <p:cNvPr id="49155" name="Notizenplatzhalter 2">
            <a:extLst>
              <a:ext uri="{FF2B5EF4-FFF2-40B4-BE49-F238E27FC236}">
                <a16:creationId xmlns:a16="http://schemas.microsoft.com/office/drawing/2014/main" id="{1344D84E-4B09-473D-9806-DF23A4C15CE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de-DE" altLang="de-DE"/>
          </a:p>
        </p:txBody>
      </p:sp>
      <p:sp>
        <p:nvSpPr>
          <p:cNvPr id="49156" name="Foliennummernplatzhalter 3">
            <a:extLst>
              <a:ext uri="{FF2B5EF4-FFF2-40B4-BE49-F238E27FC236}">
                <a16:creationId xmlns:a16="http://schemas.microsoft.com/office/drawing/2014/main" id="{59964C0F-8FFB-43A8-8C2E-02F58BF9F5C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7114A6C8-5B75-4259-B971-2C64D5FE7F58}" type="slidenum">
              <a:rPr lang="de-DE" altLang="de-DE" smtClean="0"/>
              <a:pPr fontAlgn="base">
                <a:spcBef>
                  <a:spcPct val="0"/>
                </a:spcBef>
                <a:spcAft>
                  <a:spcPct val="0"/>
                </a:spcAft>
              </a:pPr>
              <a:t>7</a:t>
            </a:fld>
            <a:endParaRPr lang="de-DE" altLang="de-DE"/>
          </a:p>
        </p:txBody>
      </p:sp>
    </p:spTree>
    <p:extLst>
      <p:ext uri="{BB962C8B-B14F-4D97-AF65-F5344CB8AC3E}">
        <p14:creationId xmlns:p14="http://schemas.microsoft.com/office/powerpoint/2010/main" val="8556375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88913" y="684213"/>
            <a:ext cx="6480175" cy="364490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9B6DC374-C861-474F-A939-BEDE4D9BCDAD}" type="slidenum">
              <a:rPr lang="de-DE" smtClean="0"/>
              <a:pPr/>
              <a:t>8</a:t>
            </a:fld>
            <a:endParaRPr lang="de-DE"/>
          </a:p>
        </p:txBody>
      </p:sp>
    </p:spTree>
    <p:extLst>
      <p:ext uri="{BB962C8B-B14F-4D97-AF65-F5344CB8AC3E}">
        <p14:creationId xmlns:p14="http://schemas.microsoft.com/office/powerpoint/2010/main" val="8810121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88913" y="684213"/>
            <a:ext cx="6480175" cy="36449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B6DC374-C861-474F-A939-BEDE4D9BCDAD}" type="slidenum">
              <a:rPr lang="de-DE" smtClean="0"/>
              <a:pPr/>
              <a:t>9</a:t>
            </a:fld>
            <a:endParaRPr lang="de-DE"/>
          </a:p>
        </p:txBody>
      </p:sp>
    </p:spTree>
    <p:extLst>
      <p:ext uri="{BB962C8B-B14F-4D97-AF65-F5344CB8AC3E}">
        <p14:creationId xmlns:p14="http://schemas.microsoft.com/office/powerpoint/2010/main" val="42581419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88913" y="684213"/>
            <a:ext cx="6480175" cy="364490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9B6DC374-C861-474F-A939-BEDE4D9BCDAD}" type="slidenum">
              <a:rPr lang="de-DE" smtClean="0"/>
              <a:pPr/>
              <a:t>10</a:t>
            </a:fld>
            <a:endParaRPr lang="de-DE"/>
          </a:p>
        </p:txBody>
      </p:sp>
    </p:spTree>
    <p:extLst>
      <p:ext uri="{BB962C8B-B14F-4D97-AF65-F5344CB8AC3E}">
        <p14:creationId xmlns:p14="http://schemas.microsoft.com/office/powerpoint/2010/main" val="16233786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5113" y="620713"/>
            <a:ext cx="6337300" cy="3563937"/>
          </a:xfrm>
          <a:ln>
            <a:solidFill>
              <a:schemeClr val="accent1"/>
            </a:solidFill>
          </a:ln>
        </p:spPr>
      </p:sp>
      <p:sp>
        <p:nvSpPr>
          <p:cNvPr id="4" name="Foliennummernplatzhalter 3"/>
          <p:cNvSpPr>
            <a:spLocks noGrp="1"/>
          </p:cNvSpPr>
          <p:nvPr>
            <p:ph type="sldNum" sz="quarter" idx="5"/>
          </p:nvPr>
        </p:nvSpPr>
        <p:spPr/>
        <p:txBody>
          <a:bodyPr/>
          <a:lstStyle/>
          <a:p>
            <a:fld id="{9B6DC374-C861-474F-A939-BEDE4D9BCDAD}" type="slidenum">
              <a:rPr lang="de-DE" smtClean="0"/>
              <a:pPr/>
              <a:t>11</a:t>
            </a:fld>
            <a:endParaRPr lang="de-DE"/>
          </a:p>
        </p:txBody>
      </p:sp>
      <p:sp>
        <p:nvSpPr>
          <p:cNvPr id="6" name="Notizenplatzhalter 5">
            <a:extLst>
              <a:ext uri="{FF2B5EF4-FFF2-40B4-BE49-F238E27FC236}">
                <a16:creationId xmlns:a16="http://schemas.microsoft.com/office/drawing/2014/main" id="{5D155BCB-C347-B116-9FD3-DBE5D37E77B7}"/>
              </a:ext>
            </a:extLst>
          </p:cNvPr>
          <p:cNvSpPr>
            <a:spLocks noGrp="1"/>
          </p:cNvSpPr>
          <p:nvPr>
            <p:ph type="body" sz="quarter" idx="3"/>
          </p:nvPr>
        </p:nvSpPr>
        <p:spPr>
          <a:xfrm>
            <a:off x="189000" y="4283968"/>
            <a:ext cx="6480000" cy="4680520"/>
          </a:xfrm>
        </p:spPr>
        <p:txBody>
          <a:bodyPr/>
          <a:lstStyle/>
          <a:p>
            <a:endParaRPr lang="de-DE" sz="1400" dirty="0">
              <a:solidFill>
                <a:schemeClr val="tx1"/>
              </a:solidFill>
            </a:endParaRPr>
          </a:p>
        </p:txBody>
      </p:sp>
    </p:spTree>
    <p:extLst>
      <p:ext uri="{BB962C8B-B14F-4D97-AF65-F5344CB8AC3E}">
        <p14:creationId xmlns:p14="http://schemas.microsoft.com/office/powerpoint/2010/main" val="37172358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elfolie mit Bild und positiv Logo">
    <p:spTree>
      <p:nvGrpSpPr>
        <p:cNvPr id="1" name=""/>
        <p:cNvGrpSpPr/>
        <p:nvPr/>
      </p:nvGrpSpPr>
      <p:grpSpPr>
        <a:xfrm>
          <a:off x="0" y="0"/>
          <a:ext cx="0" cy="0"/>
          <a:chOff x="0" y="0"/>
          <a:chExt cx="0" cy="0"/>
        </a:xfrm>
      </p:grpSpPr>
      <p:sp>
        <p:nvSpPr>
          <p:cNvPr id="40" name="Bildplatzhalter 36">
            <a:extLst>
              <a:ext uri="{FF2B5EF4-FFF2-40B4-BE49-F238E27FC236}">
                <a16:creationId xmlns:a16="http://schemas.microsoft.com/office/drawing/2014/main" id="{4870B9C8-84BA-4064-8D52-EB6D8BB2C906}"/>
              </a:ext>
            </a:extLst>
          </p:cNvPr>
          <p:cNvSpPr>
            <a:spLocks noGrp="1"/>
          </p:cNvSpPr>
          <p:nvPr>
            <p:ph type="pic" sz="quarter" idx="14" hasCustomPrompt="1"/>
          </p:nvPr>
        </p:nvSpPr>
        <p:spPr bwMode="gray">
          <a:xfrm>
            <a:off x="0" y="-1"/>
            <a:ext cx="12196763" cy="6858000"/>
          </a:xfrm>
          <a:prstGeom prst="rect">
            <a:avLst/>
          </a:prstGeom>
          <a:pattFill prst="pct20">
            <a:fgClr>
              <a:schemeClr val="accent3"/>
            </a:fgClr>
            <a:bgClr>
              <a:schemeClr val="bg1"/>
            </a:bgClr>
          </a:pattFill>
        </p:spPr>
        <p:txBody>
          <a:bodyPr vert="horz" wrap="square" lIns="2520000" tIns="72000" rIns="72000" bIns="72000" rtlCol="0" anchor="b">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1600" b="0" baseline="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a:t>Um ein Hintergrundbild einzufügen, markieren Sie bitte den Platzhalter und wählen entweder ein Bild aus der </a:t>
            </a:r>
            <a:r>
              <a:rPr lang="de-DE" err="1"/>
              <a:t>empower</a:t>
            </a:r>
            <a:r>
              <a:rPr lang="de-DE"/>
              <a:t> Bibliothek oder über den Reiter „Einfügen“, „Bilder“ aus. Dieses Layout steht in zwei Varianten zur Verfügung: mit positivem und negativem Partnerlogo. Bitte wählen Sie das Layout aus, welches den bestmöglichen Kontrast zwischen Bild und Logo erzeugt.</a:t>
            </a:r>
          </a:p>
        </p:txBody>
      </p:sp>
      <p:sp>
        <p:nvSpPr>
          <p:cNvPr id="30" name="Textplatzhalter 13">
            <a:extLst>
              <a:ext uri="{FF2B5EF4-FFF2-40B4-BE49-F238E27FC236}">
                <a16:creationId xmlns:a16="http://schemas.microsoft.com/office/drawing/2014/main" id="{58F070F6-CDDE-4C67-9078-9184F9E3EE06}"/>
              </a:ext>
            </a:extLst>
          </p:cNvPr>
          <p:cNvSpPr>
            <a:spLocks noGrp="1" noChangeAspect="1"/>
          </p:cNvSpPr>
          <p:nvPr>
            <p:ph type="body" sz="quarter" idx="15" hasCustomPrompt="1"/>
          </p:nvPr>
        </p:nvSpPr>
        <p:spPr bwMode="gray">
          <a:xfrm>
            <a:off x="629999" y="1"/>
            <a:ext cx="11565176" cy="4222561"/>
          </a:xfrm>
          <a:custGeom>
            <a:avLst/>
            <a:gdLst>
              <a:gd name="connsiteX0" fmla="*/ 0 w 11565176"/>
              <a:gd name="connsiteY0" fmla="*/ 0 h 4222561"/>
              <a:gd name="connsiteX1" fmla="*/ 11565176 w 11565176"/>
              <a:gd name="connsiteY1" fmla="*/ 0 h 4222561"/>
              <a:gd name="connsiteX2" fmla="*/ 11565176 w 11565176"/>
              <a:gd name="connsiteY2" fmla="*/ 2101962 h 4222561"/>
              <a:gd name="connsiteX3" fmla="*/ 910254 w 11565176"/>
              <a:gd name="connsiteY3" fmla="*/ 4203011 h 4222561"/>
              <a:gd name="connsiteX4" fmla="*/ 0 w 11565176"/>
              <a:gd name="connsiteY4" fmla="*/ 3522747 h 4222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65176" h="4222561">
                <a:moveTo>
                  <a:pt x="0" y="0"/>
                </a:moveTo>
                <a:lnTo>
                  <a:pt x="11565176" y="0"/>
                </a:lnTo>
                <a:lnTo>
                  <a:pt x="11565176" y="2101962"/>
                </a:lnTo>
                <a:lnTo>
                  <a:pt x="910254" y="4203011"/>
                </a:lnTo>
                <a:cubicBezTo>
                  <a:pt x="0" y="4359734"/>
                  <a:pt x="0" y="3522747"/>
                  <a:pt x="0" y="3522747"/>
                </a:cubicBezTo>
                <a:close/>
              </a:path>
            </a:pathLst>
          </a:custGeom>
          <a:solidFill>
            <a:schemeClr val="tx2">
              <a:alpha val="89000"/>
            </a:schemeClr>
          </a:solidFill>
        </p:spPr>
        <p:txBody>
          <a:bodyPr wrap="square" lIns="399600" tIns="1407600" rIns="3240000">
            <a:noAutofit/>
          </a:bodyPr>
          <a:lstStyle>
            <a:lvl1pPr marL="0" indent="0">
              <a:spcBef>
                <a:spcPts val="0"/>
              </a:spcBef>
              <a:buFont typeface="Arial" panose="020B0604020202020204" pitchFamily="34" charset="0"/>
              <a:buNone/>
              <a:defRPr sz="3000" b="1">
                <a:solidFill>
                  <a:schemeClr val="bg1"/>
                </a:solidFill>
              </a:defRPr>
            </a:lvl1pPr>
            <a:lvl2pPr marL="0" indent="0">
              <a:spcBef>
                <a:spcPts val="0"/>
              </a:spcBef>
              <a:buFont typeface="Arial" panose="020B0604020202020204" pitchFamily="34" charset="0"/>
              <a:buNone/>
              <a:defRPr sz="3000" b="1">
                <a:solidFill>
                  <a:schemeClr val="bg1"/>
                </a:solidFill>
              </a:defRPr>
            </a:lvl2pPr>
            <a:lvl3pPr marL="0" indent="0">
              <a:spcBef>
                <a:spcPts val="0"/>
              </a:spcBef>
              <a:buNone/>
              <a:defRPr sz="3000" b="1">
                <a:solidFill>
                  <a:schemeClr val="bg1"/>
                </a:solidFill>
              </a:defRPr>
            </a:lvl3pPr>
            <a:lvl4pPr marL="0" indent="0">
              <a:spcBef>
                <a:spcPts val="0"/>
              </a:spcBef>
              <a:buNone/>
              <a:defRPr sz="3000" b="1">
                <a:solidFill>
                  <a:schemeClr val="bg1"/>
                </a:solidFill>
              </a:defRPr>
            </a:lvl4pPr>
            <a:lvl5pPr marL="0" indent="0">
              <a:spcBef>
                <a:spcPts val="0"/>
              </a:spcBef>
              <a:buNone/>
              <a:defRPr sz="3000" b="1">
                <a:solidFill>
                  <a:schemeClr val="bg1"/>
                </a:solidFill>
              </a:defRPr>
            </a:lvl5pPr>
          </a:lstStyle>
          <a:p>
            <a:pPr lvl="0"/>
            <a:r>
              <a:rPr lang="de-DE"/>
              <a:t>Titelfolie (max. 2-zeilig)</a:t>
            </a:r>
          </a:p>
        </p:txBody>
      </p:sp>
      <p:sp>
        <p:nvSpPr>
          <p:cNvPr id="46" name="Textplatzhalter 45">
            <a:extLst>
              <a:ext uri="{FF2B5EF4-FFF2-40B4-BE49-F238E27FC236}">
                <a16:creationId xmlns:a16="http://schemas.microsoft.com/office/drawing/2014/main" id="{502B336E-2768-432F-A8DB-0FB505A7D87D}"/>
              </a:ext>
            </a:extLst>
          </p:cNvPr>
          <p:cNvSpPr>
            <a:spLocks noGrp="1"/>
          </p:cNvSpPr>
          <p:nvPr>
            <p:ph type="body" sz="quarter" idx="17" hasCustomPrompt="1"/>
          </p:nvPr>
        </p:nvSpPr>
        <p:spPr bwMode="gray">
          <a:xfrm>
            <a:off x="9563898" y="409422"/>
            <a:ext cx="2014538" cy="608013"/>
          </a:xfrm>
          <a:blipFill>
            <a:blip r:embed="rId2" cstate="screen">
              <a:extLst>
                <a:ext uri="{28A0092B-C50C-407E-A947-70E740481C1C}">
                  <a14:useLocalDpi xmlns:a14="http://schemas.microsoft.com/office/drawing/2010/main"/>
                </a:ext>
              </a:extLst>
            </a:blip>
            <a:stretch>
              <a:fillRect/>
            </a:stretch>
          </a:blipFill>
        </p:spPr>
        <p:txBody>
          <a:bodyPr/>
          <a:lstStyle>
            <a:lvl1pPr marL="0" indent="0">
              <a:spcBef>
                <a:spcPts val="0"/>
              </a:spcBef>
              <a:spcAft>
                <a:spcPts val="0"/>
              </a:spcAft>
              <a:buFont typeface="Arial" panose="020B0604020202020204" pitchFamily="34" charset="0"/>
              <a:buNone/>
              <a:defRPr sz="100">
                <a:noFill/>
              </a:defRPr>
            </a:lvl1pPr>
            <a:lvl2pPr marL="0" indent="0">
              <a:spcBef>
                <a:spcPts val="0"/>
              </a:spcBef>
              <a:spcAft>
                <a:spcPts val="0"/>
              </a:spcAft>
              <a:buFont typeface="Arial" panose="020B0604020202020204" pitchFamily="34" charset="0"/>
              <a:buNone/>
              <a:defRPr sz="100">
                <a:noFill/>
              </a:defRPr>
            </a:lvl2pPr>
            <a:lvl3pPr marL="0" indent="0">
              <a:spcBef>
                <a:spcPts val="0"/>
              </a:spcBef>
              <a:spcAft>
                <a:spcPts val="0"/>
              </a:spcAft>
              <a:buFont typeface="Arial" panose="020B0604020202020204" pitchFamily="34" charset="0"/>
              <a:buNone/>
              <a:defRPr sz="100">
                <a:noFill/>
              </a:defRPr>
            </a:lvl3pPr>
            <a:lvl4pPr marL="0" indent="0">
              <a:spcBef>
                <a:spcPts val="0"/>
              </a:spcBef>
              <a:spcAft>
                <a:spcPts val="0"/>
              </a:spcAft>
              <a:buFont typeface="Arial" panose="020B0604020202020204" pitchFamily="34" charset="0"/>
              <a:buNone/>
              <a:defRPr sz="100">
                <a:noFill/>
              </a:defRPr>
            </a:lvl4pPr>
            <a:lvl5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
                <a:noFill/>
              </a:defRPr>
            </a:lvl5pPr>
            <a:lvl6pPr marL="360000" indent="0">
              <a:spcBef>
                <a:spcPts val="0"/>
              </a:spcBef>
              <a:spcAft>
                <a:spcPts val="0"/>
              </a:spcAft>
              <a:buFontTx/>
              <a:buNone/>
              <a:defRPr/>
            </a:lvl6pPr>
            <a:lvl7pPr marL="0" indent="0">
              <a:spcBef>
                <a:spcPts val="0"/>
              </a:spcBef>
              <a:spcAft>
                <a:spcPts val="0"/>
              </a:spcAft>
              <a:buNone/>
              <a:defRPr/>
            </a:lvl7pPr>
            <a:lvl8pPr marL="0" indent="0">
              <a:spcBef>
                <a:spcPts val="0"/>
              </a:spcBef>
              <a:spcAft>
                <a:spcPts val="0"/>
              </a:spcAft>
              <a:buNone/>
              <a:defRPr/>
            </a:lvl8pPr>
            <a:lvl9pPr marL="0" indent="0">
              <a:spcBef>
                <a:spcPts val="0"/>
              </a:spcBef>
              <a:spcAft>
                <a:spcPts val="0"/>
              </a:spcAft>
              <a:buNone/>
              <a:defRPr/>
            </a:lvl9pPr>
          </a:lstStyle>
          <a:p>
            <a:pPr lvl="0"/>
            <a:r>
              <a:rPr lang="de-DE"/>
              <a:t>x</a:t>
            </a:r>
          </a:p>
        </p:txBody>
      </p:sp>
      <p:sp>
        <p:nvSpPr>
          <p:cNvPr id="3" name="Textplatzhalter 2">
            <a:extLst>
              <a:ext uri="{FF2B5EF4-FFF2-40B4-BE49-F238E27FC236}">
                <a16:creationId xmlns:a16="http://schemas.microsoft.com/office/drawing/2014/main" id="{89882944-3099-4B0B-86B2-03CF51C1E27F}"/>
              </a:ext>
            </a:extLst>
          </p:cNvPr>
          <p:cNvSpPr>
            <a:spLocks noGrp="1"/>
          </p:cNvSpPr>
          <p:nvPr>
            <p:ph type="body" sz="quarter" idx="18"/>
          </p:nvPr>
        </p:nvSpPr>
        <p:spPr bwMode="gray">
          <a:xfrm>
            <a:off x="630000" y="6329316"/>
            <a:ext cx="1789200" cy="198000"/>
          </a:xfrm>
          <a:blipFill>
            <a:blip r:embed="rId3"/>
            <a:stretch>
              <a:fillRect/>
            </a:stretch>
          </a:blipFill>
        </p:spPr>
        <p:txBody>
          <a:bodyPr/>
          <a:lstStyle>
            <a:lvl1pPr>
              <a:defRPr sz="100">
                <a:noFill/>
              </a:defRPr>
            </a:lvl1pPr>
          </a:lstStyle>
          <a:p>
            <a:pPr lvl="0"/>
            <a:r>
              <a:rPr lang="de-DE"/>
              <a:t>Mastertextformat bearbeiten</a:t>
            </a:r>
          </a:p>
        </p:txBody>
      </p:sp>
      <p:sp>
        <p:nvSpPr>
          <p:cNvPr id="4" name="Textplatzhalter 3">
            <a:extLst>
              <a:ext uri="{FF2B5EF4-FFF2-40B4-BE49-F238E27FC236}">
                <a16:creationId xmlns:a16="http://schemas.microsoft.com/office/drawing/2014/main" id="{E1B7D21C-9956-4F89-AA73-D6897EEE2B60}"/>
              </a:ext>
            </a:extLst>
          </p:cNvPr>
          <p:cNvSpPr>
            <a:spLocks noGrp="1"/>
          </p:cNvSpPr>
          <p:nvPr>
            <p:ph type="body" sz="quarter" idx="19" hasCustomPrompt="1"/>
          </p:nvPr>
        </p:nvSpPr>
        <p:spPr bwMode="gray">
          <a:xfrm>
            <a:off x="1030048" y="984854"/>
            <a:ext cx="6481588" cy="246221"/>
          </a:xfrm>
        </p:spPr>
        <p:txBody>
          <a:bodyPr anchor="b" anchorCtr="0">
            <a:spAutoFit/>
          </a:bodyPr>
          <a:lstStyle>
            <a:lvl1pPr>
              <a:spcBef>
                <a:spcPts val="0"/>
              </a:spcBef>
              <a:defRPr sz="1600" b="1">
                <a:solidFill>
                  <a:schemeClr val="accent2"/>
                </a:solidFill>
              </a:defRPr>
            </a:lvl1pPr>
          </a:lstStyle>
          <a:p>
            <a:pPr lvl="0"/>
            <a:r>
              <a:rPr lang="de-DE"/>
              <a:t>Name Kunde / Veranstaltung</a:t>
            </a:r>
          </a:p>
        </p:txBody>
      </p:sp>
      <p:sp>
        <p:nvSpPr>
          <p:cNvPr id="10" name="Textplatzhalter 3">
            <a:extLst>
              <a:ext uri="{FF2B5EF4-FFF2-40B4-BE49-F238E27FC236}">
                <a16:creationId xmlns:a16="http://schemas.microsoft.com/office/drawing/2014/main" id="{A72896F1-3FAF-4424-BD5C-93438D4E2E50}"/>
              </a:ext>
            </a:extLst>
          </p:cNvPr>
          <p:cNvSpPr>
            <a:spLocks noGrp="1"/>
          </p:cNvSpPr>
          <p:nvPr>
            <p:ph type="body" sz="quarter" idx="20" hasCustomPrompt="1"/>
          </p:nvPr>
        </p:nvSpPr>
        <p:spPr bwMode="gray">
          <a:xfrm>
            <a:off x="1030048" y="2500031"/>
            <a:ext cx="6481588" cy="246221"/>
          </a:xfrm>
        </p:spPr>
        <p:txBody>
          <a:bodyPr anchor="b" anchorCtr="0">
            <a:spAutoFit/>
          </a:bodyPr>
          <a:lstStyle>
            <a:lvl1pPr>
              <a:spcBef>
                <a:spcPts val="0"/>
              </a:spcBef>
              <a:defRPr sz="1600" b="0">
                <a:solidFill>
                  <a:schemeClr val="bg1"/>
                </a:solidFill>
              </a:defRPr>
            </a:lvl1pPr>
          </a:lstStyle>
          <a:p>
            <a:pPr lvl="0"/>
            <a:r>
              <a:rPr lang="de-DE"/>
              <a:t>Ort, Datum – Referent Vorname Name</a:t>
            </a:r>
          </a:p>
        </p:txBody>
      </p:sp>
      <p:sp>
        <p:nvSpPr>
          <p:cNvPr id="11" name="Textplatzhalter 3">
            <a:extLst>
              <a:ext uri="{FF2B5EF4-FFF2-40B4-BE49-F238E27FC236}">
                <a16:creationId xmlns:a16="http://schemas.microsoft.com/office/drawing/2014/main" id="{E6DB12D6-50EB-4AE2-8385-0E97F9F8DCD1}"/>
              </a:ext>
            </a:extLst>
          </p:cNvPr>
          <p:cNvSpPr>
            <a:spLocks noGrp="1"/>
          </p:cNvSpPr>
          <p:nvPr>
            <p:ph type="body" sz="quarter" idx="21" hasCustomPrompt="1"/>
          </p:nvPr>
        </p:nvSpPr>
        <p:spPr bwMode="gray">
          <a:xfrm>
            <a:off x="1030048" y="2852957"/>
            <a:ext cx="5760000" cy="184666"/>
          </a:xfrm>
        </p:spPr>
        <p:txBody>
          <a:bodyPr>
            <a:spAutoFit/>
          </a:bodyPr>
          <a:lstStyle>
            <a:lvl1pPr>
              <a:spcBef>
                <a:spcPts val="0"/>
              </a:spcBef>
              <a:defRPr sz="1200" b="0">
                <a:solidFill>
                  <a:schemeClr val="bg1"/>
                </a:solidFill>
              </a:defRPr>
            </a:lvl1pPr>
          </a:lstStyle>
          <a:p>
            <a:pPr lvl="0"/>
            <a:r>
              <a:rPr lang="de-DE"/>
              <a:t>Vertraulichkeitshinweis durch Klicken bearbeiten</a:t>
            </a:r>
          </a:p>
        </p:txBody>
      </p:sp>
    </p:spTree>
    <p:extLst>
      <p:ext uri="{BB962C8B-B14F-4D97-AF65-F5344CB8AC3E}">
        <p14:creationId xmlns:p14="http://schemas.microsoft.com/office/powerpoint/2010/main" val="1902944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itelfolie mit vollflächigem Bild und negativ Logo">
    <p:spTree>
      <p:nvGrpSpPr>
        <p:cNvPr id="1" name=""/>
        <p:cNvGrpSpPr/>
        <p:nvPr/>
      </p:nvGrpSpPr>
      <p:grpSpPr>
        <a:xfrm>
          <a:off x="0" y="0"/>
          <a:ext cx="0" cy="0"/>
          <a:chOff x="0" y="0"/>
          <a:chExt cx="0" cy="0"/>
        </a:xfrm>
      </p:grpSpPr>
      <p:sp>
        <p:nvSpPr>
          <p:cNvPr id="40" name="Bildplatzhalter 36">
            <a:extLst>
              <a:ext uri="{FF2B5EF4-FFF2-40B4-BE49-F238E27FC236}">
                <a16:creationId xmlns:a16="http://schemas.microsoft.com/office/drawing/2014/main" id="{4870B9C8-84BA-4064-8D52-EB6D8BB2C906}"/>
              </a:ext>
            </a:extLst>
          </p:cNvPr>
          <p:cNvSpPr>
            <a:spLocks noGrp="1"/>
          </p:cNvSpPr>
          <p:nvPr>
            <p:ph type="pic" sz="quarter" idx="14" hasCustomPrompt="1"/>
          </p:nvPr>
        </p:nvSpPr>
        <p:spPr bwMode="gray">
          <a:xfrm>
            <a:off x="0" y="-1"/>
            <a:ext cx="12196763" cy="6858000"/>
          </a:xfrm>
          <a:prstGeom prst="rect">
            <a:avLst/>
          </a:prstGeom>
          <a:pattFill prst="pct20">
            <a:fgClr>
              <a:schemeClr val="accent3"/>
            </a:fgClr>
            <a:bgClr>
              <a:schemeClr val="bg1"/>
            </a:bgClr>
          </a:pattFill>
        </p:spPr>
        <p:txBody>
          <a:bodyPr vert="horz" wrap="square" lIns="2520000" tIns="72000" rIns="72000" bIns="72000" rtlCol="0" anchor="b">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1600" b="0" baseline="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a:t>Um ein Hintergrundbild einzufügen, markieren Sie bitte den Platzhalter und wählen entweder ein Bild aus der </a:t>
            </a:r>
            <a:r>
              <a:rPr lang="de-DE" err="1"/>
              <a:t>empower</a:t>
            </a:r>
            <a:r>
              <a:rPr lang="de-DE"/>
              <a:t> Bibliothek oder über den Reiter „Einfügen“, „Bilder“ aus. Dieses Layout steht in zwei Varianten zur Verfügung: mit positivem und negativem Partnerlogo. Bitte wählen Sie das Layout aus, welches den bestmöglichen Kontrast zwischen Bild und Logo erzeugt.</a:t>
            </a:r>
          </a:p>
        </p:txBody>
      </p:sp>
      <p:sp>
        <p:nvSpPr>
          <p:cNvPr id="46" name="Textplatzhalter 45">
            <a:extLst>
              <a:ext uri="{FF2B5EF4-FFF2-40B4-BE49-F238E27FC236}">
                <a16:creationId xmlns:a16="http://schemas.microsoft.com/office/drawing/2014/main" id="{502B336E-2768-432F-A8DB-0FB505A7D87D}"/>
              </a:ext>
            </a:extLst>
          </p:cNvPr>
          <p:cNvSpPr>
            <a:spLocks noGrp="1"/>
          </p:cNvSpPr>
          <p:nvPr>
            <p:ph type="body" sz="quarter" idx="17" hasCustomPrompt="1"/>
          </p:nvPr>
        </p:nvSpPr>
        <p:spPr bwMode="gray">
          <a:xfrm>
            <a:off x="630000" y="409422"/>
            <a:ext cx="2014538" cy="608013"/>
          </a:xfrm>
          <a:blipFill>
            <a:blip r:embed="rId2" cstate="screen">
              <a:extLst>
                <a:ext uri="{28A0092B-C50C-407E-A947-70E740481C1C}">
                  <a14:useLocalDpi xmlns:a14="http://schemas.microsoft.com/office/drawing/2010/main"/>
                </a:ext>
              </a:extLst>
            </a:blip>
            <a:stretch>
              <a:fillRect/>
            </a:stretch>
          </a:blipFill>
        </p:spPr>
        <p:txBody>
          <a:bodyPr/>
          <a:lstStyle>
            <a:lvl1pPr marL="0" indent="0">
              <a:spcBef>
                <a:spcPts val="0"/>
              </a:spcBef>
              <a:spcAft>
                <a:spcPts val="0"/>
              </a:spcAft>
              <a:buFont typeface="Arial" panose="020B0604020202020204" pitchFamily="34" charset="0"/>
              <a:buNone/>
              <a:defRPr sz="100">
                <a:noFill/>
              </a:defRPr>
            </a:lvl1pPr>
            <a:lvl2pPr marL="0" indent="0">
              <a:spcBef>
                <a:spcPts val="0"/>
              </a:spcBef>
              <a:spcAft>
                <a:spcPts val="0"/>
              </a:spcAft>
              <a:buFont typeface="Arial" panose="020B0604020202020204" pitchFamily="34" charset="0"/>
              <a:buNone/>
              <a:defRPr sz="100">
                <a:noFill/>
              </a:defRPr>
            </a:lvl2pPr>
            <a:lvl3pPr marL="0" indent="0">
              <a:spcBef>
                <a:spcPts val="0"/>
              </a:spcBef>
              <a:spcAft>
                <a:spcPts val="0"/>
              </a:spcAft>
              <a:buFont typeface="Arial" panose="020B0604020202020204" pitchFamily="34" charset="0"/>
              <a:buNone/>
              <a:defRPr sz="100">
                <a:noFill/>
              </a:defRPr>
            </a:lvl3pPr>
            <a:lvl4pPr marL="0" indent="0">
              <a:spcBef>
                <a:spcPts val="0"/>
              </a:spcBef>
              <a:spcAft>
                <a:spcPts val="0"/>
              </a:spcAft>
              <a:buFont typeface="Arial" panose="020B0604020202020204" pitchFamily="34" charset="0"/>
              <a:buNone/>
              <a:defRPr sz="100">
                <a:noFill/>
              </a:defRPr>
            </a:lvl4pPr>
            <a:lvl5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
                <a:noFill/>
              </a:defRPr>
            </a:lvl5pPr>
            <a:lvl6pPr marL="360000" indent="0">
              <a:spcBef>
                <a:spcPts val="0"/>
              </a:spcBef>
              <a:spcAft>
                <a:spcPts val="0"/>
              </a:spcAft>
              <a:buFontTx/>
              <a:buNone/>
              <a:defRPr/>
            </a:lvl6pPr>
            <a:lvl7pPr marL="0" indent="0">
              <a:spcBef>
                <a:spcPts val="0"/>
              </a:spcBef>
              <a:spcAft>
                <a:spcPts val="0"/>
              </a:spcAft>
              <a:buNone/>
              <a:defRPr/>
            </a:lvl7pPr>
            <a:lvl8pPr marL="0" indent="0">
              <a:spcBef>
                <a:spcPts val="0"/>
              </a:spcBef>
              <a:spcAft>
                <a:spcPts val="0"/>
              </a:spcAft>
              <a:buNone/>
              <a:defRPr/>
            </a:lvl8pPr>
            <a:lvl9pPr marL="0" indent="0">
              <a:spcBef>
                <a:spcPts val="0"/>
              </a:spcBef>
              <a:spcAft>
                <a:spcPts val="0"/>
              </a:spcAft>
              <a:buNone/>
              <a:defRPr/>
            </a:lvl9pPr>
          </a:lstStyle>
          <a:p>
            <a:pPr lvl="0"/>
            <a:r>
              <a:rPr lang="de-DE"/>
              <a:t>x</a:t>
            </a:r>
          </a:p>
        </p:txBody>
      </p:sp>
      <p:sp>
        <p:nvSpPr>
          <p:cNvPr id="9" name="Textplatzhalter 2">
            <a:extLst>
              <a:ext uri="{FF2B5EF4-FFF2-40B4-BE49-F238E27FC236}">
                <a16:creationId xmlns:a16="http://schemas.microsoft.com/office/drawing/2014/main" id="{81D4B7A0-3950-46BA-B387-3F42017A93A9}"/>
              </a:ext>
            </a:extLst>
          </p:cNvPr>
          <p:cNvSpPr>
            <a:spLocks noGrp="1"/>
          </p:cNvSpPr>
          <p:nvPr>
            <p:ph type="body" sz="quarter" idx="18"/>
          </p:nvPr>
        </p:nvSpPr>
        <p:spPr bwMode="gray">
          <a:xfrm>
            <a:off x="630000" y="6329316"/>
            <a:ext cx="1789200" cy="198000"/>
          </a:xfrm>
          <a:blipFill>
            <a:blip r:embed="rId3"/>
            <a:stretch>
              <a:fillRect/>
            </a:stretch>
          </a:blipFill>
        </p:spPr>
        <p:txBody>
          <a:bodyPr/>
          <a:lstStyle>
            <a:lvl1pPr>
              <a:defRPr sz="100">
                <a:noFill/>
              </a:defRPr>
            </a:lvl1pPr>
          </a:lstStyle>
          <a:p>
            <a:pPr lvl="0"/>
            <a:r>
              <a:rPr lang="de-DE"/>
              <a:t>Mastertextformat bearbeiten</a:t>
            </a:r>
          </a:p>
        </p:txBody>
      </p:sp>
      <p:sp>
        <p:nvSpPr>
          <p:cNvPr id="38" name="Textplatzhalter 37">
            <a:extLst>
              <a:ext uri="{FF2B5EF4-FFF2-40B4-BE49-F238E27FC236}">
                <a16:creationId xmlns:a16="http://schemas.microsoft.com/office/drawing/2014/main" id="{D8424B1A-AED2-4D57-A7C4-56820EB3B910}"/>
              </a:ext>
            </a:extLst>
          </p:cNvPr>
          <p:cNvSpPr>
            <a:spLocks noGrp="1" noChangeAspect="1"/>
          </p:cNvSpPr>
          <p:nvPr>
            <p:ph type="body" sz="quarter" idx="31" hasCustomPrompt="1"/>
          </p:nvPr>
        </p:nvSpPr>
        <p:spPr bwMode="gray">
          <a:xfrm rot="10800000" flipH="1" flipV="1">
            <a:off x="6105117" y="1016947"/>
            <a:ext cx="5678388" cy="4824104"/>
          </a:xfrm>
          <a:custGeom>
            <a:avLst/>
            <a:gdLst>
              <a:gd name="connsiteX0" fmla="*/ 826519 w 5678388"/>
              <a:gd name="connsiteY0" fmla="*/ 4822598 h 4824104"/>
              <a:gd name="connsiteX1" fmla="*/ 0 w 5678388"/>
              <a:gd name="connsiteY1" fmla="*/ 4050794 h 4824104"/>
              <a:gd name="connsiteX2" fmla="*/ 0 w 5678388"/>
              <a:gd name="connsiteY2" fmla="*/ 3078968 h 4824104"/>
              <a:gd name="connsiteX3" fmla="*/ 0 w 5678388"/>
              <a:gd name="connsiteY3" fmla="*/ 2945586 h 4824104"/>
              <a:gd name="connsiteX4" fmla="*/ 0 w 5678388"/>
              <a:gd name="connsiteY4" fmla="*/ 2938350 h 4824104"/>
              <a:gd name="connsiteX5" fmla="*/ 0 w 5678388"/>
              <a:gd name="connsiteY5" fmla="*/ 2893100 h 4824104"/>
              <a:gd name="connsiteX6" fmla="*/ 0 w 5678388"/>
              <a:gd name="connsiteY6" fmla="*/ 2786888 h 4824104"/>
              <a:gd name="connsiteX7" fmla="*/ 0 w 5678388"/>
              <a:gd name="connsiteY7" fmla="*/ 2732179 h 4824104"/>
              <a:gd name="connsiteX8" fmla="*/ 0 w 5678388"/>
              <a:gd name="connsiteY8" fmla="*/ 2646270 h 4824104"/>
              <a:gd name="connsiteX9" fmla="*/ 0 w 5678388"/>
              <a:gd name="connsiteY9" fmla="*/ 2643017 h 4824104"/>
              <a:gd name="connsiteX10" fmla="*/ 0 w 5678388"/>
              <a:gd name="connsiteY10" fmla="*/ 2607497 h 4824104"/>
              <a:gd name="connsiteX11" fmla="*/ 0 w 5678388"/>
              <a:gd name="connsiteY11" fmla="*/ 2473167 h 4824104"/>
              <a:gd name="connsiteX12" fmla="*/ 0 w 5678388"/>
              <a:gd name="connsiteY12" fmla="*/ 2350937 h 4824104"/>
              <a:gd name="connsiteX13" fmla="*/ 0 w 5678388"/>
              <a:gd name="connsiteY13" fmla="*/ 2216607 h 4824104"/>
              <a:gd name="connsiteX14" fmla="*/ 0 w 5678388"/>
              <a:gd name="connsiteY14" fmla="*/ 2181087 h 4824104"/>
              <a:gd name="connsiteX15" fmla="*/ 0 w 5678388"/>
              <a:gd name="connsiteY15" fmla="*/ 2177834 h 4824104"/>
              <a:gd name="connsiteX16" fmla="*/ 0 w 5678388"/>
              <a:gd name="connsiteY16" fmla="*/ 2103762 h 4824104"/>
              <a:gd name="connsiteX17" fmla="*/ 0 w 5678388"/>
              <a:gd name="connsiteY17" fmla="*/ 2091925 h 4824104"/>
              <a:gd name="connsiteX18" fmla="*/ 0 w 5678388"/>
              <a:gd name="connsiteY18" fmla="*/ 2037216 h 4824104"/>
              <a:gd name="connsiteX19" fmla="*/ 0 w 5678388"/>
              <a:gd name="connsiteY19" fmla="*/ 1885754 h 4824104"/>
              <a:gd name="connsiteX20" fmla="*/ 0 w 5678388"/>
              <a:gd name="connsiteY20" fmla="*/ 1878518 h 4824104"/>
              <a:gd name="connsiteX21" fmla="*/ 0 w 5678388"/>
              <a:gd name="connsiteY21" fmla="*/ 1745136 h 4824104"/>
              <a:gd name="connsiteX22" fmla="*/ 0 w 5678388"/>
              <a:gd name="connsiteY22" fmla="*/ 946068 h 4824104"/>
              <a:gd name="connsiteX23" fmla="*/ 4675300 w 5678388"/>
              <a:gd name="connsiteY23" fmla="*/ 21604 h 4824104"/>
              <a:gd name="connsiteX24" fmla="*/ 5678388 w 5678388"/>
              <a:gd name="connsiteY24" fmla="*/ 773310 h 4824104"/>
              <a:gd name="connsiteX25" fmla="*/ 5678388 w 5678388"/>
              <a:gd name="connsiteY25" fmla="*/ 1745136 h 4824104"/>
              <a:gd name="connsiteX26" fmla="*/ 5678388 w 5678388"/>
              <a:gd name="connsiteY26" fmla="*/ 1878518 h 4824104"/>
              <a:gd name="connsiteX27" fmla="*/ 5678388 w 5678388"/>
              <a:gd name="connsiteY27" fmla="*/ 1885754 h 4824104"/>
              <a:gd name="connsiteX28" fmla="*/ 5678388 w 5678388"/>
              <a:gd name="connsiteY28" fmla="*/ 1931004 h 4824104"/>
              <a:gd name="connsiteX29" fmla="*/ 5678388 w 5678388"/>
              <a:gd name="connsiteY29" fmla="*/ 2037216 h 4824104"/>
              <a:gd name="connsiteX30" fmla="*/ 5678388 w 5678388"/>
              <a:gd name="connsiteY30" fmla="*/ 2091925 h 4824104"/>
              <a:gd name="connsiteX31" fmla="*/ 5678388 w 5678388"/>
              <a:gd name="connsiteY31" fmla="*/ 2177834 h 4824104"/>
              <a:gd name="connsiteX32" fmla="*/ 5678388 w 5678388"/>
              <a:gd name="connsiteY32" fmla="*/ 2181087 h 4824104"/>
              <a:gd name="connsiteX33" fmla="*/ 5678388 w 5678388"/>
              <a:gd name="connsiteY33" fmla="*/ 2216607 h 4824104"/>
              <a:gd name="connsiteX34" fmla="*/ 5678388 w 5678388"/>
              <a:gd name="connsiteY34" fmla="*/ 2350937 h 4824104"/>
              <a:gd name="connsiteX35" fmla="*/ 5678388 w 5678388"/>
              <a:gd name="connsiteY35" fmla="*/ 2473167 h 4824104"/>
              <a:gd name="connsiteX36" fmla="*/ 5678388 w 5678388"/>
              <a:gd name="connsiteY36" fmla="*/ 2607497 h 4824104"/>
              <a:gd name="connsiteX37" fmla="*/ 5678388 w 5678388"/>
              <a:gd name="connsiteY37" fmla="*/ 2643017 h 4824104"/>
              <a:gd name="connsiteX38" fmla="*/ 5678388 w 5678388"/>
              <a:gd name="connsiteY38" fmla="*/ 2646270 h 4824104"/>
              <a:gd name="connsiteX39" fmla="*/ 5678388 w 5678388"/>
              <a:gd name="connsiteY39" fmla="*/ 2720342 h 4824104"/>
              <a:gd name="connsiteX40" fmla="*/ 5678388 w 5678388"/>
              <a:gd name="connsiteY40" fmla="*/ 2732179 h 4824104"/>
              <a:gd name="connsiteX41" fmla="*/ 5678388 w 5678388"/>
              <a:gd name="connsiteY41" fmla="*/ 2786888 h 4824104"/>
              <a:gd name="connsiteX42" fmla="*/ 5678388 w 5678388"/>
              <a:gd name="connsiteY42" fmla="*/ 2938350 h 4824104"/>
              <a:gd name="connsiteX43" fmla="*/ 5678388 w 5678388"/>
              <a:gd name="connsiteY43" fmla="*/ 2945586 h 4824104"/>
              <a:gd name="connsiteX44" fmla="*/ 5678388 w 5678388"/>
              <a:gd name="connsiteY44" fmla="*/ 3078968 h 4824104"/>
              <a:gd name="connsiteX45" fmla="*/ 5678388 w 5678388"/>
              <a:gd name="connsiteY45" fmla="*/ 3878036 h 4824104"/>
              <a:gd name="connsiteX46" fmla="*/ 1003088 w 5678388"/>
              <a:gd name="connsiteY46" fmla="*/ 4802500 h 4824104"/>
              <a:gd name="connsiteX47" fmla="*/ 826519 w 5678388"/>
              <a:gd name="connsiteY47" fmla="*/ 4822598 h 482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678388" h="4824104">
                <a:moveTo>
                  <a:pt x="826519" y="4822598"/>
                </a:moveTo>
                <a:cubicBezTo>
                  <a:pt x="0" y="4863684"/>
                  <a:pt x="0" y="4050794"/>
                  <a:pt x="0" y="4050794"/>
                </a:cubicBezTo>
                <a:lnTo>
                  <a:pt x="0" y="3078968"/>
                </a:lnTo>
                <a:lnTo>
                  <a:pt x="0" y="2945586"/>
                </a:lnTo>
                <a:lnTo>
                  <a:pt x="0" y="2938350"/>
                </a:lnTo>
                <a:lnTo>
                  <a:pt x="0" y="2893100"/>
                </a:lnTo>
                <a:lnTo>
                  <a:pt x="0" y="2786888"/>
                </a:lnTo>
                <a:lnTo>
                  <a:pt x="0" y="2732179"/>
                </a:lnTo>
                <a:lnTo>
                  <a:pt x="0" y="2646270"/>
                </a:lnTo>
                <a:lnTo>
                  <a:pt x="0" y="2643017"/>
                </a:lnTo>
                <a:lnTo>
                  <a:pt x="0" y="2607497"/>
                </a:lnTo>
                <a:lnTo>
                  <a:pt x="0" y="2473167"/>
                </a:lnTo>
                <a:lnTo>
                  <a:pt x="0" y="2350937"/>
                </a:lnTo>
                <a:lnTo>
                  <a:pt x="0" y="2216607"/>
                </a:lnTo>
                <a:lnTo>
                  <a:pt x="0" y="2181087"/>
                </a:lnTo>
                <a:lnTo>
                  <a:pt x="0" y="2177834"/>
                </a:lnTo>
                <a:lnTo>
                  <a:pt x="0" y="2103762"/>
                </a:lnTo>
                <a:lnTo>
                  <a:pt x="0" y="2091925"/>
                </a:lnTo>
                <a:lnTo>
                  <a:pt x="0" y="2037216"/>
                </a:lnTo>
                <a:lnTo>
                  <a:pt x="0" y="1885754"/>
                </a:lnTo>
                <a:lnTo>
                  <a:pt x="0" y="1878518"/>
                </a:lnTo>
                <a:lnTo>
                  <a:pt x="0" y="1745136"/>
                </a:lnTo>
                <a:lnTo>
                  <a:pt x="0" y="946068"/>
                </a:lnTo>
                <a:lnTo>
                  <a:pt x="4675300" y="21604"/>
                </a:lnTo>
                <a:cubicBezTo>
                  <a:pt x="5678388" y="-151578"/>
                  <a:pt x="5678388" y="773310"/>
                  <a:pt x="5678388" y="773310"/>
                </a:cubicBezTo>
                <a:lnTo>
                  <a:pt x="5678388" y="1745136"/>
                </a:lnTo>
                <a:lnTo>
                  <a:pt x="5678388" y="1878518"/>
                </a:lnTo>
                <a:lnTo>
                  <a:pt x="5678388" y="1885754"/>
                </a:lnTo>
                <a:lnTo>
                  <a:pt x="5678388" y="1931004"/>
                </a:lnTo>
                <a:lnTo>
                  <a:pt x="5678388" y="2037216"/>
                </a:lnTo>
                <a:lnTo>
                  <a:pt x="5678388" y="2091925"/>
                </a:lnTo>
                <a:lnTo>
                  <a:pt x="5678388" y="2177834"/>
                </a:lnTo>
                <a:lnTo>
                  <a:pt x="5678388" y="2181087"/>
                </a:lnTo>
                <a:lnTo>
                  <a:pt x="5678388" y="2216607"/>
                </a:lnTo>
                <a:lnTo>
                  <a:pt x="5678388" y="2350937"/>
                </a:lnTo>
                <a:lnTo>
                  <a:pt x="5678388" y="2473167"/>
                </a:lnTo>
                <a:lnTo>
                  <a:pt x="5678388" y="2607497"/>
                </a:lnTo>
                <a:lnTo>
                  <a:pt x="5678388" y="2643017"/>
                </a:lnTo>
                <a:lnTo>
                  <a:pt x="5678388" y="2646270"/>
                </a:lnTo>
                <a:lnTo>
                  <a:pt x="5678388" y="2720342"/>
                </a:lnTo>
                <a:lnTo>
                  <a:pt x="5678388" y="2732179"/>
                </a:lnTo>
                <a:lnTo>
                  <a:pt x="5678388" y="2786888"/>
                </a:lnTo>
                <a:lnTo>
                  <a:pt x="5678388" y="2938350"/>
                </a:lnTo>
                <a:lnTo>
                  <a:pt x="5678388" y="2945586"/>
                </a:lnTo>
                <a:lnTo>
                  <a:pt x="5678388" y="3078968"/>
                </a:lnTo>
                <a:lnTo>
                  <a:pt x="5678388" y="3878036"/>
                </a:lnTo>
                <a:lnTo>
                  <a:pt x="1003088" y="4802500"/>
                </a:lnTo>
                <a:cubicBezTo>
                  <a:pt x="940395" y="4813324"/>
                  <a:pt x="881620" y="4819858"/>
                  <a:pt x="826519" y="4822598"/>
                </a:cubicBezTo>
                <a:close/>
              </a:path>
            </a:pathLst>
          </a:custGeom>
          <a:solidFill>
            <a:schemeClr val="tx2">
              <a:alpha val="89000"/>
            </a:schemeClr>
          </a:solidFill>
        </p:spPr>
        <p:txBody>
          <a:bodyPr wrap="square" lIns="324000" tIns="1548000" rIns="324000">
            <a:noAutofit/>
          </a:bodyPr>
          <a:lstStyle>
            <a:lvl1pPr>
              <a:spcBef>
                <a:spcPts val="0"/>
              </a:spcBef>
              <a:defRPr sz="30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a:t>Titelfolie (max. 3-zeilig)</a:t>
            </a:r>
          </a:p>
        </p:txBody>
      </p:sp>
      <p:sp>
        <p:nvSpPr>
          <p:cNvPr id="10" name="Textplatzhalter 3">
            <a:extLst>
              <a:ext uri="{FF2B5EF4-FFF2-40B4-BE49-F238E27FC236}">
                <a16:creationId xmlns:a16="http://schemas.microsoft.com/office/drawing/2014/main" id="{D8A1C109-9037-4034-9C00-6A16153E6834}"/>
              </a:ext>
            </a:extLst>
          </p:cNvPr>
          <p:cNvSpPr>
            <a:spLocks noGrp="1"/>
          </p:cNvSpPr>
          <p:nvPr>
            <p:ph type="body" sz="quarter" idx="20" hasCustomPrompt="1"/>
          </p:nvPr>
        </p:nvSpPr>
        <p:spPr bwMode="gray">
          <a:xfrm>
            <a:off x="6425504" y="2192887"/>
            <a:ext cx="5148000" cy="246221"/>
          </a:xfrm>
        </p:spPr>
        <p:txBody>
          <a:bodyPr anchor="b" anchorCtr="0">
            <a:spAutoFit/>
          </a:bodyPr>
          <a:lstStyle>
            <a:lvl1pPr>
              <a:spcBef>
                <a:spcPts val="0"/>
              </a:spcBef>
              <a:defRPr sz="1600" b="1">
                <a:solidFill>
                  <a:schemeClr val="accent2"/>
                </a:solidFill>
              </a:defRPr>
            </a:lvl1pPr>
          </a:lstStyle>
          <a:p>
            <a:pPr lvl="0"/>
            <a:r>
              <a:rPr lang="de-DE"/>
              <a:t>Name Kunde / Veranstaltung</a:t>
            </a:r>
          </a:p>
        </p:txBody>
      </p:sp>
      <p:sp>
        <p:nvSpPr>
          <p:cNvPr id="11" name="Textplatzhalter 3">
            <a:extLst>
              <a:ext uri="{FF2B5EF4-FFF2-40B4-BE49-F238E27FC236}">
                <a16:creationId xmlns:a16="http://schemas.microsoft.com/office/drawing/2014/main" id="{A3F31BC7-33D5-49A1-B782-C99EDC77468A}"/>
              </a:ext>
            </a:extLst>
          </p:cNvPr>
          <p:cNvSpPr>
            <a:spLocks noGrp="1"/>
          </p:cNvSpPr>
          <p:nvPr>
            <p:ph type="body" sz="quarter" idx="21" hasCustomPrompt="1"/>
          </p:nvPr>
        </p:nvSpPr>
        <p:spPr bwMode="gray">
          <a:xfrm>
            <a:off x="6425504" y="4217681"/>
            <a:ext cx="5148000" cy="246221"/>
          </a:xfrm>
        </p:spPr>
        <p:txBody>
          <a:bodyPr anchor="b" anchorCtr="0">
            <a:spAutoFit/>
          </a:bodyPr>
          <a:lstStyle>
            <a:lvl1pPr>
              <a:spcBef>
                <a:spcPts val="0"/>
              </a:spcBef>
              <a:defRPr sz="1600" b="0">
                <a:solidFill>
                  <a:schemeClr val="bg1"/>
                </a:solidFill>
              </a:defRPr>
            </a:lvl1pPr>
          </a:lstStyle>
          <a:p>
            <a:pPr lvl="0"/>
            <a:r>
              <a:rPr lang="de-DE"/>
              <a:t>Ort, Datum – Referent Vorname Name</a:t>
            </a:r>
          </a:p>
        </p:txBody>
      </p:sp>
      <p:sp>
        <p:nvSpPr>
          <p:cNvPr id="12" name="Textplatzhalter 3">
            <a:extLst>
              <a:ext uri="{FF2B5EF4-FFF2-40B4-BE49-F238E27FC236}">
                <a16:creationId xmlns:a16="http://schemas.microsoft.com/office/drawing/2014/main" id="{199A5009-2ACA-44C9-AD06-067BCE20ECF0}"/>
              </a:ext>
            </a:extLst>
          </p:cNvPr>
          <p:cNvSpPr>
            <a:spLocks noGrp="1"/>
          </p:cNvSpPr>
          <p:nvPr>
            <p:ph type="body" sz="quarter" idx="22" hasCustomPrompt="1"/>
          </p:nvPr>
        </p:nvSpPr>
        <p:spPr bwMode="gray">
          <a:xfrm>
            <a:off x="6425504" y="4570607"/>
            <a:ext cx="5148000" cy="184666"/>
          </a:xfrm>
        </p:spPr>
        <p:txBody>
          <a:bodyPr>
            <a:spAutoFit/>
          </a:bodyPr>
          <a:lstStyle>
            <a:lvl1pPr>
              <a:spcBef>
                <a:spcPts val="0"/>
              </a:spcBef>
              <a:defRPr sz="1200" b="0">
                <a:solidFill>
                  <a:schemeClr val="bg1"/>
                </a:solidFill>
              </a:defRPr>
            </a:lvl1pPr>
          </a:lstStyle>
          <a:p>
            <a:pPr lvl="0"/>
            <a:r>
              <a:rPr lang="de-DE"/>
              <a:t>Vertraulichkeitshinweis durch Klicken bearbeiten</a:t>
            </a:r>
          </a:p>
        </p:txBody>
      </p:sp>
    </p:spTree>
    <p:extLst>
      <p:ext uri="{BB962C8B-B14F-4D97-AF65-F5344CB8AC3E}">
        <p14:creationId xmlns:p14="http://schemas.microsoft.com/office/powerpoint/2010/main" val="630100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Zweispaltig mit Markenform rechts 03">
    <p:spTree>
      <p:nvGrpSpPr>
        <p:cNvPr id="1" name=""/>
        <p:cNvGrpSpPr/>
        <p:nvPr/>
      </p:nvGrpSpPr>
      <p:grpSpPr>
        <a:xfrm>
          <a:off x="0" y="0"/>
          <a:ext cx="0" cy="0"/>
          <a:chOff x="0" y="0"/>
          <a:chExt cx="0" cy="0"/>
        </a:xfrm>
      </p:grpSpPr>
      <p:sp>
        <p:nvSpPr>
          <p:cNvPr id="16" name="Inhaltsplatzhalter 2"/>
          <p:cNvSpPr>
            <a:spLocks noGrp="1"/>
          </p:cNvSpPr>
          <p:nvPr>
            <p:ph sz="quarter" idx="24" hasCustomPrompt="1"/>
          </p:nvPr>
        </p:nvSpPr>
        <p:spPr bwMode="gray">
          <a:xfrm>
            <a:off x="409575" y="1412776"/>
            <a:ext cx="5472112" cy="4896445"/>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5" name="Textplatzhalter 3"/>
          <p:cNvSpPr>
            <a:spLocks noGrp="1"/>
          </p:cNvSpPr>
          <p:nvPr>
            <p:ph type="body" sz="quarter" idx="23" hasCustomPrompt="1"/>
          </p:nvPr>
        </p:nvSpPr>
        <p:spPr bwMode="gray">
          <a:xfrm>
            <a:off x="409575" y="6001543"/>
            <a:ext cx="5472224"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a:t>Quelle:</a:t>
            </a:r>
          </a:p>
        </p:txBody>
      </p:sp>
      <p:sp>
        <p:nvSpPr>
          <p:cNvPr id="14" name="Textplatzhalter 13">
            <a:extLst>
              <a:ext uri="{FF2B5EF4-FFF2-40B4-BE49-F238E27FC236}">
                <a16:creationId xmlns:a16="http://schemas.microsoft.com/office/drawing/2014/main" id="{79BB5B79-6419-4316-A447-A1CBD97E853A}"/>
              </a:ext>
            </a:extLst>
          </p:cNvPr>
          <p:cNvSpPr>
            <a:spLocks noGrp="1" noChangeAspect="1"/>
          </p:cNvSpPr>
          <p:nvPr>
            <p:ph type="body" sz="quarter" idx="30" hasCustomPrompt="1"/>
          </p:nvPr>
        </p:nvSpPr>
        <p:spPr bwMode="gray">
          <a:xfrm>
            <a:off x="6313611" y="1412776"/>
            <a:ext cx="5472112" cy="4896000"/>
          </a:xfrm>
          <a:custGeom>
            <a:avLst/>
            <a:gdLst>
              <a:gd name="connsiteX0" fmla="*/ 4676664 w 5473336"/>
              <a:gd name="connsiteY0" fmla="*/ 1448 h 4883744"/>
              <a:gd name="connsiteX1" fmla="*/ 5473336 w 5473336"/>
              <a:gd name="connsiteY1" fmla="*/ 743338 h 4883744"/>
              <a:gd name="connsiteX2" fmla="*/ 5473336 w 5473336"/>
              <a:gd name="connsiteY2" fmla="*/ 1633637 h 4883744"/>
              <a:gd name="connsiteX3" fmla="*/ 5473336 w 5473336"/>
              <a:gd name="connsiteY3" fmla="*/ 1674371 h 4883744"/>
              <a:gd name="connsiteX4" fmla="*/ 5473336 w 5473336"/>
              <a:gd name="connsiteY4" fmla="*/ 1677497 h 4883744"/>
              <a:gd name="connsiteX5" fmla="*/ 5473336 w 5473336"/>
              <a:gd name="connsiteY5" fmla="*/ 1812665 h 4883744"/>
              <a:gd name="connsiteX6" fmla="*/ 5473336 w 5473336"/>
              <a:gd name="connsiteY6" fmla="*/ 1856161 h 4883744"/>
              <a:gd name="connsiteX7" fmla="*/ 5473336 w 5473336"/>
              <a:gd name="connsiteY7" fmla="*/ 1958257 h 4883744"/>
              <a:gd name="connsiteX8" fmla="*/ 5473336 w 5473336"/>
              <a:gd name="connsiteY8" fmla="*/ 2093425 h 4883744"/>
              <a:gd name="connsiteX9" fmla="*/ 5473336 w 5473336"/>
              <a:gd name="connsiteY9" fmla="*/ 2096551 h 4883744"/>
              <a:gd name="connsiteX10" fmla="*/ 5473336 w 5473336"/>
              <a:gd name="connsiteY10" fmla="*/ 2377311 h 4883744"/>
              <a:gd name="connsiteX11" fmla="*/ 5473336 w 5473336"/>
              <a:gd name="connsiteY11" fmla="*/ 2506434 h 4883744"/>
              <a:gd name="connsiteX12" fmla="*/ 5473336 w 5473336"/>
              <a:gd name="connsiteY12" fmla="*/ 2787194 h 4883744"/>
              <a:gd name="connsiteX13" fmla="*/ 5473336 w 5473336"/>
              <a:gd name="connsiteY13" fmla="*/ 2790320 h 4883744"/>
              <a:gd name="connsiteX14" fmla="*/ 5473336 w 5473336"/>
              <a:gd name="connsiteY14" fmla="*/ 2861522 h 4883744"/>
              <a:gd name="connsiteX15" fmla="*/ 5473336 w 5473336"/>
              <a:gd name="connsiteY15" fmla="*/ 2925488 h 4883744"/>
              <a:gd name="connsiteX16" fmla="*/ 5473336 w 5473336"/>
              <a:gd name="connsiteY16" fmla="*/ 3071080 h 4883744"/>
              <a:gd name="connsiteX17" fmla="*/ 5473336 w 5473336"/>
              <a:gd name="connsiteY17" fmla="*/ 3078035 h 4883744"/>
              <a:gd name="connsiteX18" fmla="*/ 5473336 w 5473336"/>
              <a:gd name="connsiteY18" fmla="*/ 3206248 h 4883744"/>
              <a:gd name="connsiteX19" fmla="*/ 5473336 w 5473336"/>
              <a:gd name="connsiteY19" fmla="*/ 3974345 h 4883744"/>
              <a:gd name="connsiteX20" fmla="*/ 966865 w 5473336"/>
              <a:gd name="connsiteY20" fmla="*/ 4862978 h 4883744"/>
              <a:gd name="connsiteX21" fmla="*/ 0 w 5473336"/>
              <a:gd name="connsiteY21" fmla="*/ 4140407 h 4883744"/>
              <a:gd name="connsiteX22" fmla="*/ 0 w 5473336"/>
              <a:gd name="connsiteY22" fmla="*/ 3206248 h 4883744"/>
              <a:gd name="connsiteX23" fmla="*/ 0 w 5473336"/>
              <a:gd name="connsiteY23" fmla="*/ 3078035 h 4883744"/>
              <a:gd name="connsiteX24" fmla="*/ 0 w 5473336"/>
              <a:gd name="connsiteY24" fmla="*/ 3071080 h 4883744"/>
              <a:gd name="connsiteX25" fmla="*/ 0 w 5473336"/>
              <a:gd name="connsiteY25" fmla="*/ 3027584 h 4883744"/>
              <a:gd name="connsiteX26" fmla="*/ 0 w 5473336"/>
              <a:gd name="connsiteY26" fmla="*/ 2925488 h 4883744"/>
              <a:gd name="connsiteX27" fmla="*/ 0 w 5473336"/>
              <a:gd name="connsiteY27" fmla="*/ 2790320 h 4883744"/>
              <a:gd name="connsiteX28" fmla="*/ 0 w 5473336"/>
              <a:gd name="connsiteY28" fmla="*/ 2787194 h 4883744"/>
              <a:gd name="connsiteX29" fmla="*/ 0 w 5473336"/>
              <a:gd name="connsiteY29" fmla="*/ 2506434 h 4883744"/>
              <a:gd name="connsiteX30" fmla="*/ 0 w 5473336"/>
              <a:gd name="connsiteY30" fmla="*/ 2377311 h 4883744"/>
              <a:gd name="connsiteX31" fmla="*/ 0 w 5473336"/>
              <a:gd name="connsiteY31" fmla="*/ 2096551 h 4883744"/>
              <a:gd name="connsiteX32" fmla="*/ 0 w 5473336"/>
              <a:gd name="connsiteY32" fmla="*/ 2093425 h 4883744"/>
              <a:gd name="connsiteX33" fmla="*/ 0 w 5473336"/>
              <a:gd name="connsiteY33" fmla="*/ 2022223 h 4883744"/>
              <a:gd name="connsiteX34" fmla="*/ 0 w 5473336"/>
              <a:gd name="connsiteY34" fmla="*/ 1958257 h 4883744"/>
              <a:gd name="connsiteX35" fmla="*/ 0 w 5473336"/>
              <a:gd name="connsiteY35" fmla="*/ 1812665 h 4883744"/>
              <a:gd name="connsiteX36" fmla="*/ 0 w 5473336"/>
              <a:gd name="connsiteY36" fmla="*/ 1738337 h 4883744"/>
              <a:gd name="connsiteX37" fmla="*/ 0 w 5473336"/>
              <a:gd name="connsiteY37" fmla="*/ 1677497 h 4883744"/>
              <a:gd name="connsiteX38" fmla="*/ 0 w 5473336"/>
              <a:gd name="connsiteY38" fmla="*/ 1674371 h 4883744"/>
              <a:gd name="connsiteX39" fmla="*/ 0 w 5473336"/>
              <a:gd name="connsiteY39" fmla="*/ 1633637 h 4883744"/>
              <a:gd name="connsiteX40" fmla="*/ 0 w 5473336"/>
              <a:gd name="connsiteY40" fmla="*/ 909400 h 4883744"/>
              <a:gd name="connsiteX41" fmla="*/ 4506471 w 5473336"/>
              <a:gd name="connsiteY41" fmla="*/ 20767 h 4883744"/>
              <a:gd name="connsiteX42" fmla="*/ 4676664 w 5473336"/>
              <a:gd name="connsiteY42" fmla="*/ 1448 h 4883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473336" h="4883744">
                <a:moveTo>
                  <a:pt x="4676664" y="1448"/>
                </a:moveTo>
                <a:cubicBezTo>
                  <a:pt x="5473336" y="-38046"/>
                  <a:pt x="5473336" y="743338"/>
                  <a:pt x="5473336" y="743338"/>
                </a:cubicBezTo>
                <a:lnTo>
                  <a:pt x="5473336" y="1633637"/>
                </a:lnTo>
                <a:lnTo>
                  <a:pt x="5473336" y="1674371"/>
                </a:lnTo>
                <a:lnTo>
                  <a:pt x="5473336" y="1677497"/>
                </a:lnTo>
                <a:lnTo>
                  <a:pt x="5473336" y="1812665"/>
                </a:lnTo>
                <a:lnTo>
                  <a:pt x="5473336" y="1856161"/>
                </a:lnTo>
                <a:lnTo>
                  <a:pt x="5473336" y="1958257"/>
                </a:lnTo>
                <a:lnTo>
                  <a:pt x="5473336" y="2093425"/>
                </a:lnTo>
                <a:lnTo>
                  <a:pt x="5473336" y="2096551"/>
                </a:lnTo>
                <a:lnTo>
                  <a:pt x="5473336" y="2377311"/>
                </a:lnTo>
                <a:lnTo>
                  <a:pt x="5473336" y="2506434"/>
                </a:lnTo>
                <a:lnTo>
                  <a:pt x="5473336" y="2787194"/>
                </a:lnTo>
                <a:lnTo>
                  <a:pt x="5473336" y="2790320"/>
                </a:lnTo>
                <a:lnTo>
                  <a:pt x="5473336" y="2861522"/>
                </a:lnTo>
                <a:lnTo>
                  <a:pt x="5473336" y="2925488"/>
                </a:lnTo>
                <a:lnTo>
                  <a:pt x="5473336" y="3071080"/>
                </a:lnTo>
                <a:lnTo>
                  <a:pt x="5473336" y="3078035"/>
                </a:lnTo>
                <a:lnTo>
                  <a:pt x="5473336" y="3206248"/>
                </a:lnTo>
                <a:lnTo>
                  <a:pt x="5473336" y="3974345"/>
                </a:lnTo>
                <a:lnTo>
                  <a:pt x="966865" y="4862978"/>
                </a:lnTo>
                <a:cubicBezTo>
                  <a:pt x="0" y="5029448"/>
                  <a:pt x="0" y="4140407"/>
                  <a:pt x="0" y="4140407"/>
                </a:cubicBezTo>
                <a:lnTo>
                  <a:pt x="0" y="3206248"/>
                </a:lnTo>
                <a:lnTo>
                  <a:pt x="0" y="3078035"/>
                </a:lnTo>
                <a:lnTo>
                  <a:pt x="0" y="3071080"/>
                </a:lnTo>
                <a:lnTo>
                  <a:pt x="0" y="3027584"/>
                </a:lnTo>
                <a:lnTo>
                  <a:pt x="0" y="2925488"/>
                </a:lnTo>
                <a:lnTo>
                  <a:pt x="0" y="2790320"/>
                </a:lnTo>
                <a:lnTo>
                  <a:pt x="0" y="2787194"/>
                </a:lnTo>
                <a:lnTo>
                  <a:pt x="0" y="2506434"/>
                </a:lnTo>
                <a:lnTo>
                  <a:pt x="0" y="2377311"/>
                </a:lnTo>
                <a:lnTo>
                  <a:pt x="0" y="2096551"/>
                </a:lnTo>
                <a:lnTo>
                  <a:pt x="0" y="2093425"/>
                </a:lnTo>
                <a:lnTo>
                  <a:pt x="0" y="2022223"/>
                </a:lnTo>
                <a:lnTo>
                  <a:pt x="0" y="1958257"/>
                </a:lnTo>
                <a:lnTo>
                  <a:pt x="0" y="1812665"/>
                </a:lnTo>
                <a:lnTo>
                  <a:pt x="0" y="1738337"/>
                </a:lnTo>
                <a:lnTo>
                  <a:pt x="0" y="1677497"/>
                </a:lnTo>
                <a:lnTo>
                  <a:pt x="0" y="1674371"/>
                </a:lnTo>
                <a:lnTo>
                  <a:pt x="0" y="1633637"/>
                </a:lnTo>
                <a:lnTo>
                  <a:pt x="0" y="909400"/>
                </a:lnTo>
                <a:lnTo>
                  <a:pt x="4506471" y="20767"/>
                </a:lnTo>
                <a:cubicBezTo>
                  <a:pt x="4566900" y="10363"/>
                  <a:pt x="4623552" y="4081"/>
                  <a:pt x="4676664" y="1448"/>
                </a:cubicBezTo>
                <a:close/>
              </a:path>
            </a:pathLst>
          </a:custGeom>
          <a:noFill/>
          <a:ln w="19050">
            <a:solidFill>
              <a:schemeClr val="tx2"/>
            </a:solidFill>
          </a:ln>
        </p:spPr>
        <p:txBody>
          <a:bodyPr vert="horz" wrap="square" lIns="324000" tIns="1224000" rIns="324000" bIns="0" rtlCol="0">
            <a:noAutofit/>
          </a:bodyPr>
          <a:lstStyle>
            <a:lvl1pPr>
              <a:defRPr lang="de-DE" dirty="0"/>
            </a:lvl1pPr>
            <a:lvl2pPr>
              <a:defRPr lang="de-DE" dirty="0"/>
            </a:lvl2pPr>
            <a:lvl3pPr>
              <a:defRPr lang="de-DE" dirty="0"/>
            </a:lvl3pPr>
            <a:lvl4pPr>
              <a:defRPr lang="de-DE" dirty="0"/>
            </a:lvl4pPr>
            <a:lvl5pPr>
              <a:defRPr lang="de-DE" dirty="0"/>
            </a:lvl5pPr>
            <a:lvl6pPr>
              <a:defRPr lang="de-DE" dirty="0"/>
            </a:lvl6pPr>
            <a:lvl7pPr>
              <a:defRPr lang="de-DE" dirty="0"/>
            </a:lvl7pPr>
            <a:lvl8pPr>
              <a:defRPr lang="de-DE" dirty="0"/>
            </a:lvl8pPr>
            <a:lvl9pPr>
              <a:defRPr lang="de-DE" dirty="0"/>
            </a:lvl9p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4" name="Titel 3">
            <a:extLst>
              <a:ext uri="{FF2B5EF4-FFF2-40B4-BE49-F238E27FC236}">
                <a16:creationId xmlns:a16="http://schemas.microsoft.com/office/drawing/2014/main" id="{A78C2E2F-A8F0-4C21-BB59-3698B7B3047D}"/>
              </a:ext>
            </a:extLst>
          </p:cNvPr>
          <p:cNvSpPr>
            <a:spLocks noGrp="1"/>
          </p:cNvSpPr>
          <p:nvPr>
            <p:ph type="title" hasCustomPrompt="1"/>
          </p:nvPr>
        </p:nvSpPr>
        <p:spPr bwMode="gray"/>
        <p:txBody>
          <a:bodyPr/>
          <a:lstStyle>
            <a:lvl1pPr>
              <a:defRPr/>
            </a:lvl1pPr>
          </a:lstStyle>
          <a:p>
            <a:r>
              <a:rPr lang="de-DE"/>
              <a:t>Titel durch Klicken bearbeiten</a:t>
            </a:r>
          </a:p>
        </p:txBody>
      </p:sp>
      <p:sp>
        <p:nvSpPr>
          <p:cNvPr id="2" name="Datumsplatzhalter 1">
            <a:extLst>
              <a:ext uri="{FF2B5EF4-FFF2-40B4-BE49-F238E27FC236}">
                <a16:creationId xmlns:a16="http://schemas.microsoft.com/office/drawing/2014/main" id="{03DBE675-0839-4CF0-9FAC-D77590974244}"/>
              </a:ext>
            </a:extLst>
          </p:cNvPr>
          <p:cNvSpPr>
            <a:spLocks noGrp="1"/>
          </p:cNvSpPr>
          <p:nvPr>
            <p:ph type="dt" sz="half" idx="31"/>
          </p:nvPr>
        </p:nvSpPr>
        <p:spPr bwMode="gray">
          <a:xfrm>
            <a:off x="10709631" y="151200"/>
            <a:ext cx="748800" cy="180000"/>
          </a:xfrm>
          <a:prstGeom prst="rect">
            <a:avLst/>
          </a:prstGeom>
        </p:spPr>
        <p:txBody>
          <a:bodyPr/>
          <a:lstStyle/>
          <a:p>
            <a:r>
              <a:rPr lang="de-DE"/>
              <a:t>Jan. 2023</a:t>
            </a:r>
          </a:p>
        </p:txBody>
      </p:sp>
      <p:sp>
        <p:nvSpPr>
          <p:cNvPr id="3" name="Fußzeilenplatzhalter 2">
            <a:extLst>
              <a:ext uri="{FF2B5EF4-FFF2-40B4-BE49-F238E27FC236}">
                <a16:creationId xmlns:a16="http://schemas.microsoft.com/office/drawing/2014/main" id="{9DD061C6-025A-4FB7-A4B9-D392582079F0}"/>
              </a:ext>
            </a:extLst>
          </p:cNvPr>
          <p:cNvSpPr>
            <a:spLocks noGrp="1"/>
          </p:cNvSpPr>
          <p:nvPr>
            <p:ph type="ftr" sz="quarter" idx="32"/>
          </p:nvPr>
        </p:nvSpPr>
        <p:spPr bwMode="gray">
          <a:xfrm>
            <a:off x="6313488" y="151200"/>
            <a:ext cx="4393761" cy="180000"/>
          </a:xfrm>
          <a:prstGeom prst="rect">
            <a:avLst/>
          </a:prstGeom>
        </p:spPr>
        <p:txBody>
          <a:bodyPr/>
          <a:lstStyle/>
          <a:p>
            <a:r>
              <a:rPr lang="de-DE"/>
              <a:t>UIP-EQ-CON  |  C0  |</a:t>
            </a:r>
          </a:p>
        </p:txBody>
      </p:sp>
      <p:sp>
        <p:nvSpPr>
          <p:cNvPr id="7" name="Foliennummernplatzhalter 6">
            <a:extLst>
              <a:ext uri="{FF2B5EF4-FFF2-40B4-BE49-F238E27FC236}">
                <a16:creationId xmlns:a16="http://schemas.microsoft.com/office/drawing/2014/main" id="{F73D1FAA-2A21-43F1-BE1D-D2DA9F393430}"/>
              </a:ext>
            </a:extLst>
          </p:cNvPr>
          <p:cNvSpPr>
            <a:spLocks noGrp="1"/>
          </p:cNvSpPr>
          <p:nvPr>
            <p:ph type="sldNum" sz="quarter" idx="33"/>
          </p:nvPr>
        </p:nvSpPr>
        <p:spPr bwMode="gray">
          <a:xfrm>
            <a:off x="11504750" y="151200"/>
            <a:ext cx="280800" cy="180000"/>
          </a:xfrm>
          <a:prstGeom prst="rect">
            <a:avLst/>
          </a:prstGeom>
        </p:spPr>
        <p:txBody>
          <a:bodyPr/>
          <a:lstStyle/>
          <a:p>
            <a:fld id="{9C89B081-1F44-4440-BC7B-989C90F97B77}" type="slidenum">
              <a:rPr lang="de-DE"/>
              <a:pPr/>
              <a:t>‹Nr.›</a:t>
            </a:fld>
            <a:endParaRPr lang="de-DE"/>
          </a:p>
        </p:txBody>
      </p:sp>
    </p:spTree>
    <p:extLst>
      <p:ext uri="{BB962C8B-B14F-4D97-AF65-F5344CB8AC3E}">
        <p14:creationId xmlns:p14="http://schemas.microsoft.com/office/powerpoint/2010/main" val="358922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57">
          <p15:clr>
            <a:srgbClr val="F26B43"/>
          </p15:clr>
        </p15:guide>
        <p15:guide id="3" orient="horz" pos="255">
          <p15:clr>
            <a:srgbClr val="F26B43"/>
          </p15:clr>
        </p15:guide>
        <p15:guide id="6" orient="horz" pos="890">
          <p15:clr>
            <a:srgbClr val="F26B43"/>
          </p15:clr>
        </p15:guide>
        <p15:guide id="9" pos="3976">
          <p15:clr>
            <a:srgbClr val="F26B43"/>
          </p15:clr>
        </p15:guide>
        <p15:guide id="10" pos="3705">
          <p15:clr>
            <a:srgbClr val="F26B43"/>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Zweispaltig mit Markenform links 01">
    <p:spTree>
      <p:nvGrpSpPr>
        <p:cNvPr id="1" name=""/>
        <p:cNvGrpSpPr/>
        <p:nvPr/>
      </p:nvGrpSpPr>
      <p:grpSpPr>
        <a:xfrm>
          <a:off x="0" y="0"/>
          <a:ext cx="0" cy="0"/>
          <a:chOff x="0" y="0"/>
          <a:chExt cx="0" cy="0"/>
        </a:xfrm>
      </p:grpSpPr>
      <p:sp>
        <p:nvSpPr>
          <p:cNvPr id="13" name="Textplatzhalter 12">
            <a:extLst>
              <a:ext uri="{FF2B5EF4-FFF2-40B4-BE49-F238E27FC236}">
                <a16:creationId xmlns:a16="http://schemas.microsoft.com/office/drawing/2014/main" id="{4B780080-8437-46A0-B196-C15BAC2E73BE}"/>
              </a:ext>
            </a:extLst>
          </p:cNvPr>
          <p:cNvSpPr>
            <a:spLocks noGrp="1" noChangeAspect="1"/>
          </p:cNvSpPr>
          <p:nvPr>
            <p:ph type="body" sz="quarter" idx="28" hasCustomPrompt="1"/>
          </p:nvPr>
        </p:nvSpPr>
        <p:spPr bwMode="gray">
          <a:xfrm>
            <a:off x="1" y="1420964"/>
            <a:ext cx="6097587" cy="5437036"/>
          </a:xfrm>
          <a:custGeom>
            <a:avLst/>
            <a:gdLst>
              <a:gd name="connsiteX0" fmla="*/ 5440402 w 6097587"/>
              <a:gd name="connsiteY0" fmla="*/ 1174 h 5437036"/>
              <a:gd name="connsiteX1" fmla="*/ 6097587 w 6097587"/>
              <a:gd name="connsiteY1" fmla="*/ 603756 h 5437036"/>
              <a:gd name="connsiteX2" fmla="*/ 6097587 w 6097587"/>
              <a:gd name="connsiteY2" fmla="*/ 1200666 h 5437036"/>
              <a:gd name="connsiteX3" fmla="*/ 6097587 w 6097587"/>
              <a:gd name="connsiteY3" fmla="*/ 1255879 h 5437036"/>
              <a:gd name="connsiteX4" fmla="*/ 6097587 w 6097587"/>
              <a:gd name="connsiteY4" fmla="*/ 1277987 h 5437036"/>
              <a:gd name="connsiteX5" fmla="*/ 6097587 w 6097587"/>
              <a:gd name="connsiteY5" fmla="*/ 1305780 h 5437036"/>
              <a:gd name="connsiteX6" fmla="*/ 6097587 w 6097587"/>
              <a:gd name="connsiteY6" fmla="*/ 1308283 h 5437036"/>
              <a:gd name="connsiteX7" fmla="*/ 6097587 w 6097587"/>
              <a:gd name="connsiteY7" fmla="*/ 1358230 h 5437036"/>
              <a:gd name="connsiteX8" fmla="*/ 6097587 w 6097587"/>
              <a:gd name="connsiteY8" fmla="*/ 1422562 h 5437036"/>
              <a:gd name="connsiteX9" fmla="*/ 6097587 w 6097587"/>
              <a:gd name="connsiteY9" fmla="*/ 1432741 h 5437036"/>
              <a:gd name="connsiteX10" fmla="*/ 6097587 w 6097587"/>
              <a:gd name="connsiteY10" fmla="*/ 1536730 h 5437036"/>
              <a:gd name="connsiteX11" fmla="*/ 6097587 w 6097587"/>
              <a:gd name="connsiteY11" fmla="*/ 1551627 h 5437036"/>
              <a:gd name="connsiteX12" fmla="*/ 6097587 w 6097587"/>
              <a:gd name="connsiteY12" fmla="*/ 1601313 h 5437036"/>
              <a:gd name="connsiteX13" fmla="*/ 6097587 w 6097587"/>
              <a:gd name="connsiteY13" fmla="*/ 1675108 h 5437036"/>
              <a:gd name="connsiteX14" fmla="*/ 6097587 w 6097587"/>
              <a:gd name="connsiteY14" fmla="*/ 1693587 h 5437036"/>
              <a:gd name="connsiteX15" fmla="*/ 6097587 w 6097587"/>
              <a:gd name="connsiteY15" fmla="*/ 1758728 h 5437036"/>
              <a:gd name="connsiteX16" fmla="*/ 6097587 w 6097587"/>
              <a:gd name="connsiteY16" fmla="*/ 1849058 h 5437036"/>
              <a:gd name="connsiteX17" fmla="*/ 6097587 w 6097587"/>
              <a:gd name="connsiteY17" fmla="*/ 1852789 h 5437036"/>
              <a:gd name="connsiteX18" fmla="*/ 6097587 w 6097587"/>
              <a:gd name="connsiteY18" fmla="*/ 1957903 h 5437036"/>
              <a:gd name="connsiteX19" fmla="*/ 6097587 w 6097587"/>
              <a:gd name="connsiteY19" fmla="*/ 2018653 h 5437036"/>
              <a:gd name="connsiteX20" fmla="*/ 6097587 w 6097587"/>
              <a:gd name="connsiteY20" fmla="*/ 2074685 h 5437036"/>
              <a:gd name="connsiteX21" fmla="*/ 6097587 w 6097587"/>
              <a:gd name="connsiteY21" fmla="*/ 2202987 h 5437036"/>
              <a:gd name="connsiteX22" fmla="*/ 6097587 w 6097587"/>
              <a:gd name="connsiteY22" fmla="*/ 2203749 h 5437036"/>
              <a:gd name="connsiteX23" fmla="*/ 6097587 w 6097587"/>
              <a:gd name="connsiteY23" fmla="*/ 2345710 h 5437036"/>
              <a:gd name="connsiteX24" fmla="*/ 6097587 w 6097587"/>
              <a:gd name="connsiteY24" fmla="*/ 2402673 h 5437036"/>
              <a:gd name="connsiteX25" fmla="*/ 6097587 w 6097587"/>
              <a:gd name="connsiteY25" fmla="*/ 2501181 h 5437036"/>
              <a:gd name="connsiteX26" fmla="*/ 6097587 w 6097587"/>
              <a:gd name="connsiteY26" fmla="*/ 2618326 h 5437036"/>
              <a:gd name="connsiteX27" fmla="*/ 6097587 w 6097587"/>
              <a:gd name="connsiteY27" fmla="*/ 2670776 h 5437036"/>
              <a:gd name="connsiteX28" fmla="*/ 6097587 w 6097587"/>
              <a:gd name="connsiteY28" fmla="*/ 2850560 h 5437036"/>
              <a:gd name="connsiteX29" fmla="*/ 6097587 w 6097587"/>
              <a:gd name="connsiteY29" fmla="*/ 2855110 h 5437036"/>
              <a:gd name="connsiteX30" fmla="*/ 6097587 w 6097587"/>
              <a:gd name="connsiteY30" fmla="*/ 3054796 h 5437036"/>
              <a:gd name="connsiteX31" fmla="*/ 6097587 w 6097587"/>
              <a:gd name="connsiteY31" fmla="*/ 3099990 h 5437036"/>
              <a:gd name="connsiteX32" fmla="*/ 6097587 w 6097587"/>
              <a:gd name="connsiteY32" fmla="*/ 3270449 h 5437036"/>
              <a:gd name="connsiteX33" fmla="*/ 6097587 w 6097587"/>
              <a:gd name="connsiteY33" fmla="*/ 3367227 h 5437036"/>
              <a:gd name="connsiteX34" fmla="*/ 6097587 w 6097587"/>
              <a:gd name="connsiteY34" fmla="*/ 3502684 h 5437036"/>
              <a:gd name="connsiteX35" fmla="*/ 6097587 w 6097587"/>
              <a:gd name="connsiteY35" fmla="*/ 3652889 h 5437036"/>
              <a:gd name="connsiteX36" fmla="*/ 6097587 w 6097587"/>
              <a:gd name="connsiteY36" fmla="*/ 3752112 h 5437036"/>
              <a:gd name="connsiteX37" fmla="*/ 6097587 w 6097587"/>
              <a:gd name="connsiteY37" fmla="*/ 3957586 h 5437036"/>
              <a:gd name="connsiteX38" fmla="*/ 6097587 w 6097587"/>
              <a:gd name="connsiteY38" fmla="*/ 4019350 h 5437036"/>
              <a:gd name="connsiteX39" fmla="*/ 6097587 w 6097587"/>
              <a:gd name="connsiteY39" fmla="*/ 4262137 h 5437036"/>
              <a:gd name="connsiteX40" fmla="*/ 6097587 w 6097587"/>
              <a:gd name="connsiteY40" fmla="*/ 4292733 h 5437036"/>
              <a:gd name="connsiteX41" fmla="*/ 6097587 w 6097587"/>
              <a:gd name="connsiteY41" fmla="*/ 4305011 h 5437036"/>
              <a:gd name="connsiteX42" fmla="*/ 6097587 w 6097587"/>
              <a:gd name="connsiteY42" fmla="*/ 4362984 h 5437036"/>
              <a:gd name="connsiteX43" fmla="*/ 6097587 w 6097587"/>
              <a:gd name="connsiteY43" fmla="*/ 4367675 h 5437036"/>
              <a:gd name="connsiteX44" fmla="*/ 6097587 w 6097587"/>
              <a:gd name="connsiteY44" fmla="*/ 4378813 h 5437036"/>
              <a:gd name="connsiteX45" fmla="*/ 6097587 w 6097587"/>
              <a:gd name="connsiteY45" fmla="*/ 4400506 h 5437036"/>
              <a:gd name="connsiteX46" fmla="*/ 6097587 w 6097587"/>
              <a:gd name="connsiteY46" fmla="*/ 4436268 h 5437036"/>
              <a:gd name="connsiteX47" fmla="*/ 6097587 w 6097587"/>
              <a:gd name="connsiteY47" fmla="*/ 4489620 h 5437036"/>
              <a:gd name="connsiteX48" fmla="*/ 6097587 w 6097587"/>
              <a:gd name="connsiteY48" fmla="*/ 4564076 h 5437036"/>
              <a:gd name="connsiteX49" fmla="*/ 6097587 w 6097587"/>
              <a:gd name="connsiteY49" fmla="*/ 4609710 h 5437036"/>
              <a:gd name="connsiteX50" fmla="*/ 6097587 w 6097587"/>
              <a:gd name="connsiteY50" fmla="*/ 4663157 h 5437036"/>
              <a:gd name="connsiteX51" fmla="*/ 6097587 w 6097587"/>
              <a:gd name="connsiteY51" fmla="*/ 4674064 h 5437036"/>
              <a:gd name="connsiteX52" fmla="*/ 6097587 w 6097587"/>
              <a:gd name="connsiteY52" fmla="*/ 4737893 h 5437036"/>
              <a:gd name="connsiteX53" fmla="*/ 6097587 w 6097587"/>
              <a:gd name="connsiteY53" fmla="*/ 4871773 h 5437036"/>
              <a:gd name="connsiteX54" fmla="*/ 6097587 w 6097587"/>
              <a:gd name="connsiteY54" fmla="*/ 4914259 h 5437036"/>
              <a:gd name="connsiteX55" fmla="*/ 6097587 w 6097587"/>
              <a:gd name="connsiteY55" fmla="*/ 4944856 h 5437036"/>
              <a:gd name="connsiteX56" fmla="*/ 6097587 w 6097587"/>
              <a:gd name="connsiteY56" fmla="*/ 4949260 h 5437036"/>
              <a:gd name="connsiteX57" fmla="*/ 6097587 w 6097587"/>
              <a:gd name="connsiteY57" fmla="*/ 5015108 h 5437036"/>
              <a:gd name="connsiteX58" fmla="*/ 6097587 w 6097587"/>
              <a:gd name="connsiteY58" fmla="*/ 5019797 h 5437036"/>
              <a:gd name="connsiteX59" fmla="*/ 6097587 w 6097587"/>
              <a:gd name="connsiteY59" fmla="*/ 5030937 h 5437036"/>
              <a:gd name="connsiteX60" fmla="*/ 6097587 w 6097587"/>
              <a:gd name="connsiteY60" fmla="*/ 5034241 h 5437036"/>
              <a:gd name="connsiteX61" fmla="*/ 6097587 w 6097587"/>
              <a:gd name="connsiteY61" fmla="*/ 5052628 h 5437036"/>
              <a:gd name="connsiteX62" fmla="*/ 6097587 w 6097587"/>
              <a:gd name="connsiteY62" fmla="*/ 5080807 h 5437036"/>
              <a:gd name="connsiteX63" fmla="*/ 6097587 w 6097587"/>
              <a:gd name="connsiteY63" fmla="*/ 5088391 h 5437036"/>
              <a:gd name="connsiteX64" fmla="*/ 6097587 w 6097587"/>
              <a:gd name="connsiteY64" fmla="*/ 5141742 h 5437036"/>
              <a:gd name="connsiteX65" fmla="*/ 6097587 w 6097587"/>
              <a:gd name="connsiteY65" fmla="*/ 5159803 h 5437036"/>
              <a:gd name="connsiteX66" fmla="*/ 6097587 w 6097587"/>
              <a:gd name="connsiteY66" fmla="*/ 5216199 h 5437036"/>
              <a:gd name="connsiteX67" fmla="*/ 6097587 w 6097587"/>
              <a:gd name="connsiteY67" fmla="*/ 5315280 h 5437036"/>
              <a:gd name="connsiteX68" fmla="*/ 6097587 w 6097587"/>
              <a:gd name="connsiteY68" fmla="*/ 5326186 h 5437036"/>
              <a:gd name="connsiteX69" fmla="*/ 6097587 w 6097587"/>
              <a:gd name="connsiteY69" fmla="*/ 5347127 h 5437036"/>
              <a:gd name="connsiteX70" fmla="*/ 6097587 w 6097587"/>
              <a:gd name="connsiteY70" fmla="*/ 5390016 h 5437036"/>
              <a:gd name="connsiteX71" fmla="*/ 6097587 w 6097587"/>
              <a:gd name="connsiteY71" fmla="*/ 5437036 h 5437036"/>
              <a:gd name="connsiteX72" fmla="*/ 0 w 6097587"/>
              <a:gd name="connsiteY72" fmla="*/ 5437036 h 5437036"/>
              <a:gd name="connsiteX73" fmla="*/ 0 w 6097587"/>
              <a:gd name="connsiteY73" fmla="*/ 1568122 h 5437036"/>
              <a:gd name="connsiteX74" fmla="*/ 0 w 6097587"/>
              <a:gd name="connsiteY74" fmla="*/ 915999 h 5437036"/>
              <a:gd name="connsiteX75" fmla="*/ 175716 w 6097587"/>
              <a:gd name="connsiteY75" fmla="*/ 886189 h 5437036"/>
              <a:gd name="connsiteX76" fmla="*/ 5300008 w 6097587"/>
              <a:gd name="connsiteY76" fmla="*/ 16855 h 5437036"/>
              <a:gd name="connsiteX77" fmla="*/ 5440402 w 6097587"/>
              <a:gd name="connsiteY77" fmla="*/ 1174 h 5437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097587" h="5437036">
                <a:moveTo>
                  <a:pt x="5440402" y="1174"/>
                </a:moveTo>
                <a:cubicBezTo>
                  <a:pt x="6097587" y="-30859"/>
                  <a:pt x="6097587" y="603756"/>
                  <a:pt x="6097587" y="603756"/>
                </a:cubicBezTo>
                <a:cubicBezTo>
                  <a:pt x="6097587" y="603756"/>
                  <a:pt x="6097587" y="603756"/>
                  <a:pt x="6097587" y="1200666"/>
                </a:cubicBezTo>
                <a:lnTo>
                  <a:pt x="6097587" y="1255879"/>
                </a:lnTo>
                <a:cubicBezTo>
                  <a:pt x="6097587" y="1255879"/>
                  <a:pt x="6097587" y="1255879"/>
                  <a:pt x="6097587" y="1277987"/>
                </a:cubicBezTo>
                <a:lnTo>
                  <a:pt x="6097587" y="1305780"/>
                </a:lnTo>
                <a:lnTo>
                  <a:pt x="6097587" y="1308283"/>
                </a:lnTo>
                <a:cubicBezTo>
                  <a:pt x="6097587" y="1321384"/>
                  <a:pt x="6097587" y="1337760"/>
                  <a:pt x="6097587" y="1358230"/>
                </a:cubicBezTo>
                <a:lnTo>
                  <a:pt x="6097587" y="1422562"/>
                </a:lnTo>
                <a:lnTo>
                  <a:pt x="6097587" y="1432741"/>
                </a:lnTo>
                <a:cubicBezTo>
                  <a:pt x="6097587" y="1462218"/>
                  <a:pt x="6097587" y="1496608"/>
                  <a:pt x="6097587" y="1536730"/>
                </a:cubicBezTo>
                <a:lnTo>
                  <a:pt x="6097587" y="1551627"/>
                </a:lnTo>
                <a:lnTo>
                  <a:pt x="6097587" y="1601313"/>
                </a:lnTo>
                <a:cubicBezTo>
                  <a:pt x="6097587" y="1624342"/>
                  <a:pt x="6097587" y="1648906"/>
                  <a:pt x="6097587" y="1675108"/>
                </a:cubicBezTo>
                <a:lnTo>
                  <a:pt x="6097587" y="1693587"/>
                </a:lnTo>
                <a:lnTo>
                  <a:pt x="6097587" y="1758728"/>
                </a:lnTo>
                <a:lnTo>
                  <a:pt x="6097587" y="1849058"/>
                </a:lnTo>
                <a:lnTo>
                  <a:pt x="6097587" y="1852789"/>
                </a:lnTo>
                <a:cubicBezTo>
                  <a:pt x="6097587" y="1885950"/>
                  <a:pt x="6097587" y="1920954"/>
                  <a:pt x="6097587" y="1957903"/>
                </a:cubicBezTo>
                <a:lnTo>
                  <a:pt x="6097587" y="2018653"/>
                </a:lnTo>
                <a:lnTo>
                  <a:pt x="6097587" y="2074685"/>
                </a:lnTo>
                <a:lnTo>
                  <a:pt x="6097587" y="2202987"/>
                </a:lnTo>
                <a:lnTo>
                  <a:pt x="6097587" y="2203749"/>
                </a:lnTo>
                <a:cubicBezTo>
                  <a:pt x="6097587" y="2248886"/>
                  <a:pt x="6097587" y="2296172"/>
                  <a:pt x="6097587" y="2345710"/>
                </a:cubicBezTo>
                <a:lnTo>
                  <a:pt x="6097587" y="2402673"/>
                </a:lnTo>
                <a:lnTo>
                  <a:pt x="6097587" y="2501181"/>
                </a:lnTo>
                <a:lnTo>
                  <a:pt x="6097587" y="2618326"/>
                </a:lnTo>
                <a:lnTo>
                  <a:pt x="6097587" y="2670776"/>
                </a:lnTo>
                <a:lnTo>
                  <a:pt x="6097587" y="2850560"/>
                </a:lnTo>
                <a:lnTo>
                  <a:pt x="6097587" y="2855110"/>
                </a:lnTo>
                <a:cubicBezTo>
                  <a:pt x="6097587" y="2919079"/>
                  <a:pt x="6097587" y="2985607"/>
                  <a:pt x="6097587" y="3054796"/>
                </a:cubicBezTo>
                <a:lnTo>
                  <a:pt x="6097587" y="3099990"/>
                </a:lnTo>
                <a:lnTo>
                  <a:pt x="6097587" y="3270449"/>
                </a:lnTo>
                <a:lnTo>
                  <a:pt x="6097587" y="3367227"/>
                </a:lnTo>
                <a:lnTo>
                  <a:pt x="6097587" y="3502684"/>
                </a:lnTo>
                <a:lnTo>
                  <a:pt x="6097587" y="3652889"/>
                </a:lnTo>
                <a:lnTo>
                  <a:pt x="6097587" y="3752112"/>
                </a:lnTo>
                <a:lnTo>
                  <a:pt x="6097587" y="3957586"/>
                </a:lnTo>
                <a:lnTo>
                  <a:pt x="6097587" y="4019350"/>
                </a:lnTo>
                <a:lnTo>
                  <a:pt x="6097587" y="4262137"/>
                </a:lnTo>
                <a:lnTo>
                  <a:pt x="6097587" y="4292733"/>
                </a:lnTo>
                <a:lnTo>
                  <a:pt x="6097587" y="4305011"/>
                </a:lnTo>
                <a:lnTo>
                  <a:pt x="6097587" y="4362984"/>
                </a:lnTo>
                <a:lnTo>
                  <a:pt x="6097587" y="4367675"/>
                </a:lnTo>
                <a:lnTo>
                  <a:pt x="6097587" y="4378813"/>
                </a:lnTo>
                <a:lnTo>
                  <a:pt x="6097587" y="4400506"/>
                </a:lnTo>
                <a:lnTo>
                  <a:pt x="6097587" y="4436268"/>
                </a:lnTo>
                <a:lnTo>
                  <a:pt x="6097587" y="4489620"/>
                </a:lnTo>
                <a:lnTo>
                  <a:pt x="6097587" y="4564076"/>
                </a:lnTo>
                <a:lnTo>
                  <a:pt x="6097587" y="4609710"/>
                </a:lnTo>
                <a:lnTo>
                  <a:pt x="6097587" y="4663157"/>
                </a:lnTo>
                <a:lnTo>
                  <a:pt x="6097587" y="4674064"/>
                </a:lnTo>
                <a:lnTo>
                  <a:pt x="6097587" y="4737893"/>
                </a:lnTo>
                <a:lnTo>
                  <a:pt x="6097587" y="4871773"/>
                </a:lnTo>
                <a:lnTo>
                  <a:pt x="6097587" y="4914259"/>
                </a:lnTo>
                <a:lnTo>
                  <a:pt x="6097587" y="4944856"/>
                </a:lnTo>
                <a:lnTo>
                  <a:pt x="6097587" y="4949260"/>
                </a:lnTo>
                <a:lnTo>
                  <a:pt x="6097587" y="5015108"/>
                </a:lnTo>
                <a:lnTo>
                  <a:pt x="6097587" y="5019797"/>
                </a:lnTo>
                <a:lnTo>
                  <a:pt x="6097587" y="5030937"/>
                </a:lnTo>
                <a:lnTo>
                  <a:pt x="6097587" y="5034241"/>
                </a:lnTo>
                <a:lnTo>
                  <a:pt x="6097587" y="5052628"/>
                </a:lnTo>
                <a:lnTo>
                  <a:pt x="6097587" y="5080807"/>
                </a:lnTo>
                <a:lnTo>
                  <a:pt x="6097587" y="5088391"/>
                </a:lnTo>
                <a:lnTo>
                  <a:pt x="6097587" y="5141742"/>
                </a:lnTo>
                <a:lnTo>
                  <a:pt x="6097587" y="5159803"/>
                </a:lnTo>
                <a:lnTo>
                  <a:pt x="6097587" y="5216199"/>
                </a:lnTo>
                <a:lnTo>
                  <a:pt x="6097587" y="5315280"/>
                </a:lnTo>
                <a:lnTo>
                  <a:pt x="6097587" y="5326186"/>
                </a:lnTo>
                <a:lnTo>
                  <a:pt x="6097587" y="5347127"/>
                </a:lnTo>
                <a:lnTo>
                  <a:pt x="6097587" y="5390016"/>
                </a:lnTo>
                <a:lnTo>
                  <a:pt x="6097587" y="5437036"/>
                </a:lnTo>
                <a:lnTo>
                  <a:pt x="0" y="5437036"/>
                </a:lnTo>
                <a:lnTo>
                  <a:pt x="0" y="1568122"/>
                </a:lnTo>
                <a:lnTo>
                  <a:pt x="0" y="915999"/>
                </a:lnTo>
                <a:lnTo>
                  <a:pt x="175716" y="886189"/>
                </a:lnTo>
                <a:cubicBezTo>
                  <a:pt x="1513763" y="659190"/>
                  <a:pt x="3192880" y="374328"/>
                  <a:pt x="5300008" y="16855"/>
                </a:cubicBezTo>
                <a:cubicBezTo>
                  <a:pt x="5349857" y="8408"/>
                  <a:pt x="5396590" y="3310"/>
                  <a:pt x="5440402" y="1174"/>
                </a:cubicBezTo>
                <a:close/>
              </a:path>
            </a:pathLst>
          </a:custGeom>
          <a:solidFill>
            <a:schemeClr val="tx2"/>
          </a:solidFill>
        </p:spPr>
        <p:txBody>
          <a:bodyPr wrap="square" lIns="410400" tIns="1224000" rIns="39600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6" name="Inhaltsplatzhalter 2"/>
          <p:cNvSpPr>
            <a:spLocks noGrp="1"/>
          </p:cNvSpPr>
          <p:nvPr>
            <p:ph sz="quarter" idx="24" hasCustomPrompt="1"/>
          </p:nvPr>
        </p:nvSpPr>
        <p:spPr bwMode="gray">
          <a:xfrm>
            <a:off x="6313610" y="1412776"/>
            <a:ext cx="5471940" cy="4896445"/>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5" name="Textplatzhalter 3"/>
          <p:cNvSpPr>
            <a:spLocks noGrp="1"/>
          </p:cNvSpPr>
          <p:nvPr>
            <p:ph type="body" sz="quarter" idx="23" hasCustomPrompt="1"/>
          </p:nvPr>
        </p:nvSpPr>
        <p:spPr bwMode="gray">
          <a:xfrm>
            <a:off x="6313610" y="6001543"/>
            <a:ext cx="5471940"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a:t>Quelle:</a:t>
            </a:r>
          </a:p>
        </p:txBody>
      </p:sp>
      <p:sp>
        <p:nvSpPr>
          <p:cNvPr id="4" name="Titel 3">
            <a:extLst>
              <a:ext uri="{FF2B5EF4-FFF2-40B4-BE49-F238E27FC236}">
                <a16:creationId xmlns:a16="http://schemas.microsoft.com/office/drawing/2014/main" id="{C9B79889-2E07-47F2-A0C4-DC80A37FDBDA}"/>
              </a:ext>
            </a:extLst>
          </p:cNvPr>
          <p:cNvSpPr>
            <a:spLocks noGrp="1"/>
          </p:cNvSpPr>
          <p:nvPr>
            <p:ph type="title" hasCustomPrompt="1"/>
          </p:nvPr>
        </p:nvSpPr>
        <p:spPr bwMode="gray"/>
        <p:txBody>
          <a:bodyPr/>
          <a:lstStyle>
            <a:lvl1pPr>
              <a:defRPr/>
            </a:lvl1pPr>
          </a:lstStyle>
          <a:p>
            <a:r>
              <a:rPr lang="de-DE"/>
              <a:t>Titel durch Klicken bearbeiten</a:t>
            </a:r>
          </a:p>
        </p:txBody>
      </p:sp>
      <p:sp>
        <p:nvSpPr>
          <p:cNvPr id="2" name="Datumsplatzhalter 1">
            <a:extLst>
              <a:ext uri="{FF2B5EF4-FFF2-40B4-BE49-F238E27FC236}">
                <a16:creationId xmlns:a16="http://schemas.microsoft.com/office/drawing/2014/main" id="{ECD1828B-5300-418C-A147-023E190B0660}"/>
              </a:ext>
            </a:extLst>
          </p:cNvPr>
          <p:cNvSpPr>
            <a:spLocks noGrp="1"/>
          </p:cNvSpPr>
          <p:nvPr>
            <p:ph type="dt" sz="half" idx="29"/>
          </p:nvPr>
        </p:nvSpPr>
        <p:spPr bwMode="gray">
          <a:xfrm>
            <a:off x="10709631" y="151200"/>
            <a:ext cx="748800" cy="180000"/>
          </a:xfrm>
          <a:prstGeom prst="rect">
            <a:avLst/>
          </a:prstGeom>
        </p:spPr>
        <p:txBody>
          <a:bodyPr/>
          <a:lstStyle/>
          <a:p>
            <a:r>
              <a:rPr lang="de-DE"/>
              <a:t>Jan. 2023</a:t>
            </a:r>
          </a:p>
        </p:txBody>
      </p:sp>
      <p:sp>
        <p:nvSpPr>
          <p:cNvPr id="3" name="Fußzeilenplatzhalter 2">
            <a:extLst>
              <a:ext uri="{FF2B5EF4-FFF2-40B4-BE49-F238E27FC236}">
                <a16:creationId xmlns:a16="http://schemas.microsoft.com/office/drawing/2014/main" id="{FCF4070D-3CE1-4E9F-9080-3DB95E789FEB}"/>
              </a:ext>
            </a:extLst>
          </p:cNvPr>
          <p:cNvSpPr>
            <a:spLocks noGrp="1"/>
          </p:cNvSpPr>
          <p:nvPr>
            <p:ph type="ftr" sz="quarter" idx="30"/>
          </p:nvPr>
        </p:nvSpPr>
        <p:spPr bwMode="gray">
          <a:xfrm>
            <a:off x="6313488" y="151200"/>
            <a:ext cx="4393761" cy="180000"/>
          </a:xfrm>
          <a:prstGeom prst="rect">
            <a:avLst/>
          </a:prstGeom>
        </p:spPr>
        <p:txBody>
          <a:bodyPr/>
          <a:lstStyle/>
          <a:p>
            <a:r>
              <a:rPr lang="de-DE"/>
              <a:t>UIP-EQ-CON  |  C0  |</a:t>
            </a:r>
          </a:p>
        </p:txBody>
      </p:sp>
      <p:sp>
        <p:nvSpPr>
          <p:cNvPr id="7" name="Foliennummernplatzhalter 6">
            <a:extLst>
              <a:ext uri="{FF2B5EF4-FFF2-40B4-BE49-F238E27FC236}">
                <a16:creationId xmlns:a16="http://schemas.microsoft.com/office/drawing/2014/main" id="{04C38013-45C9-48D9-971F-F1A5581A4B0E}"/>
              </a:ext>
            </a:extLst>
          </p:cNvPr>
          <p:cNvSpPr>
            <a:spLocks noGrp="1"/>
          </p:cNvSpPr>
          <p:nvPr>
            <p:ph type="sldNum" sz="quarter" idx="31"/>
          </p:nvPr>
        </p:nvSpPr>
        <p:spPr bwMode="gray">
          <a:xfrm>
            <a:off x="11504750" y="151200"/>
            <a:ext cx="280800" cy="180000"/>
          </a:xfrm>
          <a:prstGeom prst="rect">
            <a:avLst/>
          </a:prstGeom>
        </p:spPr>
        <p:txBody>
          <a:bodyPr/>
          <a:lstStyle/>
          <a:p>
            <a:fld id="{9C89B081-1F44-4440-BC7B-989C90F97B77}" type="slidenum">
              <a:rPr lang="de-DE"/>
              <a:pPr/>
              <a:t>‹Nr.›</a:t>
            </a:fld>
            <a:endParaRPr lang="de-DE"/>
          </a:p>
        </p:txBody>
      </p:sp>
    </p:spTree>
    <p:extLst>
      <p:ext uri="{BB962C8B-B14F-4D97-AF65-F5344CB8AC3E}">
        <p14:creationId xmlns:p14="http://schemas.microsoft.com/office/powerpoint/2010/main" val="2735972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57">
          <p15:clr>
            <a:srgbClr val="F26B43"/>
          </p15:clr>
        </p15:guide>
        <p15:guide id="3" orient="horz" pos="255">
          <p15:clr>
            <a:srgbClr val="F26B43"/>
          </p15:clr>
        </p15:guide>
        <p15:guide id="6" orient="horz" pos="890">
          <p15:clr>
            <a:srgbClr val="F26B43"/>
          </p15:clr>
        </p15:guide>
        <p15:guide id="9" pos="3976">
          <p15:clr>
            <a:srgbClr val="F26B43"/>
          </p15:clr>
        </p15:guide>
        <p15:guide id="10" pos="3705">
          <p15:clr>
            <a:srgbClr val="F26B43"/>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Zweispaltig mit Markenform links 02">
    <p:spTree>
      <p:nvGrpSpPr>
        <p:cNvPr id="1" name=""/>
        <p:cNvGrpSpPr/>
        <p:nvPr/>
      </p:nvGrpSpPr>
      <p:grpSpPr>
        <a:xfrm>
          <a:off x="0" y="0"/>
          <a:ext cx="0" cy="0"/>
          <a:chOff x="0" y="0"/>
          <a:chExt cx="0" cy="0"/>
        </a:xfrm>
      </p:grpSpPr>
      <p:sp>
        <p:nvSpPr>
          <p:cNvPr id="16" name="Inhaltsplatzhalter 2"/>
          <p:cNvSpPr>
            <a:spLocks noGrp="1"/>
          </p:cNvSpPr>
          <p:nvPr>
            <p:ph sz="quarter" idx="24" hasCustomPrompt="1"/>
          </p:nvPr>
        </p:nvSpPr>
        <p:spPr bwMode="gray">
          <a:xfrm>
            <a:off x="6313611" y="1412776"/>
            <a:ext cx="5472000" cy="4896445"/>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5" name="Textplatzhalter 3"/>
          <p:cNvSpPr>
            <a:spLocks noGrp="1"/>
          </p:cNvSpPr>
          <p:nvPr>
            <p:ph type="body" sz="quarter" idx="23" hasCustomPrompt="1"/>
          </p:nvPr>
        </p:nvSpPr>
        <p:spPr bwMode="gray">
          <a:xfrm>
            <a:off x="6313611" y="6001543"/>
            <a:ext cx="5472000"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a:t>Quelle:</a:t>
            </a:r>
          </a:p>
        </p:txBody>
      </p:sp>
      <p:sp>
        <p:nvSpPr>
          <p:cNvPr id="13" name="Textplatzhalter 12">
            <a:extLst>
              <a:ext uri="{FF2B5EF4-FFF2-40B4-BE49-F238E27FC236}">
                <a16:creationId xmlns:a16="http://schemas.microsoft.com/office/drawing/2014/main" id="{2717C83D-431F-4C94-BEAC-38C5298EC06C}"/>
              </a:ext>
            </a:extLst>
          </p:cNvPr>
          <p:cNvSpPr>
            <a:spLocks noGrp="1" noChangeAspect="1"/>
          </p:cNvSpPr>
          <p:nvPr>
            <p:ph type="body" sz="quarter" idx="30" hasCustomPrompt="1"/>
          </p:nvPr>
        </p:nvSpPr>
        <p:spPr bwMode="gray">
          <a:xfrm>
            <a:off x="408955" y="1412776"/>
            <a:ext cx="5472000" cy="4896000"/>
          </a:xfrm>
          <a:custGeom>
            <a:avLst/>
            <a:gdLst>
              <a:gd name="connsiteX0" fmla="*/ 4676664 w 5473336"/>
              <a:gd name="connsiteY0" fmla="*/ 1448 h 4883744"/>
              <a:gd name="connsiteX1" fmla="*/ 5473336 w 5473336"/>
              <a:gd name="connsiteY1" fmla="*/ 743338 h 4883744"/>
              <a:gd name="connsiteX2" fmla="*/ 5473336 w 5473336"/>
              <a:gd name="connsiteY2" fmla="*/ 1633637 h 4883744"/>
              <a:gd name="connsiteX3" fmla="*/ 5473336 w 5473336"/>
              <a:gd name="connsiteY3" fmla="*/ 1674371 h 4883744"/>
              <a:gd name="connsiteX4" fmla="*/ 5473336 w 5473336"/>
              <a:gd name="connsiteY4" fmla="*/ 1677497 h 4883744"/>
              <a:gd name="connsiteX5" fmla="*/ 5473336 w 5473336"/>
              <a:gd name="connsiteY5" fmla="*/ 1812665 h 4883744"/>
              <a:gd name="connsiteX6" fmla="*/ 5473336 w 5473336"/>
              <a:gd name="connsiteY6" fmla="*/ 1856161 h 4883744"/>
              <a:gd name="connsiteX7" fmla="*/ 5473336 w 5473336"/>
              <a:gd name="connsiteY7" fmla="*/ 1958257 h 4883744"/>
              <a:gd name="connsiteX8" fmla="*/ 5473336 w 5473336"/>
              <a:gd name="connsiteY8" fmla="*/ 2093425 h 4883744"/>
              <a:gd name="connsiteX9" fmla="*/ 5473336 w 5473336"/>
              <a:gd name="connsiteY9" fmla="*/ 2096551 h 4883744"/>
              <a:gd name="connsiteX10" fmla="*/ 5473336 w 5473336"/>
              <a:gd name="connsiteY10" fmla="*/ 2377311 h 4883744"/>
              <a:gd name="connsiteX11" fmla="*/ 5473336 w 5473336"/>
              <a:gd name="connsiteY11" fmla="*/ 2506434 h 4883744"/>
              <a:gd name="connsiteX12" fmla="*/ 5473336 w 5473336"/>
              <a:gd name="connsiteY12" fmla="*/ 2787194 h 4883744"/>
              <a:gd name="connsiteX13" fmla="*/ 5473336 w 5473336"/>
              <a:gd name="connsiteY13" fmla="*/ 2790320 h 4883744"/>
              <a:gd name="connsiteX14" fmla="*/ 5473336 w 5473336"/>
              <a:gd name="connsiteY14" fmla="*/ 2861522 h 4883744"/>
              <a:gd name="connsiteX15" fmla="*/ 5473336 w 5473336"/>
              <a:gd name="connsiteY15" fmla="*/ 2925488 h 4883744"/>
              <a:gd name="connsiteX16" fmla="*/ 5473336 w 5473336"/>
              <a:gd name="connsiteY16" fmla="*/ 3071080 h 4883744"/>
              <a:gd name="connsiteX17" fmla="*/ 5473336 w 5473336"/>
              <a:gd name="connsiteY17" fmla="*/ 3078035 h 4883744"/>
              <a:gd name="connsiteX18" fmla="*/ 5473336 w 5473336"/>
              <a:gd name="connsiteY18" fmla="*/ 3206248 h 4883744"/>
              <a:gd name="connsiteX19" fmla="*/ 5473336 w 5473336"/>
              <a:gd name="connsiteY19" fmla="*/ 3974345 h 4883744"/>
              <a:gd name="connsiteX20" fmla="*/ 966865 w 5473336"/>
              <a:gd name="connsiteY20" fmla="*/ 4862978 h 4883744"/>
              <a:gd name="connsiteX21" fmla="*/ 0 w 5473336"/>
              <a:gd name="connsiteY21" fmla="*/ 4140407 h 4883744"/>
              <a:gd name="connsiteX22" fmla="*/ 0 w 5473336"/>
              <a:gd name="connsiteY22" fmla="*/ 3206248 h 4883744"/>
              <a:gd name="connsiteX23" fmla="*/ 0 w 5473336"/>
              <a:gd name="connsiteY23" fmla="*/ 3078035 h 4883744"/>
              <a:gd name="connsiteX24" fmla="*/ 0 w 5473336"/>
              <a:gd name="connsiteY24" fmla="*/ 3071080 h 4883744"/>
              <a:gd name="connsiteX25" fmla="*/ 0 w 5473336"/>
              <a:gd name="connsiteY25" fmla="*/ 3027584 h 4883744"/>
              <a:gd name="connsiteX26" fmla="*/ 0 w 5473336"/>
              <a:gd name="connsiteY26" fmla="*/ 2925488 h 4883744"/>
              <a:gd name="connsiteX27" fmla="*/ 0 w 5473336"/>
              <a:gd name="connsiteY27" fmla="*/ 2790320 h 4883744"/>
              <a:gd name="connsiteX28" fmla="*/ 0 w 5473336"/>
              <a:gd name="connsiteY28" fmla="*/ 2787194 h 4883744"/>
              <a:gd name="connsiteX29" fmla="*/ 0 w 5473336"/>
              <a:gd name="connsiteY29" fmla="*/ 2506434 h 4883744"/>
              <a:gd name="connsiteX30" fmla="*/ 0 w 5473336"/>
              <a:gd name="connsiteY30" fmla="*/ 2377311 h 4883744"/>
              <a:gd name="connsiteX31" fmla="*/ 0 w 5473336"/>
              <a:gd name="connsiteY31" fmla="*/ 2096551 h 4883744"/>
              <a:gd name="connsiteX32" fmla="*/ 0 w 5473336"/>
              <a:gd name="connsiteY32" fmla="*/ 2093425 h 4883744"/>
              <a:gd name="connsiteX33" fmla="*/ 0 w 5473336"/>
              <a:gd name="connsiteY33" fmla="*/ 2022223 h 4883744"/>
              <a:gd name="connsiteX34" fmla="*/ 0 w 5473336"/>
              <a:gd name="connsiteY34" fmla="*/ 1958257 h 4883744"/>
              <a:gd name="connsiteX35" fmla="*/ 0 w 5473336"/>
              <a:gd name="connsiteY35" fmla="*/ 1812665 h 4883744"/>
              <a:gd name="connsiteX36" fmla="*/ 0 w 5473336"/>
              <a:gd name="connsiteY36" fmla="*/ 1738337 h 4883744"/>
              <a:gd name="connsiteX37" fmla="*/ 0 w 5473336"/>
              <a:gd name="connsiteY37" fmla="*/ 1677497 h 4883744"/>
              <a:gd name="connsiteX38" fmla="*/ 0 w 5473336"/>
              <a:gd name="connsiteY38" fmla="*/ 1674371 h 4883744"/>
              <a:gd name="connsiteX39" fmla="*/ 0 w 5473336"/>
              <a:gd name="connsiteY39" fmla="*/ 1633637 h 4883744"/>
              <a:gd name="connsiteX40" fmla="*/ 0 w 5473336"/>
              <a:gd name="connsiteY40" fmla="*/ 909400 h 4883744"/>
              <a:gd name="connsiteX41" fmla="*/ 4506471 w 5473336"/>
              <a:gd name="connsiteY41" fmla="*/ 20767 h 4883744"/>
              <a:gd name="connsiteX42" fmla="*/ 4676664 w 5473336"/>
              <a:gd name="connsiteY42" fmla="*/ 1448 h 4883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473336" h="4883744">
                <a:moveTo>
                  <a:pt x="4676664" y="1448"/>
                </a:moveTo>
                <a:cubicBezTo>
                  <a:pt x="5473336" y="-38046"/>
                  <a:pt x="5473336" y="743338"/>
                  <a:pt x="5473336" y="743338"/>
                </a:cubicBezTo>
                <a:lnTo>
                  <a:pt x="5473336" y="1633637"/>
                </a:lnTo>
                <a:lnTo>
                  <a:pt x="5473336" y="1674371"/>
                </a:lnTo>
                <a:lnTo>
                  <a:pt x="5473336" y="1677497"/>
                </a:lnTo>
                <a:lnTo>
                  <a:pt x="5473336" y="1812665"/>
                </a:lnTo>
                <a:lnTo>
                  <a:pt x="5473336" y="1856161"/>
                </a:lnTo>
                <a:lnTo>
                  <a:pt x="5473336" y="1958257"/>
                </a:lnTo>
                <a:lnTo>
                  <a:pt x="5473336" y="2093425"/>
                </a:lnTo>
                <a:lnTo>
                  <a:pt x="5473336" y="2096551"/>
                </a:lnTo>
                <a:lnTo>
                  <a:pt x="5473336" y="2377311"/>
                </a:lnTo>
                <a:lnTo>
                  <a:pt x="5473336" y="2506434"/>
                </a:lnTo>
                <a:lnTo>
                  <a:pt x="5473336" y="2787194"/>
                </a:lnTo>
                <a:lnTo>
                  <a:pt x="5473336" y="2790320"/>
                </a:lnTo>
                <a:lnTo>
                  <a:pt x="5473336" y="2861522"/>
                </a:lnTo>
                <a:lnTo>
                  <a:pt x="5473336" y="2925488"/>
                </a:lnTo>
                <a:lnTo>
                  <a:pt x="5473336" y="3071080"/>
                </a:lnTo>
                <a:lnTo>
                  <a:pt x="5473336" y="3078035"/>
                </a:lnTo>
                <a:lnTo>
                  <a:pt x="5473336" y="3206248"/>
                </a:lnTo>
                <a:lnTo>
                  <a:pt x="5473336" y="3974345"/>
                </a:lnTo>
                <a:lnTo>
                  <a:pt x="966865" y="4862978"/>
                </a:lnTo>
                <a:cubicBezTo>
                  <a:pt x="0" y="5029448"/>
                  <a:pt x="0" y="4140407"/>
                  <a:pt x="0" y="4140407"/>
                </a:cubicBezTo>
                <a:lnTo>
                  <a:pt x="0" y="3206248"/>
                </a:lnTo>
                <a:lnTo>
                  <a:pt x="0" y="3078035"/>
                </a:lnTo>
                <a:lnTo>
                  <a:pt x="0" y="3071080"/>
                </a:lnTo>
                <a:lnTo>
                  <a:pt x="0" y="3027584"/>
                </a:lnTo>
                <a:lnTo>
                  <a:pt x="0" y="2925488"/>
                </a:lnTo>
                <a:lnTo>
                  <a:pt x="0" y="2790320"/>
                </a:lnTo>
                <a:lnTo>
                  <a:pt x="0" y="2787194"/>
                </a:lnTo>
                <a:lnTo>
                  <a:pt x="0" y="2506434"/>
                </a:lnTo>
                <a:lnTo>
                  <a:pt x="0" y="2377311"/>
                </a:lnTo>
                <a:lnTo>
                  <a:pt x="0" y="2096551"/>
                </a:lnTo>
                <a:lnTo>
                  <a:pt x="0" y="2093425"/>
                </a:lnTo>
                <a:lnTo>
                  <a:pt x="0" y="2022223"/>
                </a:lnTo>
                <a:lnTo>
                  <a:pt x="0" y="1958257"/>
                </a:lnTo>
                <a:lnTo>
                  <a:pt x="0" y="1812665"/>
                </a:lnTo>
                <a:lnTo>
                  <a:pt x="0" y="1738337"/>
                </a:lnTo>
                <a:lnTo>
                  <a:pt x="0" y="1677497"/>
                </a:lnTo>
                <a:lnTo>
                  <a:pt x="0" y="1674371"/>
                </a:lnTo>
                <a:lnTo>
                  <a:pt x="0" y="1633637"/>
                </a:lnTo>
                <a:lnTo>
                  <a:pt x="0" y="909400"/>
                </a:lnTo>
                <a:lnTo>
                  <a:pt x="4506471" y="20767"/>
                </a:lnTo>
                <a:cubicBezTo>
                  <a:pt x="4566900" y="10363"/>
                  <a:pt x="4623552" y="4081"/>
                  <a:pt x="4676664" y="1448"/>
                </a:cubicBezTo>
                <a:close/>
              </a:path>
            </a:pathLst>
          </a:custGeom>
          <a:solidFill>
            <a:schemeClr val="tx2"/>
          </a:solidFill>
        </p:spPr>
        <p:txBody>
          <a:bodyPr wrap="square" lIns="324000" tIns="1216800" rIns="32400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4" name="Titel 3">
            <a:extLst>
              <a:ext uri="{FF2B5EF4-FFF2-40B4-BE49-F238E27FC236}">
                <a16:creationId xmlns:a16="http://schemas.microsoft.com/office/drawing/2014/main" id="{E7FDA46B-AC42-497F-9DFD-87CDC7AAD004}"/>
              </a:ext>
            </a:extLst>
          </p:cNvPr>
          <p:cNvSpPr>
            <a:spLocks noGrp="1"/>
          </p:cNvSpPr>
          <p:nvPr>
            <p:ph type="title" hasCustomPrompt="1"/>
          </p:nvPr>
        </p:nvSpPr>
        <p:spPr bwMode="gray"/>
        <p:txBody>
          <a:bodyPr/>
          <a:lstStyle>
            <a:lvl1pPr>
              <a:defRPr/>
            </a:lvl1pPr>
          </a:lstStyle>
          <a:p>
            <a:r>
              <a:rPr lang="de-DE"/>
              <a:t>Titel durch Klicken bearbeiten</a:t>
            </a:r>
          </a:p>
        </p:txBody>
      </p:sp>
      <p:sp>
        <p:nvSpPr>
          <p:cNvPr id="2" name="Datumsplatzhalter 1">
            <a:extLst>
              <a:ext uri="{FF2B5EF4-FFF2-40B4-BE49-F238E27FC236}">
                <a16:creationId xmlns:a16="http://schemas.microsoft.com/office/drawing/2014/main" id="{A22F1C15-782E-4B2C-A2E9-361CB8446BEA}"/>
              </a:ext>
            </a:extLst>
          </p:cNvPr>
          <p:cNvSpPr>
            <a:spLocks noGrp="1"/>
          </p:cNvSpPr>
          <p:nvPr>
            <p:ph type="dt" sz="half" idx="31"/>
          </p:nvPr>
        </p:nvSpPr>
        <p:spPr bwMode="gray">
          <a:xfrm>
            <a:off x="10709631" y="151200"/>
            <a:ext cx="748800" cy="180000"/>
          </a:xfrm>
          <a:prstGeom prst="rect">
            <a:avLst/>
          </a:prstGeom>
        </p:spPr>
        <p:txBody>
          <a:bodyPr/>
          <a:lstStyle/>
          <a:p>
            <a:r>
              <a:rPr lang="de-DE"/>
              <a:t>Jan. 2023</a:t>
            </a:r>
          </a:p>
        </p:txBody>
      </p:sp>
      <p:sp>
        <p:nvSpPr>
          <p:cNvPr id="3" name="Fußzeilenplatzhalter 2">
            <a:extLst>
              <a:ext uri="{FF2B5EF4-FFF2-40B4-BE49-F238E27FC236}">
                <a16:creationId xmlns:a16="http://schemas.microsoft.com/office/drawing/2014/main" id="{AD984C28-5572-4147-9BEB-25DCFB06761F}"/>
              </a:ext>
            </a:extLst>
          </p:cNvPr>
          <p:cNvSpPr>
            <a:spLocks noGrp="1"/>
          </p:cNvSpPr>
          <p:nvPr>
            <p:ph type="ftr" sz="quarter" idx="32"/>
          </p:nvPr>
        </p:nvSpPr>
        <p:spPr bwMode="gray">
          <a:xfrm>
            <a:off x="6313488" y="151200"/>
            <a:ext cx="4393761" cy="180000"/>
          </a:xfrm>
          <a:prstGeom prst="rect">
            <a:avLst/>
          </a:prstGeom>
        </p:spPr>
        <p:txBody>
          <a:bodyPr/>
          <a:lstStyle/>
          <a:p>
            <a:r>
              <a:rPr lang="de-DE"/>
              <a:t>UIP-EQ-CON  |  C0  |</a:t>
            </a:r>
          </a:p>
        </p:txBody>
      </p:sp>
      <p:sp>
        <p:nvSpPr>
          <p:cNvPr id="7" name="Foliennummernplatzhalter 6">
            <a:extLst>
              <a:ext uri="{FF2B5EF4-FFF2-40B4-BE49-F238E27FC236}">
                <a16:creationId xmlns:a16="http://schemas.microsoft.com/office/drawing/2014/main" id="{1C6F92A8-FAD4-42FF-ADAD-6DAC89E1A1C9}"/>
              </a:ext>
            </a:extLst>
          </p:cNvPr>
          <p:cNvSpPr>
            <a:spLocks noGrp="1"/>
          </p:cNvSpPr>
          <p:nvPr>
            <p:ph type="sldNum" sz="quarter" idx="33"/>
          </p:nvPr>
        </p:nvSpPr>
        <p:spPr bwMode="gray">
          <a:xfrm>
            <a:off x="11504750" y="151200"/>
            <a:ext cx="280800" cy="180000"/>
          </a:xfrm>
          <a:prstGeom prst="rect">
            <a:avLst/>
          </a:prstGeom>
        </p:spPr>
        <p:txBody>
          <a:bodyPr/>
          <a:lstStyle/>
          <a:p>
            <a:fld id="{9C89B081-1F44-4440-BC7B-989C90F97B77}" type="slidenum">
              <a:rPr lang="de-DE"/>
              <a:pPr/>
              <a:t>‹Nr.›</a:t>
            </a:fld>
            <a:endParaRPr lang="de-DE"/>
          </a:p>
        </p:txBody>
      </p:sp>
    </p:spTree>
    <p:extLst>
      <p:ext uri="{BB962C8B-B14F-4D97-AF65-F5344CB8AC3E}">
        <p14:creationId xmlns:p14="http://schemas.microsoft.com/office/powerpoint/2010/main" val="983495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57">
          <p15:clr>
            <a:srgbClr val="F26B43"/>
          </p15:clr>
        </p15:guide>
        <p15:guide id="3" orient="horz" pos="255">
          <p15:clr>
            <a:srgbClr val="F26B43"/>
          </p15:clr>
        </p15:guide>
        <p15:guide id="6" orient="horz" pos="890">
          <p15:clr>
            <a:srgbClr val="F26B43"/>
          </p15:clr>
        </p15:guide>
        <p15:guide id="9" pos="3977">
          <p15:clr>
            <a:srgbClr val="F26B43"/>
          </p15:clr>
        </p15:guide>
        <p15:guide id="10" pos="3705">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Zweispaltig mit Markenform links 03">
    <p:spTree>
      <p:nvGrpSpPr>
        <p:cNvPr id="1" name=""/>
        <p:cNvGrpSpPr/>
        <p:nvPr/>
      </p:nvGrpSpPr>
      <p:grpSpPr>
        <a:xfrm>
          <a:off x="0" y="0"/>
          <a:ext cx="0" cy="0"/>
          <a:chOff x="0" y="0"/>
          <a:chExt cx="0" cy="0"/>
        </a:xfrm>
      </p:grpSpPr>
      <p:sp>
        <p:nvSpPr>
          <p:cNvPr id="16" name="Inhaltsplatzhalter 2"/>
          <p:cNvSpPr>
            <a:spLocks noGrp="1"/>
          </p:cNvSpPr>
          <p:nvPr>
            <p:ph sz="quarter" idx="24" hasCustomPrompt="1"/>
          </p:nvPr>
        </p:nvSpPr>
        <p:spPr bwMode="gray">
          <a:xfrm>
            <a:off x="6313610" y="1412776"/>
            <a:ext cx="5471989" cy="4896445"/>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5" name="Textplatzhalter 3"/>
          <p:cNvSpPr>
            <a:spLocks noGrp="1"/>
          </p:cNvSpPr>
          <p:nvPr>
            <p:ph type="body" sz="quarter" idx="23" hasCustomPrompt="1"/>
          </p:nvPr>
        </p:nvSpPr>
        <p:spPr bwMode="gray">
          <a:xfrm>
            <a:off x="6313610" y="6001543"/>
            <a:ext cx="5471989"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a:t>Quelle:</a:t>
            </a:r>
          </a:p>
        </p:txBody>
      </p:sp>
      <p:sp>
        <p:nvSpPr>
          <p:cNvPr id="14" name="Textplatzhalter 13">
            <a:extLst>
              <a:ext uri="{FF2B5EF4-FFF2-40B4-BE49-F238E27FC236}">
                <a16:creationId xmlns:a16="http://schemas.microsoft.com/office/drawing/2014/main" id="{AA5E6719-7D45-4CEE-B7F8-0F96AB357F5D}"/>
              </a:ext>
            </a:extLst>
          </p:cNvPr>
          <p:cNvSpPr>
            <a:spLocks noGrp="1" noChangeAspect="1"/>
          </p:cNvSpPr>
          <p:nvPr>
            <p:ph type="body" sz="quarter" idx="30" hasCustomPrompt="1"/>
          </p:nvPr>
        </p:nvSpPr>
        <p:spPr bwMode="gray">
          <a:xfrm>
            <a:off x="408955" y="1412776"/>
            <a:ext cx="5473594" cy="4896000"/>
          </a:xfrm>
          <a:custGeom>
            <a:avLst/>
            <a:gdLst>
              <a:gd name="connsiteX0" fmla="*/ 4676664 w 5473336"/>
              <a:gd name="connsiteY0" fmla="*/ 1448 h 4883744"/>
              <a:gd name="connsiteX1" fmla="*/ 5473336 w 5473336"/>
              <a:gd name="connsiteY1" fmla="*/ 743338 h 4883744"/>
              <a:gd name="connsiteX2" fmla="*/ 5473336 w 5473336"/>
              <a:gd name="connsiteY2" fmla="*/ 1633637 h 4883744"/>
              <a:gd name="connsiteX3" fmla="*/ 5473336 w 5473336"/>
              <a:gd name="connsiteY3" fmla="*/ 1674371 h 4883744"/>
              <a:gd name="connsiteX4" fmla="*/ 5473336 w 5473336"/>
              <a:gd name="connsiteY4" fmla="*/ 1677497 h 4883744"/>
              <a:gd name="connsiteX5" fmla="*/ 5473336 w 5473336"/>
              <a:gd name="connsiteY5" fmla="*/ 1812665 h 4883744"/>
              <a:gd name="connsiteX6" fmla="*/ 5473336 w 5473336"/>
              <a:gd name="connsiteY6" fmla="*/ 1856161 h 4883744"/>
              <a:gd name="connsiteX7" fmla="*/ 5473336 w 5473336"/>
              <a:gd name="connsiteY7" fmla="*/ 1958257 h 4883744"/>
              <a:gd name="connsiteX8" fmla="*/ 5473336 w 5473336"/>
              <a:gd name="connsiteY8" fmla="*/ 2093425 h 4883744"/>
              <a:gd name="connsiteX9" fmla="*/ 5473336 w 5473336"/>
              <a:gd name="connsiteY9" fmla="*/ 2096551 h 4883744"/>
              <a:gd name="connsiteX10" fmla="*/ 5473336 w 5473336"/>
              <a:gd name="connsiteY10" fmla="*/ 2377311 h 4883744"/>
              <a:gd name="connsiteX11" fmla="*/ 5473336 w 5473336"/>
              <a:gd name="connsiteY11" fmla="*/ 2506434 h 4883744"/>
              <a:gd name="connsiteX12" fmla="*/ 5473336 w 5473336"/>
              <a:gd name="connsiteY12" fmla="*/ 2787194 h 4883744"/>
              <a:gd name="connsiteX13" fmla="*/ 5473336 w 5473336"/>
              <a:gd name="connsiteY13" fmla="*/ 2790320 h 4883744"/>
              <a:gd name="connsiteX14" fmla="*/ 5473336 w 5473336"/>
              <a:gd name="connsiteY14" fmla="*/ 2861522 h 4883744"/>
              <a:gd name="connsiteX15" fmla="*/ 5473336 w 5473336"/>
              <a:gd name="connsiteY15" fmla="*/ 2925488 h 4883744"/>
              <a:gd name="connsiteX16" fmla="*/ 5473336 w 5473336"/>
              <a:gd name="connsiteY16" fmla="*/ 3071080 h 4883744"/>
              <a:gd name="connsiteX17" fmla="*/ 5473336 w 5473336"/>
              <a:gd name="connsiteY17" fmla="*/ 3078035 h 4883744"/>
              <a:gd name="connsiteX18" fmla="*/ 5473336 w 5473336"/>
              <a:gd name="connsiteY18" fmla="*/ 3206248 h 4883744"/>
              <a:gd name="connsiteX19" fmla="*/ 5473336 w 5473336"/>
              <a:gd name="connsiteY19" fmla="*/ 3974345 h 4883744"/>
              <a:gd name="connsiteX20" fmla="*/ 966865 w 5473336"/>
              <a:gd name="connsiteY20" fmla="*/ 4862978 h 4883744"/>
              <a:gd name="connsiteX21" fmla="*/ 0 w 5473336"/>
              <a:gd name="connsiteY21" fmla="*/ 4140407 h 4883744"/>
              <a:gd name="connsiteX22" fmla="*/ 0 w 5473336"/>
              <a:gd name="connsiteY22" fmla="*/ 3206248 h 4883744"/>
              <a:gd name="connsiteX23" fmla="*/ 0 w 5473336"/>
              <a:gd name="connsiteY23" fmla="*/ 3078035 h 4883744"/>
              <a:gd name="connsiteX24" fmla="*/ 0 w 5473336"/>
              <a:gd name="connsiteY24" fmla="*/ 3071080 h 4883744"/>
              <a:gd name="connsiteX25" fmla="*/ 0 w 5473336"/>
              <a:gd name="connsiteY25" fmla="*/ 3027584 h 4883744"/>
              <a:gd name="connsiteX26" fmla="*/ 0 w 5473336"/>
              <a:gd name="connsiteY26" fmla="*/ 2925488 h 4883744"/>
              <a:gd name="connsiteX27" fmla="*/ 0 w 5473336"/>
              <a:gd name="connsiteY27" fmla="*/ 2790320 h 4883744"/>
              <a:gd name="connsiteX28" fmla="*/ 0 w 5473336"/>
              <a:gd name="connsiteY28" fmla="*/ 2787194 h 4883744"/>
              <a:gd name="connsiteX29" fmla="*/ 0 w 5473336"/>
              <a:gd name="connsiteY29" fmla="*/ 2506434 h 4883744"/>
              <a:gd name="connsiteX30" fmla="*/ 0 w 5473336"/>
              <a:gd name="connsiteY30" fmla="*/ 2377311 h 4883744"/>
              <a:gd name="connsiteX31" fmla="*/ 0 w 5473336"/>
              <a:gd name="connsiteY31" fmla="*/ 2096551 h 4883744"/>
              <a:gd name="connsiteX32" fmla="*/ 0 w 5473336"/>
              <a:gd name="connsiteY32" fmla="*/ 2093425 h 4883744"/>
              <a:gd name="connsiteX33" fmla="*/ 0 w 5473336"/>
              <a:gd name="connsiteY33" fmla="*/ 2022223 h 4883744"/>
              <a:gd name="connsiteX34" fmla="*/ 0 w 5473336"/>
              <a:gd name="connsiteY34" fmla="*/ 1958257 h 4883744"/>
              <a:gd name="connsiteX35" fmla="*/ 0 w 5473336"/>
              <a:gd name="connsiteY35" fmla="*/ 1812665 h 4883744"/>
              <a:gd name="connsiteX36" fmla="*/ 0 w 5473336"/>
              <a:gd name="connsiteY36" fmla="*/ 1738337 h 4883744"/>
              <a:gd name="connsiteX37" fmla="*/ 0 w 5473336"/>
              <a:gd name="connsiteY37" fmla="*/ 1677497 h 4883744"/>
              <a:gd name="connsiteX38" fmla="*/ 0 w 5473336"/>
              <a:gd name="connsiteY38" fmla="*/ 1674371 h 4883744"/>
              <a:gd name="connsiteX39" fmla="*/ 0 w 5473336"/>
              <a:gd name="connsiteY39" fmla="*/ 1633637 h 4883744"/>
              <a:gd name="connsiteX40" fmla="*/ 0 w 5473336"/>
              <a:gd name="connsiteY40" fmla="*/ 909400 h 4883744"/>
              <a:gd name="connsiteX41" fmla="*/ 4506471 w 5473336"/>
              <a:gd name="connsiteY41" fmla="*/ 20767 h 4883744"/>
              <a:gd name="connsiteX42" fmla="*/ 4676664 w 5473336"/>
              <a:gd name="connsiteY42" fmla="*/ 1448 h 4883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473336" h="4883744">
                <a:moveTo>
                  <a:pt x="4676664" y="1448"/>
                </a:moveTo>
                <a:cubicBezTo>
                  <a:pt x="5473336" y="-38046"/>
                  <a:pt x="5473336" y="743338"/>
                  <a:pt x="5473336" y="743338"/>
                </a:cubicBezTo>
                <a:lnTo>
                  <a:pt x="5473336" y="1633637"/>
                </a:lnTo>
                <a:lnTo>
                  <a:pt x="5473336" y="1674371"/>
                </a:lnTo>
                <a:lnTo>
                  <a:pt x="5473336" y="1677497"/>
                </a:lnTo>
                <a:lnTo>
                  <a:pt x="5473336" y="1812665"/>
                </a:lnTo>
                <a:lnTo>
                  <a:pt x="5473336" y="1856161"/>
                </a:lnTo>
                <a:lnTo>
                  <a:pt x="5473336" y="1958257"/>
                </a:lnTo>
                <a:lnTo>
                  <a:pt x="5473336" y="2093425"/>
                </a:lnTo>
                <a:lnTo>
                  <a:pt x="5473336" y="2096551"/>
                </a:lnTo>
                <a:lnTo>
                  <a:pt x="5473336" y="2377311"/>
                </a:lnTo>
                <a:lnTo>
                  <a:pt x="5473336" y="2506434"/>
                </a:lnTo>
                <a:lnTo>
                  <a:pt x="5473336" y="2787194"/>
                </a:lnTo>
                <a:lnTo>
                  <a:pt x="5473336" y="2790320"/>
                </a:lnTo>
                <a:lnTo>
                  <a:pt x="5473336" y="2861522"/>
                </a:lnTo>
                <a:lnTo>
                  <a:pt x="5473336" y="2925488"/>
                </a:lnTo>
                <a:lnTo>
                  <a:pt x="5473336" y="3071080"/>
                </a:lnTo>
                <a:lnTo>
                  <a:pt x="5473336" y="3078035"/>
                </a:lnTo>
                <a:lnTo>
                  <a:pt x="5473336" y="3206248"/>
                </a:lnTo>
                <a:lnTo>
                  <a:pt x="5473336" y="3974345"/>
                </a:lnTo>
                <a:lnTo>
                  <a:pt x="966865" y="4862978"/>
                </a:lnTo>
                <a:cubicBezTo>
                  <a:pt x="0" y="5029448"/>
                  <a:pt x="0" y="4140407"/>
                  <a:pt x="0" y="4140407"/>
                </a:cubicBezTo>
                <a:lnTo>
                  <a:pt x="0" y="3206248"/>
                </a:lnTo>
                <a:lnTo>
                  <a:pt x="0" y="3078035"/>
                </a:lnTo>
                <a:lnTo>
                  <a:pt x="0" y="3071080"/>
                </a:lnTo>
                <a:lnTo>
                  <a:pt x="0" y="3027584"/>
                </a:lnTo>
                <a:lnTo>
                  <a:pt x="0" y="2925488"/>
                </a:lnTo>
                <a:lnTo>
                  <a:pt x="0" y="2790320"/>
                </a:lnTo>
                <a:lnTo>
                  <a:pt x="0" y="2787194"/>
                </a:lnTo>
                <a:lnTo>
                  <a:pt x="0" y="2506434"/>
                </a:lnTo>
                <a:lnTo>
                  <a:pt x="0" y="2377311"/>
                </a:lnTo>
                <a:lnTo>
                  <a:pt x="0" y="2096551"/>
                </a:lnTo>
                <a:lnTo>
                  <a:pt x="0" y="2093425"/>
                </a:lnTo>
                <a:lnTo>
                  <a:pt x="0" y="2022223"/>
                </a:lnTo>
                <a:lnTo>
                  <a:pt x="0" y="1958257"/>
                </a:lnTo>
                <a:lnTo>
                  <a:pt x="0" y="1812665"/>
                </a:lnTo>
                <a:lnTo>
                  <a:pt x="0" y="1738337"/>
                </a:lnTo>
                <a:lnTo>
                  <a:pt x="0" y="1677497"/>
                </a:lnTo>
                <a:lnTo>
                  <a:pt x="0" y="1674371"/>
                </a:lnTo>
                <a:lnTo>
                  <a:pt x="0" y="1633637"/>
                </a:lnTo>
                <a:lnTo>
                  <a:pt x="0" y="909400"/>
                </a:lnTo>
                <a:lnTo>
                  <a:pt x="4506471" y="20767"/>
                </a:lnTo>
                <a:cubicBezTo>
                  <a:pt x="4566900" y="10363"/>
                  <a:pt x="4623552" y="4081"/>
                  <a:pt x="4676664" y="1448"/>
                </a:cubicBezTo>
                <a:close/>
              </a:path>
            </a:pathLst>
          </a:custGeom>
          <a:noFill/>
          <a:ln w="19050">
            <a:solidFill>
              <a:schemeClr val="accent2"/>
            </a:solidFill>
          </a:ln>
        </p:spPr>
        <p:txBody>
          <a:bodyPr vert="horz" wrap="square" lIns="324000" tIns="1224000" rIns="324000" bIns="0" rtlCol="0">
            <a:noAutofit/>
          </a:bodyPr>
          <a:lstStyle>
            <a:lvl1pPr>
              <a:defRPr lang="de-DE" dirty="0"/>
            </a:lvl1pPr>
            <a:lvl2pPr>
              <a:defRPr lang="de-DE" dirty="0"/>
            </a:lvl2pPr>
            <a:lvl3pPr>
              <a:defRPr lang="de-DE" dirty="0"/>
            </a:lvl3pPr>
            <a:lvl4pPr>
              <a:defRPr lang="de-DE" dirty="0"/>
            </a:lvl4pPr>
            <a:lvl5pPr>
              <a:defRPr lang="de-DE" dirty="0"/>
            </a:lvl5pPr>
            <a:lvl6pPr>
              <a:defRPr lang="de-DE" dirty="0"/>
            </a:lvl6pPr>
            <a:lvl7pPr>
              <a:defRPr lang="de-DE" dirty="0"/>
            </a:lvl7pPr>
            <a:lvl8pPr>
              <a:defRPr lang="de-DE" dirty="0"/>
            </a:lvl8pPr>
            <a:lvl9pPr>
              <a:defRPr lang="de-DE" dirty="0"/>
            </a:lvl9p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4" name="Titel 3">
            <a:extLst>
              <a:ext uri="{FF2B5EF4-FFF2-40B4-BE49-F238E27FC236}">
                <a16:creationId xmlns:a16="http://schemas.microsoft.com/office/drawing/2014/main" id="{C64D3147-6A98-4684-B348-F506E50A7218}"/>
              </a:ext>
            </a:extLst>
          </p:cNvPr>
          <p:cNvSpPr>
            <a:spLocks noGrp="1"/>
          </p:cNvSpPr>
          <p:nvPr>
            <p:ph type="title" hasCustomPrompt="1"/>
          </p:nvPr>
        </p:nvSpPr>
        <p:spPr bwMode="gray"/>
        <p:txBody>
          <a:bodyPr/>
          <a:lstStyle>
            <a:lvl1pPr>
              <a:defRPr/>
            </a:lvl1pPr>
          </a:lstStyle>
          <a:p>
            <a:r>
              <a:rPr lang="de-DE"/>
              <a:t>Titel durch Klicken bearbeiten</a:t>
            </a:r>
          </a:p>
        </p:txBody>
      </p:sp>
      <p:sp>
        <p:nvSpPr>
          <p:cNvPr id="12" name="Datumsplatzhalter 11">
            <a:extLst>
              <a:ext uri="{FF2B5EF4-FFF2-40B4-BE49-F238E27FC236}">
                <a16:creationId xmlns:a16="http://schemas.microsoft.com/office/drawing/2014/main" id="{253F14FA-B25B-4FD9-AA98-80E7B88C9450}"/>
              </a:ext>
            </a:extLst>
          </p:cNvPr>
          <p:cNvSpPr>
            <a:spLocks noGrp="1"/>
          </p:cNvSpPr>
          <p:nvPr>
            <p:ph type="dt" sz="half" idx="31"/>
          </p:nvPr>
        </p:nvSpPr>
        <p:spPr bwMode="gray">
          <a:xfrm>
            <a:off x="10709631" y="151200"/>
            <a:ext cx="748800" cy="180000"/>
          </a:xfrm>
          <a:prstGeom prst="rect">
            <a:avLst/>
          </a:prstGeom>
        </p:spPr>
        <p:txBody>
          <a:bodyPr/>
          <a:lstStyle/>
          <a:p>
            <a:r>
              <a:rPr lang="de-DE"/>
              <a:t>Jan. 2023</a:t>
            </a:r>
          </a:p>
        </p:txBody>
      </p:sp>
      <p:sp>
        <p:nvSpPr>
          <p:cNvPr id="13" name="Fußzeilenplatzhalter 12">
            <a:extLst>
              <a:ext uri="{FF2B5EF4-FFF2-40B4-BE49-F238E27FC236}">
                <a16:creationId xmlns:a16="http://schemas.microsoft.com/office/drawing/2014/main" id="{4ECB1D28-ED18-4C3D-9D04-D6E3B360F05A}"/>
              </a:ext>
            </a:extLst>
          </p:cNvPr>
          <p:cNvSpPr>
            <a:spLocks noGrp="1"/>
          </p:cNvSpPr>
          <p:nvPr>
            <p:ph type="ftr" sz="quarter" idx="32"/>
          </p:nvPr>
        </p:nvSpPr>
        <p:spPr bwMode="gray">
          <a:xfrm>
            <a:off x="6313488" y="151200"/>
            <a:ext cx="4393761" cy="180000"/>
          </a:xfrm>
          <a:prstGeom prst="rect">
            <a:avLst/>
          </a:prstGeom>
        </p:spPr>
        <p:txBody>
          <a:bodyPr/>
          <a:lstStyle/>
          <a:p>
            <a:r>
              <a:rPr lang="de-DE"/>
              <a:t>UIP-EQ-CON  |  C0  |</a:t>
            </a:r>
          </a:p>
        </p:txBody>
      </p:sp>
      <p:sp>
        <p:nvSpPr>
          <p:cNvPr id="17" name="Foliennummernplatzhalter 16">
            <a:extLst>
              <a:ext uri="{FF2B5EF4-FFF2-40B4-BE49-F238E27FC236}">
                <a16:creationId xmlns:a16="http://schemas.microsoft.com/office/drawing/2014/main" id="{E23746C8-73AD-4284-A38B-4F2952558076}"/>
              </a:ext>
            </a:extLst>
          </p:cNvPr>
          <p:cNvSpPr>
            <a:spLocks noGrp="1"/>
          </p:cNvSpPr>
          <p:nvPr>
            <p:ph type="sldNum" sz="quarter" idx="33"/>
          </p:nvPr>
        </p:nvSpPr>
        <p:spPr bwMode="gray">
          <a:xfrm>
            <a:off x="11504750" y="151200"/>
            <a:ext cx="280800" cy="180000"/>
          </a:xfrm>
          <a:prstGeom prst="rect">
            <a:avLst/>
          </a:prstGeom>
        </p:spPr>
        <p:txBody>
          <a:bodyPr/>
          <a:lstStyle/>
          <a:p>
            <a:fld id="{9C89B081-1F44-4440-BC7B-989C90F97B77}" type="slidenum">
              <a:rPr lang="de-DE"/>
              <a:pPr/>
              <a:t>‹Nr.›</a:t>
            </a:fld>
            <a:endParaRPr lang="de-DE"/>
          </a:p>
        </p:txBody>
      </p:sp>
    </p:spTree>
    <p:extLst>
      <p:ext uri="{BB962C8B-B14F-4D97-AF65-F5344CB8AC3E}">
        <p14:creationId xmlns:p14="http://schemas.microsoft.com/office/powerpoint/2010/main" val="316447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57">
          <p15:clr>
            <a:srgbClr val="F26B43"/>
          </p15:clr>
        </p15:guide>
        <p15:guide id="3" orient="horz" pos="255">
          <p15:clr>
            <a:srgbClr val="F26B43"/>
          </p15:clr>
        </p15:guide>
        <p15:guide id="6" orient="horz" pos="890">
          <p15:clr>
            <a:srgbClr val="F26B43"/>
          </p15:clr>
        </p15:guide>
        <p15:guide id="9" pos="3977">
          <p15:clr>
            <a:srgbClr val="F26B43"/>
          </p15:clr>
        </p15:guide>
        <p15:guide id="10" pos="3705">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Vollflächiges Bild mit Zitat 01">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EB601A16-8A14-4253-AFFA-8FD4DA9063DB}"/>
              </a:ext>
            </a:extLst>
          </p:cNvPr>
          <p:cNvSpPr>
            <a:spLocks noGrp="1" noChangeAspect="1"/>
          </p:cNvSpPr>
          <p:nvPr>
            <p:ph type="pic" sz="quarter" idx="25" hasCustomPrompt="1"/>
          </p:nvPr>
        </p:nvSpPr>
        <p:spPr bwMode="gray">
          <a:xfrm>
            <a:off x="2" y="3"/>
            <a:ext cx="12195173" cy="6310681"/>
          </a:xfrm>
          <a:custGeom>
            <a:avLst/>
            <a:gdLst>
              <a:gd name="connsiteX0" fmla="*/ 0 w 12195173"/>
              <a:gd name="connsiteY0" fmla="*/ 0 h 6310681"/>
              <a:gd name="connsiteX1" fmla="*/ 12195173 w 12195173"/>
              <a:gd name="connsiteY1" fmla="*/ 0 h 6310681"/>
              <a:gd name="connsiteX2" fmla="*/ 12195173 w 12195173"/>
              <a:gd name="connsiteY2" fmla="*/ 3933113 h 6310681"/>
              <a:gd name="connsiteX3" fmla="*/ 0 w 12195173"/>
              <a:gd name="connsiteY3" fmla="*/ 6310681 h 6310681"/>
            </a:gdLst>
            <a:ahLst/>
            <a:cxnLst>
              <a:cxn ang="0">
                <a:pos x="connsiteX0" y="connsiteY0"/>
              </a:cxn>
              <a:cxn ang="0">
                <a:pos x="connsiteX1" y="connsiteY1"/>
              </a:cxn>
              <a:cxn ang="0">
                <a:pos x="connsiteX2" y="connsiteY2"/>
              </a:cxn>
              <a:cxn ang="0">
                <a:pos x="connsiteX3" y="connsiteY3"/>
              </a:cxn>
            </a:cxnLst>
            <a:rect l="l" t="t" r="r" b="b"/>
            <a:pathLst>
              <a:path w="12195173" h="6310681">
                <a:moveTo>
                  <a:pt x="0" y="0"/>
                </a:moveTo>
                <a:lnTo>
                  <a:pt x="12195173" y="0"/>
                </a:lnTo>
                <a:lnTo>
                  <a:pt x="12195173" y="3933113"/>
                </a:lnTo>
                <a:lnTo>
                  <a:pt x="0" y="6310681"/>
                </a:lnTo>
                <a:close/>
              </a:path>
            </a:pathLst>
          </a:custGeom>
          <a:pattFill prst="pct20">
            <a:fgClr>
              <a:schemeClr val="accent3"/>
            </a:fgClr>
            <a:bgClr>
              <a:schemeClr val="bg1"/>
            </a:bgClr>
          </a:pattFill>
        </p:spPr>
        <p:txBody>
          <a:bodyPr vert="horz" wrap="square" lIns="72000" tIns="72000" rIns="72000" bIns="72000" rtlCol="0" anchor="t">
            <a:noAutofit/>
          </a:bodyPr>
          <a:lstStyle>
            <a:lvl1pPr>
              <a:defRPr lang="de-DE" sz="1600" baseline="0" dirty="0">
                <a:solidFill>
                  <a:schemeClr val="tx1"/>
                </a:solidFill>
              </a:defRPr>
            </a:lvl1pPr>
          </a:lstStyle>
          <a:p>
            <a:pPr marR="0" lvl="0" fontAlgn="auto">
              <a:lnSpc>
                <a:spcPct val="100000"/>
              </a:lnSpc>
              <a:spcBef>
                <a:spcPts val="0"/>
              </a:spcBef>
              <a:spcAft>
                <a:spcPts val="0"/>
              </a:spcAft>
              <a:buClrTx/>
              <a:buSzTx/>
              <a:tabLst/>
            </a:pPr>
            <a:r>
              <a:rPr lang="de-DE" sz="1600"/>
              <a:t>Um ein Hintergrundbild einzufügen, markieren Sie bitte den Platzhalter und wählen entweder ein Bild aus der </a:t>
            </a:r>
            <a:r>
              <a:rPr lang="de-DE" sz="1600" err="1"/>
              <a:t>empower</a:t>
            </a:r>
            <a:r>
              <a:rPr lang="de-DE" sz="1600"/>
              <a:t> Bibliothek oder über den Reiter „Einfügen“, „Bilder“ aus. </a:t>
            </a:r>
          </a:p>
        </p:txBody>
      </p:sp>
      <p:sp>
        <p:nvSpPr>
          <p:cNvPr id="5" name="Textfeld 4">
            <a:extLst>
              <a:ext uri="{FF2B5EF4-FFF2-40B4-BE49-F238E27FC236}">
                <a16:creationId xmlns:a16="http://schemas.microsoft.com/office/drawing/2014/main" id="{D944C12D-7D37-447A-87C7-3EBA3E61D993}"/>
              </a:ext>
            </a:extLst>
          </p:cNvPr>
          <p:cNvSpPr txBox="1"/>
          <p:nvPr/>
        </p:nvSpPr>
        <p:spPr bwMode="gray">
          <a:xfrm>
            <a:off x="409575" y="6516000"/>
            <a:ext cx="11376000" cy="144000"/>
          </a:xfrm>
          <a:prstGeom prst="rect">
            <a:avLst/>
          </a:prstGeom>
          <a:noFill/>
        </p:spPr>
        <p:txBody>
          <a:bodyPr wrap="square" lIns="0" tIns="0" rIns="0" bIns="0" rtlCol="0" anchor="t">
            <a:noAutofit/>
          </a:bodyPr>
          <a:lstStyle/>
          <a:p>
            <a:pPr marL="0" marR="0" lvl="0" indent="0" defTabSz="914400" eaLnBrk="1" fontAlgn="auto" latinLnBrk="0" hangingPunct="1">
              <a:lnSpc>
                <a:spcPct val="100000"/>
              </a:lnSpc>
              <a:spcBef>
                <a:spcPts val="600"/>
              </a:spcBef>
              <a:spcAft>
                <a:spcPts val="0"/>
              </a:spcAft>
              <a:buClr>
                <a:srgbClr val="003F74"/>
              </a:buClr>
              <a:buSzTx/>
              <a:buFontTx/>
              <a:buNone/>
              <a:tabLst/>
              <a:defRPr/>
            </a:pPr>
            <a:r>
              <a:rPr kumimoji="0" lang="de-DE" sz="1000" b="0" i="0" u="none" strike="noStrike" kern="0" cap="none" spc="0" normalizeH="0" baseline="0" noProof="0">
                <a:ln>
                  <a:noFill/>
                </a:ln>
                <a:solidFill>
                  <a:schemeClr val="tx2"/>
                </a:solidFill>
                <a:effectLst/>
                <a:uLnTx/>
                <a:uFillTx/>
              </a:rPr>
              <a:t>Union Investment  </a:t>
            </a:r>
            <a:r>
              <a:rPr kumimoji="0" lang="de-DE" sz="1000" b="0" i="0" u="none" strike="noStrike" kern="0" cap="none" spc="0" normalizeH="0" baseline="0" noProof="0">
                <a:ln>
                  <a:noFill/>
                </a:ln>
                <a:solidFill>
                  <a:srgbClr val="888888"/>
                </a:solidFill>
                <a:effectLst/>
                <a:uLnTx/>
                <a:uFillTx/>
              </a:rPr>
              <a:t>|  Genossenschaftliche FinanzGruppe Volksbanken Raiffeisenbanken</a:t>
            </a:r>
          </a:p>
        </p:txBody>
      </p:sp>
      <p:sp>
        <p:nvSpPr>
          <p:cNvPr id="14" name="Textplatzhalter 13">
            <a:extLst>
              <a:ext uri="{FF2B5EF4-FFF2-40B4-BE49-F238E27FC236}">
                <a16:creationId xmlns:a16="http://schemas.microsoft.com/office/drawing/2014/main" id="{390DFC38-6A65-4082-8ED5-8A69F055D7DB}"/>
              </a:ext>
            </a:extLst>
          </p:cNvPr>
          <p:cNvSpPr>
            <a:spLocks noGrp="1" noChangeAspect="1"/>
          </p:cNvSpPr>
          <p:nvPr>
            <p:ph type="body" sz="quarter" idx="26" hasCustomPrompt="1"/>
          </p:nvPr>
        </p:nvSpPr>
        <p:spPr bwMode="gray">
          <a:xfrm>
            <a:off x="6313488" y="2255874"/>
            <a:ext cx="5473336" cy="4054808"/>
          </a:xfrm>
          <a:custGeom>
            <a:avLst/>
            <a:gdLst>
              <a:gd name="connsiteX0" fmla="*/ 4676664 w 5473336"/>
              <a:gd name="connsiteY0" fmla="*/ 1449 h 4054808"/>
              <a:gd name="connsiteX1" fmla="*/ 5473336 w 5473336"/>
              <a:gd name="connsiteY1" fmla="*/ 743339 h 4054808"/>
              <a:gd name="connsiteX2" fmla="*/ 5473336 w 5473336"/>
              <a:gd name="connsiteY2" fmla="*/ 1677498 h 4054808"/>
              <a:gd name="connsiteX3" fmla="*/ 5473336 w 5473336"/>
              <a:gd name="connsiteY3" fmla="*/ 1958258 h 4054808"/>
              <a:gd name="connsiteX4" fmla="*/ 5473336 w 5473336"/>
              <a:gd name="connsiteY4" fmla="*/ 2096552 h 4054808"/>
              <a:gd name="connsiteX5" fmla="*/ 5473336 w 5473336"/>
              <a:gd name="connsiteY5" fmla="*/ 2377312 h 4054808"/>
              <a:gd name="connsiteX6" fmla="*/ 5473336 w 5473336"/>
              <a:gd name="connsiteY6" fmla="*/ 3145409 h 4054808"/>
              <a:gd name="connsiteX7" fmla="*/ 966865 w 5473336"/>
              <a:gd name="connsiteY7" fmla="*/ 4034042 h 4054808"/>
              <a:gd name="connsiteX8" fmla="*/ 0 w 5473336"/>
              <a:gd name="connsiteY8" fmla="*/ 3311471 h 4054808"/>
              <a:gd name="connsiteX9" fmla="*/ 0 w 5473336"/>
              <a:gd name="connsiteY9" fmla="*/ 2377312 h 4054808"/>
              <a:gd name="connsiteX10" fmla="*/ 0 w 5473336"/>
              <a:gd name="connsiteY10" fmla="*/ 2096552 h 4054808"/>
              <a:gd name="connsiteX11" fmla="*/ 0 w 5473336"/>
              <a:gd name="connsiteY11" fmla="*/ 1958258 h 4054808"/>
              <a:gd name="connsiteX12" fmla="*/ 0 w 5473336"/>
              <a:gd name="connsiteY12" fmla="*/ 1677498 h 4054808"/>
              <a:gd name="connsiteX13" fmla="*/ 0 w 5473336"/>
              <a:gd name="connsiteY13" fmla="*/ 909401 h 4054808"/>
              <a:gd name="connsiteX14" fmla="*/ 4506471 w 5473336"/>
              <a:gd name="connsiteY14" fmla="*/ 20768 h 4054808"/>
              <a:gd name="connsiteX15" fmla="*/ 4676664 w 5473336"/>
              <a:gd name="connsiteY15" fmla="*/ 1449 h 4054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473336" h="4054808">
                <a:moveTo>
                  <a:pt x="4676664" y="1449"/>
                </a:moveTo>
                <a:cubicBezTo>
                  <a:pt x="5473336" y="-38045"/>
                  <a:pt x="5473336" y="743339"/>
                  <a:pt x="5473336" y="743339"/>
                </a:cubicBezTo>
                <a:lnTo>
                  <a:pt x="5473336" y="1677498"/>
                </a:lnTo>
                <a:lnTo>
                  <a:pt x="5473336" y="1958258"/>
                </a:lnTo>
                <a:lnTo>
                  <a:pt x="5473336" y="2096552"/>
                </a:lnTo>
                <a:lnTo>
                  <a:pt x="5473336" y="2377312"/>
                </a:lnTo>
                <a:lnTo>
                  <a:pt x="5473336" y="3145409"/>
                </a:lnTo>
                <a:lnTo>
                  <a:pt x="966865" y="4034042"/>
                </a:lnTo>
                <a:cubicBezTo>
                  <a:pt x="0" y="4200512"/>
                  <a:pt x="0" y="3311471"/>
                  <a:pt x="0" y="3311471"/>
                </a:cubicBezTo>
                <a:lnTo>
                  <a:pt x="0" y="2377312"/>
                </a:lnTo>
                <a:lnTo>
                  <a:pt x="0" y="2096552"/>
                </a:lnTo>
                <a:lnTo>
                  <a:pt x="0" y="1958258"/>
                </a:lnTo>
                <a:lnTo>
                  <a:pt x="0" y="1677498"/>
                </a:lnTo>
                <a:lnTo>
                  <a:pt x="0" y="909401"/>
                </a:lnTo>
                <a:lnTo>
                  <a:pt x="4506471" y="20768"/>
                </a:lnTo>
                <a:cubicBezTo>
                  <a:pt x="4566900" y="10364"/>
                  <a:pt x="4623552" y="4082"/>
                  <a:pt x="4676664" y="1449"/>
                </a:cubicBezTo>
                <a:close/>
              </a:path>
            </a:pathLst>
          </a:custGeom>
          <a:solidFill>
            <a:schemeClr val="tx2">
              <a:alpha val="89000"/>
            </a:schemeClr>
          </a:solidFill>
        </p:spPr>
        <p:txBody>
          <a:bodyPr wrap="square" lIns="72000" tIns="72000" rIns="72000" bIns="36000" anchor="ctr">
            <a:noAutofit/>
          </a:bodyPr>
          <a:lstStyle>
            <a:lvl1pPr marL="0" indent="0" algn="ctr">
              <a:spcBef>
                <a:spcPts val="0"/>
              </a:spcBef>
              <a:buFont typeface="Arial" panose="020B0604020202020204" pitchFamily="34" charset="0"/>
              <a:buNone/>
              <a:defRPr sz="2800" b="1">
                <a:solidFill>
                  <a:schemeClr val="bg1"/>
                </a:solidFill>
              </a:defRPr>
            </a:lvl1pPr>
            <a:lvl2pPr marL="0" indent="0" algn="ctr">
              <a:spcBef>
                <a:spcPts val="0"/>
              </a:spcBef>
              <a:buFont typeface="Arial" panose="020B0604020202020204" pitchFamily="34" charset="0"/>
              <a:buNone/>
              <a:defRPr sz="2800" b="1">
                <a:solidFill>
                  <a:schemeClr val="bg1"/>
                </a:solidFill>
              </a:defRPr>
            </a:lvl2pPr>
            <a:lvl3pPr marL="0" indent="0" algn="ctr">
              <a:spcBef>
                <a:spcPts val="0"/>
              </a:spcBef>
              <a:buNone/>
              <a:defRPr sz="2800" b="1">
                <a:solidFill>
                  <a:schemeClr val="bg1"/>
                </a:solidFill>
              </a:defRPr>
            </a:lvl3pPr>
            <a:lvl4pPr marL="0" indent="0" algn="ctr">
              <a:spcBef>
                <a:spcPts val="0"/>
              </a:spcBef>
              <a:buNone/>
              <a:defRPr sz="2800" b="1">
                <a:solidFill>
                  <a:schemeClr val="bg1"/>
                </a:solidFill>
              </a:defRPr>
            </a:lvl4pPr>
            <a:lvl5pPr marL="0" indent="0" algn="ctr">
              <a:spcBef>
                <a:spcPts val="0"/>
              </a:spcBef>
              <a:buNone/>
              <a:defRPr sz="2800" b="1">
                <a:solidFill>
                  <a:schemeClr val="bg1"/>
                </a:solidFill>
              </a:defRPr>
            </a:lvl5pPr>
          </a:lstStyle>
          <a:p>
            <a:pPr lvl="0"/>
            <a:r>
              <a:rPr lang="de-DE"/>
              <a:t>Text durch </a:t>
            </a:r>
            <a:br>
              <a:rPr lang="de-DE"/>
            </a:br>
            <a:r>
              <a:rPr lang="de-DE"/>
              <a:t>Klicken hinzufügen</a:t>
            </a:r>
          </a:p>
        </p:txBody>
      </p:sp>
    </p:spTree>
    <p:extLst>
      <p:ext uri="{BB962C8B-B14F-4D97-AF65-F5344CB8AC3E}">
        <p14:creationId xmlns:p14="http://schemas.microsoft.com/office/powerpoint/2010/main" val="1133463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57">
          <p15:clr>
            <a:srgbClr val="F26B43"/>
          </p15:clr>
        </p15:guide>
        <p15:guide id="3" orient="horz" pos="255">
          <p15:clr>
            <a:srgbClr val="F26B43"/>
          </p15:clr>
        </p15:guide>
        <p15:guide id="6" orient="horz" pos="89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Vollflächiges Bild mit Zitat 02">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EB601A16-8A14-4253-AFFA-8FD4DA9063DB}"/>
              </a:ext>
            </a:extLst>
          </p:cNvPr>
          <p:cNvSpPr>
            <a:spLocks noGrp="1"/>
          </p:cNvSpPr>
          <p:nvPr>
            <p:ph type="pic" sz="quarter" idx="25" hasCustomPrompt="1"/>
          </p:nvPr>
        </p:nvSpPr>
        <p:spPr bwMode="gray">
          <a:xfrm>
            <a:off x="2" y="3"/>
            <a:ext cx="12195173" cy="6857997"/>
          </a:xfrm>
          <a:prstGeom prst="rect">
            <a:avLst/>
          </a:prstGeom>
          <a:pattFill prst="pct20">
            <a:fgClr>
              <a:schemeClr val="accent3"/>
            </a:fgClr>
            <a:bgClr>
              <a:schemeClr val="bg1"/>
            </a:bgClr>
          </a:pattFill>
        </p:spPr>
        <p:txBody>
          <a:bodyPr vert="horz" wrap="square" lIns="72000" tIns="72000" rIns="72000" bIns="72000" rtlCol="0" anchor="t">
            <a:noAutofit/>
          </a:bodyPr>
          <a:lstStyle>
            <a:lvl1pPr>
              <a:defRPr lang="de-DE" sz="1600" baseline="0" dirty="0">
                <a:solidFill>
                  <a:schemeClr val="tx1"/>
                </a:solidFill>
              </a:defRPr>
            </a:lvl1pPr>
          </a:lstStyle>
          <a:p>
            <a:pPr marR="0" lvl="0" fontAlgn="auto">
              <a:lnSpc>
                <a:spcPct val="100000"/>
              </a:lnSpc>
              <a:spcBef>
                <a:spcPts val="0"/>
              </a:spcBef>
              <a:spcAft>
                <a:spcPts val="0"/>
              </a:spcAft>
              <a:buClrTx/>
              <a:buSzTx/>
              <a:tabLst/>
            </a:pPr>
            <a:r>
              <a:rPr lang="de-DE" sz="1600"/>
              <a:t>Um ein Hintergrundbild einzufügen, markieren Sie bitte den Platzhalter und wählen entweder ein Bild aus der </a:t>
            </a:r>
            <a:r>
              <a:rPr lang="de-DE" sz="1600" err="1"/>
              <a:t>empower</a:t>
            </a:r>
            <a:r>
              <a:rPr lang="de-DE" sz="1600"/>
              <a:t> Bibliothek oder über den Reiter „Einfügen“, „Bilder“ aus. </a:t>
            </a:r>
          </a:p>
        </p:txBody>
      </p:sp>
      <p:sp>
        <p:nvSpPr>
          <p:cNvPr id="8" name="Textplatzhalter 7">
            <a:extLst>
              <a:ext uri="{FF2B5EF4-FFF2-40B4-BE49-F238E27FC236}">
                <a16:creationId xmlns:a16="http://schemas.microsoft.com/office/drawing/2014/main" id="{48BFDE8F-3291-4AEE-B536-360B9E557D44}"/>
              </a:ext>
            </a:extLst>
          </p:cNvPr>
          <p:cNvSpPr>
            <a:spLocks noGrp="1" noChangeAspect="1"/>
          </p:cNvSpPr>
          <p:nvPr>
            <p:ph type="body" sz="quarter" idx="26" hasCustomPrompt="1"/>
          </p:nvPr>
        </p:nvSpPr>
        <p:spPr bwMode="gray">
          <a:xfrm>
            <a:off x="8727117" y="404664"/>
            <a:ext cx="3059102" cy="5904000"/>
          </a:xfrm>
          <a:custGeom>
            <a:avLst/>
            <a:gdLst>
              <a:gd name="connsiteX0" fmla="*/ 2260389 w 3057061"/>
              <a:gd name="connsiteY0" fmla="*/ 1449 h 5907827"/>
              <a:gd name="connsiteX1" fmla="*/ 3057061 w 3057061"/>
              <a:gd name="connsiteY1" fmla="*/ 743338 h 5907827"/>
              <a:gd name="connsiteX2" fmla="*/ 3057061 w 3057061"/>
              <a:gd name="connsiteY2" fmla="*/ 1677497 h 5907827"/>
              <a:gd name="connsiteX3" fmla="*/ 3057061 w 3057061"/>
              <a:gd name="connsiteY3" fmla="*/ 1958257 h 5907827"/>
              <a:gd name="connsiteX4" fmla="*/ 3057061 w 3057061"/>
              <a:gd name="connsiteY4" fmla="*/ 2096551 h 5907827"/>
              <a:gd name="connsiteX5" fmla="*/ 3057061 w 3057061"/>
              <a:gd name="connsiteY5" fmla="*/ 2159597 h 5907827"/>
              <a:gd name="connsiteX6" fmla="*/ 3057061 w 3057061"/>
              <a:gd name="connsiteY6" fmla="*/ 2377311 h 5907827"/>
              <a:gd name="connsiteX7" fmla="*/ 3057061 w 3057061"/>
              <a:gd name="connsiteY7" fmla="*/ 3145408 h 5907827"/>
              <a:gd name="connsiteX8" fmla="*/ 3057061 w 3057061"/>
              <a:gd name="connsiteY8" fmla="*/ 5474894 h 5907827"/>
              <a:gd name="connsiteX9" fmla="*/ 966865 w 3057061"/>
              <a:gd name="connsiteY9" fmla="*/ 5887061 h 5907827"/>
              <a:gd name="connsiteX10" fmla="*/ 0 w 3057061"/>
              <a:gd name="connsiteY10" fmla="*/ 5164490 h 5907827"/>
              <a:gd name="connsiteX11" fmla="*/ 0 w 3057061"/>
              <a:gd name="connsiteY11" fmla="*/ 4230331 h 5907827"/>
              <a:gd name="connsiteX12" fmla="*/ 0 w 3057061"/>
              <a:gd name="connsiteY12" fmla="*/ 3949571 h 5907827"/>
              <a:gd name="connsiteX13" fmla="*/ 0 w 3057061"/>
              <a:gd name="connsiteY13" fmla="*/ 3811277 h 5907827"/>
              <a:gd name="connsiteX14" fmla="*/ 0 w 3057061"/>
              <a:gd name="connsiteY14" fmla="*/ 3748231 h 5907827"/>
              <a:gd name="connsiteX15" fmla="*/ 0 w 3057061"/>
              <a:gd name="connsiteY15" fmla="*/ 3530517 h 5907827"/>
              <a:gd name="connsiteX16" fmla="*/ 0 w 3057061"/>
              <a:gd name="connsiteY16" fmla="*/ 2762420 h 5907827"/>
              <a:gd name="connsiteX17" fmla="*/ 0 w 3057061"/>
              <a:gd name="connsiteY17" fmla="*/ 432934 h 5907827"/>
              <a:gd name="connsiteX18" fmla="*/ 2090196 w 3057061"/>
              <a:gd name="connsiteY18" fmla="*/ 20767 h 5907827"/>
              <a:gd name="connsiteX19" fmla="*/ 2260389 w 3057061"/>
              <a:gd name="connsiteY19" fmla="*/ 1449 h 5907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057061" h="5907827">
                <a:moveTo>
                  <a:pt x="2260389" y="1449"/>
                </a:moveTo>
                <a:cubicBezTo>
                  <a:pt x="3057061" y="-38046"/>
                  <a:pt x="3057061" y="743338"/>
                  <a:pt x="3057061" y="743338"/>
                </a:cubicBezTo>
                <a:lnTo>
                  <a:pt x="3057061" y="1677497"/>
                </a:lnTo>
                <a:lnTo>
                  <a:pt x="3057061" y="1958257"/>
                </a:lnTo>
                <a:lnTo>
                  <a:pt x="3057061" y="2096551"/>
                </a:lnTo>
                <a:lnTo>
                  <a:pt x="3057061" y="2159597"/>
                </a:lnTo>
                <a:lnTo>
                  <a:pt x="3057061" y="2377311"/>
                </a:lnTo>
                <a:lnTo>
                  <a:pt x="3057061" y="3145408"/>
                </a:lnTo>
                <a:lnTo>
                  <a:pt x="3057061" y="5474894"/>
                </a:lnTo>
                <a:lnTo>
                  <a:pt x="966865" y="5887061"/>
                </a:lnTo>
                <a:cubicBezTo>
                  <a:pt x="0" y="6053531"/>
                  <a:pt x="0" y="5164490"/>
                  <a:pt x="0" y="5164490"/>
                </a:cubicBezTo>
                <a:lnTo>
                  <a:pt x="0" y="4230331"/>
                </a:lnTo>
                <a:lnTo>
                  <a:pt x="0" y="3949571"/>
                </a:lnTo>
                <a:lnTo>
                  <a:pt x="0" y="3811277"/>
                </a:lnTo>
                <a:lnTo>
                  <a:pt x="0" y="3748231"/>
                </a:lnTo>
                <a:lnTo>
                  <a:pt x="0" y="3530517"/>
                </a:lnTo>
                <a:lnTo>
                  <a:pt x="0" y="2762420"/>
                </a:lnTo>
                <a:lnTo>
                  <a:pt x="0" y="432934"/>
                </a:lnTo>
                <a:lnTo>
                  <a:pt x="2090196" y="20767"/>
                </a:lnTo>
                <a:cubicBezTo>
                  <a:pt x="2150625" y="10363"/>
                  <a:pt x="2207277" y="4081"/>
                  <a:pt x="2260389" y="1449"/>
                </a:cubicBezTo>
                <a:close/>
              </a:path>
            </a:pathLst>
          </a:custGeom>
          <a:solidFill>
            <a:schemeClr val="tx2">
              <a:alpha val="89000"/>
            </a:schemeClr>
          </a:solidFill>
        </p:spPr>
        <p:txBody>
          <a:bodyPr wrap="square" lIns="180000" tIns="72000" rIns="180000" bIns="72000" anchor="ctr">
            <a:noAutofit/>
          </a:bodyPr>
          <a:lstStyle>
            <a:lvl1pPr marL="0" indent="0" algn="ctr">
              <a:spcBef>
                <a:spcPts val="0"/>
              </a:spcBef>
              <a:buFont typeface="Arial" panose="020B0604020202020204" pitchFamily="34" charset="0"/>
              <a:buNone/>
              <a:defRPr sz="2800" b="1">
                <a:solidFill>
                  <a:schemeClr val="bg1"/>
                </a:solidFill>
              </a:defRPr>
            </a:lvl1pPr>
            <a:lvl2pPr marL="0" indent="0" algn="ctr">
              <a:spcBef>
                <a:spcPts val="0"/>
              </a:spcBef>
              <a:buFont typeface="Arial" panose="020B0604020202020204" pitchFamily="34" charset="0"/>
              <a:buNone/>
              <a:defRPr sz="2800" b="1">
                <a:solidFill>
                  <a:schemeClr val="bg1"/>
                </a:solidFill>
              </a:defRPr>
            </a:lvl2pPr>
            <a:lvl3pPr marL="0" indent="0" algn="ctr">
              <a:spcBef>
                <a:spcPts val="0"/>
              </a:spcBef>
              <a:buNone/>
              <a:defRPr sz="2800" b="1">
                <a:solidFill>
                  <a:schemeClr val="bg1"/>
                </a:solidFill>
              </a:defRPr>
            </a:lvl3pPr>
            <a:lvl4pPr marL="0" indent="0" algn="ctr">
              <a:spcBef>
                <a:spcPts val="0"/>
              </a:spcBef>
              <a:buNone/>
              <a:defRPr sz="2800" b="1">
                <a:solidFill>
                  <a:schemeClr val="bg1"/>
                </a:solidFill>
              </a:defRPr>
            </a:lvl4pPr>
            <a:lvl5pPr marL="0" indent="0" algn="ctr">
              <a:spcBef>
                <a:spcPts val="0"/>
              </a:spcBef>
              <a:buNone/>
              <a:defRPr sz="2800" b="1">
                <a:solidFill>
                  <a:schemeClr val="bg1"/>
                </a:solidFill>
              </a:defRPr>
            </a:lvl5pPr>
          </a:lstStyle>
          <a:p>
            <a:pPr lvl="0"/>
            <a:r>
              <a:rPr lang="de-DE"/>
              <a:t>Text durch Klicken hinzufügen</a:t>
            </a:r>
          </a:p>
        </p:txBody>
      </p:sp>
    </p:spTree>
    <p:extLst>
      <p:ext uri="{BB962C8B-B14F-4D97-AF65-F5344CB8AC3E}">
        <p14:creationId xmlns:p14="http://schemas.microsoft.com/office/powerpoint/2010/main" val="626865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57">
          <p15:clr>
            <a:srgbClr val="F26B43"/>
          </p15:clr>
        </p15:guide>
        <p15:guide id="3" orient="horz" pos="255">
          <p15:clr>
            <a:srgbClr val="F26B43"/>
          </p15:clr>
        </p15:guide>
        <p15:guide id="6" orient="horz" pos="89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Vollflächiges Bild mit Zitat 03">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EB601A16-8A14-4253-AFFA-8FD4DA9063DB}"/>
              </a:ext>
            </a:extLst>
          </p:cNvPr>
          <p:cNvSpPr>
            <a:spLocks noGrp="1"/>
          </p:cNvSpPr>
          <p:nvPr>
            <p:ph type="pic" sz="quarter" idx="25" hasCustomPrompt="1"/>
          </p:nvPr>
        </p:nvSpPr>
        <p:spPr bwMode="gray">
          <a:xfrm>
            <a:off x="2" y="3"/>
            <a:ext cx="12195173" cy="6857997"/>
          </a:xfrm>
          <a:prstGeom prst="rect">
            <a:avLst/>
          </a:prstGeom>
          <a:pattFill prst="pct20">
            <a:fgClr>
              <a:schemeClr val="accent3"/>
            </a:fgClr>
            <a:bgClr>
              <a:schemeClr val="bg1"/>
            </a:bgClr>
          </a:pattFill>
        </p:spPr>
        <p:txBody>
          <a:bodyPr vert="horz" wrap="square" lIns="72000" tIns="72000" rIns="72000" bIns="72000" rtlCol="0" anchor="t">
            <a:noAutofit/>
          </a:bodyPr>
          <a:lstStyle>
            <a:lvl1pPr>
              <a:defRPr lang="de-DE" sz="1600" baseline="0" dirty="0">
                <a:solidFill>
                  <a:schemeClr val="tx1"/>
                </a:solidFill>
              </a:defRPr>
            </a:lvl1pPr>
          </a:lstStyle>
          <a:p>
            <a:pPr marR="0" lvl="0" fontAlgn="auto">
              <a:lnSpc>
                <a:spcPct val="100000"/>
              </a:lnSpc>
              <a:spcBef>
                <a:spcPts val="0"/>
              </a:spcBef>
              <a:spcAft>
                <a:spcPts val="0"/>
              </a:spcAft>
              <a:buClrTx/>
              <a:buSzTx/>
              <a:tabLst/>
            </a:pPr>
            <a:r>
              <a:rPr lang="de-DE" sz="1600"/>
              <a:t>Um ein Hintergrundbild einzufügen, markieren Sie bitte den Platzhalter und wählen entweder ein Bild aus der </a:t>
            </a:r>
            <a:r>
              <a:rPr lang="de-DE" sz="1600" err="1"/>
              <a:t>empower</a:t>
            </a:r>
            <a:r>
              <a:rPr lang="de-DE" sz="1600"/>
              <a:t> Bibliothek oder über den Reiter „Einfügen“, „Bilder“ aus. </a:t>
            </a:r>
          </a:p>
        </p:txBody>
      </p:sp>
      <p:sp>
        <p:nvSpPr>
          <p:cNvPr id="14" name="Textplatzhalter 13">
            <a:extLst>
              <a:ext uri="{FF2B5EF4-FFF2-40B4-BE49-F238E27FC236}">
                <a16:creationId xmlns:a16="http://schemas.microsoft.com/office/drawing/2014/main" id="{390DFC38-6A65-4082-8ED5-8A69F055D7DB}"/>
              </a:ext>
            </a:extLst>
          </p:cNvPr>
          <p:cNvSpPr>
            <a:spLocks noGrp="1" noChangeAspect="1"/>
          </p:cNvSpPr>
          <p:nvPr>
            <p:ph type="body" sz="quarter" idx="26" hasCustomPrompt="1"/>
          </p:nvPr>
        </p:nvSpPr>
        <p:spPr bwMode="gray">
          <a:xfrm>
            <a:off x="6313611" y="2255874"/>
            <a:ext cx="5473336" cy="4054808"/>
          </a:xfrm>
          <a:custGeom>
            <a:avLst/>
            <a:gdLst>
              <a:gd name="connsiteX0" fmla="*/ 4676664 w 5473336"/>
              <a:gd name="connsiteY0" fmla="*/ 1449 h 4054808"/>
              <a:gd name="connsiteX1" fmla="*/ 5473336 w 5473336"/>
              <a:gd name="connsiteY1" fmla="*/ 743339 h 4054808"/>
              <a:gd name="connsiteX2" fmla="*/ 5473336 w 5473336"/>
              <a:gd name="connsiteY2" fmla="*/ 1677498 h 4054808"/>
              <a:gd name="connsiteX3" fmla="*/ 5473336 w 5473336"/>
              <a:gd name="connsiteY3" fmla="*/ 1958258 h 4054808"/>
              <a:gd name="connsiteX4" fmla="*/ 5473336 w 5473336"/>
              <a:gd name="connsiteY4" fmla="*/ 2096552 h 4054808"/>
              <a:gd name="connsiteX5" fmla="*/ 5473336 w 5473336"/>
              <a:gd name="connsiteY5" fmla="*/ 2377312 h 4054808"/>
              <a:gd name="connsiteX6" fmla="*/ 5473336 w 5473336"/>
              <a:gd name="connsiteY6" fmla="*/ 3145409 h 4054808"/>
              <a:gd name="connsiteX7" fmla="*/ 966865 w 5473336"/>
              <a:gd name="connsiteY7" fmla="*/ 4034042 h 4054808"/>
              <a:gd name="connsiteX8" fmla="*/ 0 w 5473336"/>
              <a:gd name="connsiteY8" fmla="*/ 3311471 h 4054808"/>
              <a:gd name="connsiteX9" fmla="*/ 0 w 5473336"/>
              <a:gd name="connsiteY9" fmla="*/ 2377312 h 4054808"/>
              <a:gd name="connsiteX10" fmla="*/ 0 w 5473336"/>
              <a:gd name="connsiteY10" fmla="*/ 2096552 h 4054808"/>
              <a:gd name="connsiteX11" fmla="*/ 0 w 5473336"/>
              <a:gd name="connsiteY11" fmla="*/ 1958258 h 4054808"/>
              <a:gd name="connsiteX12" fmla="*/ 0 w 5473336"/>
              <a:gd name="connsiteY12" fmla="*/ 1677498 h 4054808"/>
              <a:gd name="connsiteX13" fmla="*/ 0 w 5473336"/>
              <a:gd name="connsiteY13" fmla="*/ 909401 h 4054808"/>
              <a:gd name="connsiteX14" fmla="*/ 4506471 w 5473336"/>
              <a:gd name="connsiteY14" fmla="*/ 20768 h 4054808"/>
              <a:gd name="connsiteX15" fmla="*/ 4676664 w 5473336"/>
              <a:gd name="connsiteY15" fmla="*/ 1449 h 4054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473336" h="4054808">
                <a:moveTo>
                  <a:pt x="4676664" y="1449"/>
                </a:moveTo>
                <a:cubicBezTo>
                  <a:pt x="5473336" y="-38045"/>
                  <a:pt x="5473336" y="743339"/>
                  <a:pt x="5473336" y="743339"/>
                </a:cubicBezTo>
                <a:lnTo>
                  <a:pt x="5473336" y="1677498"/>
                </a:lnTo>
                <a:lnTo>
                  <a:pt x="5473336" y="1958258"/>
                </a:lnTo>
                <a:lnTo>
                  <a:pt x="5473336" y="2096552"/>
                </a:lnTo>
                <a:lnTo>
                  <a:pt x="5473336" y="2377312"/>
                </a:lnTo>
                <a:lnTo>
                  <a:pt x="5473336" y="3145409"/>
                </a:lnTo>
                <a:lnTo>
                  <a:pt x="966865" y="4034042"/>
                </a:lnTo>
                <a:cubicBezTo>
                  <a:pt x="0" y="4200512"/>
                  <a:pt x="0" y="3311471"/>
                  <a:pt x="0" y="3311471"/>
                </a:cubicBezTo>
                <a:lnTo>
                  <a:pt x="0" y="2377312"/>
                </a:lnTo>
                <a:lnTo>
                  <a:pt x="0" y="2096552"/>
                </a:lnTo>
                <a:lnTo>
                  <a:pt x="0" y="1958258"/>
                </a:lnTo>
                <a:lnTo>
                  <a:pt x="0" y="1677498"/>
                </a:lnTo>
                <a:lnTo>
                  <a:pt x="0" y="909401"/>
                </a:lnTo>
                <a:lnTo>
                  <a:pt x="4506471" y="20768"/>
                </a:lnTo>
                <a:cubicBezTo>
                  <a:pt x="4566900" y="10364"/>
                  <a:pt x="4623552" y="4082"/>
                  <a:pt x="4676664" y="1449"/>
                </a:cubicBezTo>
                <a:close/>
              </a:path>
            </a:pathLst>
          </a:custGeom>
          <a:solidFill>
            <a:schemeClr val="tx2">
              <a:alpha val="89000"/>
            </a:schemeClr>
          </a:solidFill>
        </p:spPr>
        <p:txBody>
          <a:bodyPr wrap="square" lIns="72000" tIns="72000" rIns="72000" bIns="36000" anchor="ctr">
            <a:noAutofit/>
          </a:bodyPr>
          <a:lstStyle>
            <a:lvl1pPr marL="0" indent="0" algn="ctr">
              <a:spcBef>
                <a:spcPts val="0"/>
              </a:spcBef>
              <a:buFont typeface="Arial" panose="020B0604020202020204" pitchFamily="34" charset="0"/>
              <a:buNone/>
              <a:defRPr sz="2800" b="1">
                <a:solidFill>
                  <a:schemeClr val="bg1"/>
                </a:solidFill>
              </a:defRPr>
            </a:lvl1pPr>
            <a:lvl2pPr marL="0" indent="0" algn="ctr">
              <a:spcBef>
                <a:spcPts val="0"/>
              </a:spcBef>
              <a:buFont typeface="Arial" panose="020B0604020202020204" pitchFamily="34" charset="0"/>
              <a:buNone/>
              <a:defRPr sz="2800" b="1">
                <a:solidFill>
                  <a:schemeClr val="bg1"/>
                </a:solidFill>
              </a:defRPr>
            </a:lvl2pPr>
            <a:lvl3pPr marL="0" indent="0" algn="ctr">
              <a:spcBef>
                <a:spcPts val="0"/>
              </a:spcBef>
              <a:buNone/>
              <a:defRPr sz="2800" b="1">
                <a:solidFill>
                  <a:schemeClr val="bg1"/>
                </a:solidFill>
              </a:defRPr>
            </a:lvl3pPr>
            <a:lvl4pPr marL="0" indent="0" algn="ctr">
              <a:spcBef>
                <a:spcPts val="0"/>
              </a:spcBef>
              <a:buNone/>
              <a:defRPr sz="2800" b="1">
                <a:solidFill>
                  <a:schemeClr val="bg1"/>
                </a:solidFill>
              </a:defRPr>
            </a:lvl4pPr>
            <a:lvl5pPr marL="0" indent="0" algn="ctr">
              <a:spcBef>
                <a:spcPts val="0"/>
              </a:spcBef>
              <a:buNone/>
              <a:defRPr sz="2800" b="1">
                <a:solidFill>
                  <a:schemeClr val="bg1"/>
                </a:solidFill>
              </a:defRPr>
            </a:lvl5pPr>
          </a:lstStyle>
          <a:p>
            <a:pPr lvl="0"/>
            <a:r>
              <a:rPr lang="de-DE"/>
              <a:t>Text durch </a:t>
            </a:r>
            <a:br>
              <a:rPr lang="de-DE"/>
            </a:br>
            <a:r>
              <a:rPr lang="de-DE"/>
              <a:t>Klicken hinzufügen</a:t>
            </a:r>
          </a:p>
        </p:txBody>
      </p:sp>
    </p:spTree>
    <p:extLst>
      <p:ext uri="{BB962C8B-B14F-4D97-AF65-F5344CB8AC3E}">
        <p14:creationId xmlns:p14="http://schemas.microsoft.com/office/powerpoint/2010/main" val="2339818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57">
          <p15:clr>
            <a:srgbClr val="F26B43"/>
          </p15:clr>
        </p15:guide>
        <p15:guide id="3" orient="horz" pos="255">
          <p15:clr>
            <a:srgbClr val="F26B43"/>
          </p15:clr>
        </p15:guide>
        <p15:guide id="6" orient="horz" pos="89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Agenda mit Vollbild">
    <p:spTree>
      <p:nvGrpSpPr>
        <p:cNvPr id="1" name=""/>
        <p:cNvGrpSpPr/>
        <p:nvPr/>
      </p:nvGrpSpPr>
      <p:grpSpPr>
        <a:xfrm>
          <a:off x="0" y="0"/>
          <a:ext cx="0" cy="0"/>
          <a:chOff x="0" y="0"/>
          <a:chExt cx="0" cy="0"/>
        </a:xfrm>
      </p:grpSpPr>
      <p:sp>
        <p:nvSpPr>
          <p:cNvPr id="6" name="Bildplatzhalter 9">
            <a:extLst>
              <a:ext uri="{FF2B5EF4-FFF2-40B4-BE49-F238E27FC236}">
                <a16:creationId xmlns:a16="http://schemas.microsoft.com/office/drawing/2014/main" id="{61C4EC75-5F5C-47D8-AE19-1DBDC9528730}"/>
              </a:ext>
            </a:extLst>
          </p:cNvPr>
          <p:cNvSpPr>
            <a:spLocks noGrp="1"/>
          </p:cNvSpPr>
          <p:nvPr>
            <p:ph type="pic" sz="quarter" idx="10" hasCustomPrompt="1"/>
          </p:nvPr>
        </p:nvSpPr>
        <p:spPr bwMode="gray">
          <a:xfrm>
            <a:off x="-1" y="0"/>
            <a:ext cx="12195175" cy="6858000"/>
          </a:xfrm>
          <a:prstGeom prst="rect">
            <a:avLst/>
          </a:prstGeom>
          <a:pattFill prst="pct20">
            <a:fgClr>
              <a:schemeClr val="accent3"/>
            </a:fgClr>
            <a:bgClr>
              <a:schemeClr val="bg1"/>
            </a:bgClr>
          </a:pattFill>
        </p:spPr>
        <p:txBody>
          <a:bodyPr vert="horz" wrap="square" lIns="72000" tIns="72000" rIns="72000" bIns="72000" rtlCol="0" anchor="t">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1600" baseline="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600"/>
              <a:t>Um ein Hintergrundbild einzufügen, markieren Sie bitte den </a:t>
            </a:r>
            <a:br>
              <a:rPr lang="de-DE" sz="1600"/>
            </a:br>
            <a:r>
              <a:rPr lang="de-DE" sz="1600"/>
              <a:t>Platzhalter und wählen entweder ein Bild aus der </a:t>
            </a:r>
            <a:r>
              <a:rPr lang="de-DE" sz="1600" err="1"/>
              <a:t>empower</a:t>
            </a:r>
            <a:r>
              <a:rPr lang="de-DE" sz="1600"/>
              <a:t> </a:t>
            </a:r>
            <a:br>
              <a:rPr lang="de-DE" sz="1600"/>
            </a:br>
            <a:r>
              <a:rPr lang="de-DE" sz="1600"/>
              <a:t>Bibliothek oder über den Reiter „Einfügen“, „Bilder“ aus. </a:t>
            </a:r>
          </a:p>
        </p:txBody>
      </p:sp>
      <p:sp>
        <p:nvSpPr>
          <p:cNvPr id="7" name="Textplatzhalter 2">
            <a:extLst>
              <a:ext uri="{FF2B5EF4-FFF2-40B4-BE49-F238E27FC236}">
                <a16:creationId xmlns:a16="http://schemas.microsoft.com/office/drawing/2014/main" id="{93C93B80-10F8-4DC4-AAB2-00F234410632}"/>
              </a:ext>
            </a:extLst>
          </p:cNvPr>
          <p:cNvSpPr>
            <a:spLocks noGrp="1" noChangeAspect="1"/>
          </p:cNvSpPr>
          <p:nvPr>
            <p:ph type="body" sz="quarter" idx="15" hasCustomPrompt="1"/>
          </p:nvPr>
        </p:nvSpPr>
        <p:spPr bwMode="gray">
          <a:xfrm>
            <a:off x="6103895" y="-1"/>
            <a:ext cx="6091280" cy="6310680"/>
          </a:xfrm>
          <a:custGeom>
            <a:avLst/>
            <a:gdLst>
              <a:gd name="connsiteX0" fmla="*/ 0 w 6091280"/>
              <a:gd name="connsiteY0" fmla="*/ 0 h 6310680"/>
              <a:gd name="connsiteX1" fmla="*/ 6091280 w 6091280"/>
              <a:gd name="connsiteY1" fmla="*/ 0 h 6310680"/>
              <a:gd name="connsiteX2" fmla="*/ 6091280 w 6091280"/>
              <a:gd name="connsiteY2" fmla="*/ 5279428 h 6310680"/>
              <a:gd name="connsiteX3" fmla="*/ 966865 w 6091280"/>
              <a:gd name="connsiteY3" fmla="*/ 6289914 h 6310680"/>
              <a:gd name="connsiteX4" fmla="*/ 0 w 6091280"/>
              <a:gd name="connsiteY4" fmla="*/ 5567343 h 6310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1280" h="6310680">
                <a:moveTo>
                  <a:pt x="0" y="0"/>
                </a:moveTo>
                <a:lnTo>
                  <a:pt x="6091280" y="0"/>
                </a:lnTo>
                <a:lnTo>
                  <a:pt x="6091280" y="5279428"/>
                </a:lnTo>
                <a:lnTo>
                  <a:pt x="966865" y="6289914"/>
                </a:lnTo>
                <a:cubicBezTo>
                  <a:pt x="0" y="6456384"/>
                  <a:pt x="0" y="5567343"/>
                  <a:pt x="0" y="5567343"/>
                </a:cubicBezTo>
                <a:close/>
              </a:path>
            </a:pathLst>
          </a:custGeom>
          <a:solidFill>
            <a:schemeClr val="tx2">
              <a:alpha val="89000"/>
            </a:schemeClr>
          </a:solidFill>
        </p:spPr>
        <p:txBody>
          <a:bodyPr wrap="square" lIns="439200" tIns="403200" rIns="414000">
            <a:noAutofit/>
          </a:bodyPr>
          <a:lstStyle>
            <a:lvl1pPr marL="0" indent="0">
              <a:spcBef>
                <a:spcPts val="0"/>
              </a:spcBef>
              <a:buFont typeface="Arial" panose="020B0604020202020204" pitchFamily="34" charset="0"/>
              <a:buNone/>
              <a:defRPr sz="2600" b="1">
                <a:solidFill>
                  <a:schemeClr val="bg1"/>
                </a:solidFill>
              </a:defRPr>
            </a:lvl1pPr>
            <a:lvl2pPr marL="0" indent="0">
              <a:spcBef>
                <a:spcPts val="0"/>
              </a:spcBef>
              <a:buFont typeface="Arial" panose="020B0604020202020204" pitchFamily="34" charset="0"/>
              <a:buNone/>
              <a:defRPr sz="3000" b="1">
                <a:solidFill>
                  <a:schemeClr val="bg1"/>
                </a:solidFill>
              </a:defRPr>
            </a:lvl2pPr>
            <a:lvl3pPr marL="0" indent="0">
              <a:spcBef>
                <a:spcPts val="0"/>
              </a:spcBef>
              <a:buNone/>
              <a:defRPr sz="3000" b="1">
                <a:solidFill>
                  <a:schemeClr val="bg1"/>
                </a:solidFill>
              </a:defRPr>
            </a:lvl3pPr>
            <a:lvl4pPr marL="0" indent="0">
              <a:spcBef>
                <a:spcPts val="0"/>
              </a:spcBef>
              <a:buNone/>
              <a:defRPr sz="3000" b="1">
                <a:solidFill>
                  <a:schemeClr val="bg1"/>
                </a:solidFill>
              </a:defRPr>
            </a:lvl4pPr>
            <a:lvl5pPr marL="0" indent="0">
              <a:spcBef>
                <a:spcPts val="0"/>
              </a:spcBef>
              <a:buNone/>
              <a:defRPr sz="3000" b="1">
                <a:solidFill>
                  <a:schemeClr val="bg1"/>
                </a:solidFill>
              </a:defRPr>
            </a:lvl5pPr>
          </a:lstStyle>
          <a:p>
            <a:pPr lvl="0"/>
            <a:r>
              <a:rPr lang="de-DE"/>
              <a:t>Agenda durch Klicken bearbeiten</a:t>
            </a:r>
          </a:p>
        </p:txBody>
      </p:sp>
      <p:sp>
        <p:nvSpPr>
          <p:cNvPr id="2" name="Datumsplatzhalter 1" hidden="1">
            <a:extLst>
              <a:ext uri="{FF2B5EF4-FFF2-40B4-BE49-F238E27FC236}">
                <a16:creationId xmlns:a16="http://schemas.microsoft.com/office/drawing/2014/main" id="{1BB383ED-A0FD-4954-850C-072EFB776AD2}"/>
              </a:ext>
            </a:extLst>
          </p:cNvPr>
          <p:cNvSpPr>
            <a:spLocks noGrp="1"/>
          </p:cNvSpPr>
          <p:nvPr>
            <p:ph type="dt" sz="half" idx="16"/>
          </p:nvPr>
        </p:nvSpPr>
        <p:spPr/>
        <p:txBody>
          <a:bodyPr/>
          <a:lstStyle>
            <a:lvl1pPr>
              <a:defRPr>
                <a:noFill/>
              </a:defRPr>
            </a:lvl1pPr>
          </a:lstStyle>
          <a:p>
            <a:r>
              <a:rPr lang="de-DE"/>
              <a:t>XX.XX.2021</a:t>
            </a:r>
          </a:p>
        </p:txBody>
      </p:sp>
      <p:sp>
        <p:nvSpPr>
          <p:cNvPr id="3" name="Fußzeilenplatzhalter 2" hidden="1">
            <a:extLst>
              <a:ext uri="{FF2B5EF4-FFF2-40B4-BE49-F238E27FC236}">
                <a16:creationId xmlns:a16="http://schemas.microsoft.com/office/drawing/2014/main" id="{478398C6-A877-4B44-95FB-39C3928E5BC5}"/>
              </a:ext>
            </a:extLst>
          </p:cNvPr>
          <p:cNvSpPr>
            <a:spLocks noGrp="1"/>
          </p:cNvSpPr>
          <p:nvPr>
            <p:ph type="ftr" sz="quarter" idx="17"/>
          </p:nvPr>
        </p:nvSpPr>
        <p:spPr>
          <a:xfrm>
            <a:off x="6313488" y="151200"/>
            <a:ext cx="4393761" cy="180000"/>
          </a:xfrm>
          <a:prstGeom prst="rect">
            <a:avLst/>
          </a:prstGeom>
        </p:spPr>
        <p:txBody>
          <a:bodyPr/>
          <a:lstStyle>
            <a:lvl1pPr>
              <a:defRPr>
                <a:noFill/>
              </a:defRPr>
            </a:lvl1pPr>
          </a:lstStyle>
          <a:p>
            <a:r>
              <a:rPr lang="de-DE"/>
              <a:t>Kürzel  |  CX  |</a:t>
            </a:r>
          </a:p>
        </p:txBody>
      </p:sp>
      <p:sp>
        <p:nvSpPr>
          <p:cNvPr id="4" name="Foliennummernplatzhalter 3" hidden="1">
            <a:extLst>
              <a:ext uri="{FF2B5EF4-FFF2-40B4-BE49-F238E27FC236}">
                <a16:creationId xmlns:a16="http://schemas.microsoft.com/office/drawing/2014/main" id="{EC481EA9-EE5D-4728-BDA0-C1698C6C30E0}"/>
              </a:ext>
            </a:extLst>
          </p:cNvPr>
          <p:cNvSpPr>
            <a:spLocks noGrp="1"/>
          </p:cNvSpPr>
          <p:nvPr>
            <p:ph type="sldNum" sz="quarter" idx="18"/>
          </p:nvPr>
        </p:nvSpPr>
        <p:spPr/>
        <p:txBody>
          <a:bodyPr/>
          <a:lstStyle>
            <a:lvl1pPr>
              <a:defRPr>
                <a:noFill/>
              </a:defRPr>
            </a:lvl1pPr>
          </a:lstStyle>
          <a:p>
            <a:fld id="{9C89B081-1F44-4440-BC7B-989C90F97B77}" type="slidenum">
              <a:rPr lang="de-DE"/>
              <a:pPr/>
              <a:t>‹Nr.›</a:t>
            </a:fld>
            <a:endParaRPr lang="de-DE"/>
          </a:p>
        </p:txBody>
      </p:sp>
    </p:spTree>
    <p:extLst>
      <p:ext uri="{BB962C8B-B14F-4D97-AF65-F5344CB8AC3E}">
        <p14:creationId xmlns:p14="http://schemas.microsoft.com/office/powerpoint/2010/main" val="965105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Agenda mit Bild">
    <p:spTree>
      <p:nvGrpSpPr>
        <p:cNvPr id="1" name=""/>
        <p:cNvGrpSpPr/>
        <p:nvPr/>
      </p:nvGrpSpPr>
      <p:grpSpPr>
        <a:xfrm>
          <a:off x="0" y="0"/>
          <a:ext cx="0" cy="0"/>
          <a:chOff x="0" y="0"/>
          <a:chExt cx="0" cy="0"/>
        </a:xfrm>
      </p:grpSpPr>
      <p:sp>
        <p:nvSpPr>
          <p:cNvPr id="11" name="Bildplatzhalter 9">
            <a:extLst>
              <a:ext uri="{FF2B5EF4-FFF2-40B4-BE49-F238E27FC236}">
                <a16:creationId xmlns:a16="http://schemas.microsoft.com/office/drawing/2014/main" id="{D798E5B9-D541-43DA-A3E7-65B072595C5B}"/>
              </a:ext>
            </a:extLst>
          </p:cNvPr>
          <p:cNvSpPr>
            <a:spLocks noGrp="1" noChangeAspect="1"/>
          </p:cNvSpPr>
          <p:nvPr>
            <p:ph type="pic" sz="quarter" idx="10" hasCustomPrompt="1"/>
          </p:nvPr>
        </p:nvSpPr>
        <p:spPr bwMode="gray">
          <a:xfrm>
            <a:off x="6103895" y="0"/>
            <a:ext cx="6091280" cy="6310680"/>
          </a:xfrm>
          <a:custGeom>
            <a:avLst/>
            <a:gdLst>
              <a:gd name="connsiteX0" fmla="*/ 0 w 6091280"/>
              <a:gd name="connsiteY0" fmla="*/ 0 h 6310680"/>
              <a:gd name="connsiteX1" fmla="*/ 6091280 w 6091280"/>
              <a:gd name="connsiteY1" fmla="*/ 0 h 6310680"/>
              <a:gd name="connsiteX2" fmla="*/ 6091280 w 6091280"/>
              <a:gd name="connsiteY2" fmla="*/ 5279428 h 6310680"/>
              <a:gd name="connsiteX3" fmla="*/ 966865 w 6091280"/>
              <a:gd name="connsiteY3" fmla="*/ 6289914 h 6310680"/>
              <a:gd name="connsiteX4" fmla="*/ 0 w 6091280"/>
              <a:gd name="connsiteY4" fmla="*/ 5567343 h 6310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1280" h="6310680">
                <a:moveTo>
                  <a:pt x="0" y="0"/>
                </a:moveTo>
                <a:lnTo>
                  <a:pt x="6091280" y="0"/>
                </a:lnTo>
                <a:lnTo>
                  <a:pt x="6091280" y="5279428"/>
                </a:lnTo>
                <a:lnTo>
                  <a:pt x="966865" y="6289914"/>
                </a:lnTo>
                <a:cubicBezTo>
                  <a:pt x="0" y="6456384"/>
                  <a:pt x="0" y="5567343"/>
                  <a:pt x="0" y="5567343"/>
                </a:cubicBezTo>
                <a:close/>
              </a:path>
            </a:pathLst>
          </a:custGeom>
          <a:pattFill prst="pct20">
            <a:fgClr>
              <a:schemeClr val="accent3"/>
            </a:fgClr>
            <a:bgClr>
              <a:schemeClr val="bg1"/>
            </a:bgClr>
          </a:pattFill>
        </p:spPr>
        <p:txBody>
          <a:bodyPr vert="horz" wrap="square" lIns="72000" tIns="72000" rIns="72000" bIns="72000" rtlCol="0" anchor="t">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1600" baseline="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600"/>
              <a:t>Um ein Hintergrundbild einzufügen, markieren Sie bitte den </a:t>
            </a:r>
            <a:br>
              <a:rPr lang="de-DE" sz="1600"/>
            </a:br>
            <a:r>
              <a:rPr lang="de-DE" sz="1600"/>
              <a:t>Platzhalter und wählen entweder ein Bild aus der </a:t>
            </a:r>
            <a:r>
              <a:rPr lang="de-DE" sz="1600" err="1"/>
              <a:t>empower</a:t>
            </a:r>
            <a:r>
              <a:rPr lang="de-DE" sz="1600"/>
              <a:t> </a:t>
            </a:r>
            <a:br>
              <a:rPr lang="de-DE" sz="1600"/>
            </a:br>
            <a:r>
              <a:rPr lang="de-DE" sz="1600"/>
              <a:t>Bibliothek oder über den Reiter „Einfügen“, „Bilder“ aus. </a:t>
            </a:r>
          </a:p>
        </p:txBody>
      </p:sp>
      <p:sp>
        <p:nvSpPr>
          <p:cNvPr id="4" name="Titel 3">
            <a:extLst>
              <a:ext uri="{FF2B5EF4-FFF2-40B4-BE49-F238E27FC236}">
                <a16:creationId xmlns:a16="http://schemas.microsoft.com/office/drawing/2014/main" id="{E67C7171-BD46-47C8-B444-7F23BB8F8942}"/>
              </a:ext>
            </a:extLst>
          </p:cNvPr>
          <p:cNvSpPr>
            <a:spLocks noGrp="1"/>
          </p:cNvSpPr>
          <p:nvPr>
            <p:ph type="title" hasCustomPrompt="1"/>
          </p:nvPr>
        </p:nvSpPr>
        <p:spPr bwMode="gray">
          <a:xfrm>
            <a:off x="409575" y="404664"/>
            <a:ext cx="5472113" cy="720000"/>
          </a:xfrm>
        </p:spPr>
        <p:txBody>
          <a:bodyPr/>
          <a:lstStyle>
            <a:lvl1pPr marL="0" indent="0" algn="l" defTabSz="914400" rtl="0" eaLnBrk="1" latinLnBrk="0" hangingPunct="1">
              <a:lnSpc>
                <a:spcPct val="100000"/>
              </a:lnSpc>
              <a:spcBef>
                <a:spcPct val="0"/>
              </a:spcBef>
              <a:buClr>
                <a:schemeClr val="accent1"/>
              </a:buClr>
              <a:buFont typeface="Arial" panose="020B0604020202020204" pitchFamily="34" charset="0"/>
              <a:buNone/>
              <a:defRPr/>
            </a:lvl1pPr>
          </a:lstStyle>
          <a:p>
            <a:pPr marL="0" indent="0" algn="l" defTabSz="914400" rtl="0" eaLnBrk="1" latinLnBrk="0" hangingPunct="1">
              <a:lnSpc>
                <a:spcPct val="100000"/>
              </a:lnSpc>
              <a:spcBef>
                <a:spcPct val="0"/>
              </a:spcBef>
              <a:buClr>
                <a:schemeClr val="accent1"/>
              </a:buClr>
              <a:buFont typeface="Arial" panose="020B0604020202020204" pitchFamily="34" charset="0"/>
              <a:buNone/>
            </a:pPr>
            <a:r>
              <a:rPr lang="de-DE" sz="2600" b="1" kern="1200">
                <a:solidFill>
                  <a:schemeClr val="tx2"/>
                </a:solidFill>
                <a:latin typeface="+mj-lt"/>
                <a:ea typeface="+mj-ea"/>
                <a:cs typeface="+mj-cs"/>
              </a:rPr>
              <a:t>Agenda durch Klicken bearbeiten</a:t>
            </a:r>
          </a:p>
        </p:txBody>
      </p:sp>
      <p:sp>
        <p:nvSpPr>
          <p:cNvPr id="2" name="Datumsplatzhalter 1" hidden="1">
            <a:extLst>
              <a:ext uri="{FF2B5EF4-FFF2-40B4-BE49-F238E27FC236}">
                <a16:creationId xmlns:a16="http://schemas.microsoft.com/office/drawing/2014/main" id="{00409173-C04A-4417-A50D-99ED9A1E7FEB}"/>
              </a:ext>
            </a:extLst>
          </p:cNvPr>
          <p:cNvSpPr>
            <a:spLocks noGrp="1"/>
          </p:cNvSpPr>
          <p:nvPr>
            <p:ph type="dt" sz="half" idx="11"/>
          </p:nvPr>
        </p:nvSpPr>
        <p:spPr/>
        <p:txBody>
          <a:bodyPr/>
          <a:lstStyle>
            <a:lvl1pPr>
              <a:defRPr>
                <a:noFill/>
              </a:defRPr>
            </a:lvl1pPr>
          </a:lstStyle>
          <a:p>
            <a:r>
              <a:rPr lang="de-DE"/>
              <a:t>XX.XX.2021</a:t>
            </a:r>
          </a:p>
        </p:txBody>
      </p:sp>
      <p:sp>
        <p:nvSpPr>
          <p:cNvPr id="3" name="Fußzeilenplatzhalter 2" hidden="1">
            <a:extLst>
              <a:ext uri="{FF2B5EF4-FFF2-40B4-BE49-F238E27FC236}">
                <a16:creationId xmlns:a16="http://schemas.microsoft.com/office/drawing/2014/main" id="{DDD2400C-9CD1-40F8-8C5C-311482818F96}"/>
              </a:ext>
            </a:extLst>
          </p:cNvPr>
          <p:cNvSpPr>
            <a:spLocks noGrp="1"/>
          </p:cNvSpPr>
          <p:nvPr>
            <p:ph type="ftr" sz="quarter" idx="12"/>
          </p:nvPr>
        </p:nvSpPr>
        <p:spPr>
          <a:xfrm>
            <a:off x="6313488" y="151200"/>
            <a:ext cx="4393761" cy="180000"/>
          </a:xfrm>
          <a:prstGeom prst="rect">
            <a:avLst/>
          </a:prstGeom>
        </p:spPr>
        <p:txBody>
          <a:bodyPr/>
          <a:lstStyle>
            <a:lvl1pPr>
              <a:defRPr>
                <a:noFill/>
              </a:defRPr>
            </a:lvl1pPr>
          </a:lstStyle>
          <a:p>
            <a:r>
              <a:rPr lang="de-DE"/>
              <a:t>Kürzel  |  CX  |</a:t>
            </a:r>
          </a:p>
        </p:txBody>
      </p:sp>
      <p:sp>
        <p:nvSpPr>
          <p:cNvPr id="6" name="Foliennummernplatzhalter 5" hidden="1">
            <a:extLst>
              <a:ext uri="{FF2B5EF4-FFF2-40B4-BE49-F238E27FC236}">
                <a16:creationId xmlns:a16="http://schemas.microsoft.com/office/drawing/2014/main" id="{1B179B87-6033-4F04-9A6A-36C0829C02EE}"/>
              </a:ext>
            </a:extLst>
          </p:cNvPr>
          <p:cNvSpPr>
            <a:spLocks noGrp="1"/>
          </p:cNvSpPr>
          <p:nvPr>
            <p:ph type="sldNum" sz="quarter" idx="13"/>
          </p:nvPr>
        </p:nvSpPr>
        <p:spPr/>
        <p:txBody>
          <a:bodyPr/>
          <a:lstStyle>
            <a:lvl1pPr>
              <a:defRPr>
                <a:noFill/>
              </a:defRPr>
            </a:lvl1pPr>
          </a:lstStyle>
          <a:p>
            <a:fld id="{9C89B081-1F44-4440-BC7B-989C90F97B77}" type="slidenum">
              <a:rPr lang="de-DE"/>
              <a:pPr/>
              <a:t>‹Nr.›</a:t>
            </a:fld>
            <a:endParaRPr lang="de-DE"/>
          </a:p>
        </p:txBody>
      </p:sp>
      <p:sp>
        <p:nvSpPr>
          <p:cNvPr id="8" name="Textfeld 7">
            <a:extLst>
              <a:ext uri="{FF2B5EF4-FFF2-40B4-BE49-F238E27FC236}">
                <a16:creationId xmlns:a16="http://schemas.microsoft.com/office/drawing/2014/main" id="{86853FEF-ECA6-42A2-B215-67C2797CE4B6}"/>
              </a:ext>
            </a:extLst>
          </p:cNvPr>
          <p:cNvSpPr txBox="1"/>
          <p:nvPr/>
        </p:nvSpPr>
        <p:spPr bwMode="gray">
          <a:xfrm>
            <a:off x="409575" y="6516000"/>
            <a:ext cx="11376000" cy="144000"/>
          </a:xfrm>
          <a:prstGeom prst="rect">
            <a:avLst/>
          </a:prstGeom>
          <a:noFill/>
        </p:spPr>
        <p:txBody>
          <a:bodyPr wrap="square" lIns="0" tIns="0" rIns="0" bIns="0" rtlCol="0" anchor="t">
            <a:noAutofit/>
          </a:bodyPr>
          <a:lstStyle/>
          <a:p>
            <a:pPr marL="0" marR="0" lvl="0" indent="0" algn="l" defTabSz="914400" eaLnBrk="1" fontAlgn="auto" latinLnBrk="0" hangingPunct="1">
              <a:lnSpc>
                <a:spcPct val="100000"/>
              </a:lnSpc>
              <a:spcBef>
                <a:spcPts val="600"/>
              </a:spcBef>
              <a:spcAft>
                <a:spcPts val="0"/>
              </a:spcAft>
              <a:buClr>
                <a:srgbClr val="003F74"/>
              </a:buClr>
              <a:buSzTx/>
              <a:buFontTx/>
              <a:buNone/>
              <a:tabLst/>
              <a:defRPr/>
            </a:pPr>
            <a:r>
              <a:rPr kumimoji="0" lang="de-DE" sz="1000" b="0" i="0" u="none" strike="noStrike" kern="0" cap="none" spc="0" normalizeH="0" baseline="0" noProof="0">
                <a:ln>
                  <a:noFill/>
                </a:ln>
                <a:solidFill>
                  <a:schemeClr val="tx2"/>
                </a:solidFill>
                <a:effectLst/>
                <a:uLnTx/>
                <a:uFillTx/>
              </a:rPr>
              <a:t>Union Investment  </a:t>
            </a:r>
            <a:r>
              <a:rPr kumimoji="0" lang="de-DE" sz="1000" b="0" i="0" u="none" strike="noStrike" kern="0" cap="none" spc="0" normalizeH="0" baseline="0" noProof="0">
                <a:ln>
                  <a:noFill/>
                </a:ln>
                <a:solidFill>
                  <a:srgbClr val="888888"/>
                </a:solidFill>
                <a:effectLst/>
                <a:uLnTx/>
                <a:uFillTx/>
              </a:rPr>
              <a:t>|  In Kooperation mit VOLKSBANK					Beachten Sie den rechtlichen Hinweis am Ende der Präsentation</a:t>
            </a:r>
          </a:p>
        </p:txBody>
      </p:sp>
    </p:spTree>
    <p:extLst>
      <p:ext uri="{BB962C8B-B14F-4D97-AF65-F5344CB8AC3E}">
        <p14:creationId xmlns:p14="http://schemas.microsoft.com/office/powerpoint/2010/main" val="4064618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977">
          <p15:clr>
            <a:srgbClr val="F26B43"/>
          </p15:clr>
        </p15:guide>
        <p15:guide id="2" pos="3705">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Agenda ohne Bild">
    <p:spTree>
      <p:nvGrpSpPr>
        <p:cNvPr id="1" name=""/>
        <p:cNvGrpSpPr/>
        <p:nvPr/>
      </p:nvGrpSpPr>
      <p:grpSpPr>
        <a:xfrm>
          <a:off x="0" y="0"/>
          <a:ext cx="0" cy="0"/>
          <a:chOff x="0" y="0"/>
          <a:chExt cx="0" cy="0"/>
        </a:xfrm>
      </p:grpSpPr>
      <p:sp>
        <p:nvSpPr>
          <p:cNvPr id="18" name="Titel 2">
            <a:extLst>
              <a:ext uri="{FF2B5EF4-FFF2-40B4-BE49-F238E27FC236}">
                <a16:creationId xmlns:a16="http://schemas.microsoft.com/office/drawing/2014/main" id="{48006391-F196-4C49-B1CF-51EA1F4C4287}"/>
              </a:ext>
            </a:extLst>
          </p:cNvPr>
          <p:cNvSpPr>
            <a:spLocks noGrp="1" noChangeAspect="1"/>
          </p:cNvSpPr>
          <p:nvPr>
            <p:ph type="body" sz="quarter" idx="15" hasCustomPrompt="1"/>
          </p:nvPr>
        </p:nvSpPr>
        <p:spPr bwMode="gray">
          <a:xfrm>
            <a:off x="630000" y="1"/>
            <a:ext cx="9545412" cy="1722335"/>
          </a:xfrm>
          <a:custGeom>
            <a:avLst/>
            <a:gdLst>
              <a:gd name="connsiteX0" fmla="*/ 0 w 9545412"/>
              <a:gd name="connsiteY0" fmla="*/ 0 h 1722335"/>
              <a:gd name="connsiteX1" fmla="*/ 9545412 w 9545412"/>
              <a:gd name="connsiteY1" fmla="*/ 0 h 1722335"/>
              <a:gd name="connsiteX2" fmla="*/ 910255 w 9545412"/>
              <a:gd name="connsiteY2" fmla="*/ 1702784 h 1722335"/>
              <a:gd name="connsiteX3" fmla="*/ 0 w 9545412"/>
              <a:gd name="connsiteY3" fmla="*/ 1022515 h 1722335"/>
            </a:gdLst>
            <a:ahLst/>
            <a:cxnLst>
              <a:cxn ang="0">
                <a:pos x="connsiteX0" y="connsiteY0"/>
              </a:cxn>
              <a:cxn ang="0">
                <a:pos x="connsiteX1" y="connsiteY1"/>
              </a:cxn>
              <a:cxn ang="0">
                <a:pos x="connsiteX2" y="connsiteY2"/>
              </a:cxn>
              <a:cxn ang="0">
                <a:pos x="connsiteX3" y="connsiteY3"/>
              </a:cxn>
            </a:cxnLst>
            <a:rect l="l" t="t" r="r" b="b"/>
            <a:pathLst>
              <a:path w="9545412" h="1722335">
                <a:moveTo>
                  <a:pt x="0" y="0"/>
                </a:moveTo>
                <a:lnTo>
                  <a:pt x="9545412" y="0"/>
                </a:lnTo>
                <a:lnTo>
                  <a:pt x="910255" y="1702784"/>
                </a:lnTo>
                <a:cubicBezTo>
                  <a:pt x="0" y="1859508"/>
                  <a:pt x="0" y="1022515"/>
                  <a:pt x="0" y="1022515"/>
                </a:cubicBezTo>
                <a:close/>
              </a:path>
            </a:pathLst>
          </a:custGeom>
          <a:solidFill>
            <a:schemeClr val="tx2"/>
          </a:solidFill>
        </p:spPr>
        <p:txBody>
          <a:bodyPr wrap="square" lIns="439200" tIns="403200" rIns="5760000">
            <a:noAutofit/>
          </a:bodyPr>
          <a:lstStyle>
            <a:lvl1pPr marL="0" indent="0">
              <a:spcBef>
                <a:spcPts val="0"/>
              </a:spcBef>
              <a:buFont typeface="Arial" panose="020B0604020202020204" pitchFamily="34" charset="0"/>
              <a:buNone/>
              <a:defRPr sz="2600" b="1">
                <a:solidFill>
                  <a:schemeClr val="bg1"/>
                </a:solidFill>
              </a:defRPr>
            </a:lvl1pPr>
            <a:lvl2pPr marL="0" indent="0">
              <a:spcBef>
                <a:spcPts val="0"/>
              </a:spcBef>
              <a:buFont typeface="Arial" panose="020B0604020202020204" pitchFamily="34" charset="0"/>
              <a:buNone/>
              <a:defRPr sz="3000" b="1">
                <a:solidFill>
                  <a:schemeClr val="bg1"/>
                </a:solidFill>
              </a:defRPr>
            </a:lvl2pPr>
            <a:lvl3pPr marL="0" indent="0">
              <a:spcBef>
                <a:spcPts val="0"/>
              </a:spcBef>
              <a:buNone/>
              <a:defRPr sz="3000" b="1">
                <a:solidFill>
                  <a:schemeClr val="bg1"/>
                </a:solidFill>
              </a:defRPr>
            </a:lvl3pPr>
            <a:lvl4pPr marL="0" indent="0">
              <a:spcBef>
                <a:spcPts val="0"/>
              </a:spcBef>
              <a:buNone/>
              <a:defRPr sz="3000" b="1">
                <a:solidFill>
                  <a:schemeClr val="bg1"/>
                </a:solidFill>
              </a:defRPr>
            </a:lvl4pPr>
            <a:lvl5pPr marL="0" indent="0">
              <a:spcBef>
                <a:spcPts val="0"/>
              </a:spcBef>
              <a:buNone/>
              <a:defRPr sz="3000" b="1">
                <a:solidFill>
                  <a:schemeClr val="bg1"/>
                </a:solidFill>
              </a:defRPr>
            </a:lvl5pPr>
          </a:lstStyle>
          <a:p>
            <a:pPr lvl="0"/>
            <a:r>
              <a:rPr lang="de-DE"/>
              <a:t>Agenda durch Klicken bearbeiten</a:t>
            </a:r>
          </a:p>
        </p:txBody>
      </p:sp>
      <p:sp>
        <p:nvSpPr>
          <p:cNvPr id="2" name="Datumsplatzhalter 1" hidden="1">
            <a:extLst>
              <a:ext uri="{FF2B5EF4-FFF2-40B4-BE49-F238E27FC236}">
                <a16:creationId xmlns:a16="http://schemas.microsoft.com/office/drawing/2014/main" id="{AEC41FBF-BBD2-4694-8BFD-7693D2856315}"/>
              </a:ext>
            </a:extLst>
          </p:cNvPr>
          <p:cNvSpPr>
            <a:spLocks noGrp="1"/>
          </p:cNvSpPr>
          <p:nvPr>
            <p:ph type="dt" sz="half" idx="16"/>
          </p:nvPr>
        </p:nvSpPr>
        <p:spPr/>
        <p:txBody>
          <a:bodyPr/>
          <a:lstStyle>
            <a:lvl1pPr>
              <a:defRPr>
                <a:noFill/>
              </a:defRPr>
            </a:lvl1pPr>
          </a:lstStyle>
          <a:p>
            <a:r>
              <a:rPr lang="de-DE"/>
              <a:t>XX.XX.2021</a:t>
            </a:r>
          </a:p>
        </p:txBody>
      </p:sp>
      <p:sp>
        <p:nvSpPr>
          <p:cNvPr id="3" name="Fußzeilenplatzhalter 2" hidden="1">
            <a:extLst>
              <a:ext uri="{FF2B5EF4-FFF2-40B4-BE49-F238E27FC236}">
                <a16:creationId xmlns:a16="http://schemas.microsoft.com/office/drawing/2014/main" id="{DEAAFD79-128F-4FEE-887D-835E2FB1F681}"/>
              </a:ext>
            </a:extLst>
          </p:cNvPr>
          <p:cNvSpPr>
            <a:spLocks noGrp="1"/>
          </p:cNvSpPr>
          <p:nvPr>
            <p:ph type="ftr" sz="quarter" idx="17"/>
          </p:nvPr>
        </p:nvSpPr>
        <p:spPr>
          <a:xfrm>
            <a:off x="6313488" y="151200"/>
            <a:ext cx="4393761" cy="180000"/>
          </a:xfrm>
          <a:prstGeom prst="rect">
            <a:avLst/>
          </a:prstGeom>
        </p:spPr>
        <p:txBody>
          <a:bodyPr/>
          <a:lstStyle>
            <a:lvl1pPr>
              <a:defRPr>
                <a:noFill/>
              </a:defRPr>
            </a:lvl1pPr>
          </a:lstStyle>
          <a:p>
            <a:r>
              <a:rPr lang="de-DE"/>
              <a:t>Kürzel  |  CX  |</a:t>
            </a:r>
          </a:p>
        </p:txBody>
      </p:sp>
      <p:sp>
        <p:nvSpPr>
          <p:cNvPr id="5" name="Foliennummernplatzhalter 4" hidden="1">
            <a:extLst>
              <a:ext uri="{FF2B5EF4-FFF2-40B4-BE49-F238E27FC236}">
                <a16:creationId xmlns:a16="http://schemas.microsoft.com/office/drawing/2014/main" id="{74417BC1-7661-4571-9C7E-1EC7D7D71D72}"/>
              </a:ext>
            </a:extLst>
          </p:cNvPr>
          <p:cNvSpPr>
            <a:spLocks noGrp="1"/>
          </p:cNvSpPr>
          <p:nvPr>
            <p:ph type="sldNum" sz="quarter" idx="18"/>
          </p:nvPr>
        </p:nvSpPr>
        <p:spPr/>
        <p:txBody>
          <a:bodyPr/>
          <a:lstStyle>
            <a:lvl1pPr>
              <a:defRPr>
                <a:noFill/>
              </a:defRPr>
            </a:lvl1pPr>
          </a:lstStyle>
          <a:p>
            <a:fld id="{9C89B081-1F44-4440-BC7B-989C90F97B77}" type="slidenum">
              <a:rPr lang="de-DE"/>
              <a:pPr/>
              <a:t>‹Nr.›</a:t>
            </a:fld>
            <a:endParaRPr lang="de-DE"/>
          </a:p>
        </p:txBody>
      </p:sp>
      <p:sp>
        <p:nvSpPr>
          <p:cNvPr id="7" name="Textfeld 6">
            <a:extLst>
              <a:ext uri="{FF2B5EF4-FFF2-40B4-BE49-F238E27FC236}">
                <a16:creationId xmlns:a16="http://schemas.microsoft.com/office/drawing/2014/main" id="{55F61169-5385-4ADC-893F-11D438D94078}"/>
              </a:ext>
            </a:extLst>
          </p:cNvPr>
          <p:cNvSpPr txBox="1"/>
          <p:nvPr/>
        </p:nvSpPr>
        <p:spPr bwMode="gray">
          <a:xfrm>
            <a:off x="409575" y="6516000"/>
            <a:ext cx="11376000" cy="144000"/>
          </a:xfrm>
          <a:prstGeom prst="rect">
            <a:avLst/>
          </a:prstGeom>
          <a:noFill/>
        </p:spPr>
        <p:txBody>
          <a:bodyPr wrap="square" lIns="0" tIns="0" rIns="0" bIns="0" rtlCol="0" anchor="t">
            <a:noAutofit/>
          </a:bodyPr>
          <a:lstStyle/>
          <a:p>
            <a:pPr marL="0" marR="0" lvl="0" indent="0" algn="l" defTabSz="914400" eaLnBrk="1" fontAlgn="auto" latinLnBrk="0" hangingPunct="1">
              <a:lnSpc>
                <a:spcPct val="100000"/>
              </a:lnSpc>
              <a:spcBef>
                <a:spcPts val="600"/>
              </a:spcBef>
              <a:spcAft>
                <a:spcPts val="0"/>
              </a:spcAft>
              <a:buClr>
                <a:srgbClr val="003F74"/>
              </a:buClr>
              <a:buSzTx/>
              <a:buFontTx/>
              <a:buNone/>
              <a:tabLst/>
              <a:defRPr/>
            </a:pPr>
            <a:r>
              <a:rPr kumimoji="0" lang="de-DE" sz="1000" b="0" i="0" u="none" strike="noStrike" kern="0" cap="none" spc="0" normalizeH="0" baseline="0" noProof="0">
                <a:ln>
                  <a:noFill/>
                </a:ln>
                <a:solidFill>
                  <a:schemeClr val="tx2"/>
                </a:solidFill>
                <a:effectLst/>
                <a:uLnTx/>
                <a:uFillTx/>
              </a:rPr>
              <a:t>Union Investment  </a:t>
            </a:r>
            <a:r>
              <a:rPr kumimoji="0" lang="de-DE" sz="1000" b="0" i="0" u="none" strike="noStrike" kern="0" cap="none" spc="0" normalizeH="0" baseline="0" noProof="0">
                <a:ln>
                  <a:noFill/>
                </a:ln>
                <a:solidFill>
                  <a:srgbClr val="888888"/>
                </a:solidFill>
                <a:effectLst/>
                <a:uLnTx/>
                <a:uFillTx/>
              </a:rPr>
              <a:t>|  In Kooperation mit VOLKSBANK					Beachten Sie die rechtlichen Hinweise am Ende der Präsentation</a:t>
            </a:r>
          </a:p>
        </p:txBody>
      </p:sp>
    </p:spTree>
    <p:extLst>
      <p:ext uri="{BB962C8B-B14F-4D97-AF65-F5344CB8AC3E}">
        <p14:creationId xmlns:p14="http://schemas.microsoft.com/office/powerpoint/2010/main" val="96146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977">
          <p15:clr>
            <a:srgbClr val="FBAE40"/>
          </p15:clr>
        </p15:guide>
        <p15:guide id="2" pos="3705">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rennseite mit vollflächigem Bild 01">
    <p:spTree>
      <p:nvGrpSpPr>
        <p:cNvPr id="1" name=""/>
        <p:cNvGrpSpPr/>
        <p:nvPr/>
      </p:nvGrpSpPr>
      <p:grpSpPr>
        <a:xfrm>
          <a:off x="0" y="0"/>
          <a:ext cx="0" cy="0"/>
          <a:chOff x="0" y="0"/>
          <a:chExt cx="0" cy="0"/>
        </a:xfrm>
      </p:grpSpPr>
      <p:sp>
        <p:nvSpPr>
          <p:cNvPr id="6" name="Bildplatzhalter 9">
            <a:extLst>
              <a:ext uri="{FF2B5EF4-FFF2-40B4-BE49-F238E27FC236}">
                <a16:creationId xmlns:a16="http://schemas.microsoft.com/office/drawing/2014/main" id="{61C4EC75-5F5C-47D8-AE19-1DBDC9528730}"/>
              </a:ext>
            </a:extLst>
          </p:cNvPr>
          <p:cNvSpPr>
            <a:spLocks noGrp="1"/>
          </p:cNvSpPr>
          <p:nvPr>
            <p:ph type="pic" sz="quarter" idx="10" hasCustomPrompt="1"/>
          </p:nvPr>
        </p:nvSpPr>
        <p:spPr bwMode="gray">
          <a:xfrm>
            <a:off x="-1" y="0"/>
            <a:ext cx="12195175" cy="6858000"/>
          </a:xfrm>
          <a:prstGeom prst="rect">
            <a:avLst/>
          </a:prstGeom>
          <a:pattFill prst="pct20">
            <a:fgClr>
              <a:schemeClr val="accent3"/>
            </a:fgClr>
            <a:bgClr>
              <a:schemeClr val="bg1"/>
            </a:bgClr>
          </a:pattFill>
        </p:spPr>
        <p:txBody>
          <a:bodyPr vert="horz" wrap="square" lIns="72000" tIns="72000" rIns="72000" bIns="72000" rtlCol="0" anchor="t">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1600" baseline="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600"/>
              <a:t>Um ein Hintergrundbild einzufügen, markieren Sie bitte den </a:t>
            </a:r>
            <a:br>
              <a:rPr lang="de-DE" sz="1600"/>
            </a:br>
            <a:r>
              <a:rPr lang="de-DE" sz="1600"/>
              <a:t>Platzhalter und wählen entweder ein Bild aus der </a:t>
            </a:r>
            <a:r>
              <a:rPr lang="de-DE" sz="1600" err="1"/>
              <a:t>empower</a:t>
            </a:r>
            <a:r>
              <a:rPr lang="de-DE" sz="1600"/>
              <a:t> </a:t>
            </a:r>
            <a:br>
              <a:rPr lang="de-DE" sz="1600"/>
            </a:br>
            <a:r>
              <a:rPr lang="de-DE" sz="1600"/>
              <a:t>Bibliothek oder über den Reiter „Einfügen“, „Bilder“ aus. </a:t>
            </a:r>
          </a:p>
        </p:txBody>
      </p:sp>
      <p:sp>
        <p:nvSpPr>
          <p:cNvPr id="7" name="Textplatzhalter 9">
            <a:extLst>
              <a:ext uri="{FF2B5EF4-FFF2-40B4-BE49-F238E27FC236}">
                <a16:creationId xmlns:a16="http://schemas.microsoft.com/office/drawing/2014/main" id="{93C93B80-10F8-4DC4-AAB2-00F234410632}"/>
              </a:ext>
            </a:extLst>
          </p:cNvPr>
          <p:cNvSpPr>
            <a:spLocks noGrp="1" noChangeAspect="1"/>
          </p:cNvSpPr>
          <p:nvPr>
            <p:ph type="body" sz="quarter" idx="15" hasCustomPrompt="1"/>
          </p:nvPr>
        </p:nvSpPr>
        <p:spPr bwMode="gray">
          <a:xfrm>
            <a:off x="6103895" y="-1"/>
            <a:ext cx="6091280" cy="6310680"/>
          </a:xfrm>
          <a:custGeom>
            <a:avLst/>
            <a:gdLst>
              <a:gd name="connsiteX0" fmla="*/ 0 w 6091280"/>
              <a:gd name="connsiteY0" fmla="*/ 0 h 6310680"/>
              <a:gd name="connsiteX1" fmla="*/ 6091280 w 6091280"/>
              <a:gd name="connsiteY1" fmla="*/ 0 h 6310680"/>
              <a:gd name="connsiteX2" fmla="*/ 6091280 w 6091280"/>
              <a:gd name="connsiteY2" fmla="*/ 5279428 h 6310680"/>
              <a:gd name="connsiteX3" fmla="*/ 966865 w 6091280"/>
              <a:gd name="connsiteY3" fmla="*/ 6289914 h 6310680"/>
              <a:gd name="connsiteX4" fmla="*/ 0 w 6091280"/>
              <a:gd name="connsiteY4" fmla="*/ 5567343 h 6310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1280" h="6310680">
                <a:moveTo>
                  <a:pt x="0" y="0"/>
                </a:moveTo>
                <a:lnTo>
                  <a:pt x="6091280" y="0"/>
                </a:lnTo>
                <a:lnTo>
                  <a:pt x="6091280" y="5279428"/>
                </a:lnTo>
                <a:lnTo>
                  <a:pt x="966865" y="6289914"/>
                </a:lnTo>
                <a:cubicBezTo>
                  <a:pt x="0" y="6456384"/>
                  <a:pt x="0" y="5567343"/>
                  <a:pt x="0" y="5567343"/>
                </a:cubicBezTo>
                <a:close/>
              </a:path>
            </a:pathLst>
          </a:custGeom>
          <a:solidFill>
            <a:schemeClr val="tx2">
              <a:alpha val="89000"/>
            </a:schemeClr>
          </a:solidFill>
        </p:spPr>
        <p:txBody>
          <a:bodyPr wrap="square" lIns="435600" tIns="0" rIns="414000" bIns="3542400" anchor="b">
            <a:noAutofit/>
          </a:bodyPr>
          <a:lstStyle>
            <a:lvl1pPr marL="0" indent="0">
              <a:spcBef>
                <a:spcPts val="0"/>
              </a:spcBef>
              <a:buFont typeface="Arial" panose="020B0604020202020204" pitchFamily="34" charset="0"/>
              <a:buNone/>
              <a:defRPr sz="2600" b="1">
                <a:solidFill>
                  <a:schemeClr val="bg1"/>
                </a:solidFill>
              </a:defRPr>
            </a:lvl1pPr>
            <a:lvl2pPr marL="0" indent="0">
              <a:spcBef>
                <a:spcPts val="0"/>
              </a:spcBef>
              <a:buFont typeface="Arial" panose="020B0604020202020204" pitchFamily="34" charset="0"/>
              <a:buNone/>
              <a:defRPr sz="3000" b="1">
                <a:solidFill>
                  <a:schemeClr val="bg1"/>
                </a:solidFill>
              </a:defRPr>
            </a:lvl2pPr>
            <a:lvl3pPr marL="0" indent="0">
              <a:spcBef>
                <a:spcPts val="0"/>
              </a:spcBef>
              <a:buNone/>
              <a:defRPr sz="3000" b="1">
                <a:solidFill>
                  <a:schemeClr val="bg1"/>
                </a:solidFill>
              </a:defRPr>
            </a:lvl3pPr>
            <a:lvl4pPr marL="0" indent="0">
              <a:spcBef>
                <a:spcPts val="0"/>
              </a:spcBef>
              <a:buNone/>
              <a:defRPr sz="3000" b="1">
                <a:solidFill>
                  <a:schemeClr val="bg1"/>
                </a:solidFill>
              </a:defRPr>
            </a:lvl4pPr>
            <a:lvl5pPr marL="0" indent="0">
              <a:spcBef>
                <a:spcPts val="0"/>
              </a:spcBef>
              <a:buNone/>
              <a:defRPr sz="3000" b="1">
                <a:solidFill>
                  <a:schemeClr val="bg1"/>
                </a:solidFill>
              </a:defRPr>
            </a:lvl5pPr>
          </a:lstStyle>
          <a:p>
            <a:pPr lvl="0"/>
            <a:r>
              <a:rPr lang="de-DE"/>
              <a:t>Kapiteltrennseite (max. 2-zeilig)</a:t>
            </a:r>
          </a:p>
        </p:txBody>
      </p:sp>
      <p:sp>
        <p:nvSpPr>
          <p:cNvPr id="12" name="Textplatzhalter 11">
            <a:extLst>
              <a:ext uri="{FF2B5EF4-FFF2-40B4-BE49-F238E27FC236}">
                <a16:creationId xmlns:a16="http://schemas.microsoft.com/office/drawing/2014/main" id="{22AE4F05-50A3-4DCB-B5C1-E163C13DE46A}"/>
              </a:ext>
            </a:extLst>
          </p:cNvPr>
          <p:cNvSpPr>
            <a:spLocks noGrp="1"/>
          </p:cNvSpPr>
          <p:nvPr>
            <p:ph type="body" sz="quarter" idx="12" hasCustomPrompt="1"/>
          </p:nvPr>
        </p:nvSpPr>
        <p:spPr bwMode="gray">
          <a:xfrm>
            <a:off x="6538613" y="403200"/>
            <a:ext cx="461665" cy="830997"/>
          </a:xfrm>
          <a:prstGeom prst="rect">
            <a:avLst/>
          </a:prstGeom>
        </p:spPr>
        <p:txBody>
          <a:bodyPr wrap="none" anchor="ctr">
            <a:spAutoFit/>
          </a:bodyPr>
          <a:lstStyle>
            <a:lvl1pPr marL="0" indent="0">
              <a:spcBef>
                <a:spcPts val="0"/>
              </a:spcBef>
              <a:buNone/>
              <a:defRPr sz="5400" b="0">
                <a:solidFill>
                  <a:schemeClr val="accent2"/>
                </a:solidFill>
              </a:defRPr>
            </a:lvl1pPr>
            <a:lvl2pPr>
              <a:defRPr sz="4500"/>
            </a:lvl2pPr>
            <a:lvl3pPr>
              <a:defRPr sz="4500"/>
            </a:lvl3pPr>
            <a:lvl4pPr>
              <a:defRPr sz="4500"/>
            </a:lvl4pPr>
            <a:lvl5pPr>
              <a:defRPr sz="4500"/>
            </a:lvl5pPr>
          </a:lstStyle>
          <a:p>
            <a:pPr lvl="0"/>
            <a:r>
              <a:rPr lang="de-DE" noProof="0"/>
              <a:t>X</a:t>
            </a:r>
          </a:p>
        </p:txBody>
      </p:sp>
      <p:sp>
        <p:nvSpPr>
          <p:cNvPr id="13" name="Textplatzhalter 2">
            <a:extLst>
              <a:ext uri="{FF2B5EF4-FFF2-40B4-BE49-F238E27FC236}">
                <a16:creationId xmlns:a16="http://schemas.microsoft.com/office/drawing/2014/main" id="{82FE2016-08F1-473F-A608-61DC01DB69ED}"/>
              </a:ext>
            </a:extLst>
          </p:cNvPr>
          <p:cNvSpPr>
            <a:spLocks noGrp="1"/>
          </p:cNvSpPr>
          <p:nvPr>
            <p:ph type="body" sz="quarter" idx="13" hasCustomPrompt="1"/>
          </p:nvPr>
        </p:nvSpPr>
        <p:spPr bwMode="gray">
          <a:xfrm>
            <a:off x="6538613" y="2934424"/>
            <a:ext cx="5242907" cy="2016000"/>
          </a:xfrm>
        </p:spPr>
        <p:txBody>
          <a:bodyPr/>
          <a:lstStyle>
            <a:lvl1pPr marL="180000" indent="-180000">
              <a:spcBef>
                <a:spcPts val="600"/>
              </a:spcBef>
              <a:buClrTx/>
              <a:buFont typeface="Wingdings" panose="05000000000000000000" pitchFamily="2" charset="2"/>
              <a:buChar char=""/>
              <a:defRPr b="0">
                <a:solidFill>
                  <a:schemeClr val="bg1"/>
                </a:solidFill>
              </a:defRPr>
            </a:lvl1pPr>
          </a:lstStyle>
          <a:p>
            <a:pPr lvl="0"/>
            <a:r>
              <a:rPr lang="de-DE" noProof="0"/>
              <a:t>Erstes Unterthema</a:t>
            </a:r>
          </a:p>
          <a:p>
            <a:pPr lvl="0"/>
            <a:r>
              <a:rPr lang="de-DE" noProof="0"/>
              <a:t>Zweites Unterthema</a:t>
            </a:r>
          </a:p>
          <a:p>
            <a:pPr lvl="0"/>
            <a:endParaRPr lang="de-DE" noProof="0"/>
          </a:p>
          <a:p>
            <a:pPr lvl="0"/>
            <a:endParaRPr lang="de-DE" noProof="0"/>
          </a:p>
        </p:txBody>
      </p:sp>
      <p:sp>
        <p:nvSpPr>
          <p:cNvPr id="2" name="Datumsplatzhalter 1" hidden="1">
            <a:extLst>
              <a:ext uri="{FF2B5EF4-FFF2-40B4-BE49-F238E27FC236}">
                <a16:creationId xmlns:a16="http://schemas.microsoft.com/office/drawing/2014/main" id="{D31E90FE-4C0F-46DC-BB23-CFE8EF067FA0}"/>
              </a:ext>
            </a:extLst>
          </p:cNvPr>
          <p:cNvSpPr>
            <a:spLocks noGrp="1"/>
          </p:cNvSpPr>
          <p:nvPr>
            <p:ph type="dt" sz="half" idx="16"/>
          </p:nvPr>
        </p:nvSpPr>
        <p:spPr/>
        <p:txBody>
          <a:bodyPr/>
          <a:lstStyle>
            <a:lvl1pPr>
              <a:defRPr>
                <a:noFill/>
              </a:defRPr>
            </a:lvl1pPr>
          </a:lstStyle>
          <a:p>
            <a:r>
              <a:rPr lang="de-DE"/>
              <a:t>XX.XX.2021</a:t>
            </a:r>
          </a:p>
        </p:txBody>
      </p:sp>
      <p:sp>
        <p:nvSpPr>
          <p:cNvPr id="3" name="Fußzeilenplatzhalter 2" hidden="1">
            <a:extLst>
              <a:ext uri="{FF2B5EF4-FFF2-40B4-BE49-F238E27FC236}">
                <a16:creationId xmlns:a16="http://schemas.microsoft.com/office/drawing/2014/main" id="{7FE96BE8-4D7F-4167-BF57-0839A28E751D}"/>
              </a:ext>
            </a:extLst>
          </p:cNvPr>
          <p:cNvSpPr>
            <a:spLocks noGrp="1"/>
          </p:cNvSpPr>
          <p:nvPr>
            <p:ph type="ftr" sz="quarter" idx="17"/>
          </p:nvPr>
        </p:nvSpPr>
        <p:spPr>
          <a:xfrm>
            <a:off x="6313488" y="151200"/>
            <a:ext cx="4393761" cy="180000"/>
          </a:xfrm>
          <a:prstGeom prst="rect">
            <a:avLst/>
          </a:prstGeom>
        </p:spPr>
        <p:txBody>
          <a:bodyPr/>
          <a:lstStyle>
            <a:lvl1pPr>
              <a:defRPr>
                <a:noFill/>
              </a:defRPr>
            </a:lvl1pPr>
          </a:lstStyle>
          <a:p>
            <a:r>
              <a:rPr lang="de-DE"/>
              <a:t>Kürzel  |  CX  |</a:t>
            </a:r>
          </a:p>
        </p:txBody>
      </p:sp>
      <p:sp>
        <p:nvSpPr>
          <p:cNvPr id="4" name="Foliennummernplatzhalter 3" hidden="1">
            <a:extLst>
              <a:ext uri="{FF2B5EF4-FFF2-40B4-BE49-F238E27FC236}">
                <a16:creationId xmlns:a16="http://schemas.microsoft.com/office/drawing/2014/main" id="{3ED20BDB-0617-4D87-972C-813895C0EE1A}"/>
              </a:ext>
            </a:extLst>
          </p:cNvPr>
          <p:cNvSpPr>
            <a:spLocks noGrp="1"/>
          </p:cNvSpPr>
          <p:nvPr>
            <p:ph type="sldNum" sz="quarter" idx="18"/>
          </p:nvPr>
        </p:nvSpPr>
        <p:spPr/>
        <p:txBody>
          <a:bodyPr/>
          <a:lstStyle>
            <a:lvl1pPr>
              <a:defRPr>
                <a:noFill/>
              </a:defRPr>
            </a:lvl1pPr>
          </a:lstStyle>
          <a:p>
            <a:fld id="{9C89B081-1F44-4440-BC7B-989C90F97B77}" type="slidenum">
              <a:rPr lang="de-DE"/>
              <a:pPr/>
              <a:t>‹Nr.›</a:t>
            </a:fld>
            <a:endParaRPr lang="de-DE"/>
          </a:p>
        </p:txBody>
      </p:sp>
    </p:spTree>
    <p:extLst>
      <p:ext uri="{BB962C8B-B14F-4D97-AF65-F5344CB8AC3E}">
        <p14:creationId xmlns:p14="http://schemas.microsoft.com/office/powerpoint/2010/main" val="43681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rennseite mit vollflächigem Bild 02">
    <p:spTree>
      <p:nvGrpSpPr>
        <p:cNvPr id="1" name=""/>
        <p:cNvGrpSpPr/>
        <p:nvPr/>
      </p:nvGrpSpPr>
      <p:grpSpPr>
        <a:xfrm>
          <a:off x="0" y="0"/>
          <a:ext cx="0" cy="0"/>
          <a:chOff x="0" y="0"/>
          <a:chExt cx="0" cy="0"/>
        </a:xfrm>
      </p:grpSpPr>
      <p:sp>
        <p:nvSpPr>
          <p:cNvPr id="6" name="Bildplatzhalter 9">
            <a:extLst>
              <a:ext uri="{FF2B5EF4-FFF2-40B4-BE49-F238E27FC236}">
                <a16:creationId xmlns:a16="http://schemas.microsoft.com/office/drawing/2014/main" id="{61C4EC75-5F5C-47D8-AE19-1DBDC9528730}"/>
              </a:ext>
            </a:extLst>
          </p:cNvPr>
          <p:cNvSpPr>
            <a:spLocks noGrp="1"/>
          </p:cNvSpPr>
          <p:nvPr>
            <p:ph type="pic" sz="quarter" idx="10" hasCustomPrompt="1"/>
          </p:nvPr>
        </p:nvSpPr>
        <p:spPr bwMode="gray">
          <a:xfrm>
            <a:off x="-1" y="0"/>
            <a:ext cx="12195175" cy="6858000"/>
          </a:xfrm>
          <a:prstGeom prst="rect">
            <a:avLst/>
          </a:prstGeom>
          <a:pattFill prst="pct20">
            <a:fgClr>
              <a:schemeClr val="accent3"/>
            </a:fgClr>
            <a:bgClr>
              <a:schemeClr val="bg1"/>
            </a:bgClr>
          </a:pattFill>
        </p:spPr>
        <p:txBody>
          <a:bodyPr vert="horz" wrap="square" lIns="72000" tIns="72000" rIns="72000" bIns="72000" rtlCol="0" anchor="t">
            <a:noAutofit/>
          </a:bodyPr>
          <a:lstStyle>
            <a:lvl1pPr>
              <a:defRPr lang="de-DE" sz="1600" baseline="0" dirty="0">
                <a:solidFill>
                  <a:schemeClr val="tx1"/>
                </a:solidFill>
              </a:defRPr>
            </a:lvl1pPr>
          </a:lstStyle>
          <a:p>
            <a:pPr marR="0" lvl="0" fontAlgn="auto">
              <a:lnSpc>
                <a:spcPct val="100000"/>
              </a:lnSpc>
              <a:spcBef>
                <a:spcPts val="0"/>
              </a:spcBef>
              <a:spcAft>
                <a:spcPts val="0"/>
              </a:spcAft>
              <a:buClrTx/>
              <a:buSzTx/>
              <a:tabLst/>
            </a:pPr>
            <a:r>
              <a:rPr lang="de-DE" sz="1600"/>
              <a:t>Um ein Hintergrundbild einzufügen, markieren Sie bitte den Platzhalter und wählen entweder ein Bild aus der </a:t>
            </a:r>
            <a:r>
              <a:rPr lang="de-DE" sz="1600" err="1"/>
              <a:t>empower</a:t>
            </a:r>
            <a:r>
              <a:rPr lang="de-DE" sz="1600"/>
              <a:t> Bibliothek oder über den Reiter „Einfügen“, „Bilder“ aus. </a:t>
            </a:r>
          </a:p>
        </p:txBody>
      </p:sp>
      <p:sp>
        <p:nvSpPr>
          <p:cNvPr id="9" name="Textplatzhalter 9">
            <a:extLst>
              <a:ext uri="{FF2B5EF4-FFF2-40B4-BE49-F238E27FC236}">
                <a16:creationId xmlns:a16="http://schemas.microsoft.com/office/drawing/2014/main" id="{736F61B6-AA72-44FD-A2CD-3CEF9E01724E}"/>
              </a:ext>
            </a:extLst>
          </p:cNvPr>
          <p:cNvSpPr>
            <a:spLocks noGrp="1" noChangeAspect="1"/>
          </p:cNvSpPr>
          <p:nvPr>
            <p:ph type="body" sz="quarter" idx="15" hasCustomPrompt="1"/>
          </p:nvPr>
        </p:nvSpPr>
        <p:spPr bwMode="gray">
          <a:xfrm>
            <a:off x="0" y="547319"/>
            <a:ext cx="6091280" cy="6310681"/>
          </a:xfrm>
          <a:custGeom>
            <a:avLst/>
            <a:gdLst>
              <a:gd name="connsiteX0" fmla="*/ 5294608 w 6091280"/>
              <a:gd name="connsiteY0" fmla="*/ 1449 h 6310681"/>
              <a:gd name="connsiteX1" fmla="*/ 6091280 w 6091280"/>
              <a:gd name="connsiteY1" fmla="*/ 743338 h 6310681"/>
              <a:gd name="connsiteX2" fmla="*/ 6091280 w 6091280"/>
              <a:gd name="connsiteY2" fmla="*/ 6310681 h 6310681"/>
              <a:gd name="connsiteX3" fmla="*/ 0 w 6091280"/>
              <a:gd name="connsiteY3" fmla="*/ 6310681 h 6310681"/>
              <a:gd name="connsiteX4" fmla="*/ 0 w 6091280"/>
              <a:gd name="connsiteY4" fmla="*/ 1031253 h 6310681"/>
              <a:gd name="connsiteX5" fmla="*/ 5124415 w 6091280"/>
              <a:gd name="connsiteY5" fmla="*/ 20767 h 6310681"/>
              <a:gd name="connsiteX6" fmla="*/ 5294608 w 6091280"/>
              <a:gd name="connsiteY6" fmla="*/ 1449 h 6310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1280" h="6310681">
                <a:moveTo>
                  <a:pt x="5294608" y="1449"/>
                </a:moveTo>
                <a:cubicBezTo>
                  <a:pt x="6091280" y="-38046"/>
                  <a:pt x="6091280" y="743338"/>
                  <a:pt x="6091280" y="743338"/>
                </a:cubicBezTo>
                <a:lnTo>
                  <a:pt x="6091280" y="6310681"/>
                </a:lnTo>
                <a:lnTo>
                  <a:pt x="0" y="6310681"/>
                </a:lnTo>
                <a:lnTo>
                  <a:pt x="0" y="1031253"/>
                </a:lnTo>
                <a:lnTo>
                  <a:pt x="5124415" y="20767"/>
                </a:lnTo>
                <a:cubicBezTo>
                  <a:pt x="5184844" y="10363"/>
                  <a:pt x="5241497" y="4081"/>
                  <a:pt x="5294608" y="1449"/>
                </a:cubicBezTo>
                <a:close/>
              </a:path>
            </a:pathLst>
          </a:custGeom>
          <a:solidFill>
            <a:schemeClr val="tx2">
              <a:alpha val="89000"/>
            </a:schemeClr>
          </a:solidFill>
        </p:spPr>
        <p:txBody>
          <a:bodyPr wrap="square" lIns="640800" tIns="0" rIns="414000" bIns="2419200" anchor="b">
            <a:noAutofit/>
          </a:bodyPr>
          <a:lstStyle>
            <a:lvl1pPr marL="0" indent="0">
              <a:spcBef>
                <a:spcPts val="0"/>
              </a:spcBef>
              <a:buFont typeface="Arial" panose="020B0604020202020204" pitchFamily="34" charset="0"/>
              <a:buNone/>
              <a:defRPr sz="2600" b="1">
                <a:solidFill>
                  <a:schemeClr val="bg1"/>
                </a:solidFill>
              </a:defRPr>
            </a:lvl1pPr>
            <a:lvl2pPr marL="0" indent="0">
              <a:spcBef>
                <a:spcPts val="0"/>
              </a:spcBef>
              <a:buFont typeface="Arial" panose="020B0604020202020204" pitchFamily="34" charset="0"/>
              <a:buNone/>
              <a:defRPr sz="3000" b="1">
                <a:solidFill>
                  <a:schemeClr val="bg1"/>
                </a:solidFill>
              </a:defRPr>
            </a:lvl2pPr>
            <a:lvl3pPr marL="0" indent="0">
              <a:spcBef>
                <a:spcPts val="0"/>
              </a:spcBef>
              <a:buNone/>
              <a:defRPr sz="3000" b="1">
                <a:solidFill>
                  <a:schemeClr val="bg1"/>
                </a:solidFill>
              </a:defRPr>
            </a:lvl3pPr>
            <a:lvl4pPr marL="0" indent="0">
              <a:spcBef>
                <a:spcPts val="0"/>
              </a:spcBef>
              <a:buNone/>
              <a:defRPr sz="3000" b="1">
                <a:solidFill>
                  <a:schemeClr val="bg1"/>
                </a:solidFill>
              </a:defRPr>
            </a:lvl4pPr>
            <a:lvl5pPr marL="0" indent="0">
              <a:spcBef>
                <a:spcPts val="0"/>
              </a:spcBef>
              <a:buNone/>
              <a:defRPr sz="3000" b="1">
                <a:solidFill>
                  <a:schemeClr val="bg1"/>
                </a:solidFill>
              </a:defRPr>
            </a:lvl5pPr>
          </a:lstStyle>
          <a:p>
            <a:pPr lvl="0"/>
            <a:r>
              <a:rPr lang="de-DE"/>
              <a:t>Kapiteltrennseite (max. 2-zeilig)</a:t>
            </a:r>
          </a:p>
        </p:txBody>
      </p:sp>
      <p:sp>
        <p:nvSpPr>
          <p:cNvPr id="12" name="Textplatzhalter 11">
            <a:extLst>
              <a:ext uri="{FF2B5EF4-FFF2-40B4-BE49-F238E27FC236}">
                <a16:creationId xmlns:a16="http://schemas.microsoft.com/office/drawing/2014/main" id="{22AE4F05-50A3-4DCB-B5C1-E163C13DE46A}"/>
              </a:ext>
            </a:extLst>
          </p:cNvPr>
          <p:cNvSpPr>
            <a:spLocks noGrp="1"/>
          </p:cNvSpPr>
          <p:nvPr>
            <p:ph type="body" sz="quarter" idx="12" hasCustomPrompt="1"/>
          </p:nvPr>
        </p:nvSpPr>
        <p:spPr bwMode="gray">
          <a:xfrm>
            <a:off x="638782" y="2073548"/>
            <a:ext cx="461665" cy="830997"/>
          </a:xfrm>
          <a:prstGeom prst="rect">
            <a:avLst/>
          </a:prstGeom>
        </p:spPr>
        <p:txBody>
          <a:bodyPr wrap="none" anchor="ctr">
            <a:spAutoFit/>
          </a:bodyPr>
          <a:lstStyle>
            <a:lvl1pPr marL="0" indent="0">
              <a:spcBef>
                <a:spcPts val="0"/>
              </a:spcBef>
              <a:buNone/>
              <a:defRPr sz="5400" b="0">
                <a:solidFill>
                  <a:schemeClr val="accent2"/>
                </a:solidFill>
              </a:defRPr>
            </a:lvl1pPr>
            <a:lvl2pPr>
              <a:defRPr sz="4500"/>
            </a:lvl2pPr>
            <a:lvl3pPr>
              <a:defRPr sz="4500"/>
            </a:lvl3pPr>
            <a:lvl4pPr>
              <a:defRPr sz="4500"/>
            </a:lvl4pPr>
            <a:lvl5pPr>
              <a:defRPr sz="4500"/>
            </a:lvl5pPr>
          </a:lstStyle>
          <a:p>
            <a:pPr lvl="0"/>
            <a:r>
              <a:rPr lang="de-DE" noProof="0"/>
              <a:t>X</a:t>
            </a:r>
          </a:p>
        </p:txBody>
      </p:sp>
      <p:sp>
        <p:nvSpPr>
          <p:cNvPr id="13" name="Textplatzhalter 2">
            <a:extLst>
              <a:ext uri="{FF2B5EF4-FFF2-40B4-BE49-F238E27FC236}">
                <a16:creationId xmlns:a16="http://schemas.microsoft.com/office/drawing/2014/main" id="{82FE2016-08F1-473F-A608-61DC01DB69ED}"/>
              </a:ext>
            </a:extLst>
          </p:cNvPr>
          <p:cNvSpPr>
            <a:spLocks noGrp="1"/>
          </p:cNvSpPr>
          <p:nvPr>
            <p:ph type="body" sz="quarter" idx="13" hasCustomPrompt="1"/>
          </p:nvPr>
        </p:nvSpPr>
        <p:spPr bwMode="gray">
          <a:xfrm>
            <a:off x="638782" y="4604772"/>
            <a:ext cx="5242907" cy="1703953"/>
          </a:xfrm>
        </p:spPr>
        <p:txBody>
          <a:bodyPr/>
          <a:lstStyle>
            <a:lvl1pPr marL="180000" indent="-180000">
              <a:spcBef>
                <a:spcPts val="600"/>
              </a:spcBef>
              <a:buClrTx/>
              <a:buFont typeface="Wingdings" panose="05000000000000000000" pitchFamily="2" charset="2"/>
              <a:buChar char=""/>
              <a:defRPr b="0">
                <a:solidFill>
                  <a:schemeClr val="bg1"/>
                </a:solidFill>
              </a:defRPr>
            </a:lvl1pPr>
          </a:lstStyle>
          <a:p>
            <a:pPr lvl="0"/>
            <a:r>
              <a:rPr lang="de-DE" noProof="0"/>
              <a:t>Erstes Unterthema</a:t>
            </a:r>
          </a:p>
          <a:p>
            <a:pPr lvl="0"/>
            <a:r>
              <a:rPr lang="de-DE" noProof="0"/>
              <a:t>Zweites Unterthema</a:t>
            </a:r>
          </a:p>
          <a:p>
            <a:pPr lvl="0"/>
            <a:endParaRPr lang="de-DE" noProof="0"/>
          </a:p>
          <a:p>
            <a:pPr lvl="0"/>
            <a:endParaRPr lang="de-DE" noProof="0"/>
          </a:p>
        </p:txBody>
      </p:sp>
      <p:sp>
        <p:nvSpPr>
          <p:cNvPr id="2" name="Datumsplatzhalter 1" hidden="1">
            <a:extLst>
              <a:ext uri="{FF2B5EF4-FFF2-40B4-BE49-F238E27FC236}">
                <a16:creationId xmlns:a16="http://schemas.microsoft.com/office/drawing/2014/main" id="{B51C3C61-46B6-4C12-A96C-6E15209A5650}"/>
              </a:ext>
            </a:extLst>
          </p:cNvPr>
          <p:cNvSpPr>
            <a:spLocks noGrp="1"/>
          </p:cNvSpPr>
          <p:nvPr>
            <p:ph type="dt" sz="half" idx="16"/>
          </p:nvPr>
        </p:nvSpPr>
        <p:spPr/>
        <p:txBody>
          <a:bodyPr/>
          <a:lstStyle>
            <a:lvl1pPr>
              <a:defRPr>
                <a:noFill/>
              </a:defRPr>
            </a:lvl1pPr>
          </a:lstStyle>
          <a:p>
            <a:r>
              <a:rPr lang="de-DE"/>
              <a:t>XX.XX.2021</a:t>
            </a:r>
          </a:p>
        </p:txBody>
      </p:sp>
      <p:sp>
        <p:nvSpPr>
          <p:cNvPr id="3" name="Fußzeilenplatzhalter 2" hidden="1">
            <a:extLst>
              <a:ext uri="{FF2B5EF4-FFF2-40B4-BE49-F238E27FC236}">
                <a16:creationId xmlns:a16="http://schemas.microsoft.com/office/drawing/2014/main" id="{0BC7319A-E469-4F6B-82A6-E147FCCCCC20}"/>
              </a:ext>
            </a:extLst>
          </p:cNvPr>
          <p:cNvSpPr>
            <a:spLocks noGrp="1"/>
          </p:cNvSpPr>
          <p:nvPr>
            <p:ph type="ftr" sz="quarter" idx="17"/>
          </p:nvPr>
        </p:nvSpPr>
        <p:spPr>
          <a:xfrm>
            <a:off x="6313488" y="151200"/>
            <a:ext cx="4393761" cy="180000"/>
          </a:xfrm>
          <a:prstGeom prst="rect">
            <a:avLst/>
          </a:prstGeom>
        </p:spPr>
        <p:txBody>
          <a:bodyPr/>
          <a:lstStyle>
            <a:lvl1pPr>
              <a:defRPr>
                <a:noFill/>
              </a:defRPr>
            </a:lvl1pPr>
          </a:lstStyle>
          <a:p>
            <a:r>
              <a:rPr lang="de-DE"/>
              <a:t>Kürzel  |  CX  |</a:t>
            </a:r>
          </a:p>
        </p:txBody>
      </p:sp>
      <p:sp>
        <p:nvSpPr>
          <p:cNvPr id="4" name="Foliennummernplatzhalter 3" hidden="1">
            <a:extLst>
              <a:ext uri="{FF2B5EF4-FFF2-40B4-BE49-F238E27FC236}">
                <a16:creationId xmlns:a16="http://schemas.microsoft.com/office/drawing/2014/main" id="{D9CE1915-9E92-4B06-885F-E32D44658DB5}"/>
              </a:ext>
            </a:extLst>
          </p:cNvPr>
          <p:cNvSpPr>
            <a:spLocks noGrp="1"/>
          </p:cNvSpPr>
          <p:nvPr>
            <p:ph type="sldNum" sz="quarter" idx="18"/>
          </p:nvPr>
        </p:nvSpPr>
        <p:spPr/>
        <p:txBody>
          <a:bodyPr/>
          <a:lstStyle>
            <a:lvl1pPr>
              <a:defRPr>
                <a:noFill/>
              </a:defRPr>
            </a:lvl1pPr>
          </a:lstStyle>
          <a:p>
            <a:fld id="{9C89B081-1F44-4440-BC7B-989C90F97B77}" type="slidenum">
              <a:rPr lang="de-DE"/>
              <a:pPr/>
              <a:t>‹Nr.›</a:t>
            </a:fld>
            <a:endParaRPr lang="de-DE"/>
          </a:p>
        </p:txBody>
      </p:sp>
    </p:spTree>
    <p:extLst>
      <p:ext uri="{BB962C8B-B14F-4D97-AF65-F5344CB8AC3E}">
        <p14:creationId xmlns:p14="http://schemas.microsoft.com/office/powerpoint/2010/main" val="2599424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rennseite mit Bild">
    <p:spTree>
      <p:nvGrpSpPr>
        <p:cNvPr id="1" name=""/>
        <p:cNvGrpSpPr/>
        <p:nvPr/>
      </p:nvGrpSpPr>
      <p:grpSpPr>
        <a:xfrm>
          <a:off x="0" y="0"/>
          <a:ext cx="0" cy="0"/>
          <a:chOff x="0" y="0"/>
          <a:chExt cx="0" cy="0"/>
        </a:xfrm>
      </p:grpSpPr>
      <p:sp>
        <p:nvSpPr>
          <p:cNvPr id="8" name="Bildplatzhalter 9">
            <a:extLst>
              <a:ext uri="{FF2B5EF4-FFF2-40B4-BE49-F238E27FC236}">
                <a16:creationId xmlns:a16="http://schemas.microsoft.com/office/drawing/2014/main" id="{416ECB76-69DA-4DC8-828F-074046CA47F4}"/>
              </a:ext>
            </a:extLst>
          </p:cNvPr>
          <p:cNvSpPr>
            <a:spLocks noGrp="1" noChangeAspect="1"/>
          </p:cNvSpPr>
          <p:nvPr>
            <p:ph type="pic" sz="quarter" idx="10" hasCustomPrompt="1"/>
          </p:nvPr>
        </p:nvSpPr>
        <p:spPr bwMode="gray">
          <a:xfrm>
            <a:off x="6103895" y="0"/>
            <a:ext cx="6091280" cy="6310680"/>
          </a:xfrm>
          <a:custGeom>
            <a:avLst/>
            <a:gdLst>
              <a:gd name="connsiteX0" fmla="*/ 0 w 6091280"/>
              <a:gd name="connsiteY0" fmla="*/ 0 h 6310680"/>
              <a:gd name="connsiteX1" fmla="*/ 6091280 w 6091280"/>
              <a:gd name="connsiteY1" fmla="*/ 0 h 6310680"/>
              <a:gd name="connsiteX2" fmla="*/ 6091280 w 6091280"/>
              <a:gd name="connsiteY2" fmla="*/ 5279428 h 6310680"/>
              <a:gd name="connsiteX3" fmla="*/ 966865 w 6091280"/>
              <a:gd name="connsiteY3" fmla="*/ 6289914 h 6310680"/>
              <a:gd name="connsiteX4" fmla="*/ 0 w 6091280"/>
              <a:gd name="connsiteY4" fmla="*/ 5567343 h 6310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1280" h="6310680">
                <a:moveTo>
                  <a:pt x="0" y="0"/>
                </a:moveTo>
                <a:lnTo>
                  <a:pt x="6091280" y="0"/>
                </a:lnTo>
                <a:lnTo>
                  <a:pt x="6091280" y="5279428"/>
                </a:lnTo>
                <a:lnTo>
                  <a:pt x="966865" y="6289914"/>
                </a:lnTo>
                <a:cubicBezTo>
                  <a:pt x="0" y="6456384"/>
                  <a:pt x="0" y="5567343"/>
                  <a:pt x="0" y="5567343"/>
                </a:cubicBezTo>
                <a:close/>
              </a:path>
            </a:pathLst>
          </a:custGeom>
          <a:pattFill prst="pct20">
            <a:fgClr>
              <a:schemeClr val="accent3"/>
            </a:fgClr>
            <a:bgClr>
              <a:schemeClr val="bg1"/>
            </a:bgClr>
          </a:pattFill>
        </p:spPr>
        <p:txBody>
          <a:bodyPr vert="horz" wrap="square" lIns="72000" tIns="72000" rIns="72000" bIns="72000" rtlCol="0" anchor="t">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1600" baseline="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600"/>
              <a:t>Um ein Hintergrundbild einzufügen, markieren Sie bitte den </a:t>
            </a:r>
            <a:br>
              <a:rPr lang="de-DE" sz="1600"/>
            </a:br>
            <a:r>
              <a:rPr lang="de-DE" sz="1600"/>
              <a:t>Platzhalter und wählen entweder ein Bild aus der </a:t>
            </a:r>
            <a:r>
              <a:rPr lang="de-DE" sz="1600" err="1"/>
              <a:t>empower</a:t>
            </a:r>
            <a:r>
              <a:rPr lang="de-DE" sz="1600"/>
              <a:t> </a:t>
            </a:r>
            <a:br>
              <a:rPr lang="de-DE" sz="1600"/>
            </a:br>
            <a:r>
              <a:rPr lang="de-DE" sz="1600"/>
              <a:t>Bibliothek oder über den Reiter „Einfügen“, „Bilder“ aus. </a:t>
            </a:r>
          </a:p>
        </p:txBody>
      </p:sp>
      <p:sp>
        <p:nvSpPr>
          <p:cNvPr id="13" name="Textplatzhalter 9"/>
          <p:cNvSpPr>
            <a:spLocks noGrp="1"/>
          </p:cNvSpPr>
          <p:nvPr>
            <p:ph type="body" sz="quarter" idx="11" hasCustomPrompt="1"/>
          </p:nvPr>
        </p:nvSpPr>
        <p:spPr bwMode="gray">
          <a:xfrm>
            <a:off x="409575" y="3351256"/>
            <a:ext cx="5472112" cy="400110"/>
          </a:xfrm>
          <a:prstGeom prst="rect">
            <a:avLst/>
          </a:prstGeom>
        </p:spPr>
        <p:txBody>
          <a:bodyPr wrap="square" anchor="b">
            <a:spAutoFit/>
          </a:bodyPr>
          <a:lstStyle>
            <a:lvl1pPr marL="0" indent="0" algn="l" defTabSz="914400" rtl="0" eaLnBrk="1" latinLnBrk="0" hangingPunct="1">
              <a:lnSpc>
                <a:spcPct val="100000"/>
              </a:lnSpc>
              <a:spcBef>
                <a:spcPts val="0"/>
              </a:spcBef>
              <a:buFont typeface="Arial" panose="020B0604020202020204" pitchFamily="34" charset="0"/>
              <a:buNone/>
              <a:defRPr lang="de-DE" sz="2600" b="1" kern="1200" dirty="0">
                <a:solidFill>
                  <a:schemeClr val="tx2"/>
                </a:solidFill>
                <a:latin typeface="+mn-lt"/>
                <a:ea typeface="+mn-ea"/>
                <a:cs typeface="+mn-cs"/>
              </a:defRPr>
            </a:lvl1pPr>
            <a:lvl2pPr>
              <a:defRPr sz="2600"/>
            </a:lvl2pPr>
            <a:lvl3pPr>
              <a:defRPr sz="2600"/>
            </a:lvl3pPr>
            <a:lvl4pPr>
              <a:defRPr sz="2600"/>
            </a:lvl4pPr>
            <a:lvl5pPr>
              <a:defRPr sz="2600"/>
            </a:lvl5pPr>
          </a:lstStyle>
          <a:p>
            <a:pPr lvl="0"/>
            <a:r>
              <a:rPr lang="de-DE" sz="2600" kern="0" noProof="0"/>
              <a:t>Kapiteltrennseite (max. 2-zeilig)</a:t>
            </a:r>
          </a:p>
        </p:txBody>
      </p:sp>
      <p:sp>
        <p:nvSpPr>
          <p:cNvPr id="14" name="Textplatzhalter 11"/>
          <p:cNvSpPr>
            <a:spLocks noGrp="1"/>
          </p:cNvSpPr>
          <p:nvPr>
            <p:ph type="body" sz="quarter" idx="12" hasCustomPrompt="1"/>
          </p:nvPr>
        </p:nvSpPr>
        <p:spPr bwMode="gray">
          <a:xfrm>
            <a:off x="409575" y="1389472"/>
            <a:ext cx="461665" cy="830997"/>
          </a:xfrm>
          <a:prstGeom prst="rect">
            <a:avLst/>
          </a:prstGeom>
        </p:spPr>
        <p:txBody>
          <a:bodyPr wrap="none" anchor="ctr">
            <a:spAutoFit/>
          </a:bodyPr>
          <a:lstStyle>
            <a:lvl1pPr marL="0" indent="0">
              <a:spcBef>
                <a:spcPts val="0"/>
              </a:spcBef>
              <a:buNone/>
              <a:defRPr sz="5400" b="0">
                <a:solidFill>
                  <a:schemeClr val="accent2"/>
                </a:solidFill>
              </a:defRPr>
            </a:lvl1pPr>
            <a:lvl2pPr>
              <a:defRPr sz="4500"/>
            </a:lvl2pPr>
            <a:lvl3pPr>
              <a:defRPr sz="4500"/>
            </a:lvl3pPr>
            <a:lvl4pPr>
              <a:defRPr sz="4500"/>
            </a:lvl4pPr>
            <a:lvl5pPr>
              <a:defRPr sz="4500"/>
            </a:lvl5pPr>
          </a:lstStyle>
          <a:p>
            <a:pPr lvl="0"/>
            <a:r>
              <a:rPr lang="de-DE" noProof="0"/>
              <a:t>X</a:t>
            </a:r>
          </a:p>
        </p:txBody>
      </p:sp>
      <p:sp>
        <p:nvSpPr>
          <p:cNvPr id="3" name="Textplatzhalter 2"/>
          <p:cNvSpPr>
            <a:spLocks noGrp="1"/>
          </p:cNvSpPr>
          <p:nvPr>
            <p:ph type="body" sz="quarter" idx="13" hasCustomPrompt="1"/>
          </p:nvPr>
        </p:nvSpPr>
        <p:spPr bwMode="gray">
          <a:xfrm>
            <a:off x="409575" y="3920696"/>
            <a:ext cx="5472113" cy="2389984"/>
          </a:xfrm>
        </p:spPr>
        <p:txBody>
          <a:bodyPr/>
          <a:lstStyle>
            <a:lvl1pPr marL="180000" indent="-180000">
              <a:spcBef>
                <a:spcPts val="600"/>
              </a:spcBef>
              <a:buClrTx/>
              <a:buFont typeface="Wingdings" panose="05000000000000000000" pitchFamily="2" charset="2"/>
              <a:buChar char=""/>
              <a:defRPr b="0"/>
            </a:lvl1pPr>
          </a:lstStyle>
          <a:p>
            <a:pPr lvl="0"/>
            <a:r>
              <a:rPr lang="de-DE" noProof="0"/>
              <a:t>Erstes Unterthema</a:t>
            </a:r>
          </a:p>
          <a:p>
            <a:pPr lvl="0"/>
            <a:r>
              <a:rPr lang="de-DE" noProof="0"/>
              <a:t>Zweites Unterthema</a:t>
            </a:r>
          </a:p>
          <a:p>
            <a:pPr lvl="0"/>
            <a:endParaRPr lang="de-DE" noProof="0"/>
          </a:p>
          <a:p>
            <a:pPr lvl="0"/>
            <a:endParaRPr lang="de-DE" noProof="0"/>
          </a:p>
        </p:txBody>
      </p:sp>
      <p:sp>
        <p:nvSpPr>
          <p:cNvPr id="2" name="Datumsplatzhalter 1" hidden="1">
            <a:extLst>
              <a:ext uri="{FF2B5EF4-FFF2-40B4-BE49-F238E27FC236}">
                <a16:creationId xmlns:a16="http://schemas.microsoft.com/office/drawing/2014/main" id="{3B6472E5-0A63-477D-8DFA-339821C3C5DE}"/>
              </a:ext>
            </a:extLst>
          </p:cNvPr>
          <p:cNvSpPr>
            <a:spLocks noGrp="1"/>
          </p:cNvSpPr>
          <p:nvPr>
            <p:ph type="dt" sz="half" idx="14"/>
          </p:nvPr>
        </p:nvSpPr>
        <p:spPr/>
        <p:txBody>
          <a:bodyPr/>
          <a:lstStyle>
            <a:lvl1pPr>
              <a:defRPr>
                <a:noFill/>
              </a:defRPr>
            </a:lvl1pPr>
          </a:lstStyle>
          <a:p>
            <a:r>
              <a:rPr lang="de-DE"/>
              <a:t>XX.XX.2021</a:t>
            </a:r>
          </a:p>
        </p:txBody>
      </p:sp>
      <p:sp>
        <p:nvSpPr>
          <p:cNvPr id="4" name="Fußzeilenplatzhalter 3" hidden="1">
            <a:extLst>
              <a:ext uri="{FF2B5EF4-FFF2-40B4-BE49-F238E27FC236}">
                <a16:creationId xmlns:a16="http://schemas.microsoft.com/office/drawing/2014/main" id="{9D435B6E-46AD-4CD3-921C-A8C4A5A6E678}"/>
              </a:ext>
            </a:extLst>
          </p:cNvPr>
          <p:cNvSpPr>
            <a:spLocks noGrp="1"/>
          </p:cNvSpPr>
          <p:nvPr>
            <p:ph type="ftr" sz="quarter" idx="15"/>
          </p:nvPr>
        </p:nvSpPr>
        <p:spPr>
          <a:xfrm>
            <a:off x="6313488" y="151200"/>
            <a:ext cx="4393761" cy="180000"/>
          </a:xfrm>
          <a:prstGeom prst="rect">
            <a:avLst/>
          </a:prstGeom>
        </p:spPr>
        <p:txBody>
          <a:bodyPr/>
          <a:lstStyle>
            <a:lvl1pPr>
              <a:defRPr>
                <a:noFill/>
              </a:defRPr>
            </a:lvl1pPr>
          </a:lstStyle>
          <a:p>
            <a:r>
              <a:rPr lang="de-DE"/>
              <a:t>Kürzel  |  CX  |</a:t>
            </a:r>
          </a:p>
        </p:txBody>
      </p:sp>
      <p:sp>
        <p:nvSpPr>
          <p:cNvPr id="5" name="Foliennummernplatzhalter 4" hidden="1">
            <a:extLst>
              <a:ext uri="{FF2B5EF4-FFF2-40B4-BE49-F238E27FC236}">
                <a16:creationId xmlns:a16="http://schemas.microsoft.com/office/drawing/2014/main" id="{1DE2A707-2701-4F3F-8CBF-9B4B71338A35}"/>
              </a:ext>
            </a:extLst>
          </p:cNvPr>
          <p:cNvSpPr>
            <a:spLocks noGrp="1"/>
          </p:cNvSpPr>
          <p:nvPr>
            <p:ph type="sldNum" sz="quarter" idx="16"/>
          </p:nvPr>
        </p:nvSpPr>
        <p:spPr/>
        <p:txBody>
          <a:bodyPr/>
          <a:lstStyle>
            <a:lvl1pPr>
              <a:defRPr>
                <a:noFill/>
              </a:defRPr>
            </a:lvl1pPr>
          </a:lstStyle>
          <a:p>
            <a:fld id="{9C89B081-1F44-4440-BC7B-989C90F97B77}" type="slidenum">
              <a:rPr lang="de-DE"/>
              <a:pPr/>
              <a:t>‹Nr.›</a:t>
            </a:fld>
            <a:endParaRPr lang="de-DE"/>
          </a:p>
        </p:txBody>
      </p:sp>
      <p:sp>
        <p:nvSpPr>
          <p:cNvPr id="10" name="Textfeld 9">
            <a:extLst>
              <a:ext uri="{FF2B5EF4-FFF2-40B4-BE49-F238E27FC236}">
                <a16:creationId xmlns:a16="http://schemas.microsoft.com/office/drawing/2014/main" id="{6FB692FA-E2F8-4CC3-B5A1-4C225E1F3B36}"/>
              </a:ext>
            </a:extLst>
          </p:cNvPr>
          <p:cNvSpPr txBox="1"/>
          <p:nvPr/>
        </p:nvSpPr>
        <p:spPr bwMode="gray">
          <a:xfrm>
            <a:off x="409575" y="6516000"/>
            <a:ext cx="11376000" cy="144000"/>
          </a:xfrm>
          <a:prstGeom prst="rect">
            <a:avLst/>
          </a:prstGeom>
          <a:noFill/>
        </p:spPr>
        <p:txBody>
          <a:bodyPr wrap="square" lIns="0" tIns="0" rIns="0" bIns="0" rtlCol="0" anchor="t">
            <a:noAutofit/>
          </a:bodyPr>
          <a:lstStyle/>
          <a:p>
            <a:pPr marL="0" marR="0" lvl="0" indent="0" algn="l" defTabSz="914400" eaLnBrk="1" fontAlgn="auto" latinLnBrk="0" hangingPunct="1">
              <a:lnSpc>
                <a:spcPct val="100000"/>
              </a:lnSpc>
              <a:spcBef>
                <a:spcPts val="600"/>
              </a:spcBef>
              <a:spcAft>
                <a:spcPts val="0"/>
              </a:spcAft>
              <a:buClr>
                <a:srgbClr val="003F74"/>
              </a:buClr>
              <a:buSzTx/>
              <a:buFontTx/>
              <a:buNone/>
              <a:tabLst/>
              <a:defRPr/>
            </a:pPr>
            <a:r>
              <a:rPr kumimoji="0" lang="de-DE" sz="1000" b="0" i="0" u="none" strike="noStrike" kern="0" cap="none" spc="0" normalizeH="0" baseline="0" noProof="0">
                <a:ln>
                  <a:noFill/>
                </a:ln>
                <a:solidFill>
                  <a:schemeClr val="tx2"/>
                </a:solidFill>
                <a:effectLst/>
                <a:uLnTx/>
                <a:uFillTx/>
              </a:rPr>
              <a:t>Union Investment  </a:t>
            </a:r>
            <a:r>
              <a:rPr kumimoji="0" lang="de-DE" sz="1000" b="0" i="0" u="none" strike="noStrike" kern="0" cap="none" spc="0" normalizeH="0" baseline="0" noProof="0">
                <a:ln>
                  <a:noFill/>
                </a:ln>
                <a:solidFill>
                  <a:srgbClr val="888888"/>
                </a:solidFill>
                <a:effectLst/>
                <a:uLnTx/>
                <a:uFillTx/>
              </a:rPr>
              <a:t>|  In Kooperation mit VOLKSBANK					Beachten Sie den rechtlichen Hinweis am Ende der Präsentation</a:t>
            </a:r>
          </a:p>
        </p:txBody>
      </p:sp>
    </p:spTree>
    <p:extLst>
      <p:ext uri="{BB962C8B-B14F-4D97-AF65-F5344CB8AC3E}">
        <p14:creationId xmlns:p14="http://schemas.microsoft.com/office/powerpoint/2010/main" val="1577399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05">
          <p15:clr>
            <a:srgbClr val="F26B43"/>
          </p15:clr>
        </p15:guide>
        <p15:guide id="2" pos="3977">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Trennseite ohne Bild">
    <p:spTree>
      <p:nvGrpSpPr>
        <p:cNvPr id="1" name=""/>
        <p:cNvGrpSpPr/>
        <p:nvPr/>
      </p:nvGrpSpPr>
      <p:grpSpPr>
        <a:xfrm>
          <a:off x="0" y="0"/>
          <a:ext cx="0" cy="0"/>
          <a:chOff x="0" y="0"/>
          <a:chExt cx="0" cy="0"/>
        </a:xfrm>
      </p:grpSpPr>
      <p:sp>
        <p:nvSpPr>
          <p:cNvPr id="6" name="Textplatzhalter 9"/>
          <p:cNvSpPr>
            <a:spLocks noGrp="1"/>
          </p:cNvSpPr>
          <p:nvPr>
            <p:ph type="body" sz="quarter" idx="13" hasCustomPrompt="1"/>
          </p:nvPr>
        </p:nvSpPr>
        <p:spPr bwMode="gray">
          <a:xfrm>
            <a:off x="1030048" y="3588191"/>
            <a:ext cx="10755551" cy="400110"/>
          </a:xfrm>
          <a:prstGeom prst="rect">
            <a:avLst/>
          </a:prstGeom>
        </p:spPr>
        <p:txBody>
          <a:bodyPr wrap="square" anchor="b">
            <a:spAutoFit/>
          </a:bodyPr>
          <a:lstStyle>
            <a:lvl1pPr marL="0" indent="0" algn="l" defTabSz="914400" rtl="0" eaLnBrk="1" latinLnBrk="0" hangingPunct="1">
              <a:lnSpc>
                <a:spcPct val="100000"/>
              </a:lnSpc>
              <a:spcBef>
                <a:spcPts val="0"/>
              </a:spcBef>
              <a:buFont typeface="Arial" panose="020B0604020202020204" pitchFamily="34" charset="0"/>
              <a:buNone/>
              <a:defRPr lang="de-DE" sz="2600" b="1" kern="1200" dirty="0">
                <a:solidFill>
                  <a:schemeClr val="tx2"/>
                </a:solidFill>
                <a:latin typeface="+mn-lt"/>
                <a:ea typeface="+mn-ea"/>
                <a:cs typeface="+mn-cs"/>
              </a:defRPr>
            </a:lvl1pPr>
            <a:lvl2pPr>
              <a:defRPr sz="2600"/>
            </a:lvl2pPr>
            <a:lvl3pPr>
              <a:defRPr sz="2600"/>
            </a:lvl3pPr>
            <a:lvl4pPr>
              <a:defRPr sz="2600"/>
            </a:lvl4pPr>
            <a:lvl5pPr>
              <a:defRPr sz="2600"/>
            </a:lvl5pPr>
          </a:lstStyle>
          <a:p>
            <a:pPr>
              <a:spcBef>
                <a:spcPts val="600"/>
              </a:spcBef>
              <a:buClr>
                <a:schemeClr val="accent1"/>
              </a:buClr>
            </a:pPr>
            <a:r>
              <a:rPr lang="de-DE" sz="2600" b="1" noProof="0">
                <a:solidFill>
                  <a:srgbClr val="00358E"/>
                </a:solidFill>
              </a:rPr>
              <a:t>Kapiteltrennseite (max. 2-zeilig)</a:t>
            </a:r>
          </a:p>
        </p:txBody>
      </p:sp>
      <p:sp>
        <p:nvSpPr>
          <p:cNvPr id="8" name="Textplatzhalter 11">
            <a:extLst>
              <a:ext uri="{FF2B5EF4-FFF2-40B4-BE49-F238E27FC236}">
                <a16:creationId xmlns:a16="http://schemas.microsoft.com/office/drawing/2014/main" id="{FF5CDA3A-768F-4B1D-A104-C4CE0260977F}"/>
              </a:ext>
            </a:extLst>
          </p:cNvPr>
          <p:cNvSpPr>
            <a:spLocks noGrp="1" noChangeAspect="1"/>
          </p:cNvSpPr>
          <p:nvPr>
            <p:ph type="body" sz="quarter" idx="16" hasCustomPrompt="1"/>
          </p:nvPr>
        </p:nvSpPr>
        <p:spPr bwMode="gray">
          <a:xfrm>
            <a:off x="630000" y="1"/>
            <a:ext cx="9545412" cy="1722335"/>
          </a:xfrm>
          <a:custGeom>
            <a:avLst/>
            <a:gdLst>
              <a:gd name="connsiteX0" fmla="*/ 0 w 9545412"/>
              <a:gd name="connsiteY0" fmla="*/ 0 h 1722335"/>
              <a:gd name="connsiteX1" fmla="*/ 9545412 w 9545412"/>
              <a:gd name="connsiteY1" fmla="*/ 0 h 1722335"/>
              <a:gd name="connsiteX2" fmla="*/ 910255 w 9545412"/>
              <a:gd name="connsiteY2" fmla="*/ 1702784 h 1722335"/>
              <a:gd name="connsiteX3" fmla="*/ 0 w 9545412"/>
              <a:gd name="connsiteY3" fmla="*/ 1022515 h 1722335"/>
            </a:gdLst>
            <a:ahLst/>
            <a:cxnLst>
              <a:cxn ang="0">
                <a:pos x="connsiteX0" y="connsiteY0"/>
              </a:cxn>
              <a:cxn ang="0">
                <a:pos x="connsiteX1" y="connsiteY1"/>
              </a:cxn>
              <a:cxn ang="0">
                <a:pos x="connsiteX2" y="connsiteY2"/>
              </a:cxn>
              <a:cxn ang="0">
                <a:pos x="connsiteX3" y="connsiteY3"/>
              </a:cxn>
            </a:cxnLst>
            <a:rect l="l" t="t" r="r" b="b"/>
            <a:pathLst>
              <a:path w="9545412" h="1722335">
                <a:moveTo>
                  <a:pt x="0" y="0"/>
                </a:moveTo>
                <a:lnTo>
                  <a:pt x="9545412" y="0"/>
                </a:lnTo>
                <a:lnTo>
                  <a:pt x="910255" y="1702784"/>
                </a:lnTo>
                <a:cubicBezTo>
                  <a:pt x="0" y="1859508"/>
                  <a:pt x="0" y="1022515"/>
                  <a:pt x="0" y="1022515"/>
                </a:cubicBezTo>
                <a:close/>
              </a:path>
            </a:pathLst>
          </a:custGeom>
          <a:solidFill>
            <a:schemeClr val="tx2"/>
          </a:solidFill>
        </p:spPr>
        <p:txBody>
          <a:bodyPr wrap="square" lIns="399600" tIns="403200" rIns="5760000">
            <a:noAutofit/>
          </a:bodyPr>
          <a:lstStyle>
            <a:lvl1pPr marL="0" indent="0">
              <a:spcBef>
                <a:spcPts val="0"/>
              </a:spcBef>
              <a:buFont typeface="Arial" panose="020B0604020202020204" pitchFamily="34" charset="0"/>
              <a:buNone/>
              <a:defRPr sz="5400" b="0">
                <a:solidFill>
                  <a:schemeClr val="accent2"/>
                </a:solidFill>
              </a:defRPr>
            </a:lvl1pPr>
            <a:lvl2pPr marL="0" indent="0">
              <a:spcBef>
                <a:spcPts val="0"/>
              </a:spcBef>
              <a:buFont typeface="Arial" panose="020B0604020202020204" pitchFamily="34" charset="0"/>
              <a:buNone/>
              <a:defRPr sz="3000" b="1">
                <a:solidFill>
                  <a:schemeClr val="bg1"/>
                </a:solidFill>
              </a:defRPr>
            </a:lvl2pPr>
            <a:lvl3pPr marL="0" indent="0">
              <a:spcBef>
                <a:spcPts val="0"/>
              </a:spcBef>
              <a:buNone/>
              <a:defRPr sz="3000" b="1">
                <a:solidFill>
                  <a:schemeClr val="bg1"/>
                </a:solidFill>
              </a:defRPr>
            </a:lvl3pPr>
            <a:lvl4pPr marL="0" indent="0">
              <a:spcBef>
                <a:spcPts val="0"/>
              </a:spcBef>
              <a:buNone/>
              <a:defRPr sz="3000" b="1">
                <a:solidFill>
                  <a:schemeClr val="bg1"/>
                </a:solidFill>
              </a:defRPr>
            </a:lvl4pPr>
            <a:lvl5pPr marL="0" indent="0">
              <a:spcBef>
                <a:spcPts val="0"/>
              </a:spcBef>
              <a:buNone/>
              <a:defRPr sz="3000" b="1">
                <a:solidFill>
                  <a:schemeClr val="bg1"/>
                </a:solidFill>
              </a:defRPr>
            </a:lvl5pPr>
          </a:lstStyle>
          <a:p>
            <a:pPr lvl="0"/>
            <a:r>
              <a:rPr lang="de-DE"/>
              <a:t>X</a:t>
            </a:r>
          </a:p>
        </p:txBody>
      </p:sp>
      <p:sp>
        <p:nvSpPr>
          <p:cNvPr id="3" name="Textplatzhalter 2"/>
          <p:cNvSpPr>
            <a:spLocks noGrp="1"/>
          </p:cNvSpPr>
          <p:nvPr>
            <p:ph type="body" sz="quarter" idx="15" hasCustomPrompt="1"/>
          </p:nvPr>
        </p:nvSpPr>
        <p:spPr bwMode="gray">
          <a:xfrm>
            <a:off x="1030048" y="4154658"/>
            <a:ext cx="10755552" cy="2154067"/>
          </a:xfrm>
        </p:spPr>
        <p:txBody>
          <a:bodyPr/>
          <a:lstStyle>
            <a:lvl1pPr marL="180000" indent="-180000">
              <a:spcBef>
                <a:spcPts val="600"/>
              </a:spcBef>
              <a:buClrTx/>
              <a:buFont typeface="Wingdings" panose="05000000000000000000" pitchFamily="2" charset="2"/>
              <a:buChar char=""/>
              <a:defRPr b="0"/>
            </a:lvl1pPr>
          </a:lstStyle>
          <a:p>
            <a:pPr lvl="0"/>
            <a:r>
              <a:rPr lang="de-DE" noProof="0"/>
              <a:t>Erstes Unterthema</a:t>
            </a:r>
          </a:p>
          <a:p>
            <a:pPr lvl="0"/>
            <a:r>
              <a:rPr lang="de-DE" noProof="0"/>
              <a:t>Zweites Unterthema</a:t>
            </a:r>
          </a:p>
          <a:p>
            <a:pPr lvl="0"/>
            <a:endParaRPr lang="de-DE" noProof="0"/>
          </a:p>
          <a:p>
            <a:pPr lvl="0"/>
            <a:endParaRPr lang="de-DE" noProof="0"/>
          </a:p>
        </p:txBody>
      </p:sp>
      <p:sp>
        <p:nvSpPr>
          <p:cNvPr id="2" name="Datumsplatzhalter 1" hidden="1">
            <a:extLst>
              <a:ext uri="{FF2B5EF4-FFF2-40B4-BE49-F238E27FC236}">
                <a16:creationId xmlns:a16="http://schemas.microsoft.com/office/drawing/2014/main" id="{457F5F2C-8505-420A-B99D-B577E24DCF2D}"/>
              </a:ext>
            </a:extLst>
          </p:cNvPr>
          <p:cNvSpPr>
            <a:spLocks noGrp="1"/>
          </p:cNvSpPr>
          <p:nvPr>
            <p:ph type="dt" sz="half" idx="17"/>
          </p:nvPr>
        </p:nvSpPr>
        <p:spPr/>
        <p:txBody>
          <a:bodyPr/>
          <a:lstStyle>
            <a:lvl1pPr>
              <a:defRPr>
                <a:noFill/>
              </a:defRPr>
            </a:lvl1pPr>
          </a:lstStyle>
          <a:p>
            <a:r>
              <a:rPr lang="de-DE"/>
              <a:t>XX.XX.2021</a:t>
            </a:r>
          </a:p>
        </p:txBody>
      </p:sp>
      <p:sp>
        <p:nvSpPr>
          <p:cNvPr id="4" name="Fußzeilenplatzhalter 3" hidden="1">
            <a:extLst>
              <a:ext uri="{FF2B5EF4-FFF2-40B4-BE49-F238E27FC236}">
                <a16:creationId xmlns:a16="http://schemas.microsoft.com/office/drawing/2014/main" id="{FE2A117C-4F9D-4297-8E39-1844B3F9A0BA}"/>
              </a:ext>
            </a:extLst>
          </p:cNvPr>
          <p:cNvSpPr>
            <a:spLocks noGrp="1"/>
          </p:cNvSpPr>
          <p:nvPr>
            <p:ph type="ftr" sz="quarter" idx="18"/>
          </p:nvPr>
        </p:nvSpPr>
        <p:spPr>
          <a:xfrm>
            <a:off x="6313488" y="151200"/>
            <a:ext cx="4393761" cy="180000"/>
          </a:xfrm>
          <a:prstGeom prst="rect">
            <a:avLst/>
          </a:prstGeom>
        </p:spPr>
        <p:txBody>
          <a:bodyPr/>
          <a:lstStyle>
            <a:lvl1pPr>
              <a:defRPr>
                <a:noFill/>
              </a:defRPr>
            </a:lvl1pPr>
          </a:lstStyle>
          <a:p>
            <a:r>
              <a:rPr lang="de-DE"/>
              <a:t>Kürzel  |  CX  |</a:t>
            </a:r>
          </a:p>
        </p:txBody>
      </p:sp>
      <p:sp>
        <p:nvSpPr>
          <p:cNvPr id="5" name="Foliennummernplatzhalter 4" hidden="1">
            <a:extLst>
              <a:ext uri="{FF2B5EF4-FFF2-40B4-BE49-F238E27FC236}">
                <a16:creationId xmlns:a16="http://schemas.microsoft.com/office/drawing/2014/main" id="{2E7E3FCB-9B10-41D2-BC38-37380ED8D769}"/>
              </a:ext>
            </a:extLst>
          </p:cNvPr>
          <p:cNvSpPr>
            <a:spLocks noGrp="1"/>
          </p:cNvSpPr>
          <p:nvPr>
            <p:ph type="sldNum" sz="quarter" idx="19"/>
          </p:nvPr>
        </p:nvSpPr>
        <p:spPr/>
        <p:txBody>
          <a:bodyPr/>
          <a:lstStyle>
            <a:lvl1pPr>
              <a:defRPr>
                <a:noFill/>
              </a:defRPr>
            </a:lvl1pPr>
          </a:lstStyle>
          <a:p>
            <a:fld id="{9C89B081-1F44-4440-BC7B-989C90F97B77}" type="slidenum">
              <a:rPr lang="de-DE"/>
              <a:pPr/>
              <a:t>‹Nr.›</a:t>
            </a:fld>
            <a:endParaRPr lang="de-DE"/>
          </a:p>
        </p:txBody>
      </p:sp>
      <p:sp>
        <p:nvSpPr>
          <p:cNvPr id="10" name="Textfeld 9">
            <a:extLst>
              <a:ext uri="{FF2B5EF4-FFF2-40B4-BE49-F238E27FC236}">
                <a16:creationId xmlns:a16="http://schemas.microsoft.com/office/drawing/2014/main" id="{7F6B2EC1-16B3-481E-98ED-7077B8EA9973}"/>
              </a:ext>
            </a:extLst>
          </p:cNvPr>
          <p:cNvSpPr txBox="1"/>
          <p:nvPr/>
        </p:nvSpPr>
        <p:spPr bwMode="gray">
          <a:xfrm>
            <a:off x="409575" y="6516000"/>
            <a:ext cx="11376000" cy="144000"/>
          </a:xfrm>
          <a:prstGeom prst="rect">
            <a:avLst/>
          </a:prstGeom>
          <a:noFill/>
        </p:spPr>
        <p:txBody>
          <a:bodyPr wrap="square" lIns="0" tIns="0" rIns="0" bIns="0" rtlCol="0" anchor="t">
            <a:noAutofit/>
          </a:bodyPr>
          <a:lstStyle/>
          <a:p>
            <a:pPr marL="0" marR="0" lvl="0" indent="0" algn="l" defTabSz="914400" eaLnBrk="1" fontAlgn="auto" latinLnBrk="0" hangingPunct="1">
              <a:lnSpc>
                <a:spcPct val="100000"/>
              </a:lnSpc>
              <a:spcBef>
                <a:spcPts val="600"/>
              </a:spcBef>
              <a:spcAft>
                <a:spcPts val="0"/>
              </a:spcAft>
              <a:buClr>
                <a:srgbClr val="003F74"/>
              </a:buClr>
              <a:buSzTx/>
              <a:buFontTx/>
              <a:buNone/>
              <a:tabLst/>
              <a:defRPr/>
            </a:pPr>
            <a:r>
              <a:rPr kumimoji="0" lang="de-DE" sz="1000" b="0" i="0" u="none" strike="noStrike" kern="0" cap="none" spc="0" normalizeH="0" baseline="0" noProof="0" dirty="0">
                <a:ln>
                  <a:noFill/>
                </a:ln>
                <a:solidFill>
                  <a:schemeClr val="tx2"/>
                </a:solidFill>
                <a:effectLst/>
                <a:uLnTx/>
                <a:uFillTx/>
              </a:rPr>
              <a:t>Union Investment  </a:t>
            </a:r>
            <a:r>
              <a:rPr kumimoji="0" lang="de-DE" sz="1000" b="0" i="0" u="none" strike="noStrike" kern="0" cap="none" spc="0" normalizeH="0" baseline="0" noProof="0" dirty="0">
                <a:ln>
                  <a:noFill/>
                </a:ln>
                <a:solidFill>
                  <a:srgbClr val="888888"/>
                </a:solidFill>
                <a:effectLst/>
                <a:uLnTx/>
                <a:uFillTx/>
              </a:rPr>
              <a:t>|  In Kooperation mit VOLKSBANK					Beachten Sie die rechtlichen Hinweise am Ende der Präsentation</a:t>
            </a:r>
          </a:p>
        </p:txBody>
      </p:sp>
    </p:spTree>
    <p:extLst>
      <p:ext uri="{BB962C8B-B14F-4D97-AF65-F5344CB8AC3E}">
        <p14:creationId xmlns:p14="http://schemas.microsoft.com/office/powerpoint/2010/main" val="4217823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Einspaltig mit Quelle">
    <p:spTree>
      <p:nvGrpSpPr>
        <p:cNvPr id="1" name=""/>
        <p:cNvGrpSpPr/>
        <p:nvPr/>
      </p:nvGrpSpPr>
      <p:grpSpPr>
        <a:xfrm>
          <a:off x="0" y="0"/>
          <a:ext cx="0" cy="0"/>
          <a:chOff x="0" y="0"/>
          <a:chExt cx="0" cy="0"/>
        </a:xfrm>
      </p:grpSpPr>
      <p:sp>
        <p:nvSpPr>
          <p:cNvPr id="11" name="Inhaltsplatzhalter 2"/>
          <p:cNvSpPr>
            <a:spLocks noGrp="1"/>
          </p:cNvSpPr>
          <p:nvPr>
            <p:ph sz="quarter" idx="14" hasCustomPrompt="1"/>
          </p:nvPr>
        </p:nvSpPr>
        <p:spPr bwMode="gray">
          <a:xfrm>
            <a:off x="409575" y="1412776"/>
            <a:ext cx="11376025" cy="4895852"/>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7" name="Textplatzhalter 3"/>
          <p:cNvSpPr>
            <a:spLocks noGrp="1"/>
          </p:cNvSpPr>
          <p:nvPr>
            <p:ph type="body" sz="quarter" idx="23" hasCustomPrompt="1"/>
          </p:nvPr>
        </p:nvSpPr>
        <p:spPr bwMode="gray">
          <a:xfrm>
            <a:off x="409575" y="6001543"/>
            <a:ext cx="11376025"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a:t>Quelle:</a:t>
            </a:r>
          </a:p>
        </p:txBody>
      </p:sp>
      <p:sp>
        <p:nvSpPr>
          <p:cNvPr id="5" name="Titel 4">
            <a:extLst>
              <a:ext uri="{FF2B5EF4-FFF2-40B4-BE49-F238E27FC236}">
                <a16:creationId xmlns:a16="http://schemas.microsoft.com/office/drawing/2014/main" id="{405D4415-C263-412A-998C-C17487DF1D0D}"/>
              </a:ext>
            </a:extLst>
          </p:cNvPr>
          <p:cNvSpPr>
            <a:spLocks noGrp="1"/>
          </p:cNvSpPr>
          <p:nvPr>
            <p:ph type="title" hasCustomPrompt="1"/>
          </p:nvPr>
        </p:nvSpPr>
        <p:spPr bwMode="gray"/>
        <p:txBody>
          <a:bodyPr/>
          <a:lstStyle/>
          <a:p>
            <a:r>
              <a:rPr lang="de-DE"/>
              <a:t>Titel durch Klicken bearbeiten</a:t>
            </a:r>
          </a:p>
        </p:txBody>
      </p:sp>
      <p:sp>
        <p:nvSpPr>
          <p:cNvPr id="2" name="Datumsplatzhalter 1">
            <a:extLst>
              <a:ext uri="{FF2B5EF4-FFF2-40B4-BE49-F238E27FC236}">
                <a16:creationId xmlns:a16="http://schemas.microsoft.com/office/drawing/2014/main" id="{CCE438C2-C56B-467E-8638-23A1B7F54228}"/>
              </a:ext>
            </a:extLst>
          </p:cNvPr>
          <p:cNvSpPr>
            <a:spLocks noGrp="1"/>
          </p:cNvSpPr>
          <p:nvPr>
            <p:ph type="dt" sz="half" idx="24"/>
          </p:nvPr>
        </p:nvSpPr>
        <p:spPr bwMode="gray">
          <a:xfrm>
            <a:off x="10709631" y="151200"/>
            <a:ext cx="748800" cy="180000"/>
          </a:xfrm>
          <a:prstGeom prst="rect">
            <a:avLst/>
          </a:prstGeom>
        </p:spPr>
        <p:txBody>
          <a:bodyPr/>
          <a:lstStyle/>
          <a:p>
            <a:r>
              <a:rPr lang="de-DE"/>
              <a:t>XX.XX.2021</a:t>
            </a:r>
          </a:p>
        </p:txBody>
      </p:sp>
      <p:sp>
        <p:nvSpPr>
          <p:cNvPr id="3" name="Fußzeilenplatzhalter 2">
            <a:extLst>
              <a:ext uri="{FF2B5EF4-FFF2-40B4-BE49-F238E27FC236}">
                <a16:creationId xmlns:a16="http://schemas.microsoft.com/office/drawing/2014/main" id="{733EB7E9-49EE-4B34-B6A9-3B63D299D3DA}"/>
              </a:ext>
            </a:extLst>
          </p:cNvPr>
          <p:cNvSpPr>
            <a:spLocks noGrp="1"/>
          </p:cNvSpPr>
          <p:nvPr>
            <p:ph type="ftr" sz="quarter" idx="25"/>
          </p:nvPr>
        </p:nvSpPr>
        <p:spPr bwMode="gray">
          <a:xfrm>
            <a:off x="6313488" y="151200"/>
            <a:ext cx="4393761" cy="180000"/>
          </a:xfrm>
          <a:prstGeom prst="rect">
            <a:avLst/>
          </a:prstGeom>
        </p:spPr>
        <p:txBody>
          <a:bodyPr/>
          <a:lstStyle/>
          <a:p>
            <a:r>
              <a:rPr lang="de-DE"/>
              <a:t>Kürzel  |  CX  |</a:t>
            </a:r>
          </a:p>
        </p:txBody>
      </p:sp>
      <p:sp>
        <p:nvSpPr>
          <p:cNvPr id="8" name="Foliennummernplatzhalter 7">
            <a:extLst>
              <a:ext uri="{FF2B5EF4-FFF2-40B4-BE49-F238E27FC236}">
                <a16:creationId xmlns:a16="http://schemas.microsoft.com/office/drawing/2014/main" id="{ACCEEA2B-6678-48D3-BAA7-B6E6832EF7D2}"/>
              </a:ext>
            </a:extLst>
          </p:cNvPr>
          <p:cNvSpPr>
            <a:spLocks noGrp="1"/>
          </p:cNvSpPr>
          <p:nvPr>
            <p:ph type="sldNum" sz="quarter" idx="26"/>
          </p:nvPr>
        </p:nvSpPr>
        <p:spPr bwMode="gray">
          <a:xfrm>
            <a:off x="11504750" y="151200"/>
            <a:ext cx="280800" cy="180000"/>
          </a:xfrm>
          <a:prstGeom prst="rect">
            <a:avLst/>
          </a:prstGeom>
        </p:spPr>
        <p:txBody>
          <a:bodyPr/>
          <a:lstStyle/>
          <a:p>
            <a:fld id="{9C89B081-1F44-4440-BC7B-989C90F97B77}" type="slidenum">
              <a:rPr lang="de-DE"/>
              <a:pPr/>
              <a:t>‹Nr.›</a:t>
            </a:fld>
            <a:endParaRPr lang="de-DE"/>
          </a:p>
        </p:txBody>
      </p:sp>
    </p:spTree>
    <p:extLst>
      <p:ext uri="{BB962C8B-B14F-4D97-AF65-F5344CB8AC3E}">
        <p14:creationId xmlns:p14="http://schemas.microsoft.com/office/powerpoint/2010/main" val="170723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Einspaltig mit Untertitel und Quelle">
    <p:spTree>
      <p:nvGrpSpPr>
        <p:cNvPr id="1" name=""/>
        <p:cNvGrpSpPr/>
        <p:nvPr/>
      </p:nvGrpSpPr>
      <p:grpSpPr>
        <a:xfrm>
          <a:off x="0" y="0"/>
          <a:ext cx="0" cy="0"/>
          <a:chOff x="0" y="0"/>
          <a:chExt cx="0" cy="0"/>
        </a:xfrm>
      </p:grpSpPr>
      <p:sp>
        <p:nvSpPr>
          <p:cNvPr id="11" name="Inhaltsplatzhalter 2"/>
          <p:cNvSpPr>
            <a:spLocks noGrp="1"/>
          </p:cNvSpPr>
          <p:nvPr>
            <p:ph sz="quarter" idx="14" hasCustomPrompt="1"/>
          </p:nvPr>
        </p:nvSpPr>
        <p:spPr bwMode="gray">
          <a:xfrm>
            <a:off x="409575" y="2060848"/>
            <a:ext cx="11375975" cy="4248745"/>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3" name="Textplatzhalter 11"/>
          <p:cNvSpPr>
            <a:spLocks noGrp="1"/>
          </p:cNvSpPr>
          <p:nvPr>
            <p:ph type="body" sz="quarter" idx="19" hasCustomPrompt="1"/>
          </p:nvPr>
        </p:nvSpPr>
        <p:spPr bwMode="gray">
          <a:xfrm>
            <a:off x="409575" y="1412776"/>
            <a:ext cx="11375975" cy="276999"/>
          </a:xfrm>
          <a:prstGeom prst="rect">
            <a:avLst/>
          </a:prstGeom>
        </p:spPr>
        <p:txBody>
          <a:bodyPr vert="horz" lIns="0" tIns="0" rIns="0" bIns="0" rtlCol="0">
            <a:noAutofit/>
          </a:bodyPr>
          <a:lstStyle>
            <a:lvl1pPr marL="0" indent="0">
              <a:lnSpc>
                <a:spcPct val="100000"/>
              </a:lnSpc>
              <a:spcBef>
                <a:spcPts val="0"/>
              </a:spcBef>
              <a:buNone/>
              <a:defRPr lang="de-DE" dirty="0">
                <a:solidFill>
                  <a:schemeClr val="accent2"/>
                </a:solidFill>
              </a:defRPr>
            </a:lvl1pPr>
          </a:lstStyle>
          <a:p>
            <a:pPr marL="0" lvl="0" indent="0">
              <a:lnSpc>
                <a:spcPct val="100000"/>
              </a:lnSpc>
              <a:spcBef>
                <a:spcPts val="0"/>
              </a:spcBef>
              <a:buNone/>
            </a:pPr>
            <a:r>
              <a:rPr lang="de-DE"/>
              <a:t>Untertitel 1</a:t>
            </a:r>
          </a:p>
        </p:txBody>
      </p:sp>
      <p:sp>
        <p:nvSpPr>
          <p:cNvPr id="14" name="Textplatzhalter 3"/>
          <p:cNvSpPr>
            <a:spLocks noGrp="1"/>
          </p:cNvSpPr>
          <p:nvPr>
            <p:ph type="body" sz="quarter" idx="21" hasCustomPrompt="1"/>
          </p:nvPr>
        </p:nvSpPr>
        <p:spPr bwMode="gray">
          <a:xfrm>
            <a:off x="409575" y="1700708"/>
            <a:ext cx="11375975" cy="215444"/>
          </a:xfrm>
          <a:prstGeom prst="rect">
            <a:avLst/>
          </a:prstGeom>
        </p:spPr>
        <p:txBody>
          <a:bodyPr vert="horz" lIns="0" tIns="0" rIns="0" bIns="0" rtlCol="0">
            <a:noAutofit/>
          </a:bodyPr>
          <a:lstStyle>
            <a:lvl1pPr>
              <a:spcBef>
                <a:spcPts val="0"/>
              </a:spcBef>
              <a:defRPr lang="de-DE" sz="1400" b="0" dirty="0"/>
            </a:lvl1pPr>
          </a:lstStyle>
          <a:p>
            <a:r>
              <a:rPr lang="de-DE" sz="1400" b="0"/>
              <a:t>Untertitel 2</a:t>
            </a:r>
            <a:endParaRPr lang="de-DE" b="0"/>
          </a:p>
        </p:txBody>
      </p:sp>
      <p:sp>
        <p:nvSpPr>
          <p:cNvPr id="7" name="Textplatzhalter 3"/>
          <p:cNvSpPr>
            <a:spLocks noGrp="1"/>
          </p:cNvSpPr>
          <p:nvPr>
            <p:ph type="body" sz="quarter" idx="23" hasCustomPrompt="1"/>
          </p:nvPr>
        </p:nvSpPr>
        <p:spPr bwMode="gray">
          <a:xfrm>
            <a:off x="409575" y="6001543"/>
            <a:ext cx="11375975"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a:t>Quelle:</a:t>
            </a:r>
          </a:p>
        </p:txBody>
      </p:sp>
      <p:sp>
        <p:nvSpPr>
          <p:cNvPr id="4" name="Titel 3">
            <a:extLst>
              <a:ext uri="{FF2B5EF4-FFF2-40B4-BE49-F238E27FC236}">
                <a16:creationId xmlns:a16="http://schemas.microsoft.com/office/drawing/2014/main" id="{A4E7D873-772C-4013-B401-AF4DA0BD5173}"/>
              </a:ext>
            </a:extLst>
          </p:cNvPr>
          <p:cNvSpPr>
            <a:spLocks noGrp="1"/>
          </p:cNvSpPr>
          <p:nvPr>
            <p:ph type="title" hasCustomPrompt="1"/>
          </p:nvPr>
        </p:nvSpPr>
        <p:spPr bwMode="gray"/>
        <p:txBody>
          <a:bodyPr/>
          <a:lstStyle>
            <a:lvl1pPr>
              <a:defRPr/>
            </a:lvl1pPr>
          </a:lstStyle>
          <a:p>
            <a:r>
              <a:rPr lang="de-DE"/>
              <a:t>Titel durch Klicken bearbeiten</a:t>
            </a:r>
          </a:p>
        </p:txBody>
      </p:sp>
      <p:sp>
        <p:nvSpPr>
          <p:cNvPr id="2" name="Datumsplatzhalter 1">
            <a:extLst>
              <a:ext uri="{FF2B5EF4-FFF2-40B4-BE49-F238E27FC236}">
                <a16:creationId xmlns:a16="http://schemas.microsoft.com/office/drawing/2014/main" id="{E5B84E82-D5E4-43FA-9771-2F8E94792037}"/>
              </a:ext>
            </a:extLst>
          </p:cNvPr>
          <p:cNvSpPr>
            <a:spLocks noGrp="1"/>
          </p:cNvSpPr>
          <p:nvPr>
            <p:ph type="dt" sz="half" idx="24"/>
          </p:nvPr>
        </p:nvSpPr>
        <p:spPr bwMode="gray">
          <a:xfrm>
            <a:off x="10709631" y="151200"/>
            <a:ext cx="748800" cy="180000"/>
          </a:xfrm>
          <a:prstGeom prst="rect">
            <a:avLst/>
          </a:prstGeom>
        </p:spPr>
        <p:txBody>
          <a:bodyPr/>
          <a:lstStyle/>
          <a:p>
            <a:r>
              <a:rPr lang="de-DE"/>
              <a:t>XX.XX.2021</a:t>
            </a:r>
          </a:p>
        </p:txBody>
      </p:sp>
      <p:sp>
        <p:nvSpPr>
          <p:cNvPr id="3" name="Fußzeilenplatzhalter 2">
            <a:extLst>
              <a:ext uri="{FF2B5EF4-FFF2-40B4-BE49-F238E27FC236}">
                <a16:creationId xmlns:a16="http://schemas.microsoft.com/office/drawing/2014/main" id="{78D1C485-5C84-4892-BB20-6FB861EC83ED}"/>
              </a:ext>
            </a:extLst>
          </p:cNvPr>
          <p:cNvSpPr>
            <a:spLocks noGrp="1"/>
          </p:cNvSpPr>
          <p:nvPr>
            <p:ph type="ftr" sz="quarter" idx="25"/>
          </p:nvPr>
        </p:nvSpPr>
        <p:spPr bwMode="gray">
          <a:xfrm>
            <a:off x="6313488" y="151200"/>
            <a:ext cx="4393761" cy="180000"/>
          </a:xfrm>
          <a:prstGeom prst="rect">
            <a:avLst/>
          </a:prstGeom>
        </p:spPr>
        <p:txBody>
          <a:bodyPr/>
          <a:lstStyle/>
          <a:p>
            <a:r>
              <a:rPr lang="de-DE"/>
              <a:t>Kürzel  |  CX  |</a:t>
            </a:r>
          </a:p>
        </p:txBody>
      </p:sp>
      <p:sp>
        <p:nvSpPr>
          <p:cNvPr id="8" name="Foliennummernplatzhalter 7">
            <a:extLst>
              <a:ext uri="{FF2B5EF4-FFF2-40B4-BE49-F238E27FC236}">
                <a16:creationId xmlns:a16="http://schemas.microsoft.com/office/drawing/2014/main" id="{247D4368-4934-4508-81B8-7FFD4AA8496D}"/>
              </a:ext>
            </a:extLst>
          </p:cNvPr>
          <p:cNvSpPr>
            <a:spLocks noGrp="1"/>
          </p:cNvSpPr>
          <p:nvPr>
            <p:ph type="sldNum" sz="quarter" idx="26"/>
          </p:nvPr>
        </p:nvSpPr>
        <p:spPr bwMode="gray">
          <a:xfrm>
            <a:off x="11504750" y="151200"/>
            <a:ext cx="280800" cy="180000"/>
          </a:xfrm>
          <a:prstGeom prst="rect">
            <a:avLst/>
          </a:prstGeom>
        </p:spPr>
        <p:txBody>
          <a:bodyPr/>
          <a:lstStyle/>
          <a:p>
            <a:fld id="{9C89B081-1F44-4440-BC7B-989C90F97B77}" type="slidenum">
              <a:rPr lang="de-DE"/>
              <a:pPr/>
              <a:t>‹Nr.›</a:t>
            </a:fld>
            <a:endParaRPr lang="de-DE"/>
          </a:p>
        </p:txBody>
      </p:sp>
    </p:spTree>
    <p:extLst>
      <p:ext uri="{BB962C8B-B14F-4D97-AF65-F5344CB8AC3E}">
        <p14:creationId xmlns:p14="http://schemas.microsoft.com/office/powerpoint/2010/main" val="279743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98">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folie mit Bild und negativ Logo">
    <p:spTree>
      <p:nvGrpSpPr>
        <p:cNvPr id="1" name=""/>
        <p:cNvGrpSpPr/>
        <p:nvPr/>
      </p:nvGrpSpPr>
      <p:grpSpPr>
        <a:xfrm>
          <a:off x="0" y="0"/>
          <a:ext cx="0" cy="0"/>
          <a:chOff x="0" y="0"/>
          <a:chExt cx="0" cy="0"/>
        </a:xfrm>
      </p:grpSpPr>
      <p:sp>
        <p:nvSpPr>
          <p:cNvPr id="40" name="Bildplatzhalter 36">
            <a:extLst>
              <a:ext uri="{FF2B5EF4-FFF2-40B4-BE49-F238E27FC236}">
                <a16:creationId xmlns:a16="http://schemas.microsoft.com/office/drawing/2014/main" id="{4870B9C8-84BA-4064-8D52-EB6D8BB2C906}"/>
              </a:ext>
            </a:extLst>
          </p:cNvPr>
          <p:cNvSpPr>
            <a:spLocks noGrp="1"/>
          </p:cNvSpPr>
          <p:nvPr>
            <p:ph type="pic" sz="quarter" idx="14" hasCustomPrompt="1"/>
          </p:nvPr>
        </p:nvSpPr>
        <p:spPr bwMode="gray">
          <a:xfrm>
            <a:off x="0" y="-1"/>
            <a:ext cx="12196763" cy="6858000"/>
          </a:xfrm>
          <a:prstGeom prst="rect">
            <a:avLst/>
          </a:prstGeom>
          <a:pattFill prst="pct20">
            <a:fgClr>
              <a:schemeClr val="accent3"/>
            </a:fgClr>
            <a:bgClr>
              <a:schemeClr val="bg1"/>
            </a:bgClr>
          </a:pattFill>
        </p:spPr>
        <p:txBody>
          <a:bodyPr vert="horz" wrap="square" lIns="2520000" tIns="72000" rIns="72000" bIns="72000" rtlCol="0" anchor="b">
            <a:noAutofit/>
          </a:bodyPr>
          <a:lstStyle>
            <a:lvl1pPr>
              <a:defRPr lang="de-DE" sz="1600" baseline="0" dirty="0">
                <a:solidFill>
                  <a:schemeClr val="tx1"/>
                </a:solidFill>
              </a:defRPr>
            </a:lvl1pPr>
          </a:lstStyle>
          <a:p>
            <a:pPr marR="0" lvl="0" fontAlgn="auto">
              <a:lnSpc>
                <a:spcPct val="100000"/>
              </a:lnSpc>
              <a:spcBef>
                <a:spcPts val="0"/>
              </a:spcBef>
              <a:spcAft>
                <a:spcPts val="0"/>
              </a:spcAft>
              <a:buClrTx/>
              <a:buSzTx/>
              <a:tabLst/>
            </a:pPr>
            <a:r>
              <a:rPr lang="de-DE"/>
              <a:t>Um ein Hintergrundbild einzufügen, markieren Sie bitte den Platzhalter und wählen entweder ein Bild aus der </a:t>
            </a:r>
            <a:r>
              <a:rPr lang="de-DE" err="1"/>
              <a:t>empower</a:t>
            </a:r>
            <a:r>
              <a:rPr lang="de-DE"/>
              <a:t> Bibliothek oder über den Reiter „Einfügen“, „Bilder“ aus. Dieses Layout steht in zwei Varianten zur Verfügung: mit positivem und negativem Partnerlogo. Bitte wählen Sie das Layout aus, welches den bestmöglichen Kontrast zwischen Bild und Logo erzeugt.</a:t>
            </a:r>
          </a:p>
        </p:txBody>
      </p:sp>
      <p:sp>
        <p:nvSpPr>
          <p:cNvPr id="30" name="Textplatzhalter 13">
            <a:extLst>
              <a:ext uri="{FF2B5EF4-FFF2-40B4-BE49-F238E27FC236}">
                <a16:creationId xmlns:a16="http://schemas.microsoft.com/office/drawing/2014/main" id="{58F070F6-CDDE-4C67-9078-9184F9E3EE06}"/>
              </a:ext>
            </a:extLst>
          </p:cNvPr>
          <p:cNvSpPr>
            <a:spLocks noGrp="1" noChangeAspect="1"/>
          </p:cNvSpPr>
          <p:nvPr>
            <p:ph type="body" sz="quarter" idx="15" hasCustomPrompt="1"/>
          </p:nvPr>
        </p:nvSpPr>
        <p:spPr bwMode="gray">
          <a:xfrm>
            <a:off x="629999" y="1"/>
            <a:ext cx="11565176" cy="4222561"/>
          </a:xfrm>
          <a:custGeom>
            <a:avLst/>
            <a:gdLst>
              <a:gd name="connsiteX0" fmla="*/ 0 w 11565176"/>
              <a:gd name="connsiteY0" fmla="*/ 0 h 4222561"/>
              <a:gd name="connsiteX1" fmla="*/ 11565176 w 11565176"/>
              <a:gd name="connsiteY1" fmla="*/ 0 h 4222561"/>
              <a:gd name="connsiteX2" fmla="*/ 11565176 w 11565176"/>
              <a:gd name="connsiteY2" fmla="*/ 2101962 h 4222561"/>
              <a:gd name="connsiteX3" fmla="*/ 910254 w 11565176"/>
              <a:gd name="connsiteY3" fmla="*/ 4203011 h 4222561"/>
              <a:gd name="connsiteX4" fmla="*/ 0 w 11565176"/>
              <a:gd name="connsiteY4" fmla="*/ 3522747 h 4222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65176" h="4222561">
                <a:moveTo>
                  <a:pt x="0" y="0"/>
                </a:moveTo>
                <a:lnTo>
                  <a:pt x="11565176" y="0"/>
                </a:lnTo>
                <a:lnTo>
                  <a:pt x="11565176" y="2101962"/>
                </a:lnTo>
                <a:lnTo>
                  <a:pt x="910254" y="4203011"/>
                </a:lnTo>
                <a:cubicBezTo>
                  <a:pt x="0" y="4359734"/>
                  <a:pt x="0" y="3522747"/>
                  <a:pt x="0" y="3522747"/>
                </a:cubicBezTo>
                <a:close/>
              </a:path>
            </a:pathLst>
          </a:custGeom>
          <a:solidFill>
            <a:schemeClr val="tx2">
              <a:alpha val="89000"/>
            </a:schemeClr>
          </a:solidFill>
        </p:spPr>
        <p:txBody>
          <a:bodyPr wrap="square" lIns="399600" tIns="1407600" rIns="3240000">
            <a:noAutofit/>
          </a:bodyPr>
          <a:lstStyle>
            <a:lvl1pPr marL="0" indent="0">
              <a:spcBef>
                <a:spcPts val="0"/>
              </a:spcBef>
              <a:buFont typeface="Arial" panose="020B0604020202020204" pitchFamily="34" charset="0"/>
              <a:buNone/>
              <a:defRPr sz="3000" b="1">
                <a:solidFill>
                  <a:schemeClr val="bg1"/>
                </a:solidFill>
              </a:defRPr>
            </a:lvl1pPr>
            <a:lvl2pPr marL="0" indent="0">
              <a:spcBef>
                <a:spcPts val="0"/>
              </a:spcBef>
              <a:buFont typeface="Arial" panose="020B0604020202020204" pitchFamily="34" charset="0"/>
              <a:buNone/>
              <a:defRPr sz="3000" b="1">
                <a:solidFill>
                  <a:schemeClr val="bg1"/>
                </a:solidFill>
              </a:defRPr>
            </a:lvl2pPr>
            <a:lvl3pPr marL="0" indent="0">
              <a:spcBef>
                <a:spcPts val="0"/>
              </a:spcBef>
              <a:buNone/>
              <a:defRPr sz="3000" b="1">
                <a:solidFill>
                  <a:schemeClr val="bg1"/>
                </a:solidFill>
              </a:defRPr>
            </a:lvl3pPr>
            <a:lvl4pPr marL="0" indent="0">
              <a:spcBef>
                <a:spcPts val="0"/>
              </a:spcBef>
              <a:buNone/>
              <a:defRPr sz="3000" b="1">
                <a:solidFill>
                  <a:schemeClr val="bg1"/>
                </a:solidFill>
              </a:defRPr>
            </a:lvl4pPr>
            <a:lvl5pPr marL="0" indent="0">
              <a:spcBef>
                <a:spcPts val="0"/>
              </a:spcBef>
              <a:buNone/>
              <a:defRPr sz="3000" b="1">
                <a:solidFill>
                  <a:schemeClr val="bg1"/>
                </a:solidFill>
              </a:defRPr>
            </a:lvl5pPr>
          </a:lstStyle>
          <a:p>
            <a:pPr lvl="0"/>
            <a:r>
              <a:rPr lang="de-DE"/>
              <a:t>Titelfolie (max. 2-zeilig)</a:t>
            </a:r>
          </a:p>
        </p:txBody>
      </p:sp>
      <p:sp>
        <p:nvSpPr>
          <p:cNvPr id="46" name="Textplatzhalter 45">
            <a:extLst>
              <a:ext uri="{FF2B5EF4-FFF2-40B4-BE49-F238E27FC236}">
                <a16:creationId xmlns:a16="http://schemas.microsoft.com/office/drawing/2014/main" id="{502B336E-2768-432F-A8DB-0FB505A7D87D}"/>
              </a:ext>
            </a:extLst>
          </p:cNvPr>
          <p:cNvSpPr>
            <a:spLocks noGrp="1"/>
          </p:cNvSpPr>
          <p:nvPr>
            <p:ph type="body" sz="quarter" idx="17" hasCustomPrompt="1"/>
          </p:nvPr>
        </p:nvSpPr>
        <p:spPr bwMode="gray">
          <a:xfrm>
            <a:off x="9563898" y="409422"/>
            <a:ext cx="2014538" cy="608013"/>
          </a:xfrm>
          <a:blipFill>
            <a:blip r:embed="rId2" cstate="screen">
              <a:extLst>
                <a:ext uri="{28A0092B-C50C-407E-A947-70E740481C1C}">
                  <a14:useLocalDpi xmlns:a14="http://schemas.microsoft.com/office/drawing/2010/main"/>
                </a:ext>
              </a:extLst>
            </a:blip>
            <a:stretch>
              <a:fillRect/>
            </a:stretch>
          </a:blipFill>
        </p:spPr>
        <p:txBody>
          <a:bodyPr/>
          <a:lstStyle>
            <a:lvl1pPr marL="0" indent="0">
              <a:spcBef>
                <a:spcPts val="0"/>
              </a:spcBef>
              <a:spcAft>
                <a:spcPts val="0"/>
              </a:spcAft>
              <a:buFont typeface="Arial" panose="020B0604020202020204" pitchFamily="34" charset="0"/>
              <a:buNone/>
              <a:defRPr sz="100">
                <a:noFill/>
              </a:defRPr>
            </a:lvl1pPr>
            <a:lvl2pPr marL="0" indent="0">
              <a:spcBef>
                <a:spcPts val="0"/>
              </a:spcBef>
              <a:spcAft>
                <a:spcPts val="0"/>
              </a:spcAft>
              <a:buFont typeface="Arial" panose="020B0604020202020204" pitchFamily="34" charset="0"/>
              <a:buNone/>
              <a:defRPr sz="100">
                <a:noFill/>
              </a:defRPr>
            </a:lvl2pPr>
            <a:lvl3pPr marL="0" indent="0">
              <a:spcBef>
                <a:spcPts val="0"/>
              </a:spcBef>
              <a:spcAft>
                <a:spcPts val="0"/>
              </a:spcAft>
              <a:buFont typeface="Arial" panose="020B0604020202020204" pitchFamily="34" charset="0"/>
              <a:buNone/>
              <a:defRPr sz="100">
                <a:noFill/>
              </a:defRPr>
            </a:lvl3pPr>
            <a:lvl4pPr marL="0" indent="0">
              <a:spcBef>
                <a:spcPts val="0"/>
              </a:spcBef>
              <a:spcAft>
                <a:spcPts val="0"/>
              </a:spcAft>
              <a:buFont typeface="Arial" panose="020B0604020202020204" pitchFamily="34" charset="0"/>
              <a:buNone/>
              <a:defRPr sz="100">
                <a:noFill/>
              </a:defRPr>
            </a:lvl4pPr>
            <a:lvl5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
                <a:noFill/>
              </a:defRPr>
            </a:lvl5pPr>
            <a:lvl6pPr marL="360000" indent="0">
              <a:spcBef>
                <a:spcPts val="0"/>
              </a:spcBef>
              <a:spcAft>
                <a:spcPts val="0"/>
              </a:spcAft>
              <a:buFontTx/>
              <a:buNone/>
              <a:defRPr/>
            </a:lvl6pPr>
            <a:lvl7pPr marL="0" indent="0">
              <a:spcBef>
                <a:spcPts val="0"/>
              </a:spcBef>
              <a:spcAft>
                <a:spcPts val="0"/>
              </a:spcAft>
              <a:buNone/>
              <a:defRPr/>
            </a:lvl7pPr>
            <a:lvl8pPr marL="0" indent="0">
              <a:spcBef>
                <a:spcPts val="0"/>
              </a:spcBef>
              <a:spcAft>
                <a:spcPts val="0"/>
              </a:spcAft>
              <a:buNone/>
              <a:defRPr/>
            </a:lvl8pPr>
            <a:lvl9pPr marL="0" indent="0">
              <a:spcBef>
                <a:spcPts val="0"/>
              </a:spcBef>
              <a:spcAft>
                <a:spcPts val="0"/>
              </a:spcAft>
              <a:buNone/>
              <a:defRPr/>
            </a:lvl9pPr>
          </a:lstStyle>
          <a:p>
            <a:pPr lvl="0"/>
            <a:r>
              <a:rPr lang="de-DE"/>
              <a:t>x</a:t>
            </a:r>
          </a:p>
        </p:txBody>
      </p:sp>
      <p:sp>
        <p:nvSpPr>
          <p:cNvPr id="9" name="Textplatzhalter 2">
            <a:extLst>
              <a:ext uri="{FF2B5EF4-FFF2-40B4-BE49-F238E27FC236}">
                <a16:creationId xmlns:a16="http://schemas.microsoft.com/office/drawing/2014/main" id="{79842972-B43D-4498-9CE0-114835F45A37}"/>
              </a:ext>
            </a:extLst>
          </p:cNvPr>
          <p:cNvSpPr>
            <a:spLocks noGrp="1"/>
          </p:cNvSpPr>
          <p:nvPr>
            <p:ph type="body" sz="quarter" idx="18"/>
          </p:nvPr>
        </p:nvSpPr>
        <p:spPr bwMode="gray">
          <a:xfrm>
            <a:off x="630000" y="6329316"/>
            <a:ext cx="1789200" cy="198000"/>
          </a:xfrm>
          <a:blipFill>
            <a:blip r:embed="rId3"/>
            <a:stretch>
              <a:fillRect/>
            </a:stretch>
          </a:blipFill>
        </p:spPr>
        <p:txBody>
          <a:bodyPr/>
          <a:lstStyle>
            <a:lvl1pPr>
              <a:defRPr sz="100">
                <a:noFill/>
              </a:defRPr>
            </a:lvl1pPr>
          </a:lstStyle>
          <a:p>
            <a:pPr lvl="0"/>
            <a:r>
              <a:rPr lang="de-DE"/>
              <a:t>Mastertextformat bearbeiten</a:t>
            </a:r>
          </a:p>
        </p:txBody>
      </p:sp>
      <p:sp>
        <p:nvSpPr>
          <p:cNvPr id="10" name="Textplatzhalter 3">
            <a:extLst>
              <a:ext uri="{FF2B5EF4-FFF2-40B4-BE49-F238E27FC236}">
                <a16:creationId xmlns:a16="http://schemas.microsoft.com/office/drawing/2014/main" id="{F27D9437-25D4-41C0-9FDB-67DE2F56C5F2}"/>
              </a:ext>
            </a:extLst>
          </p:cNvPr>
          <p:cNvSpPr>
            <a:spLocks noGrp="1"/>
          </p:cNvSpPr>
          <p:nvPr>
            <p:ph type="body" sz="quarter" idx="19" hasCustomPrompt="1"/>
          </p:nvPr>
        </p:nvSpPr>
        <p:spPr bwMode="gray">
          <a:xfrm>
            <a:off x="1030048" y="984854"/>
            <a:ext cx="6481588" cy="246221"/>
          </a:xfrm>
        </p:spPr>
        <p:txBody>
          <a:bodyPr anchor="b" anchorCtr="0">
            <a:spAutoFit/>
          </a:bodyPr>
          <a:lstStyle>
            <a:lvl1pPr>
              <a:spcBef>
                <a:spcPts val="0"/>
              </a:spcBef>
              <a:defRPr sz="1600" b="1">
                <a:solidFill>
                  <a:schemeClr val="accent2"/>
                </a:solidFill>
              </a:defRPr>
            </a:lvl1pPr>
          </a:lstStyle>
          <a:p>
            <a:pPr lvl="0"/>
            <a:r>
              <a:rPr lang="de-DE"/>
              <a:t>Name Kunde / Veranstaltung</a:t>
            </a:r>
          </a:p>
        </p:txBody>
      </p:sp>
      <p:sp>
        <p:nvSpPr>
          <p:cNvPr id="11" name="Textplatzhalter 3">
            <a:extLst>
              <a:ext uri="{FF2B5EF4-FFF2-40B4-BE49-F238E27FC236}">
                <a16:creationId xmlns:a16="http://schemas.microsoft.com/office/drawing/2014/main" id="{211751F6-7D82-4879-9644-28DE0AFB0E95}"/>
              </a:ext>
            </a:extLst>
          </p:cNvPr>
          <p:cNvSpPr>
            <a:spLocks noGrp="1"/>
          </p:cNvSpPr>
          <p:nvPr>
            <p:ph type="body" sz="quarter" idx="20" hasCustomPrompt="1"/>
          </p:nvPr>
        </p:nvSpPr>
        <p:spPr bwMode="gray">
          <a:xfrm>
            <a:off x="1030048" y="2500031"/>
            <a:ext cx="6481588" cy="246221"/>
          </a:xfrm>
        </p:spPr>
        <p:txBody>
          <a:bodyPr anchor="b" anchorCtr="0">
            <a:spAutoFit/>
          </a:bodyPr>
          <a:lstStyle>
            <a:lvl1pPr>
              <a:spcBef>
                <a:spcPts val="0"/>
              </a:spcBef>
              <a:defRPr sz="1600" b="0">
                <a:solidFill>
                  <a:schemeClr val="bg1"/>
                </a:solidFill>
              </a:defRPr>
            </a:lvl1pPr>
          </a:lstStyle>
          <a:p>
            <a:pPr lvl="0"/>
            <a:r>
              <a:rPr lang="de-DE"/>
              <a:t>Ort, Datum – Referent Vorname Name</a:t>
            </a:r>
          </a:p>
        </p:txBody>
      </p:sp>
      <p:sp>
        <p:nvSpPr>
          <p:cNvPr id="14" name="Textplatzhalter 3">
            <a:extLst>
              <a:ext uri="{FF2B5EF4-FFF2-40B4-BE49-F238E27FC236}">
                <a16:creationId xmlns:a16="http://schemas.microsoft.com/office/drawing/2014/main" id="{CB214486-2E9D-4910-B40E-A31969FCC43A}"/>
              </a:ext>
            </a:extLst>
          </p:cNvPr>
          <p:cNvSpPr>
            <a:spLocks noGrp="1"/>
          </p:cNvSpPr>
          <p:nvPr>
            <p:ph type="body" sz="quarter" idx="21" hasCustomPrompt="1"/>
          </p:nvPr>
        </p:nvSpPr>
        <p:spPr bwMode="gray">
          <a:xfrm>
            <a:off x="1030048" y="2852957"/>
            <a:ext cx="5760000" cy="184666"/>
          </a:xfrm>
        </p:spPr>
        <p:txBody>
          <a:bodyPr>
            <a:spAutoFit/>
          </a:bodyPr>
          <a:lstStyle>
            <a:lvl1pPr>
              <a:spcBef>
                <a:spcPts val="0"/>
              </a:spcBef>
              <a:defRPr sz="1200" b="0">
                <a:solidFill>
                  <a:schemeClr val="bg1"/>
                </a:solidFill>
              </a:defRPr>
            </a:lvl1pPr>
          </a:lstStyle>
          <a:p>
            <a:pPr lvl="0"/>
            <a:r>
              <a:rPr lang="de-DE"/>
              <a:t>Vertraulichkeitshinweis durch Klicken bearbeiten</a:t>
            </a:r>
          </a:p>
        </p:txBody>
      </p:sp>
    </p:spTree>
    <p:extLst>
      <p:ext uri="{BB962C8B-B14F-4D97-AF65-F5344CB8AC3E}">
        <p14:creationId xmlns:p14="http://schemas.microsoft.com/office/powerpoint/2010/main" val="3105747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Zweispaltig mit Quelle">
    <p:spTree>
      <p:nvGrpSpPr>
        <p:cNvPr id="1" name=""/>
        <p:cNvGrpSpPr/>
        <p:nvPr/>
      </p:nvGrpSpPr>
      <p:grpSpPr>
        <a:xfrm>
          <a:off x="0" y="0"/>
          <a:ext cx="0" cy="0"/>
          <a:chOff x="0" y="0"/>
          <a:chExt cx="0" cy="0"/>
        </a:xfrm>
      </p:grpSpPr>
      <p:sp>
        <p:nvSpPr>
          <p:cNvPr id="16" name="Inhaltsplatzhalter 2"/>
          <p:cNvSpPr>
            <a:spLocks noGrp="1"/>
          </p:cNvSpPr>
          <p:nvPr>
            <p:ph sz="quarter" idx="24" hasCustomPrompt="1"/>
          </p:nvPr>
        </p:nvSpPr>
        <p:spPr bwMode="gray">
          <a:xfrm>
            <a:off x="409575" y="1412776"/>
            <a:ext cx="5471380" cy="4896445"/>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8" name="Inhaltsplatzhalter 2"/>
          <p:cNvSpPr>
            <a:spLocks noGrp="1"/>
          </p:cNvSpPr>
          <p:nvPr>
            <p:ph sz="quarter" idx="26" hasCustomPrompt="1"/>
          </p:nvPr>
        </p:nvSpPr>
        <p:spPr bwMode="gray">
          <a:xfrm>
            <a:off x="6313611" y="1412776"/>
            <a:ext cx="5471344" cy="4896445"/>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5" name="Textplatzhalter 3"/>
          <p:cNvSpPr>
            <a:spLocks noGrp="1"/>
          </p:cNvSpPr>
          <p:nvPr>
            <p:ph type="body" sz="quarter" idx="23" hasCustomPrompt="1"/>
          </p:nvPr>
        </p:nvSpPr>
        <p:spPr bwMode="gray">
          <a:xfrm>
            <a:off x="409575" y="6001543"/>
            <a:ext cx="11375380"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a:t>Quelle:</a:t>
            </a:r>
          </a:p>
        </p:txBody>
      </p:sp>
      <p:sp>
        <p:nvSpPr>
          <p:cNvPr id="4" name="Titel 3">
            <a:extLst>
              <a:ext uri="{FF2B5EF4-FFF2-40B4-BE49-F238E27FC236}">
                <a16:creationId xmlns:a16="http://schemas.microsoft.com/office/drawing/2014/main" id="{0EE3A4A6-59E1-4B7B-B514-3F752F280AB3}"/>
              </a:ext>
            </a:extLst>
          </p:cNvPr>
          <p:cNvSpPr>
            <a:spLocks noGrp="1"/>
          </p:cNvSpPr>
          <p:nvPr>
            <p:ph type="title" hasCustomPrompt="1"/>
          </p:nvPr>
        </p:nvSpPr>
        <p:spPr bwMode="gray"/>
        <p:txBody>
          <a:bodyPr/>
          <a:lstStyle>
            <a:lvl1pPr>
              <a:defRPr/>
            </a:lvl1pPr>
          </a:lstStyle>
          <a:p>
            <a:r>
              <a:rPr lang="de-DE"/>
              <a:t>Titel durch Klicken bearbeiten</a:t>
            </a:r>
          </a:p>
        </p:txBody>
      </p:sp>
      <p:sp>
        <p:nvSpPr>
          <p:cNvPr id="2" name="Datumsplatzhalter 1">
            <a:extLst>
              <a:ext uri="{FF2B5EF4-FFF2-40B4-BE49-F238E27FC236}">
                <a16:creationId xmlns:a16="http://schemas.microsoft.com/office/drawing/2014/main" id="{8386EEF1-AC41-4778-BBD7-116FAEF6D28C}"/>
              </a:ext>
            </a:extLst>
          </p:cNvPr>
          <p:cNvSpPr>
            <a:spLocks noGrp="1"/>
          </p:cNvSpPr>
          <p:nvPr>
            <p:ph type="dt" sz="half" idx="27"/>
          </p:nvPr>
        </p:nvSpPr>
        <p:spPr bwMode="gray">
          <a:xfrm>
            <a:off x="10709631" y="151200"/>
            <a:ext cx="748800" cy="180000"/>
          </a:xfrm>
          <a:prstGeom prst="rect">
            <a:avLst/>
          </a:prstGeom>
        </p:spPr>
        <p:txBody>
          <a:bodyPr/>
          <a:lstStyle/>
          <a:p>
            <a:r>
              <a:rPr lang="de-DE"/>
              <a:t>XX.XX.2021</a:t>
            </a:r>
          </a:p>
        </p:txBody>
      </p:sp>
      <p:sp>
        <p:nvSpPr>
          <p:cNvPr id="3" name="Fußzeilenplatzhalter 2">
            <a:extLst>
              <a:ext uri="{FF2B5EF4-FFF2-40B4-BE49-F238E27FC236}">
                <a16:creationId xmlns:a16="http://schemas.microsoft.com/office/drawing/2014/main" id="{6E61E87C-49DB-4099-8EEC-CCD9F0C4915F}"/>
              </a:ext>
            </a:extLst>
          </p:cNvPr>
          <p:cNvSpPr>
            <a:spLocks noGrp="1"/>
          </p:cNvSpPr>
          <p:nvPr>
            <p:ph type="ftr" sz="quarter" idx="28"/>
          </p:nvPr>
        </p:nvSpPr>
        <p:spPr bwMode="gray">
          <a:xfrm>
            <a:off x="6313488" y="151200"/>
            <a:ext cx="4393761" cy="180000"/>
          </a:xfrm>
          <a:prstGeom prst="rect">
            <a:avLst/>
          </a:prstGeom>
        </p:spPr>
        <p:txBody>
          <a:bodyPr/>
          <a:lstStyle/>
          <a:p>
            <a:r>
              <a:rPr lang="de-DE"/>
              <a:t>Kürzel  |  CX  |</a:t>
            </a:r>
          </a:p>
        </p:txBody>
      </p:sp>
      <p:sp>
        <p:nvSpPr>
          <p:cNvPr id="7" name="Foliennummernplatzhalter 6">
            <a:extLst>
              <a:ext uri="{FF2B5EF4-FFF2-40B4-BE49-F238E27FC236}">
                <a16:creationId xmlns:a16="http://schemas.microsoft.com/office/drawing/2014/main" id="{17E7BD72-3FB4-4983-8305-EFB8CE80CD76}"/>
              </a:ext>
            </a:extLst>
          </p:cNvPr>
          <p:cNvSpPr>
            <a:spLocks noGrp="1"/>
          </p:cNvSpPr>
          <p:nvPr>
            <p:ph type="sldNum" sz="quarter" idx="29"/>
          </p:nvPr>
        </p:nvSpPr>
        <p:spPr bwMode="gray">
          <a:xfrm>
            <a:off x="11504750" y="151200"/>
            <a:ext cx="280800" cy="180000"/>
          </a:xfrm>
          <a:prstGeom prst="rect">
            <a:avLst/>
          </a:prstGeom>
        </p:spPr>
        <p:txBody>
          <a:bodyPr/>
          <a:lstStyle/>
          <a:p>
            <a:fld id="{9C89B081-1F44-4440-BC7B-989C90F97B77}" type="slidenum">
              <a:rPr lang="de-DE"/>
              <a:pPr/>
              <a:t>‹Nr.›</a:t>
            </a:fld>
            <a:endParaRPr lang="de-DE"/>
          </a:p>
        </p:txBody>
      </p:sp>
    </p:spTree>
    <p:extLst>
      <p:ext uri="{BB962C8B-B14F-4D97-AF65-F5344CB8AC3E}">
        <p14:creationId xmlns:p14="http://schemas.microsoft.com/office/powerpoint/2010/main" val="742726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57">
          <p15:clr>
            <a:srgbClr val="F26B43"/>
          </p15:clr>
        </p15:guide>
        <p15:guide id="3" orient="horz" pos="255">
          <p15:clr>
            <a:srgbClr val="F26B43"/>
          </p15:clr>
        </p15:guide>
        <p15:guide id="6" orient="horz" pos="890">
          <p15:clr>
            <a:srgbClr val="F26B43"/>
          </p15:clr>
        </p15:guide>
        <p15:guide id="9" pos="3977">
          <p15:clr>
            <a:srgbClr val="F26B43"/>
          </p15:clr>
        </p15:guide>
        <p15:guide id="10" pos="3705">
          <p15:clr>
            <a:srgbClr val="F26B43"/>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Zweispaltig mit Untertitel und Quelle">
    <p:spTree>
      <p:nvGrpSpPr>
        <p:cNvPr id="1" name=""/>
        <p:cNvGrpSpPr/>
        <p:nvPr/>
      </p:nvGrpSpPr>
      <p:grpSpPr>
        <a:xfrm>
          <a:off x="0" y="0"/>
          <a:ext cx="0" cy="0"/>
          <a:chOff x="0" y="0"/>
          <a:chExt cx="0" cy="0"/>
        </a:xfrm>
      </p:grpSpPr>
      <p:sp>
        <p:nvSpPr>
          <p:cNvPr id="16" name="Inhaltsplatzhalter 2"/>
          <p:cNvSpPr>
            <a:spLocks noGrp="1"/>
          </p:cNvSpPr>
          <p:nvPr>
            <p:ph sz="quarter" idx="24" hasCustomPrompt="1"/>
          </p:nvPr>
        </p:nvSpPr>
        <p:spPr bwMode="gray">
          <a:xfrm>
            <a:off x="409575" y="2060848"/>
            <a:ext cx="5471380" cy="4248745"/>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8" name="Inhaltsplatzhalter 2"/>
          <p:cNvSpPr>
            <a:spLocks noGrp="1"/>
          </p:cNvSpPr>
          <p:nvPr>
            <p:ph sz="quarter" idx="26" hasCustomPrompt="1"/>
          </p:nvPr>
        </p:nvSpPr>
        <p:spPr bwMode="gray">
          <a:xfrm>
            <a:off x="6313611" y="2060848"/>
            <a:ext cx="5472000" cy="4248745"/>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0" name="Textplatzhalter 11"/>
          <p:cNvSpPr>
            <a:spLocks noGrp="1"/>
          </p:cNvSpPr>
          <p:nvPr>
            <p:ph type="body" sz="quarter" idx="19" hasCustomPrompt="1"/>
          </p:nvPr>
        </p:nvSpPr>
        <p:spPr bwMode="gray">
          <a:xfrm>
            <a:off x="409575" y="1412776"/>
            <a:ext cx="5471380" cy="276999"/>
          </a:xfrm>
          <a:prstGeom prst="rect">
            <a:avLst/>
          </a:prstGeom>
        </p:spPr>
        <p:txBody>
          <a:bodyPr vert="horz" lIns="0" tIns="0" rIns="0" bIns="0" rtlCol="0">
            <a:noAutofit/>
          </a:bodyPr>
          <a:lstStyle>
            <a:lvl1pPr marL="0" indent="0">
              <a:lnSpc>
                <a:spcPct val="100000"/>
              </a:lnSpc>
              <a:spcBef>
                <a:spcPts val="0"/>
              </a:spcBef>
              <a:buNone/>
              <a:defRPr lang="de-DE" dirty="0">
                <a:solidFill>
                  <a:schemeClr val="accent2"/>
                </a:solidFill>
              </a:defRPr>
            </a:lvl1pPr>
          </a:lstStyle>
          <a:p>
            <a:pPr marL="0" lvl="0" indent="0">
              <a:lnSpc>
                <a:spcPct val="100000"/>
              </a:lnSpc>
              <a:spcBef>
                <a:spcPts val="0"/>
              </a:spcBef>
              <a:buNone/>
            </a:pPr>
            <a:r>
              <a:rPr lang="de-DE"/>
              <a:t>Untertitel 1</a:t>
            </a:r>
          </a:p>
        </p:txBody>
      </p:sp>
      <p:sp>
        <p:nvSpPr>
          <p:cNvPr id="11" name="Textplatzhalter 3"/>
          <p:cNvSpPr>
            <a:spLocks noGrp="1"/>
          </p:cNvSpPr>
          <p:nvPr>
            <p:ph type="body" sz="quarter" idx="21" hasCustomPrompt="1"/>
          </p:nvPr>
        </p:nvSpPr>
        <p:spPr bwMode="gray">
          <a:xfrm>
            <a:off x="409575" y="1700708"/>
            <a:ext cx="5471380" cy="215444"/>
          </a:xfrm>
          <a:prstGeom prst="rect">
            <a:avLst/>
          </a:prstGeom>
        </p:spPr>
        <p:txBody>
          <a:bodyPr vert="horz" lIns="0" tIns="0" rIns="0" bIns="0" rtlCol="0">
            <a:noAutofit/>
          </a:bodyPr>
          <a:lstStyle>
            <a:lvl1pPr>
              <a:spcBef>
                <a:spcPts val="0"/>
              </a:spcBef>
              <a:defRPr lang="de-DE" sz="1400" b="0" dirty="0"/>
            </a:lvl1pPr>
          </a:lstStyle>
          <a:p>
            <a:r>
              <a:rPr lang="de-DE" sz="1400" b="0"/>
              <a:t>Untertitel 2</a:t>
            </a:r>
            <a:endParaRPr lang="de-DE" b="0"/>
          </a:p>
        </p:txBody>
      </p:sp>
      <p:sp>
        <p:nvSpPr>
          <p:cNvPr id="13" name="Textplatzhalter 11"/>
          <p:cNvSpPr>
            <a:spLocks noGrp="1"/>
          </p:cNvSpPr>
          <p:nvPr>
            <p:ph type="body" sz="quarter" idx="27" hasCustomPrompt="1"/>
          </p:nvPr>
        </p:nvSpPr>
        <p:spPr bwMode="gray">
          <a:xfrm>
            <a:off x="6313611" y="1412776"/>
            <a:ext cx="5472000" cy="276999"/>
          </a:xfrm>
          <a:prstGeom prst="rect">
            <a:avLst/>
          </a:prstGeom>
        </p:spPr>
        <p:txBody>
          <a:bodyPr vert="horz" lIns="0" tIns="0" rIns="0" bIns="0" rtlCol="0">
            <a:noAutofit/>
          </a:bodyPr>
          <a:lstStyle>
            <a:lvl1pPr marL="0" indent="0">
              <a:lnSpc>
                <a:spcPct val="100000"/>
              </a:lnSpc>
              <a:spcBef>
                <a:spcPts val="0"/>
              </a:spcBef>
              <a:buNone/>
              <a:defRPr lang="de-DE" dirty="0">
                <a:solidFill>
                  <a:schemeClr val="accent2"/>
                </a:solidFill>
              </a:defRPr>
            </a:lvl1pPr>
          </a:lstStyle>
          <a:p>
            <a:pPr marL="0" lvl="0" indent="0">
              <a:lnSpc>
                <a:spcPct val="100000"/>
              </a:lnSpc>
              <a:spcBef>
                <a:spcPts val="0"/>
              </a:spcBef>
              <a:buNone/>
            </a:pPr>
            <a:r>
              <a:rPr lang="de-DE"/>
              <a:t>Untertitel 1</a:t>
            </a:r>
          </a:p>
        </p:txBody>
      </p:sp>
      <p:sp>
        <p:nvSpPr>
          <p:cNvPr id="14" name="Textplatzhalter 3"/>
          <p:cNvSpPr>
            <a:spLocks noGrp="1"/>
          </p:cNvSpPr>
          <p:nvPr>
            <p:ph type="body" sz="quarter" idx="28" hasCustomPrompt="1"/>
          </p:nvPr>
        </p:nvSpPr>
        <p:spPr bwMode="gray">
          <a:xfrm>
            <a:off x="6313611" y="1700708"/>
            <a:ext cx="5472000" cy="215444"/>
          </a:xfrm>
          <a:prstGeom prst="rect">
            <a:avLst/>
          </a:prstGeom>
        </p:spPr>
        <p:txBody>
          <a:bodyPr vert="horz" lIns="0" tIns="0" rIns="0" bIns="0" rtlCol="0">
            <a:noAutofit/>
          </a:bodyPr>
          <a:lstStyle>
            <a:lvl1pPr>
              <a:spcBef>
                <a:spcPts val="0"/>
              </a:spcBef>
              <a:defRPr lang="de-DE" sz="1400" b="0" dirty="0"/>
            </a:lvl1pPr>
          </a:lstStyle>
          <a:p>
            <a:r>
              <a:rPr lang="de-DE" sz="1400" b="0"/>
              <a:t>Untertitel 2</a:t>
            </a:r>
            <a:endParaRPr lang="de-DE" b="0"/>
          </a:p>
        </p:txBody>
      </p:sp>
      <p:sp>
        <p:nvSpPr>
          <p:cNvPr id="15" name="Textplatzhalter 3"/>
          <p:cNvSpPr>
            <a:spLocks noGrp="1"/>
          </p:cNvSpPr>
          <p:nvPr>
            <p:ph type="body" sz="quarter" idx="23" hasCustomPrompt="1"/>
          </p:nvPr>
        </p:nvSpPr>
        <p:spPr bwMode="gray">
          <a:xfrm>
            <a:off x="409575" y="6001543"/>
            <a:ext cx="11374438"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a:t>Quelle:</a:t>
            </a:r>
          </a:p>
        </p:txBody>
      </p:sp>
      <p:sp>
        <p:nvSpPr>
          <p:cNvPr id="4" name="Titel 3">
            <a:extLst>
              <a:ext uri="{FF2B5EF4-FFF2-40B4-BE49-F238E27FC236}">
                <a16:creationId xmlns:a16="http://schemas.microsoft.com/office/drawing/2014/main" id="{BC8ED0AC-12B9-494D-AF0D-9DA5C00CE04A}"/>
              </a:ext>
            </a:extLst>
          </p:cNvPr>
          <p:cNvSpPr>
            <a:spLocks noGrp="1"/>
          </p:cNvSpPr>
          <p:nvPr>
            <p:ph type="title" hasCustomPrompt="1"/>
          </p:nvPr>
        </p:nvSpPr>
        <p:spPr bwMode="gray"/>
        <p:txBody>
          <a:bodyPr/>
          <a:lstStyle>
            <a:lvl1pPr>
              <a:defRPr/>
            </a:lvl1pPr>
          </a:lstStyle>
          <a:p>
            <a:r>
              <a:rPr lang="de-DE"/>
              <a:t>Titel durch Klicken bearbeiten</a:t>
            </a:r>
          </a:p>
        </p:txBody>
      </p:sp>
      <p:sp>
        <p:nvSpPr>
          <p:cNvPr id="2" name="Datumsplatzhalter 1">
            <a:extLst>
              <a:ext uri="{FF2B5EF4-FFF2-40B4-BE49-F238E27FC236}">
                <a16:creationId xmlns:a16="http://schemas.microsoft.com/office/drawing/2014/main" id="{FF6F5F25-D3A1-4DAF-84BB-627B213A32B6}"/>
              </a:ext>
            </a:extLst>
          </p:cNvPr>
          <p:cNvSpPr>
            <a:spLocks noGrp="1"/>
          </p:cNvSpPr>
          <p:nvPr>
            <p:ph type="dt" sz="half" idx="29"/>
          </p:nvPr>
        </p:nvSpPr>
        <p:spPr bwMode="gray">
          <a:xfrm>
            <a:off x="10709631" y="151200"/>
            <a:ext cx="748800" cy="180000"/>
          </a:xfrm>
          <a:prstGeom prst="rect">
            <a:avLst/>
          </a:prstGeom>
        </p:spPr>
        <p:txBody>
          <a:bodyPr/>
          <a:lstStyle/>
          <a:p>
            <a:r>
              <a:rPr lang="de-DE"/>
              <a:t>XX.XX.2021</a:t>
            </a:r>
          </a:p>
        </p:txBody>
      </p:sp>
      <p:sp>
        <p:nvSpPr>
          <p:cNvPr id="3" name="Fußzeilenplatzhalter 2">
            <a:extLst>
              <a:ext uri="{FF2B5EF4-FFF2-40B4-BE49-F238E27FC236}">
                <a16:creationId xmlns:a16="http://schemas.microsoft.com/office/drawing/2014/main" id="{EFA81794-25E1-48C3-A9ED-A0B3F6CB2BC6}"/>
              </a:ext>
            </a:extLst>
          </p:cNvPr>
          <p:cNvSpPr>
            <a:spLocks noGrp="1"/>
          </p:cNvSpPr>
          <p:nvPr>
            <p:ph type="ftr" sz="quarter" idx="30"/>
          </p:nvPr>
        </p:nvSpPr>
        <p:spPr bwMode="gray">
          <a:xfrm>
            <a:off x="6313488" y="151200"/>
            <a:ext cx="4393761" cy="180000"/>
          </a:xfrm>
          <a:prstGeom prst="rect">
            <a:avLst/>
          </a:prstGeom>
        </p:spPr>
        <p:txBody>
          <a:bodyPr/>
          <a:lstStyle/>
          <a:p>
            <a:r>
              <a:rPr lang="de-DE"/>
              <a:t>Kürzel  |  CX  |</a:t>
            </a:r>
          </a:p>
        </p:txBody>
      </p:sp>
      <p:sp>
        <p:nvSpPr>
          <p:cNvPr id="7" name="Foliennummernplatzhalter 6">
            <a:extLst>
              <a:ext uri="{FF2B5EF4-FFF2-40B4-BE49-F238E27FC236}">
                <a16:creationId xmlns:a16="http://schemas.microsoft.com/office/drawing/2014/main" id="{B31E850C-ECA2-4F5F-A6A5-A7D3ED58EC97}"/>
              </a:ext>
            </a:extLst>
          </p:cNvPr>
          <p:cNvSpPr>
            <a:spLocks noGrp="1"/>
          </p:cNvSpPr>
          <p:nvPr>
            <p:ph type="sldNum" sz="quarter" idx="31"/>
          </p:nvPr>
        </p:nvSpPr>
        <p:spPr bwMode="gray">
          <a:xfrm>
            <a:off x="11504750" y="151200"/>
            <a:ext cx="280800" cy="180000"/>
          </a:xfrm>
          <a:prstGeom prst="rect">
            <a:avLst/>
          </a:prstGeom>
        </p:spPr>
        <p:txBody>
          <a:bodyPr/>
          <a:lstStyle/>
          <a:p>
            <a:fld id="{9C89B081-1F44-4440-BC7B-989C90F97B77}" type="slidenum">
              <a:rPr lang="de-DE"/>
              <a:pPr/>
              <a:t>‹Nr.›</a:t>
            </a:fld>
            <a:endParaRPr lang="de-DE"/>
          </a:p>
        </p:txBody>
      </p:sp>
    </p:spTree>
    <p:extLst>
      <p:ext uri="{BB962C8B-B14F-4D97-AF65-F5344CB8AC3E}">
        <p14:creationId xmlns:p14="http://schemas.microsoft.com/office/powerpoint/2010/main" val="3694686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57">
          <p15:clr>
            <a:srgbClr val="F26B43"/>
          </p15:clr>
        </p15:guide>
        <p15:guide id="3" orient="horz" pos="255">
          <p15:clr>
            <a:srgbClr val="F26B43"/>
          </p15:clr>
        </p15:guide>
        <p15:guide id="6" orient="horz" pos="890">
          <p15:clr>
            <a:srgbClr val="F26B43"/>
          </p15:clr>
        </p15:guide>
        <p15:guide id="9" pos="3977">
          <p15:clr>
            <a:srgbClr val="F26B43"/>
          </p15:clr>
        </p15:guide>
        <p15:guide id="10" pos="3705">
          <p15:clr>
            <a:srgbClr val="F26B43"/>
          </p15:clr>
        </p15:guide>
        <p15:guide id="11" orient="horz" pos="1298">
          <p15:clr>
            <a:srgbClr val="C35E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reispaltig mit Quelle">
    <p:spTree>
      <p:nvGrpSpPr>
        <p:cNvPr id="1" name=""/>
        <p:cNvGrpSpPr/>
        <p:nvPr/>
      </p:nvGrpSpPr>
      <p:grpSpPr>
        <a:xfrm>
          <a:off x="0" y="0"/>
          <a:ext cx="0" cy="0"/>
          <a:chOff x="0" y="0"/>
          <a:chExt cx="0" cy="0"/>
        </a:xfrm>
      </p:grpSpPr>
      <p:sp>
        <p:nvSpPr>
          <p:cNvPr id="14" name="Inhaltsplatzhalter 2"/>
          <p:cNvSpPr>
            <a:spLocks noGrp="1"/>
          </p:cNvSpPr>
          <p:nvPr>
            <p:ph sz="quarter" idx="26" hasCustomPrompt="1"/>
          </p:nvPr>
        </p:nvSpPr>
        <p:spPr bwMode="gray">
          <a:xfrm>
            <a:off x="409575" y="1412776"/>
            <a:ext cx="3527379" cy="4895851"/>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5" name="Inhaltsplatzhalter 2"/>
          <p:cNvSpPr>
            <a:spLocks noGrp="1"/>
          </p:cNvSpPr>
          <p:nvPr>
            <p:ph sz="quarter" idx="27" hasCustomPrompt="1"/>
          </p:nvPr>
        </p:nvSpPr>
        <p:spPr bwMode="gray">
          <a:xfrm>
            <a:off x="8258175" y="1412776"/>
            <a:ext cx="3527375" cy="4895851"/>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8" name="Inhaltsplatzhalter 2"/>
          <p:cNvSpPr>
            <a:spLocks noGrp="1"/>
          </p:cNvSpPr>
          <p:nvPr>
            <p:ph sz="quarter" idx="28" hasCustomPrompt="1"/>
          </p:nvPr>
        </p:nvSpPr>
        <p:spPr bwMode="gray">
          <a:xfrm>
            <a:off x="4333875" y="1412776"/>
            <a:ext cx="3527379" cy="4895851"/>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1" name="Textplatzhalter 3"/>
          <p:cNvSpPr>
            <a:spLocks noGrp="1"/>
          </p:cNvSpPr>
          <p:nvPr>
            <p:ph type="body" sz="quarter" idx="25" hasCustomPrompt="1"/>
          </p:nvPr>
        </p:nvSpPr>
        <p:spPr bwMode="gray">
          <a:xfrm>
            <a:off x="409575" y="6001543"/>
            <a:ext cx="11375354"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a:t>Quelle:</a:t>
            </a:r>
          </a:p>
        </p:txBody>
      </p:sp>
      <p:sp>
        <p:nvSpPr>
          <p:cNvPr id="4" name="Titel 3">
            <a:extLst>
              <a:ext uri="{FF2B5EF4-FFF2-40B4-BE49-F238E27FC236}">
                <a16:creationId xmlns:a16="http://schemas.microsoft.com/office/drawing/2014/main" id="{75BE83B1-2458-4EF8-968B-9C0334204552}"/>
              </a:ext>
            </a:extLst>
          </p:cNvPr>
          <p:cNvSpPr>
            <a:spLocks noGrp="1"/>
          </p:cNvSpPr>
          <p:nvPr>
            <p:ph type="title" hasCustomPrompt="1"/>
          </p:nvPr>
        </p:nvSpPr>
        <p:spPr bwMode="gray"/>
        <p:txBody>
          <a:bodyPr/>
          <a:lstStyle/>
          <a:p>
            <a:r>
              <a:rPr lang="de-DE"/>
              <a:t>Titel durch Klicken bearbeiten</a:t>
            </a:r>
          </a:p>
        </p:txBody>
      </p:sp>
      <p:sp>
        <p:nvSpPr>
          <p:cNvPr id="2" name="Datumsplatzhalter 1">
            <a:extLst>
              <a:ext uri="{FF2B5EF4-FFF2-40B4-BE49-F238E27FC236}">
                <a16:creationId xmlns:a16="http://schemas.microsoft.com/office/drawing/2014/main" id="{5A59AB60-4B38-4E95-AB8B-146BCCEA63E2}"/>
              </a:ext>
            </a:extLst>
          </p:cNvPr>
          <p:cNvSpPr>
            <a:spLocks noGrp="1"/>
          </p:cNvSpPr>
          <p:nvPr>
            <p:ph type="dt" sz="half" idx="29"/>
          </p:nvPr>
        </p:nvSpPr>
        <p:spPr bwMode="gray">
          <a:xfrm>
            <a:off x="10709631" y="151200"/>
            <a:ext cx="748800" cy="180000"/>
          </a:xfrm>
          <a:prstGeom prst="rect">
            <a:avLst/>
          </a:prstGeom>
        </p:spPr>
        <p:txBody>
          <a:bodyPr/>
          <a:lstStyle/>
          <a:p>
            <a:r>
              <a:rPr lang="de-DE"/>
              <a:t>XX.XX.2021</a:t>
            </a:r>
          </a:p>
        </p:txBody>
      </p:sp>
      <p:sp>
        <p:nvSpPr>
          <p:cNvPr id="3" name="Fußzeilenplatzhalter 2">
            <a:extLst>
              <a:ext uri="{FF2B5EF4-FFF2-40B4-BE49-F238E27FC236}">
                <a16:creationId xmlns:a16="http://schemas.microsoft.com/office/drawing/2014/main" id="{CBD139B5-09CB-41FF-8C16-41101AD606DF}"/>
              </a:ext>
            </a:extLst>
          </p:cNvPr>
          <p:cNvSpPr>
            <a:spLocks noGrp="1"/>
          </p:cNvSpPr>
          <p:nvPr>
            <p:ph type="ftr" sz="quarter" idx="30"/>
          </p:nvPr>
        </p:nvSpPr>
        <p:spPr bwMode="gray">
          <a:xfrm>
            <a:off x="6313488" y="151200"/>
            <a:ext cx="4393761" cy="180000"/>
          </a:xfrm>
          <a:prstGeom prst="rect">
            <a:avLst/>
          </a:prstGeom>
        </p:spPr>
        <p:txBody>
          <a:bodyPr/>
          <a:lstStyle/>
          <a:p>
            <a:r>
              <a:rPr lang="de-DE"/>
              <a:t>Kürzel  |  CX  |</a:t>
            </a:r>
          </a:p>
        </p:txBody>
      </p:sp>
      <p:sp>
        <p:nvSpPr>
          <p:cNvPr id="7" name="Foliennummernplatzhalter 6">
            <a:extLst>
              <a:ext uri="{FF2B5EF4-FFF2-40B4-BE49-F238E27FC236}">
                <a16:creationId xmlns:a16="http://schemas.microsoft.com/office/drawing/2014/main" id="{3FF18CCE-78BF-4E21-93E0-6ED91C0B9130}"/>
              </a:ext>
            </a:extLst>
          </p:cNvPr>
          <p:cNvSpPr>
            <a:spLocks noGrp="1"/>
          </p:cNvSpPr>
          <p:nvPr>
            <p:ph type="sldNum" sz="quarter" idx="31"/>
          </p:nvPr>
        </p:nvSpPr>
        <p:spPr bwMode="gray">
          <a:xfrm>
            <a:off x="11504750" y="151200"/>
            <a:ext cx="280800" cy="180000"/>
          </a:xfrm>
          <a:prstGeom prst="rect">
            <a:avLst/>
          </a:prstGeom>
        </p:spPr>
        <p:txBody>
          <a:bodyPr/>
          <a:lstStyle/>
          <a:p>
            <a:fld id="{9C89B081-1F44-4440-BC7B-989C90F97B77}" type="slidenum">
              <a:rPr lang="de-DE"/>
              <a:pPr/>
              <a:t>‹Nr.›</a:t>
            </a:fld>
            <a:endParaRPr lang="de-DE"/>
          </a:p>
        </p:txBody>
      </p:sp>
    </p:spTree>
    <p:extLst>
      <p:ext uri="{BB962C8B-B14F-4D97-AF65-F5344CB8AC3E}">
        <p14:creationId xmlns:p14="http://schemas.microsoft.com/office/powerpoint/2010/main" val="2330336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80">
          <p15:clr>
            <a:srgbClr val="F26B43"/>
          </p15:clr>
        </p15:guide>
        <p15:guide id="2" pos="2730">
          <p15:clr>
            <a:srgbClr val="F26B43"/>
          </p15:clr>
        </p15:guide>
        <p15:guide id="3" pos="4952">
          <p15:clr>
            <a:srgbClr val="F26B43"/>
          </p15:clr>
        </p15:guide>
        <p15:guide id="4" pos="5202">
          <p15:clr>
            <a:srgbClr val="F26B43"/>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reispaltig mit Untertitel und Quelle">
    <p:spTree>
      <p:nvGrpSpPr>
        <p:cNvPr id="1" name=""/>
        <p:cNvGrpSpPr/>
        <p:nvPr/>
      </p:nvGrpSpPr>
      <p:grpSpPr>
        <a:xfrm>
          <a:off x="0" y="0"/>
          <a:ext cx="0" cy="0"/>
          <a:chOff x="0" y="0"/>
          <a:chExt cx="0" cy="0"/>
        </a:xfrm>
      </p:grpSpPr>
      <p:sp>
        <p:nvSpPr>
          <p:cNvPr id="14" name="Inhaltsplatzhalter 2"/>
          <p:cNvSpPr>
            <a:spLocks noGrp="1"/>
          </p:cNvSpPr>
          <p:nvPr>
            <p:ph sz="quarter" idx="26" hasCustomPrompt="1"/>
          </p:nvPr>
        </p:nvSpPr>
        <p:spPr bwMode="gray">
          <a:xfrm>
            <a:off x="409575" y="2060848"/>
            <a:ext cx="3527379" cy="4248151"/>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5" name="Inhaltsplatzhalter 2"/>
          <p:cNvSpPr>
            <a:spLocks noGrp="1"/>
          </p:cNvSpPr>
          <p:nvPr>
            <p:ph sz="quarter" idx="27" hasCustomPrompt="1"/>
          </p:nvPr>
        </p:nvSpPr>
        <p:spPr bwMode="gray">
          <a:xfrm>
            <a:off x="8258175" y="2060848"/>
            <a:ext cx="3527375" cy="4248151"/>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8" name="Inhaltsplatzhalter 2"/>
          <p:cNvSpPr>
            <a:spLocks noGrp="1"/>
          </p:cNvSpPr>
          <p:nvPr>
            <p:ph sz="quarter" idx="28" hasCustomPrompt="1"/>
          </p:nvPr>
        </p:nvSpPr>
        <p:spPr bwMode="gray">
          <a:xfrm>
            <a:off x="4333875" y="2060848"/>
            <a:ext cx="3527379" cy="4248151"/>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6" name="Textplatzhalter 11"/>
          <p:cNvSpPr>
            <a:spLocks noGrp="1"/>
          </p:cNvSpPr>
          <p:nvPr>
            <p:ph type="body" sz="quarter" idx="19" hasCustomPrompt="1"/>
          </p:nvPr>
        </p:nvSpPr>
        <p:spPr bwMode="gray">
          <a:xfrm>
            <a:off x="409575" y="1412776"/>
            <a:ext cx="3527379" cy="276999"/>
          </a:xfrm>
          <a:prstGeom prst="rect">
            <a:avLst/>
          </a:prstGeom>
        </p:spPr>
        <p:txBody>
          <a:bodyPr vert="horz" lIns="0" tIns="0" rIns="0" bIns="0" rtlCol="0">
            <a:noAutofit/>
          </a:bodyPr>
          <a:lstStyle>
            <a:lvl1pPr marL="0" indent="0">
              <a:lnSpc>
                <a:spcPct val="100000"/>
              </a:lnSpc>
              <a:spcBef>
                <a:spcPts val="0"/>
              </a:spcBef>
              <a:buNone/>
              <a:defRPr lang="de-DE" dirty="0">
                <a:solidFill>
                  <a:schemeClr val="accent2"/>
                </a:solidFill>
              </a:defRPr>
            </a:lvl1pPr>
          </a:lstStyle>
          <a:p>
            <a:pPr marL="0" lvl="0" indent="0">
              <a:lnSpc>
                <a:spcPct val="100000"/>
              </a:lnSpc>
              <a:spcBef>
                <a:spcPts val="0"/>
              </a:spcBef>
              <a:buNone/>
            </a:pPr>
            <a:r>
              <a:rPr lang="de-DE"/>
              <a:t>Untertitel 1</a:t>
            </a:r>
          </a:p>
        </p:txBody>
      </p:sp>
      <p:sp>
        <p:nvSpPr>
          <p:cNvPr id="17" name="Textplatzhalter 3"/>
          <p:cNvSpPr>
            <a:spLocks noGrp="1"/>
          </p:cNvSpPr>
          <p:nvPr>
            <p:ph type="body" sz="quarter" idx="21" hasCustomPrompt="1"/>
          </p:nvPr>
        </p:nvSpPr>
        <p:spPr bwMode="gray">
          <a:xfrm>
            <a:off x="409575" y="1700708"/>
            <a:ext cx="3527379" cy="215444"/>
          </a:xfrm>
          <a:prstGeom prst="rect">
            <a:avLst/>
          </a:prstGeom>
        </p:spPr>
        <p:txBody>
          <a:bodyPr vert="horz" lIns="0" tIns="0" rIns="0" bIns="0" rtlCol="0">
            <a:noAutofit/>
          </a:bodyPr>
          <a:lstStyle>
            <a:lvl1pPr>
              <a:spcBef>
                <a:spcPts val="0"/>
              </a:spcBef>
              <a:defRPr lang="de-DE" sz="1400" b="0" dirty="0"/>
            </a:lvl1pPr>
          </a:lstStyle>
          <a:p>
            <a:r>
              <a:rPr lang="de-DE" sz="1400" b="0"/>
              <a:t>Untertitel 2</a:t>
            </a:r>
            <a:endParaRPr lang="de-DE" b="0"/>
          </a:p>
        </p:txBody>
      </p:sp>
      <p:sp>
        <p:nvSpPr>
          <p:cNvPr id="20" name="Textplatzhalter 11"/>
          <p:cNvSpPr>
            <a:spLocks noGrp="1"/>
          </p:cNvSpPr>
          <p:nvPr>
            <p:ph type="body" sz="quarter" idx="31" hasCustomPrompt="1"/>
          </p:nvPr>
        </p:nvSpPr>
        <p:spPr bwMode="gray">
          <a:xfrm>
            <a:off x="4333875" y="1412776"/>
            <a:ext cx="3527379" cy="276999"/>
          </a:xfrm>
          <a:prstGeom prst="rect">
            <a:avLst/>
          </a:prstGeom>
        </p:spPr>
        <p:txBody>
          <a:bodyPr vert="horz" lIns="0" tIns="0" rIns="0" bIns="0" rtlCol="0">
            <a:noAutofit/>
          </a:bodyPr>
          <a:lstStyle>
            <a:lvl1pPr marL="0" indent="0">
              <a:lnSpc>
                <a:spcPct val="100000"/>
              </a:lnSpc>
              <a:spcBef>
                <a:spcPts val="0"/>
              </a:spcBef>
              <a:buNone/>
              <a:defRPr lang="de-DE" dirty="0">
                <a:solidFill>
                  <a:schemeClr val="accent2"/>
                </a:solidFill>
              </a:defRPr>
            </a:lvl1pPr>
          </a:lstStyle>
          <a:p>
            <a:pPr marL="0" lvl="0" indent="0">
              <a:lnSpc>
                <a:spcPct val="100000"/>
              </a:lnSpc>
              <a:spcBef>
                <a:spcPts val="0"/>
              </a:spcBef>
              <a:buNone/>
            </a:pPr>
            <a:r>
              <a:rPr lang="de-DE"/>
              <a:t>Untertitel 1</a:t>
            </a:r>
          </a:p>
        </p:txBody>
      </p:sp>
      <p:sp>
        <p:nvSpPr>
          <p:cNvPr id="21" name="Textplatzhalter 3"/>
          <p:cNvSpPr>
            <a:spLocks noGrp="1"/>
          </p:cNvSpPr>
          <p:nvPr>
            <p:ph type="body" sz="quarter" idx="32" hasCustomPrompt="1"/>
          </p:nvPr>
        </p:nvSpPr>
        <p:spPr bwMode="gray">
          <a:xfrm>
            <a:off x="4333875" y="1700708"/>
            <a:ext cx="3527379" cy="215444"/>
          </a:xfrm>
          <a:prstGeom prst="rect">
            <a:avLst/>
          </a:prstGeom>
        </p:spPr>
        <p:txBody>
          <a:bodyPr vert="horz" lIns="0" tIns="0" rIns="0" bIns="0" rtlCol="0">
            <a:noAutofit/>
          </a:bodyPr>
          <a:lstStyle>
            <a:lvl1pPr>
              <a:spcBef>
                <a:spcPts val="0"/>
              </a:spcBef>
              <a:defRPr lang="de-DE" sz="1400" b="0" dirty="0"/>
            </a:lvl1pPr>
          </a:lstStyle>
          <a:p>
            <a:r>
              <a:rPr lang="de-DE" sz="1400" b="0"/>
              <a:t>Untertitel 2</a:t>
            </a:r>
            <a:endParaRPr lang="de-DE" b="0"/>
          </a:p>
        </p:txBody>
      </p:sp>
      <p:sp>
        <p:nvSpPr>
          <p:cNvPr id="22" name="Textplatzhalter 11"/>
          <p:cNvSpPr>
            <a:spLocks noGrp="1"/>
          </p:cNvSpPr>
          <p:nvPr>
            <p:ph type="body" sz="quarter" idx="33" hasCustomPrompt="1"/>
          </p:nvPr>
        </p:nvSpPr>
        <p:spPr bwMode="gray">
          <a:xfrm>
            <a:off x="8258175" y="1412776"/>
            <a:ext cx="3527375" cy="276999"/>
          </a:xfrm>
          <a:prstGeom prst="rect">
            <a:avLst/>
          </a:prstGeom>
        </p:spPr>
        <p:txBody>
          <a:bodyPr vert="horz" lIns="0" tIns="0" rIns="0" bIns="0" rtlCol="0">
            <a:noAutofit/>
          </a:bodyPr>
          <a:lstStyle>
            <a:lvl1pPr marL="0" indent="0">
              <a:lnSpc>
                <a:spcPct val="100000"/>
              </a:lnSpc>
              <a:spcBef>
                <a:spcPts val="0"/>
              </a:spcBef>
              <a:buNone/>
              <a:defRPr lang="de-DE" dirty="0">
                <a:solidFill>
                  <a:schemeClr val="accent2"/>
                </a:solidFill>
              </a:defRPr>
            </a:lvl1pPr>
          </a:lstStyle>
          <a:p>
            <a:pPr marL="0" lvl="0" indent="0">
              <a:lnSpc>
                <a:spcPct val="100000"/>
              </a:lnSpc>
              <a:spcBef>
                <a:spcPts val="0"/>
              </a:spcBef>
              <a:buNone/>
            </a:pPr>
            <a:r>
              <a:rPr lang="de-DE"/>
              <a:t>Untertitel 1</a:t>
            </a:r>
          </a:p>
        </p:txBody>
      </p:sp>
      <p:sp>
        <p:nvSpPr>
          <p:cNvPr id="23" name="Textplatzhalter 3"/>
          <p:cNvSpPr>
            <a:spLocks noGrp="1"/>
          </p:cNvSpPr>
          <p:nvPr>
            <p:ph type="body" sz="quarter" idx="34" hasCustomPrompt="1"/>
          </p:nvPr>
        </p:nvSpPr>
        <p:spPr bwMode="gray">
          <a:xfrm>
            <a:off x="8258175" y="1700708"/>
            <a:ext cx="3527375" cy="215444"/>
          </a:xfrm>
          <a:prstGeom prst="rect">
            <a:avLst/>
          </a:prstGeom>
        </p:spPr>
        <p:txBody>
          <a:bodyPr vert="horz" lIns="0" tIns="0" rIns="0" bIns="0" rtlCol="0">
            <a:noAutofit/>
          </a:bodyPr>
          <a:lstStyle>
            <a:lvl1pPr>
              <a:spcBef>
                <a:spcPts val="0"/>
              </a:spcBef>
              <a:defRPr lang="de-DE" sz="1400" b="0" dirty="0"/>
            </a:lvl1pPr>
          </a:lstStyle>
          <a:p>
            <a:r>
              <a:rPr lang="de-DE" sz="1400" b="0"/>
              <a:t>Untertitel 2</a:t>
            </a:r>
            <a:endParaRPr lang="de-DE" b="0"/>
          </a:p>
        </p:txBody>
      </p:sp>
      <p:sp>
        <p:nvSpPr>
          <p:cNvPr id="11" name="Textplatzhalter 3"/>
          <p:cNvSpPr>
            <a:spLocks noGrp="1"/>
          </p:cNvSpPr>
          <p:nvPr>
            <p:ph type="body" sz="quarter" idx="25" hasCustomPrompt="1"/>
          </p:nvPr>
        </p:nvSpPr>
        <p:spPr bwMode="gray">
          <a:xfrm>
            <a:off x="409576" y="6001543"/>
            <a:ext cx="11375974"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a:t>Quelle:</a:t>
            </a:r>
          </a:p>
        </p:txBody>
      </p:sp>
      <p:sp>
        <p:nvSpPr>
          <p:cNvPr id="4" name="Titel 3">
            <a:extLst>
              <a:ext uri="{FF2B5EF4-FFF2-40B4-BE49-F238E27FC236}">
                <a16:creationId xmlns:a16="http://schemas.microsoft.com/office/drawing/2014/main" id="{EFF755ED-A961-4AB8-BBDA-1948B43FBB19}"/>
              </a:ext>
            </a:extLst>
          </p:cNvPr>
          <p:cNvSpPr>
            <a:spLocks noGrp="1"/>
          </p:cNvSpPr>
          <p:nvPr>
            <p:ph type="title" hasCustomPrompt="1"/>
          </p:nvPr>
        </p:nvSpPr>
        <p:spPr bwMode="gray"/>
        <p:txBody>
          <a:bodyPr/>
          <a:lstStyle/>
          <a:p>
            <a:r>
              <a:rPr lang="de-DE"/>
              <a:t>Titel durch Klicken bearbeiten</a:t>
            </a:r>
          </a:p>
        </p:txBody>
      </p:sp>
      <p:sp>
        <p:nvSpPr>
          <p:cNvPr id="2" name="Datumsplatzhalter 1">
            <a:extLst>
              <a:ext uri="{FF2B5EF4-FFF2-40B4-BE49-F238E27FC236}">
                <a16:creationId xmlns:a16="http://schemas.microsoft.com/office/drawing/2014/main" id="{FE964BE4-B4EF-4A95-8010-A1A2C84EFB2F}"/>
              </a:ext>
            </a:extLst>
          </p:cNvPr>
          <p:cNvSpPr>
            <a:spLocks noGrp="1"/>
          </p:cNvSpPr>
          <p:nvPr>
            <p:ph type="dt" sz="half" idx="35"/>
          </p:nvPr>
        </p:nvSpPr>
        <p:spPr bwMode="gray">
          <a:xfrm>
            <a:off x="10709631" y="151200"/>
            <a:ext cx="748800" cy="180000"/>
          </a:xfrm>
          <a:prstGeom prst="rect">
            <a:avLst/>
          </a:prstGeom>
        </p:spPr>
        <p:txBody>
          <a:bodyPr/>
          <a:lstStyle/>
          <a:p>
            <a:r>
              <a:rPr lang="de-DE"/>
              <a:t>XX.XX.2021</a:t>
            </a:r>
          </a:p>
        </p:txBody>
      </p:sp>
      <p:sp>
        <p:nvSpPr>
          <p:cNvPr id="3" name="Fußzeilenplatzhalter 2">
            <a:extLst>
              <a:ext uri="{FF2B5EF4-FFF2-40B4-BE49-F238E27FC236}">
                <a16:creationId xmlns:a16="http://schemas.microsoft.com/office/drawing/2014/main" id="{DFE17E14-7C08-4315-870F-013D72D2017C}"/>
              </a:ext>
            </a:extLst>
          </p:cNvPr>
          <p:cNvSpPr>
            <a:spLocks noGrp="1"/>
          </p:cNvSpPr>
          <p:nvPr>
            <p:ph type="ftr" sz="quarter" idx="36"/>
          </p:nvPr>
        </p:nvSpPr>
        <p:spPr bwMode="gray">
          <a:xfrm>
            <a:off x="6313488" y="151200"/>
            <a:ext cx="4393761" cy="180000"/>
          </a:xfrm>
          <a:prstGeom prst="rect">
            <a:avLst/>
          </a:prstGeom>
        </p:spPr>
        <p:txBody>
          <a:bodyPr/>
          <a:lstStyle/>
          <a:p>
            <a:r>
              <a:rPr lang="de-DE"/>
              <a:t>Kürzel  |  CX  |</a:t>
            </a:r>
          </a:p>
        </p:txBody>
      </p:sp>
      <p:sp>
        <p:nvSpPr>
          <p:cNvPr id="7" name="Foliennummernplatzhalter 6">
            <a:extLst>
              <a:ext uri="{FF2B5EF4-FFF2-40B4-BE49-F238E27FC236}">
                <a16:creationId xmlns:a16="http://schemas.microsoft.com/office/drawing/2014/main" id="{2297D823-4BEC-41E9-A01D-353176FC0484}"/>
              </a:ext>
            </a:extLst>
          </p:cNvPr>
          <p:cNvSpPr>
            <a:spLocks noGrp="1"/>
          </p:cNvSpPr>
          <p:nvPr>
            <p:ph type="sldNum" sz="quarter" idx="37"/>
          </p:nvPr>
        </p:nvSpPr>
        <p:spPr bwMode="gray">
          <a:xfrm>
            <a:off x="11504750" y="151200"/>
            <a:ext cx="280800" cy="180000"/>
          </a:xfrm>
          <a:prstGeom prst="rect">
            <a:avLst/>
          </a:prstGeom>
        </p:spPr>
        <p:txBody>
          <a:bodyPr/>
          <a:lstStyle/>
          <a:p>
            <a:fld id="{9C89B081-1F44-4440-BC7B-989C90F97B77}" type="slidenum">
              <a:rPr lang="de-DE"/>
              <a:pPr/>
              <a:t>‹Nr.›</a:t>
            </a:fld>
            <a:endParaRPr lang="de-DE"/>
          </a:p>
        </p:txBody>
      </p:sp>
    </p:spTree>
    <p:extLst>
      <p:ext uri="{BB962C8B-B14F-4D97-AF65-F5344CB8AC3E}">
        <p14:creationId xmlns:p14="http://schemas.microsoft.com/office/powerpoint/2010/main" val="1992687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80">
          <p15:clr>
            <a:srgbClr val="F26B43"/>
          </p15:clr>
        </p15:guide>
        <p15:guide id="3" pos="4952">
          <p15:clr>
            <a:srgbClr val="F26B43"/>
          </p15:clr>
        </p15:guide>
        <p15:guide id="4" pos="5202">
          <p15:clr>
            <a:srgbClr val="F26B43"/>
          </p15:clr>
        </p15:guide>
        <p15:guide id="5" orient="horz" pos="1298">
          <p15:clr>
            <a:srgbClr val="C35EA4"/>
          </p15:clr>
        </p15:guide>
        <p15:guide id="6" pos="2730">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Vierspaltig mit Quelle">
    <p:spTree>
      <p:nvGrpSpPr>
        <p:cNvPr id="1" name=""/>
        <p:cNvGrpSpPr/>
        <p:nvPr/>
      </p:nvGrpSpPr>
      <p:grpSpPr>
        <a:xfrm>
          <a:off x="0" y="0"/>
          <a:ext cx="0" cy="0"/>
          <a:chOff x="0" y="0"/>
          <a:chExt cx="0" cy="0"/>
        </a:xfrm>
      </p:grpSpPr>
      <p:sp>
        <p:nvSpPr>
          <p:cNvPr id="21" name="Inhaltsplatzhalter 2"/>
          <p:cNvSpPr>
            <a:spLocks noGrp="1"/>
          </p:cNvSpPr>
          <p:nvPr>
            <p:ph sz="quarter" idx="27" hasCustomPrompt="1"/>
          </p:nvPr>
        </p:nvSpPr>
        <p:spPr bwMode="gray">
          <a:xfrm>
            <a:off x="409576" y="1412874"/>
            <a:ext cx="2519362" cy="4896446"/>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22" name="Inhaltsplatzhalter 2"/>
          <p:cNvSpPr>
            <a:spLocks noGrp="1"/>
          </p:cNvSpPr>
          <p:nvPr>
            <p:ph sz="quarter" idx="28" hasCustomPrompt="1"/>
          </p:nvPr>
        </p:nvSpPr>
        <p:spPr bwMode="gray">
          <a:xfrm>
            <a:off x="3360738" y="1412874"/>
            <a:ext cx="2520950" cy="4896446"/>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23" name="Inhaltsplatzhalter 2"/>
          <p:cNvSpPr>
            <a:spLocks noGrp="1"/>
          </p:cNvSpPr>
          <p:nvPr>
            <p:ph sz="quarter" idx="29" hasCustomPrompt="1"/>
          </p:nvPr>
        </p:nvSpPr>
        <p:spPr bwMode="gray">
          <a:xfrm>
            <a:off x="6313488" y="1412874"/>
            <a:ext cx="2520951" cy="4896446"/>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24" name="Inhaltsplatzhalter 2"/>
          <p:cNvSpPr>
            <a:spLocks noGrp="1"/>
          </p:cNvSpPr>
          <p:nvPr>
            <p:ph sz="quarter" idx="30" hasCustomPrompt="1"/>
          </p:nvPr>
        </p:nvSpPr>
        <p:spPr bwMode="gray">
          <a:xfrm>
            <a:off x="9266238" y="1412874"/>
            <a:ext cx="2519981" cy="4896446"/>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1" name="Textplatzhalter 3"/>
          <p:cNvSpPr>
            <a:spLocks noGrp="1"/>
          </p:cNvSpPr>
          <p:nvPr>
            <p:ph type="body" sz="quarter" idx="25" hasCustomPrompt="1"/>
          </p:nvPr>
        </p:nvSpPr>
        <p:spPr bwMode="gray">
          <a:xfrm>
            <a:off x="409575" y="6001543"/>
            <a:ext cx="11375379"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a:t>Quelle:</a:t>
            </a:r>
          </a:p>
        </p:txBody>
      </p:sp>
      <p:sp>
        <p:nvSpPr>
          <p:cNvPr id="4" name="Titel 3">
            <a:extLst>
              <a:ext uri="{FF2B5EF4-FFF2-40B4-BE49-F238E27FC236}">
                <a16:creationId xmlns:a16="http://schemas.microsoft.com/office/drawing/2014/main" id="{46D73C63-4341-4690-BD8A-273D37E8DD06}"/>
              </a:ext>
            </a:extLst>
          </p:cNvPr>
          <p:cNvSpPr>
            <a:spLocks noGrp="1"/>
          </p:cNvSpPr>
          <p:nvPr>
            <p:ph type="title" hasCustomPrompt="1"/>
          </p:nvPr>
        </p:nvSpPr>
        <p:spPr bwMode="gray"/>
        <p:txBody>
          <a:bodyPr/>
          <a:lstStyle/>
          <a:p>
            <a:r>
              <a:rPr lang="de-DE"/>
              <a:t>Titel durch Klicken bearbeiten</a:t>
            </a:r>
          </a:p>
        </p:txBody>
      </p:sp>
      <p:sp>
        <p:nvSpPr>
          <p:cNvPr id="2" name="Datumsplatzhalter 1">
            <a:extLst>
              <a:ext uri="{FF2B5EF4-FFF2-40B4-BE49-F238E27FC236}">
                <a16:creationId xmlns:a16="http://schemas.microsoft.com/office/drawing/2014/main" id="{3A3DEEEA-F19F-4C71-AA1F-5F25917455A4}"/>
              </a:ext>
            </a:extLst>
          </p:cNvPr>
          <p:cNvSpPr>
            <a:spLocks noGrp="1"/>
          </p:cNvSpPr>
          <p:nvPr>
            <p:ph type="dt" sz="half" idx="31"/>
          </p:nvPr>
        </p:nvSpPr>
        <p:spPr bwMode="gray">
          <a:xfrm>
            <a:off x="10709631" y="151200"/>
            <a:ext cx="748800" cy="180000"/>
          </a:xfrm>
          <a:prstGeom prst="rect">
            <a:avLst/>
          </a:prstGeom>
        </p:spPr>
        <p:txBody>
          <a:bodyPr/>
          <a:lstStyle/>
          <a:p>
            <a:r>
              <a:rPr lang="de-DE"/>
              <a:t>XX.XX.2021</a:t>
            </a:r>
          </a:p>
        </p:txBody>
      </p:sp>
      <p:sp>
        <p:nvSpPr>
          <p:cNvPr id="3" name="Fußzeilenplatzhalter 2">
            <a:extLst>
              <a:ext uri="{FF2B5EF4-FFF2-40B4-BE49-F238E27FC236}">
                <a16:creationId xmlns:a16="http://schemas.microsoft.com/office/drawing/2014/main" id="{3045F34B-6618-449D-A8FE-B88511BF55E0}"/>
              </a:ext>
            </a:extLst>
          </p:cNvPr>
          <p:cNvSpPr>
            <a:spLocks noGrp="1"/>
          </p:cNvSpPr>
          <p:nvPr>
            <p:ph type="ftr" sz="quarter" idx="32"/>
          </p:nvPr>
        </p:nvSpPr>
        <p:spPr bwMode="gray">
          <a:xfrm>
            <a:off x="6313488" y="151200"/>
            <a:ext cx="4393761" cy="180000"/>
          </a:xfrm>
          <a:prstGeom prst="rect">
            <a:avLst/>
          </a:prstGeom>
        </p:spPr>
        <p:txBody>
          <a:bodyPr/>
          <a:lstStyle/>
          <a:p>
            <a:r>
              <a:rPr lang="de-DE"/>
              <a:t>Kürzel  |  CX  |</a:t>
            </a:r>
          </a:p>
        </p:txBody>
      </p:sp>
      <p:sp>
        <p:nvSpPr>
          <p:cNvPr id="7" name="Foliennummernplatzhalter 6">
            <a:extLst>
              <a:ext uri="{FF2B5EF4-FFF2-40B4-BE49-F238E27FC236}">
                <a16:creationId xmlns:a16="http://schemas.microsoft.com/office/drawing/2014/main" id="{0682081D-6BAC-4259-A25C-0CB149D9F31B}"/>
              </a:ext>
            </a:extLst>
          </p:cNvPr>
          <p:cNvSpPr>
            <a:spLocks noGrp="1"/>
          </p:cNvSpPr>
          <p:nvPr>
            <p:ph type="sldNum" sz="quarter" idx="33"/>
          </p:nvPr>
        </p:nvSpPr>
        <p:spPr bwMode="gray">
          <a:xfrm>
            <a:off x="11504750" y="151200"/>
            <a:ext cx="280800" cy="180000"/>
          </a:xfrm>
          <a:prstGeom prst="rect">
            <a:avLst/>
          </a:prstGeom>
        </p:spPr>
        <p:txBody>
          <a:bodyPr/>
          <a:lstStyle/>
          <a:p>
            <a:fld id="{9C89B081-1F44-4440-BC7B-989C90F97B77}" type="slidenum">
              <a:rPr lang="de-DE"/>
              <a:pPr/>
              <a:t>‹Nr.›</a:t>
            </a:fld>
            <a:endParaRPr lang="de-DE"/>
          </a:p>
        </p:txBody>
      </p:sp>
    </p:spTree>
    <p:extLst>
      <p:ext uri="{BB962C8B-B14F-4D97-AF65-F5344CB8AC3E}">
        <p14:creationId xmlns:p14="http://schemas.microsoft.com/office/powerpoint/2010/main" val="2264073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45">
          <p15:clr>
            <a:srgbClr val="F26B43"/>
          </p15:clr>
        </p15:guide>
        <p15:guide id="2" pos="2117">
          <p15:clr>
            <a:srgbClr val="F26B43"/>
          </p15:clr>
        </p15:guide>
        <p15:guide id="3" pos="3705">
          <p15:clr>
            <a:srgbClr val="F26B43"/>
          </p15:clr>
        </p15:guide>
        <p15:guide id="4" pos="3977">
          <p15:clr>
            <a:srgbClr val="F26B43"/>
          </p15:clr>
        </p15:guide>
        <p15:guide id="5" pos="5565">
          <p15:clr>
            <a:srgbClr val="F26B43"/>
          </p15:clr>
        </p15:guide>
        <p15:guide id="6" pos="5837">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Einspaltig mit Bild 01">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EEBE60E-DB8D-49DD-AD9C-2421D3EC2228}"/>
              </a:ext>
            </a:extLst>
          </p:cNvPr>
          <p:cNvSpPr>
            <a:spLocks noGrp="1"/>
          </p:cNvSpPr>
          <p:nvPr>
            <p:ph type="title" hasCustomPrompt="1"/>
          </p:nvPr>
        </p:nvSpPr>
        <p:spPr bwMode="gray"/>
        <p:txBody>
          <a:bodyPr/>
          <a:lstStyle/>
          <a:p>
            <a:r>
              <a:rPr lang="de-DE"/>
              <a:t>Titel durch Klicken bearbeiten</a:t>
            </a:r>
          </a:p>
        </p:txBody>
      </p:sp>
      <p:sp>
        <p:nvSpPr>
          <p:cNvPr id="16" name="Inhaltsplatzhalter 2"/>
          <p:cNvSpPr>
            <a:spLocks noGrp="1"/>
          </p:cNvSpPr>
          <p:nvPr>
            <p:ph sz="quarter" idx="24" hasCustomPrompt="1"/>
          </p:nvPr>
        </p:nvSpPr>
        <p:spPr bwMode="gray">
          <a:xfrm>
            <a:off x="409575" y="1412776"/>
            <a:ext cx="5471491" cy="4896445"/>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4" name="Bildplatzhalter 13">
            <a:extLst>
              <a:ext uri="{FF2B5EF4-FFF2-40B4-BE49-F238E27FC236}">
                <a16:creationId xmlns:a16="http://schemas.microsoft.com/office/drawing/2014/main" id="{EB12C414-E7AF-455D-922A-9CBEC695DDA8}"/>
              </a:ext>
            </a:extLst>
          </p:cNvPr>
          <p:cNvSpPr>
            <a:spLocks noGrp="1" noChangeAspect="1"/>
          </p:cNvSpPr>
          <p:nvPr>
            <p:ph type="pic" sz="quarter" idx="27" hasCustomPrompt="1"/>
          </p:nvPr>
        </p:nvSpPr>
        <p:spPr bwMode="gray">
          <a:xfrm>
            <a:off x="6313611" y="407400"/>
            <a:ext cx="5473336" cy="5903281"/>
          </a:xfrm>
          <a:custGeom>
            <a:avLst/>
            <a:gdLst>
              <a:gd name="connsiteX0" fmla="*/ 4676664 w 5473336"/>
              <a:gd name="connsiteY0" fmla="*/ 1449 h 5903281"/>
              <a:gd name="connsiteX1" fmla="*/ 5473336 w 5473336"/>
              <a:gd name="connsiteY1" fmla="*/ 743339 h 5903281"/>
              <a:gd name="connsiteX2" fmla="*/ 5473336 w 5473336"/>
              <a:gd name="connsiteY2" fmla="*/ 2096552 h 5903281"/>
              <a:gd name="connsiteX3" fmla="*/ 5473336 w 5473336"/>
              <a:gd name="connsiteY3" fmla="*/ 3806731 h 5903281"/>
              <a:gd name="connsiteX4" fmla="*/ 5473336 w 5473336"/>
              <a:gd name="connsiteY4" fmla="*/ 4993882 h 5903281"/>
              <a:gd name="connsiteX5" fmla="*/ 966865 w 5473336"/>
              <a:gd name="connsiteY5" fmla="*/ 5882515 h 5903281"/>
              <a:gd name="connsiteX6" fmla="*/ 0 w 5473336"/>
              <a:gd name="connsiteY6" fmla="*/ 5159944 h 5903281"/>
              <a:gd name="connsiteX7" fmla="*/ 0 w 5473336"/>
              <a:gd name="connsiteY7" fmla="*/ 3806731 h 5903281"/>
              <a:gd name="connsiteX8" fmla="*/ 0 w 5473336"/>
              <a:gd name="connsiteY8" fmla="*/ 2096552 h 5903281"/>
              <a:gd name="connsiteX9" fmla="*/ 0 w 5473336"/>
              <a:gd name="connsiteY9" fmla="*/ 909401 h 5903281"/>
              <a:gd name="connsiteX10" fmla="*/ 4506471 w 5473336"/>
              <a:gd name="connsiteY10" fmla="*/ 20768 h 5903281"/>
              <a:gd name="connsiteX11" fmla="*/ 4676664 w 5473336"/>
              <a:gd name="connsiteY11" fmla="*/ 1449 h 5903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73336" h="5903281">
                <a:moveTo>
                  <a:pt x="4676664" y="1449"/>
                </a:moveTo>
                <a:cubicBezTo>
                  <a:pt x="5473336" y="-38045"/>
                  <a:pt x="5473336" y="743339"/>
                  <a:pt x="5473336" y="743339"/>
                </a:cubicBezTo>
                <a:lnTo>
                  <a:pt x="5473336" y="2096552"/>
                </a:lnTo>
                <a:lnTo>
                  <a:pt x="5473336" y="3806731"/>
                </a:lnTo>
                <a:lnTo>
                  <a:pt x="5473336" y="4993882"/>
                </a:lnTo>
                <a:lnTo>
                  <a:pt x="966865" y="5882515"/>
                </a:lnTo>
                <a:cubicBezTo>
                  <a:pt x="0" y="6048985"/>
                  <a:pt x="0" y="5159944"/>
                  <a:pt x="0" y="5159944"/>
                </a:cubicBezTo>
                <a:lnTo>
                  <a:pt x="0" y="3806731"/>
                </a:lnTo>
                <a:lnTo>
                  <a:pt x="0" y="2096552"/>
                </a:lnTo>
                <a:lnTo>
                  <a:pt x="0" y="909401"/>
                </a:lnTo>
                <a:lnTo>
                  <a:pt x="4506471" y="20768"/>
                </a:lnTo>
                <a:cubicBezTo>
                  <a:pt x="4566900" y="10364"/>
                  <a:pt x="4623552" y="4082"/>
                  <a:pt x="4676664" y="1449"/>
                </a:cubicBezTo>
                <a:close/>
              </a:path>
            </a:pathLst>
          </a:custGeom>
          <a:pattFill prst="pct20">
            <a:fgClr>
              <a:schemeClr val="accent3"/>
            </a:fgClr>
            <a:bgClr>
              <a:schemeClr val="bg1"/>
            </a:bgClr>
          </a:pattFill>
        </p:spPr>
        <p:txBody>
          <a:bodyPr vert="horz" wrap="square" lIns="72000" tIns="72000" rIns="72000" bIns="72000" rtlCol="0" anchor="ct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1600" baseline="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600"/>
              <a:t>Um ein Hintergrundbild einzufügen, markieren Sie bitte den </a:t>
            </a:r>
            <a:br>
              <a:rPr lang="de-DE" sz="1600"/>
            </a:br>
            <a:r>
              <a:rPr lang="de-DE" sz="1600"/>
              <a:t>Platzhalter und wählen entweder ein Bild aus der </a:t>
            </a:r>
            <a:r>
              <a:rPr lang="de-DE" sz="1600" err="1"/>
              <a:t>empower</a:t>
            </a:r>
            <a:r>
              <a:rPr lang="de-DE" sz="1600"/>
              <a:t> </a:t>
            </a:r>
            <a:br>
              <a:rPr lang="de-DE" sz="1600"/>
            </a:br>
            <a:r>
              <a:rPr lang="de-DE" sz="1600"/>
              <a:t>Bibliothek oder über den Reiter „Einfügen“, „Bilder“ aus. </a:t>
            </a:r>
          </a:p>
        </p:txBody>
      </p:sp>
      <p:sp>
        <p:nvSpPr>
          <p:cNvPr id="15" name="Textplatzhalter 3"/>
          <p:cNvSpPr>
            <a:spLocks noGrp="1"/>
          </p:cNvSpPr>
          <p:nvPr>
            <p:ph type="body" sz="quarter" idx="23" hasCustomPrompt="1"/>
          </p:nvPr>
        </p:nvSpPr>
        <p:spPr bwMode="gray">
          <a:xfrm>
            <a:off x="409575" y="6001543"/>
            <a:ext cx="5472112"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a:t>Quelle:</a:t>
            </a:r>
          </a:p>
        </p:txBody>
      </p:sp>
      <p:sp>
        <p:nvSpPr>
          <p:cNvPr id="2" name="Datumsplatzhalter 1">
            <a:extLst>
              <a:ext uri="{FF2B5EF4-FFF2-40B4-BE49-F238E27FC236}">
                <a16:creationId xmlns:a16="http://schemas.microsoft.com/office/drawing/2014/main" id="{C5205EA1-1639-4F30-AF68-7B22600A88EF}"/>
              </a:ext>
            </a:extLst>
          </p:cNvPr>
          <p:cNvSpPr>
            <a:spLocks noGrp="1"/>
          </p:cNvSpPr>
          <p:nvPr>
            <p:ph type="dt" sz="half" idx="28"/>
          </p:nvPr>
        </p:nvSpPr>
        <p:spPr bwMode="gray">
          <a:xfrm>
            <a:off x="10709631" y="151200"/>
            <a:ext cx="748800" cy="180000"/>
          </a:xfrm>
          <a:prstGeom prst="rect">
            <a:avLst/>
          </a:prstGeom>
        </p:spPr>
        <p:txBody>
          <a:bodyPr/>
          <a:lstStyle/>
          <a:p>
            <a:r>
              <a:rPr lang="de-DE"/>
              <a:t>XX.XX.2021</a:t>
            </a:r>
          </a:p>
        </p:txBody>
      </p:sp>
      <p:sp>
        <p:nvSpPr>
          <p:cNvPr id="3" name="Fußzeilenplatzhalter 2">
            <a:extLst>
              <a:ext uri="{FF2B5EF4-FFF2-40B4-BE49-F238E27FC236}">
                <a16:creationId xmlns:a16="http://schemas.microsoft.com/office/drawing/2014/main" id="{B26FFBD5-254C-4569-AEC0-62518BE0B146}"/>
              </a:ext>
            </a:extLst>
          </p:cNvPr>
          <p:cNvSpPr>
            <a:spLocks noGrp="1"/>
          </p:cNvSpPr>
          <p:nvPr>
            <p:ph type="ftr" sz="quarter" idx="29"/>
          </p:nvPr>
        </p:nvSpPr>
        <p:spPr bwMode="gray">
          <a:xfrm>
            <a:off x="6313488" y="151200"/>
            <a:ext cx="4393761" cy="180000"/>
          </a:xfrm>
          <a:prstGeom prst="rect">
            <a:avLst/>
          </a:prstGeom>
        </p:spPr>
        <p:txBody>
          <a:bodyPr/>
          <a:lstStyle/>
          <a:p>
            <a:r>
              <a:rPr lang="de-DE"/>
              <a:t>Kürzel  |  CX  |</a:t>
            </a:r>
          </a:p>
        </p:txBody>
      </p:sp>
      <p:sp>
        <p:nvSpPr>
          <p:cNvPr id="7" name="Foliennummernplatzhalter 6">
            <a:extLst>
              <a:ext uri="{FF2B5EF4-FFF2-40B4-BE49-F238E27FC236}">
                <a16:creationId xmlns:a16="http://schemas.microsoft.com/office/drawing/2014/main" id="{891DA30A-614F-471D-ADA9-5B8FA487254A}"/>
              </a:ext>
            </a:extLst>
          </p:cNvPr>
          <p:cNvSpPr>
            <a:spLocks noGrp="1"/>
          </p:cNvSpPr>
          <p:nvPr>
            <p:ph type="sldNum" sz="quarter" idx="30"/>
          </p:nvPr>
        </p:nvSpPr>
        <p:spPr bwMode="gray">
          <a:xfrm>
            <a:off x="11504750" y="151200"/>
            <a:ext cx="280800" cy="180000"/>
          </a:xfrm>
          <a:prstGeom prst="rect">
            <a:avLst/>
          </a:prstGeom>
        </p:spPr>
        <p:txBody>
          <a:bodyPr/>
          <a:lstStyle/>
          <a:p>
            <a:fld id="{9C89B081-1F44-4440-BC7B-989C90F97B77}" type="slidenum">
              <a:rPr lang="de-DE"/>
              <a:pPr/>
              <a:t>‹Nr.›</a:t>
            </a:fld>
            <a:endParaRPr lang="de-DE"/>
          </a:p>
        </p:txBody>
      </p:sp>
    </p:spTree>
    <p:extLst>
      <p:ext uri="{BB962C8B-B14F-4D97-AF65-F5344CB8AC3E}">
        <p14:creationId xmlns:p14="http://schemas.microsoft.com/office/powerpoint/2010/main" val="3092783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57">
          <p15:clr>
            <a:srgbClr val="F26B43"/>
          </p15:clr>
        </p15:guide>
        <p15:guide id="3" orient="horz" pos="255">
          <p15:clr>
            <a:srgbClr val="F26B43"/>
          </p15:clr>
        </p15:guide>
        <p15:guide id="6" orient="horz" pos="890">
          <p15:clr>
            <a:srgbClr val="F26B43"/>
          </p15:clr>
        </p15:guide>
        <p15:guide id="9" pos="3977">
          <p15:clr>
            <a:srgbClr val="F26B43"/>
          </p15:clr>
        </p15:guide>
        <p15:guide id="10" pos="3705">
          <p15:clr>
            <a:srgbClr val="F26B43"/>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Einspaltig mit Bild 02">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850631F5-C5A4-4332-ADBE-F5BC82829315}"/>
              </a:ext>
            </a:extLst>
          </p:cNvPr>
          <p:cNvSpPr>
            <a:spLocks noGrp="1" noChangeAspect="1"/>
          </p:cNvSpPr>
          <p:nvPr>
            <p:ph type="pic" sz="quarter" idx="27" hasCustomPrompt="1"/>
          </p:nvPr>
        </p:nvSpPr>
        <p:spPr bwMode="gray">
          <a:xfrm>
            <a:off x="6103895" y="-1"/>
            <a:ext cx="6091280" cy="6310680"/>
          </a:xfrm>
          <a:custGeom>
            <a:avLst/>
            <a:gdLst>
              <a:gd name="connsiteX0" fmla="*/ 0 w 6091280"/>
              <a:gd name="connsiteY0" fmla="*/ 0 h 6310680"/>
              <a:gd name="connsiteX1" fmla="*/ 6091280 w 6091280"/>
              <a:gd name="connsiteY1" fmla="*/ 0 h 6310680"/>
              <a:gd name="connsiteX2" fmla="*/ 6091280 w 6091280"/>
              <a:gd name="connsiteY2" fmla="*/ 5279428 h 6310680"/>
              <a:gd name="connsiteX3" fmla="*/ 966865 w 6091280"/>
              <a:gd name="connsiteY3" fmla="*/ 6289914 h 6310680"/>
              <a:gd name="connsiteX4" fmla="*/ 0 w 6091280"/>
              <a:gd name="connsiteY4" fmla="*/ 5567343 h 6310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1280" h="6310680">
                <a:moveTo>
                  <a:pt x="0" y="0"/>
                </a:moveTo>
                <a:lnTo>
                  <a:pt x="6091280" y="0"/>
                </a:lnTo>
                <a:lnTo>
                  <a:pt x="6091280" y="5279428"/>
                </a:lnTo>
                <a:lnTo>
                  <a:pt x="966865" y="6289914"/>
                </a:lnTo>
                <a:cubicBezTo>
                  <a:pt x="0" y="6456384"/>
                  <a:pt x="0" y="5567343"/>
                  <a:pt x="0" y="5567343"/>
                </a:cubicBezTo>
                <a:close/>
              </a:path>
            </a:pathLst>
          </a:custGeom>
          <a:pattFill prst="pct20">
            <a:fgClr>
              <a:schemeClr val="accent3"/>
            </a:fgClr>
            <a:bgClr>
              <a:schemeClr val="bg1"/>
            </a:bgClr>
          </a:pattFill>
        </p:spPr>
        <p:txBody>
          <a:bodyPr vert="horz" wrap="square" lIns="72000" tIns="72000" rIns="72000" bIns="72000" rtlCol="0" anchor="t">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1600" baseline="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600"/>
              <a:t>Um ein Hintergrundbild einzufügen, markieren Sie bitte den </a:t>
            </a:r>
            <a:br>
              <a:rPr lang="de-DE" sz="1600"/>
            </a:br>
            <a:r>
              <a:rPr lang="de-DE" sz="1600"/>
              <a:t>Platzhalter und wählen entweder ein Bild aus der </a:t>
            </a:r>
            <a:r>
              <a:rPr lang="de-DE" sz="1600" err="1"/>
              <a:t>empower</a:t>
            </a:r>
            <a:r>
              <a:rPr lang="de-DE" sz="1600"/>
              <a:t> </a:t>
            </a:r>
            <a:br>
              <a:rPr lang="de-DE" sz="1600"/>
            </a:br>
            <a:r>
              <a:rPr lang="de-DE" sz="1600"/>
              <a:t>Bibliothek oder über den Reiter „Einfügen“, „Bilder“ aus. </a:t>
            </a:r>
          </a:p>
        </p:txBody>
      </p:sp>
      <p:sp>
        <p:nvSpPr>
          <p:cNvPr id="16" name="Inhaltsplatzhalter 2"/>
          <p:cNvSpPr>
            <a:spLocks noGrp="1"/>
          </p:cNvSpPr>
          <p:nvPr>
            <p:ph sz="quarter" idx="24" hasCustomPrompt="1"/>
          </p:nvPr>
        </p:nvSpPr>
        <p:spPr bwMode="gray">
          <a:xfrm>
            <a:off x="409575" y="1412776"/>
            <a:ext cx="5472113" cy="4896445"/>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5" name="Textplatzhalter 3"/>
          <p:cNvSpPr>
            <a:spLocks noGrp="1"/>
          </p:cNvSpPr>
          <p:nvPr>
            <p:ph type="body" sz="quarter" idx="23" hasCustomPrompt="1"/>
          </p:nvPr>
        </p:nvSpPr>
        <p:spPr bwMode="gray">
          <a:xfrm>
            <a:off x="409576" y="6001543"/>
            <a:ext cx="5472112"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a:t>Quelle:</a:t>
            </a:r>
          </a:p>
        </p:txBody>
      </p:sp>
      <p:sp>
        <p:nvSpPr>
          <p:cNvPr id="4" name="Titel 3">
            <a:extLst>
              <a:ext uri="{FF2B5EF4-FFF2-40B4-BE49-F238E27FC236}">
                <a16:creationId xmlns:a16="http://schemas.microsoft.com/office/drawing/2014/main" id="{459DFFE7-845B-4F17-9659-3E651A67BF87}"/>
              </a:ext>
            </a:extLst>
          </p:cNvPr>
          <p:cNvSpPr>
            <a:spLocks noGrp="1"/>
          </p:cNvSpPr>
          <p:nvPr>
            <p:ph type="title" hasCustomPrompt="1"/>
          </p:nvPr>
        </p:nvSpPr>
        <p:spPr bwMode="gray">
          <a:xfrm>
            <a:off x="409575" y="404664"/>
            <a:ext cx="5472113" cy="720000"/>
          </a:xfrm>
        </p:spPr>
        <p:txBody>
          <a:bodyPr/>
          <a:lstStyle/>
          <a:p>
            <a:r>
              <a:rPr lang="de-DE"/>
              <a:t>Titel durch Klicken bearbeiten</a:t>
            </a:r>
          </a:p>
        </p:txBody>
      </p:sp>
      <p:sp>
        <p:nvSpPr>
          <p:cNvPr id="7" name="Textfeld 6">
            <a:extLst>
              <a:ext uri="{FF2B5EF4-FFF2-40B4-BE49-F238E27FC236}">
                <a16:creationId xmlns:a16="http://schemas.microsoft.com/office/drawing/2014/main" id="{BC5470D3-7EC8-43F7-999B-48B066D01135}"/>
              </a:ext>
            </a:extLst>
          </p:cNvPr>
          <p:cNvSpPr txBox="1"/>
          <p:nvPr/>
        </p:nvSpPr>
        <p:spPr bwMode="gray">
          <a:xfrm>
            <a:off x="409575" y="6516000"/>
            <a:ext cx="11376000" cy="144000"/>
          </a:xfrm>
          <a:prstGeom prst="rect">
            <a:avLst/>
          </a:prstGeom>
          <a:noFill/>
        </p:spPr>
        <p:txBody>
          <a:bodyPr wrap="square" lIns="0" tIns="0" rIns="0" bIns="0" rtlCol="0" anchor="t">
            <a:noAutofit/>
          </a:bodyPr>
          <a:lstStyle/>
          <a:p>
            <a:pPr marL="0" marR="0" lvl="0" indent="0" algn="l" defTabSz="914400" eaLnBrk="1" fontAlgn="auto" latinLnBrk="0" hangingPunct="1">
              <a:lnSpc>
                <a:spcPct val="100000"/>
              </a:lnSpc>
              <a:spcBef>
                <a:spcPts val="600"/>
              </a:spcBef>
              <a:spcAft>
                <a:spcPts val="0"/>
              </a:spcAft>
              <a:buClr>
                <a:srgbClr val="003F74"/>
              </a:buClr>
              <a:buSzTx/>
              <a:buFontTx/>
              <a:buNone/>
              <a:tabLst/>
              <a:defRPr/>
            </a:pPr>
            <a:r>
              <a:rPr kumimoji="0" lang="de-DE" sz="1000" b="0" i="0" u="none" strike="noStrike" kern="0" cap="none" spc="0" normalizeH="0" baseline="0" noProof="0">
                <a:ln>
                  <a:noFill/>
                </a:ln>
                <a:solidFill>
                  <a:schemeClr val="tx2"/>
                </a:solidFill>
                <a:effectLst/>
                <a:uLnTx/>
                <a:uFillTx/>
              </a:rPr>
              <a:t>Union Investment  </a:t>
            </a:r>
            <a:r>
              <a:rPr kumimoji="0" lang="de-DE" sz="1000" b="0" i="0" u="none" strike="noStrike" kern="0" cap="none" spc="0" normalizeH="0" baseline="0" noProof="0">
                <a:ln>
                  <a:noFill/>
                </a:ln>
                <a:solidFill>
                  <a:srgbClr val="888888"/>
                </a:solidFill>
                <a:effectLst/>
                <a:uLnTx/>
                <a:uFillTx/>
              </a:rPr>
              <a:t>|  In Kooperation mit VOLKSBANK					Beachten Sie den rechtlichen Hinweis am Ende der Präsentation</a:t>
            </a:r>
          </a:p>
        </p:txBody>
      </p:sp>
    </p:spTree>
    <p:extLst>
      <p:ext uri="{BB962C8B-B14F-4D97-AF65-F5344CB8AC3E}">
        <p14:creationId xmlns:p14="http://schemas.microsoft.com/office/powerpoint/2010/main" val="940974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57">
          <p15:clr>
            <a:srgbClr val="F26B43"/>
          </p15:clr>
        </p15:guide>
        <p15:guide id="3" orient="horz" pos="255">
          <p15:clr>
            <a:srgbClr val="F26B43"/>
          </p15:clr>
        </p15:guide>
        <p15:guide id="6" orient="horz" pos="890">
          <p15:clr>
            <a:srgbClr val="F26B43"/>
          </p15:clr>
        </p15:guide>
        <p15:guide id="9" pos="3977">
          <p15:clr>
            <a:srgbClr val="F26B43"/>
          </p15:clr>
        </p15:guide>
        <p15:guide id="10" pos="3705">
          <p15:clr>
            <a:srgbClr val="F26B43"/>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Zweispaltig mit Markenform rechts 01">
    <p:spTree>
      <p:nvGrpSpPr>
        <p:cNvPr id="1" name=""/>
        <p:cNvGrpSpPr/>
        <p:nvPr/>
      </p:nvGrpSpPr>
      <p:grpSpPr>
        <a:xfrm>
          <a:off x="0" y="0"/>
          <a:ext cx="0" cy="0"/>
          <a:chOff x="0" y="0"/>
          <a:chExt cx="0" cy="0"/>
        </a:xfrm>
      </p:grpSpPr>
      <p:sp>
        <p:nvSpPr>
          <p:cNvPr id="14" name="Textplatzhalter 13">
            <a:extLst>
              <a:ext uri="{FF2B5EF4-FFF2-40B4-BE49-F238E27FC236}">
                <a16:creationId xmlns:a16="http://schemas.microsoft.com/office/drawing/2014/main" id="{CC732F23-55C0-48E6-AC0A-1EA089022695}"/>
              </a:ext>
            </a:extLst>
          </p:cNvPr>
          <p:cNvSpPr>
            <a:spLocks noGrp="1" noChangeAspect="1"/>
          </p:cNvSpPr>
          <p:nvPr>
            <p:ph type="body" sz="quarter" idx="28" hasCustomPrompt="1"/>
          </p:nvPr>
        </p:nvSpPr>
        <p:spPr bwMode="gray">
          <a:xfrm>
            <a:off x="6103895" y="-1"/>
            <a:ext cx="6091280" cy="6310680"/>
          </a:xfrm>
          <a:custGeom>
            <a:avLst/>
            <a:gdLst>
              <a:gd name="connsiteX0" fmla="*/ 0 w 6091280"/>
              <a:gd name="connsiteY0" fmla="*/ 0 h 6310680"/>
              <a:gd name="connsiteX1" fmla="*/ 6091280 w 6091280"/>
              <a:gd name="connsiteY1" fmla="*/ 0 h 6310680"/>
              <a:gd name="connsiteX2" fmla="*/ 6091280 w 6091280"/>
              <a:gd name="connsiteY2" fmla="*/ 5279428 h 6310680"/>
              <a:gd name="connsiteX3" fmla="*/ 966865 w 6091280"/>
              <a:gd name="connsiteY3" fmla="*/ 6289914 h 6310680"/>
              <a:gd name="connsiteX4" fmla="*/ 0 w 6091280"/>
              <a:gd name="connsiteY4" fmla="*/ 5567343 h 6310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1280" h="6310680">
                <a:moveTo>
                  <a:pt x="0" y="0"/>
                </a:moveTo>
                <a:lnTo>
                  <a:pt x="6091280" y="0"/>
                </a:lnTo>
                <a:lnTo>
                  <a:pt x="6091280" y="5279428"/>
                </a:lnTo>
                <a:lnTo>
                  <a:pt x="966865" y="6289914"/>
                </a:lnTo>
                <a:cubicBezTo>
                  <a:pt x="0" y="6456384"/>
                  <a:pt x="0" y="5567343"/>
                  <a:pt x="0" y="5567343"/>
                </a:cubicBezTo>
                <a:close/>
              </a:path>
            </a:pathLst>
          </a:custGeom>
          <a:solidFill>
            <a:schemeClr val="tx2"/>
          </a:solidFill>
        </p:spPr>
        <p:txBody>
          <a:bodyPr wrap="square" lIns="568800" tIns="1411200" rIns="39600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6" name="Inhaltsplatzhalter 2"/>
          <p:cNvSpPr>
            <a:spLocks noGrp="1"/>
          </p:cNvSpPr>
          <p:nvPr>
            <p:ph sz="quarter" idx="24" hasCustomPrompt="1"/>
          </p:nvPr>
        </p:nvSpPr>
        <p:spPr bwMode="gray">
          <a:xfrm>
            <a:off x="409575" y="1412776"/>
            <a:ext cx="5472113" cy="4896445"/>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5" name="Textplatzhalter 3"/>
          <p:cNvSpPr>
            <a:spLocks noGrp="1"/>
          </p:cNvSpPr>
          <p:nvPr>
            <p:ph type="body" sz="quarter" idx="23" hasCustomPrompt="1"/>
          </p:nvPr>
        </p:nvSpPr>
        <p:spPr bwMode="gray">
          <a:xfrm>
            <a:off x="409575" y="6001543"/>
            <a:ext cx="5472112"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a:t>Quelle:</a:t>
            </a:r>
          </a:p>
        </p:txBody>
      </p:sp>
      <p:sp>
        <p:nvSpPr>
          <p:cNvPr id="4" name="Titel 3">
            <a:extLst>
              <a:ext uri="{FF2B5EF4-FFF2-40B4-BE49-F238E27FC236}">
                <a16:creationId xmlns:a16="http://schemas.microsoft.com/office/drawing/2014/main" id="{EF550B05-BBDA-4484-9C99-1A5177950AB4}"/>
              </a:ext>
            </a:extLst>
          </p:cNvPr>
          <p:cNvSpPr>
            <a:spLocks noGrp="1"/>
          </p:cNvSpPr>
          <p:nvPr>
            <p:ph type="title" hasCustomPrompt="1"/>
          </p:nvPr>
        </p:nvSpPr>
        <p:spPr bwMode="gray">
          <a:xfrm>
            <a:off x="409575" y="404664"/>
            <a:ext cx="5472113" cy="720000"/>
          </a:xfrm>
        </p:spPr>
        <p:txBody>
          <a:bodyPr/>
          <a:lstStyle>
            <a:lvl1pPr>
              <a:defRPr/>
            </a:lvl1pPr>
          </a:lstStyle>
          <a:p>
            <a:r>
              <a:rPr lang="de-DE"/>
              <a:t>Titel durch Klicken bearbeiten</a:t>
            </a:r>
          </a:p>
        </p:txBody>
      </p:sp>
      <p:sp>
        <p:nvSpPr>
          <p:cNvPr id="7" name="Textfeld 6">
            <a:extLst>
              <a:ext uri="{FF2B5EF4-FFF2-40B4-BE49-F238E27FC236}">
                <a16:creationId xmlns:a16="http://schemas.microsoft.com/office/drawing/2014/main" id="{641FCF6D-D1DF-43CC-8816-B1F17516261D}"/>
              </a:ext>
            </a:extLst>
          </p:cNvPr>
          <p:cNvSpPr txBox="1"/>
          <p:nvPr/>
        </p:nvSpPr>
        <p:spPr bwMode="gray">
          <a:xfrm>
            <a:off x="409575" y="6516000"/>
            <a:ext cx="11376000" cy="144000"/>
          </a:xfrm>
          <a:prstGeom prst="rect">
            <a:avLst/>
          </a:prstGeom>
          <a:noFill/>
        </p:spPr>
        <p:txBody>
          <a:bodyPr wrap="square" lIns="0" tIns="0" rIns="0" bIns="0" rtlCol="0" anchor="t">
            <a:noAutofit/>
          </a:bodyPr>
          <a:lstStyle/>
          <a:p>
            <a:pPr marL="0" marR="0" lvl="0" indent="0" algn="l" defTabSz="914400" eaLnBrk="1" fontAlgn="auto" latinLnBrk="0" hangingPunct="1">
              <a:lnSpc>
                <a:spcPct val="100000"/>
              </a:lnSpc>
              <a:spcBef>
                <a:spcPts val="600"/>
              </a:spcBef>
              <a:spcAft>
                <a:spcPts val="0"/>
              </a:spcAft>
              <a:buClr>
                <a:srgbClr val="003F74"/>
              </a:buClr>
              <a:buSzTx/>
              <a:buFontTx/>
              <a:buNone/>
              <a:tabLst/>
              <a:defRPr/>
            </a:pPr>
            <a:r>
              <a:rPr kumimoji="0" lang="de-DE" sz="1000" b="0" i="0" u="none" strike="noStrike" kern="0" cap="none" spc="0" normalizeH="0" baseline="0" noProof="0" dirty="0">
                <a:ln>
                  <a:noFill/>
                </a:ln>
                <a:solidFill>
                  <a:schemeClr val="tx2"/>
                </a:solidFill>
                <a:effectLst/>
                <a:uLnTx/>
                <a:uFillTx/>
              </a:rPr>
              <a:t>Union Investment  </a:t>
            </a:r>
            <a:r>
              <a:rPr kumimoji="0" lang="de-DE" sz="1000" b="0" i="0" u="none" strike="noStrike" kern="0" cap="none" spc="0" normalizeH="0" baseline="0" noProof="0" dirty="0">
                <a:ln>
                  <a:noFill/>
                </a:ln>
                <a:solidFill>
                  <a:srgbClr val="888888"/>
                </a:solidFill>
                <a:effectLst/>
                <a:uLnTx/>
                <a:uFillTx/>
              </a:rPr>
              <a:t>|  In Kooperation mit VOLKSBANK					Beachten Sie den rechtlichen Hinweis am Ende der Präsentation</a:t>
            </a:r>
          </a:p>
        </p:txBody>
      </p:sp>
    </p:spTree>
    <p:extLst>
      <p:ext uri="{BB962C8B-B14F-4D97-AF65-F5344CB8AC3E}">
        <p14:creationId xmlns:p14="http://schemas.microsoft.com/office/powerpoint/2010/main" val="3323479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57">
          <p15:clr>
            <a:srgbClr val="F26B43"/>
          </p15:clr>
        </p15:guide>
        <p15:guide id="3" orient="horz" pos="255">
          <p15:clr>
            <a:srgbClr val="F26B43"/>
          </p15:clr>
        </p15:guide>
        <p15:guide id="6" orient="horz" pos="890">
          <p15:clr>
            <a:srgbClr val="F26B43"/>
          </p15:clr>
        </p15:guide>
        <p15:guide id="9" pos="3977">
          <p15:clr>
            <a:srgbClr val="F26B43"/>
          </p15:clr>
        </p15:guide>
        <p15:guide id="10" pos="3705">
          <p15:clr>
            <a:srgbClr val="F26B43"/>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Zweispaltig mit Markenform rechts 02">
    <p:spTree>
      <p:nvGrpSpPr>
        <p:cNvPr id="1" name=""/>
        <p:cNvGrpSpPr/>
        <p:nvPr/>
      </p:nvGrpSpPr>
      <p:grpSpPr>
        <a:xfrm>
          <a:off x="0" y="0"/>
          <a:ext cx="0" cy="0"/>
          <a:chOff x="0" y="0"/>
          <a:chExt cx="0" cy="0"/>
        </a:xfrm>
      </p:grpSpPr>
      <p:sp>
        <p:nvSpPr>
          <p:cNvPr id="16" name="Inhaltsplatzhalter 2"/>
          <p:cNvSpPr>
            <a:spLocks noGrp="1"/>
          </p:cNvSpPr>
          <p:nvPr>
            <p:ph sz="quarter" idx="24" hasCustomPrompt="1"/>
          </p:nvPr>
        </p:nvSpPr>
        <p:spPr bwMode="gray">
          <a:xfrm>
            <a:off x="409575" y="1412776"/>
            <a:ext cx="5472113" cy="4896445"/>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5" name="Textplatzhalter 3"/>
          <p:cNvSpPr>
            <a:spLocks noGrp="1"/>
          </p:cNvSpPr>
          <p:nvPr>
            <p:ph type="body" sz="quarter" idx="23" hasCustomPrompt="1"/>
          </p:nvPr>
        </p:nvSpPr>
        <p:spPr bwMode="gray">
          <a:xfrm>
            <a:off x="409575" y="6001543"/>
            <a:ext cx="5472112"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a:t>Quelle:</a:t>
            </a:r>
          </a:p>
        </p:txBody>
      </p:sp>
      <p:sp>
        <p:nvSpPr>
          <p:cNvPr id="19" name="Textplatzhalter 18">
            <a:extLst>
              <a:ext uri="{FF2B5EF4-FFF2-40B4-BE49-F238E27FC236}">
                <a16:creationId xmlns:a16="http://schemas.microsoft.com/office/drawing/2014/main" id="{626B7158-D84B-4F29-8031-12791937C4A2}"/>
              </a:ext>
            </a:extLst>
          </p:cNvPr>
          <p:cNvSpPr>
            <a:spLocks noGrp="1" noChangeAspect="1"/>
          </p:cNvSpPr>
          <p:nvPr>
            <p:ph type="body" sz="quarter" idx="30" hasCustomPrompt="1"/>
          </p:nvPr>
        </p:nvSpPr>
        <p:spPr bwMode="gray">
          <a:xfrm>
            <a:off x="6313611" y="1412776"/>
            <a:ext cx="5471989" cy="4896000"/>
          </a:xfrm>
          <a:custGeom>
            <a:avLst/>
            <a:gdLst>
              <a:gd name="connsiteX0" fmla="*/ 4676664 w 5473336"/>
              <a:gd name="connsiteY0" fmla="*/ 1448 h 4883744"/>
              <a:gd name="connsiteX1" fmla="*/ 5473336 w 5473336"/>
              <a:gd name="connsiteY1" fmla="*/ 743338 h 4883744"/>
              <a:gd name="connsiteX2" fmla="*/ 5473336 w 5473336"/>
              <a:gd name="connsiteY2" fmla="*/ 1633637 h 4883744"/>
              <a:gd name="connsiteX3" fmla="*/ 5473336 w 5473336"/>
              <a:gd name="connsiteY3" fmla="*/ 1674371 h 4883744"/>
              <a:gd name="connsiteX4" fmla="*/ 5473336 w 5473336"/>
              <a:gd name="connsiteY4" fmla="*/ 1677497 h 4883744"/>
              <a:gd name="connsiteX5" fmla="*/ 5473336 w 5473336"/>
              <a:gd name="connsiteY5" fmla="*/ 1812665 h 4883744"/>
              <a:gd name="connsiteX6" fmla="*/ 5473336 w 5473336"/>
              <a:gd name="connsiteY6" fmla="*/ 1856161 h 4883744"/>
              <a:gd name="connsiteX7" fmla="*/ 5473336 w 5473336"/>
              <a:gd name="connsiteY7" fmla="*/ 1958257 h 4883744"/>
              <a:gd name="connsiteX8" fmla="*/ 5473336 w 5473336"/>
              <a:gd name="connsiteY8" fmla="*/ 2093425 h 4883744"/>
              <a:gd name="connsiteX9" fmla="*/ 5473336 w 5473336"/>
              <a:gd name="connsiteY9" fmla="*/ 2096551 h 4883744"/>
              <a:gd name="connsiteX10" fmla="*/ 5473336 w 5473336"/>
              <a:gd name="connsiteY10" fmla="*/ 2377311 h 4883744"/>
              <a:gd name="connsiteX11" fmla="*/ 5473336 w 5473336"/>
              <a:gd name="connsiteY11" fmla="*/ 2506434 h 4883744"/>
              <a:gd name="connsiteX12" fmla="*/ 5473336 w 5473336"/>
              <a:gd name="connsiteY12" fmla="*/ 2787194 h 4883744"/>
              <a:gd name="connsiteX13" fmla="*/ 5473336 w 5473336"/>
              <a:gd name="connsiteY13" fmla="*/ 2790320 h 4883744"/>
              <a:gd name="connsiteX14" fmla="*/ 5473336 w 5473336"/>
              <a:gd name="connsiteY14" fmla="*/ 2861522 h 4883744"/>
              <a:gd name="connsiteX15" fmla="*/ 5473336 w 5473336"/>
              <a:gd name="connsiteY15" fmla="*/ 2925488 h 4883744"/>
              <a:gd name="connsiteX16" fmla="*/ 5473336 w 5473336"/>
              <a:gd name="connsiteY16" fmla="*/ 3071080 h 4883744"/>
              <a:gd name="connsiteX17" fmla="*/ 5473336 w 5473336"/>
              <a:gd name="connsiteY17" fmla="*/ 3078035 h 4883744"/>
              <a:gd name="connsiteX18" fmla="*/ 5473336 w 5473336"/>
              <a:gd name="connsiteY18" fmla="*/ 3206248 h 4883744"/>
              <a:gd name="connsiteX19" fmla="*/ 5473336 w 5473336"/>
              <a:gd name="connsiteY19" fmla="*/ 3974345 h 4883744"/>
              <a:gd name="connsiteX20" fmla="*/ 966865 w 5473336"/>
              <a:gd name="connsiteY20" fmla="*/ 4862978 h 4883744"/>
              <a:gd name="connsiteX21" fmla="*/ 0 w 5473336"/>
              <a:gd name="connsiteY21" fmla="*/ 4140407 h 4883744"/>
              <a:gd name="connsiteX22" fmla="*/ 0 w 5473336"/>
              <a:gd name="connsiteY22" fmla="*/ 3206248 h 4883744"/>
              <a:gd name="connsiteX23" fmla="*/ 0 w 5473336"/>
              <a:gd name="connsiteY23" fmla="*/ 3078035 h 4883744"/>
              <a:gd name="connsiteX24" fmla="*/ 0 w 5473336"/>
              <a:gd name="connsiteY24" fmla="*/ 3071080 h 4883744"/>
              <a:gd name="connsiteX25" fmla="*/ 0 w 5473336"/>
              <a:gd name="connsiteY25" fmla="*/ 3027584 h 4883744"/>
              <a:gd name="connsiteX26" fmla="*/ 0 w 5473336"/>
              <a:gd name="connsiteY26" fmla="*/ 2925488 h 4883744"/>
              <a:gd name="connsiteX27" fmla="*/ 0 w 5473336"/>
              <a:gd name="connsiteY27" fmla="*/ 2790320 h 4883744"/>
              <a:gd name="connsiteX28" fmla="*/ 0 w 5473336"/>
              <a:gd name="connsiteY28" fmla="*/ 2787194 h 4883744"/>
              <a:gd name="connsiteX29" fmla="*/ 0 w 5473336"/>
              <a:gd name="connsiteY29" fmla="*/ 2506434 h 4883744"/>
              <a:gd name="connsiteX30" fmla="*/ 0 w 5473336"/>
              <a:gd name="connsiteY30" fmla="*/ 2377311 h 4883744"/>
              <a:gd name="connsiteX31" fmla="*/ 0 w 5473336"/>
              <a:gd name="connsiteY31" fmla="*/ 2096551 h 4883744"/>
              <a:gd name="connsiteX32" fmla="*/ 0 w 5473336"/>
              <a:gd name="connsiteY32" fmla="*/ 2093425 h 4883744"/>
              <a:gd name="connsiteX33" fmla="*/ 0 w 5473336"/>
              <a:gd name="connsiteY33" fmla="*/ 2022223 h 4883744"/>
              <a:gd name="connsiteX34" fmla="*/ 0 w 5473336"/>
              <a:gd name="connsiteY34" fmla="*/ 1958257 h 4883744"/>
              <a:gd name="connsiteX35" fmla="*/ 0 w 5473336"/>
              <a:gd name="connsiteY35" fmla="*/ 1812665 h 4883744"/>
              <a:gd name="connsiteX36" fmla="*/ 0 w 5473336"/>
              <a:gd name="connsiteY36" fmla="*/ 1738337 h 4883744"/>
              <a:gd name="connsiteX37" fmla="*/ 0 w 5473336"/>
              <a:gd name="connsiteY37" fmla="*/ 1677497 h 4883744"/>
              <a:gd name="connsiteX38" fmla="*/ 0 w 5473336"/>
              <a:gd name="connsiteY38" fmla="*/ 1674371 h 4883744"/>
              <a:gd name="connsiteX39" fmla="*/ 0 w 5473336"/>
              <a:gd name="connsiteY39" fmla="*/ 1633637 h 4883744"/>
              <a:gd name="connsiteX40" fmla="*/ 0 w 5473336"/>
              <a:gd name="connsiteY40" fmla="*/ 909400 h 4883744"/>
              <a:gd name="connsiteX41" fmla="*/ 4506471 w 5473336"/>
              <a:gd name="connsiteY41" fmla="*/ 20767 h 4883744"/>
              <a:gd name="connsiteX42" fmla="*/ 4676664 w 5473336"/>
              <a:gd name="connsiteY42" fmla="*/ 1448 h 4883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473336" h="4883744">
                <a:moveTo>
                  <a:pt x="4676664" y="1448"/>
                </a:moveTo>
                <a:cubicBezTo>
                  <a:pt x="5473336" y="-38046"/>
                  <a:pt x="5473336" y="743338"/>
                  <a:pt x="5473336" y="743338"/>
                </a:cubicBezTo>
                <a:lnTo>
                  <a:pt x="5473336" y="1633637"/>
                </a:lnTo>
                <a:lnTo>
                  <a:pt x="5473336" y="1674371"/>
                </a:lnTo>
                <a:lnTo>
                  <a:pt x="5473336" y="1677497"/>
                </a:lnTo>
                <a:lnTo>
                  <a:pt x="5473336" y="1812665"/>
                </a:lnTo>
                <a:lnTo>
                  <a:pt x="5473336" y="1856161"/>
                </a:lnTo>
                <a:lnTo>
                  <a:pt x="5473336" y="1958257"/>
                </a:lnTo>
                <a:lnTo>
                  <a:pt x="5473336" y="2093425"/>
                </a:lnTo>
                <a:lnTo>
                  <a:pt x="5473336" y="2096551"/>
                </a:lnTo>
                <a:lnTo>
                  <a:pt x="5473336" y="2377311"/>
                </a:lnTo>
                <a:lnTo>
                  <a:pt x="5473336" y="2506434"/>
                </a:lnTo>
                <a:lnTo>
                  <a:pt x="5473336" y="2787194"/>
                </a:lnTo>
                <a:lnTo>
                  <a:pt x="5473336" y="2790320"/>
                </a:lnTo>
                <a:lnTo>
                  <a:pt x="5473336" y="2861522"/>
                </a:lnTo>
                <a:lnTo>
                  <a:pt x="5473336" y="2925488"/>
                </a:lnTo>
                <a:lnTo>
                  <a:pt x="5473336" y="3071080"/>
                </a:lnTo>
                <a:lnTo>
                  <a:pt x="5473336" y="3078035"/>
                </a:lnTo>
                <a:lnTo>
                  <a:pt x="5473336" y="3206248"/>
                </a:lnTo>
                <a:lnTo>
                  <a:pt x="5473336" y="3974345"/>
                </a:lnTo>
                <a:lnTo>
                  <a:pt x="966865" y="4862978"/>
                </a:lnTo>
                <a:cubicBezTo>
                  <a:pt x="0" y="5029448"/>
                  <a:pt x="0" y="4140407"/>
                  <a:pt x="0" y="4140407"/>
                </a:cubicBezTo>
                <a:lnTo>
                  <a:pt x="0" y="3206248"/>
                </a:lnTo>
                <a:lnTo>
                  <a:pt x="0" y="3078035"/>
                </a:lnTo>
                <a:lnTo>
                  <a:pt x="0" y="3071080"/>
                </a:lnTo>
                <a:lnTo>
                  <a:pt x="0" y="3027584"/>
                </a:lnTo>
                <a:lnTo>
                  <a:pt x="0" y="2925488"/>
                </a:lnTo>
                <a:lnTo>
                  <a:pt x="0" y="2790320"/>
                </a:lnTo>
                <a:lnTo>
                  <a:pt x="0" y="2787194"/>
                </a:lnTo>
                <a:lnTo>
                  <a:pt x="0" y="2506434"/>
                </a:lnTo>
                <a:lnTo>
                  <a:pt x="0" y="2377311"/>
                </a:lnTo>
                <a:lnTo>
                  <a:pt x="0" y="2096551"/>
                </a:lnTo>
                <a:lnTo>
                  <a:pt x="0" y="2093425"/>
                </a:lnTo>
                <a:lnTo>
                  <a:pt x="0" y="2022223"/>
                </a:lnTo>
                <a:lnTo>
                  <a:pt x="0" y="1958257"/>
                </a:lnTo>
                <a:lnTo>
                  <a:pt x="0" y="1812665"/>
                </a:lnTo>
                <a:lnTo>
                  <a:pt x="0" y="1738337"/>
                </a:lnTo>
                <a:lnTo>
                  <a:pt x="0" y="1677497"/>
                </a:lnTo>
                <a:lnTo>
                  <a:pt x="0" y="1674371"/>
                </a:lnTo>
                <a:lnTo>
                  <a:pt x="0" y="1633637"/>
                </a:lnTo>
                <a:lnTo>
                  <a:pt x="0" y="909400"/>
                </a:lnTo>
                <a:lnTo>
                  <a:pt x="4506471" y="20767"/>
                </a:lnTo>
                <a:cubicBezTo>
                  <a:pt x="4566900" y="10363"/>
                  <a:pt x="4623552" y="4081"/>
                  <a:pt x="4676664" y="1448"/>
                </a:cubicBezTo>
                <a:close/>
              </a:path>
            </a:pathLst>
          </a:custGeom>
          <a:solidFill>
            <a:schemeClr val="tx2"/>
          </a:solidFill>
        </p:spPr>
        <p:txBody>
          <a:bodyPr wrap="square" lIns="324000" tIns="1224000" rIns="32400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4" name="Titel 3">
            <a:extLst>
              <a:ext uri="{FF2B5EF4-FFF2-40B4-BE49-F238E27FC236}">
                <a16:creationId xmlns:a16="http://schemas.microsoft.com/office/drawing/2014/main" id="{FE974D80-B87D-44B1-875D-F9BA8E8FAC8D}"/>
              </a:ext>
            </a:extLst>
          </p:cNvPr>
          <p:cNvSpPr>
            <a:spLocks noGrp="1"/>
          </p:cNvSpPr>
          <p:nvPr>
            <p:ph type="title" hasCustomPrompt="1"/>
          </p:nvPr>
        </p:nvSpPr>
        <p:spPr bwMode="gray"/>
        <p:txBody>
          <a:bodyPr/>
          <a:lstStyle>
            <a:lvl1pPr>
              <a:defRPr/>
            </a:lvl1pPr>
          </a:lstStyle>
          <a:p>
            <a:r>
              <a:rPr lang="de-DE"/>
              <a:t>Titel durch Klicken bearbeiten</a:t>
            </a:r>
          </a:p>
        </p:txBody>
      </p:sp>
      <p:sp>
        <p:nvSpPr>
          <p:cNvPr id="2" name="Datumsplatzhalter 1">
            <a:extLst>
              <a:ext uri="{FF2B5EF4-FFF2-40B4-BE49-F238E27FC236}">
                <a16:creationId xmlns:a16="http://schemas.microsoft.com/office/drawing/2014/main" id="{007DB49D-3556-4083-AAC4-9B636E769AD5}"/>
              </a:ext>
            </a:extLst>
          </p:cNvPr>
          <p:cNvSpPr>
            <a:spLocks noGrp="1"/>
          </p:cNvSpPr>
          <p:nvPr>
            <p:ph type="dt" sz="half" idx="31"/>
          </p:nvPr>
        </p:nvSpPr>
        <p:spPr bwMode="gray">
          <a:xfrm>
            <a:off x="10709631" y="151200"/>
            <a:ext cx="748800" cy="180000"/>
          </a:xfrm>
          <a:prstGeom prst="rect">
            <a:avLst/>
          </a:prstGeom>
        </p:spPr>
        <p:txBody>
          <a:bodyPr/>
          <a:lstStyle/>
          <a:p>
            <a:r>
              <a:rPr lang="de-DE"/>
              <a:t>XX.XX.2021</a:t>
            </a:r>
          </a:p>
        </p:txBody>
      </p:sp>
      <p:sp>
        <p:nvSpPr>
          <p:cNvPr id="3" name="Fußzeilenplatzhalter 2">
            <a:extLst>
              <a:ext uri="{FF2B5EF4-FFF2-40B4-BE49-F238E27FC236}">
                <a16:creationId xmlns:a16="http://schemas.microsoft.com/office/drawing/2014/main" id="{E04A1ABA-44D1-40D6-BBA8-3E08CE643430}"/>
              </a:ext>
            </a:extLst>
          </p:cNvPr>
          <p:cNvSpPr>
            <a:spLocks noGrp="1"/>
          </p:cNvSpPr>
          <p:nvPr>
            <p:ph type="ftr" sz="quarter" idx="32"/>
          </p:nvPr>
        </p:nvSpPr>
        <p:spPr bwMode="gray">
          <a:xfrm>
            <a:off x="6313488" y="151200"/>
            <a:ext cx="4393761" cy="180000"/>
          </a:xfrm>
          <a:prstGeom prst="rect">
            <a:avLst/>
          </a:prstGeom>
        </p:spPr>
        <p:txBody>
          <a:bodyPr/>
          <a:lstStyle/>
          <a:p>
            <a:r>
              <a:rPr lang="de-DE"/>
              <a:t>Kürzel  |  CX  |</a:t>
            </a:r>
          </a:p>
        </p:txBody>
      </p:sp>
      <p:sp>
        <p:nvSpPr>
          <p:cNvPr id="7" name="Foliennummernplatzhalter 6">
            <a:extLst>
              <a:ext uri="{FF2B5EF4-FFF2-40B4-BE49-F238E27FC236}">
                <a16:creationId xmlns:a16="http://schemas.microsoft.com/office/drawing/2014/main" id="{3EA5F89F-26B8-4C5D-A30C-DE9350F837DD}"/>
              </a:ext>
            </a:extLst>
          </p:cNvPr>
          <p:cNvSpPr>
            <a:spLocks noGrp="1"/>
          </p:cNvSpPr>
          <p:nvPr>
            <p:ph type="sldNum" sz="quarter" idx="33"/>
          </p:nvPr>
        </p:nvSpPr>
        <p:spPr bwMode="gray">
          <a:xfrm>
            <a:off x="11504750" y="151200"/>
            <a:ext cx="280800" cy="180000"/>
          </a:xfrm>
          <a:prstGeom prst="rect">
            <a:avLst/>
          </a:prstGeom>
        </p:spPr>
        <p:txBody>
          <a:bodyPr/>
          <a:lstStyle/>
          <a:p>
            <a:fld id="{9C89B081-1F44-4440-BC7B-989C90F97B77}" type="slidenum">
              <a:rPr lang="de-DE"/>
              <a:pPr/>
              <a:t>‹Nr.›</a:t>
            </a:fld>
            <a:endParaRPr lang="de-DE"/>
          </a:p>
        </p:txBody>
      </p:sp>
    </p:spTree>
    <p:extLst>
      <p:ext uri="{BB962C8B-B14F-4D97-AF65-F5344CB8AC3E}">
        <p14:creationId xmlns:p14="http://schemas.microsoft.com/office/powerpoint/2010/main" val="3097732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57">
          <p15:clr>
            <a:srgbClr val="F26B43"/>
          </p15:clr>
        </p15:guide>
        <p15:guide id="3" orient="horz" pos="255">
          <p15:clr>
            <a:srgbClr val="F26B43"/>
          </p15:clr>
        </p15:guide>
        <p15:guide id="6" orient="horz" pos="890">
          <p15:clr>
            <a:srgbClr val="F26B43"/>
          </p15:clr>
        </p15:guide>
        <p15:guide id="9" pos="3977">
          <p15:clr>
            <a:srgbClr val="F26B43"/>
          </p15:clr>
        </p15:guide>
        <p15:guide id="10" pos="3705">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Zweispaltig mit Markenform rechts 03">
    <p:spTree>
      <p:nvGrpSpPr>
        <p:cNvPr id="1" name=""/>
        <p:cNvGrpSpPr/>
        <p:nvPr/>
      </p:nvGrpSpPr>
      <p:grpSpPr>
        <a:xfrm>
          <a:off x="0" y="0"/>
          <a:ext cx="0" cy="0"/>
          <a:chOff x="0" y="0"/>
          <a:chExt cx="0" cy="0"/>
        </a:xfrm>
      </p:grpSpPr>
      <p:sp>
        <p:nvSpPr>
          <p:cNvPr id="16" name="Inhaltsplatzhalter 2"/>
          <p:cNvSpPr>
            <a:spLocks noGrp="1"/>
          </p:cNvSpPr>
          <p:nvPr>
            <p:ph sz="quarter" idx="24" hasCustomPrompt="1"/>
          </p:nvPr>
        </p:nvSpPr>
        <p:spPr bwMode="gray">
          <a:xfrm>
            <a:off x="409575" y="1412776"/>
            <a:ext cx="5472112" cy="4896445"/>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5" name="Textplatzhalter 3"/>
          <p:cNvSpPr>
            <a:spLocks noGrp="1"/>
          </p:cNvSpPr>
          <p:nvPr>
            <p:ph type="body" sz="quarter" idx="23" hasCustomPrompt="1"/>
          </p:nvPr>
        </p:nvSpPr>
        <p:spPr bwMode="gray">
          <a:xfrm>
            <a:off x="409575" y="6001543"/>
            <a:ext cx="5472224"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a:t>Quelle:</a:t>
            </a:r>
          </a:p>
        </p:txBody>
      </p:sp>
      <p:sp>
        <p:nvSpPr>
          <p:cNvPr id="14" name="Textplatzhalter 13">
            <a:extLst>
              <a:ext uri="{FF2B5EF4-FFF2-40B4-BE49-F238E27FC236}">
                <a16:creationId xmlns:a16="http://schemas.microsoft.com/office/drawing/2014/main" id="{79BB5B79-6419-4316-A447-A1CBD97E853A}"/>
              </a:ext>
            </a:extLst>
          </p:cNvPr>
          <p:cNvSpPr>
            <a:spLocks noGrp="1" noChangeAspect="1"/>
          </p:cNvSpPr>
          <p:nvPr>
            <p:ph type="body" sz="quarter" idx="30" hasCustomPrompt="1"/>
          </p:nvPr>
        </p:nvSpPr>
        <p:spPr bwMode="gray">
          <a:xfrm>
            <a:off x="6313611" y="1412776"/>
            <a:ext cx="5472112" cy="4896000"/>
          </a:xfrm>
          <a:custGeom>
            <a:avLst/>
            <a:gdLst>
              <a:gd name="connsiteX0" fmla="*/ 4676664 w 5473336"/>
              <a:gd name="connsiteY0" fmla="*/ 1448 h 4883744"/>
              <a:gd name="connsiteX1" fmla="*/ 5473336 w 5473336"/>
              <a:gd name="connsiteY1" fmla="*/ 743338 h 4883744"/>
              <a:gd name="connsiteX2" fmla="*/ 5473336 w 5473336"/>
              <a:gd name="connsiteY2" fmla="*/ 1633637 h 4883744"/>
              <a:gd name="connsiteX3" fmla="*/ 5473336 w 5473336"/>
              <a:gd name="connsiteY3" fmla="*/ 1674371 h 4883744"/>
              <a:gd name="connsiteX4" fmla="*/ 5473336 w 5473336"/>
              <a:gd name="connsiteY4" fmla="*/ 1677497 h 4883744"/>
              <a:gd name="connsiteX5" fmla="*/ 5473336 w 5473336"/>
              <a:gd name="connsiteY5" fmla="*/ 1812665 h 4883744"/>
              <a:gd name="connsiteX6" fmla="*/ 5473336 w 5473336"/>
              <a:gd name="connsiteY6" fmla="*/ 1856161 h 4883744"/>
              <a:gd name="connsiteX7" fmla="*/ 5473336 w 5473336"/>
              <a:gd name="connsiteY7" fmla="*/ 1958257 h 4883744"/>
              <a:gd name="connsiteX8" fmla="*/ 5473336 w 5473336"/>
              <a:gd name="connsiteY8" fmla="*/ 2093425 h 4883744"/>
              <a:gd name="connsiteX9" fmla="*/ 5473336 w 5473336"/>
              <a:gd name="connsiteY9" fmla="*/ 2096551 h 4883744"/>
              <a:gd name="connsiteX10" fmla="*/ 5473336 w 5473336"/>
              <a:gd name="connsiteY10" fmla="*/ 2377311 h 4883744"/>
              <a:gd name="connsiteX11" fmla="*/ 5473336 w 5473336"/>
              <a:gd name="connsiteY11" fmla="*/ 2506434 h 4883744"/>
              <a:gd name="connsiteX12" fmla="*/ 5473336 w 5473336"/>
              <a:gd name="connsiteY12" fmla="*/ 2787194 h 4883744"/>
              <a:gd name="connsiteX13" fmla="*/ 5473336 w 5473336"/>
              <a:gd name="connsiteY13" fmla="*/ 2790320 h 4883744"/>
              <a:gd name="connsiteX14" fmla="*/ 5473336 w 5473336"/>
              <a:gd name="connsiteY14" fmla="*/ 2861522 h 4883744"/>
              <a:gd name="connsiteX15" fmla="*/ 5473336 w 5473336"/>
              <a:gd name="connsiteY15" fmla="*/ 2925488 h 4883744"/>
              <a:gd name="connsiteX16" fmla="*/ 5473336 w 5473336"/>
              <a:gd name="connsiteY16" fmla="*/ 3071080 h 4883744"/>
              <a:gd name="connsiteX17" fmla="*/ 5473336 w 5473336"/>
              <a:gd name="connsiteY17" fmla="*/ 3078035 h 4883744"/>
              <a:gd name="connsiteX18" fmla="*/ 5473336 w 5473336"/>
              <a:gd name="connsiteY18" fmla="*/ 3206248 h 4883744"/>
              <a:gd name="connsiteX19" fmla="*/ 5473336 w 5473336"/>
              <a:gd name="connsiteY19" fmla="*/ 3974345 h 4883744"/>
              <a:gd name="connsiteX20" fmla="*/ 966865 w 5473336"/>
              <a:gd name="connsiteY20" fmla="*/ 4862978 h 4883744"/>
              <a:gd name="connsiteX21" fmla="*/ 0 w 5473336"/>
              <a:gd name="connsiteY21" fmla="*/ 4140407 h 4883744"/>
              <a:gd name="connsiteX22" fmla="*/ 0 w 5473336"/>
              <a:gd name="connsiteY22" fmla="*/ 3206248 h 4883744"/>
              <a:gd name="connsiteX23" fmla="*/ 0 w 5473336"/>
              <a:gd name="connsiteY23" fmla="*/ 3078035 h 4883744"/>
              <a:gd name="connsiteX24" fmla="*/ 0 w 5473336"/>
              <a:gd name="connsiteY24" fmla="*/ 3071080 h 4883744"/>
              <a:gd name="connsiteX25" fmla="*/ 0 w 5473336"/>
              <a:gd name="connsiteY25" fmla="*/ 3027584 h 4883744"/>
              <a:gd name="connsiteX26" fmla="*/ 0 w 5473336"/>
              <a:gd name="connsiteY26" fmla="*/ 2925488 h 4883744"/>
              <a:gd name="connsiteX27" fmla="*/ 0 w 5473336"/>
              <a:gd name="connsiteY27" fmla="*/ 2790320 h 4883744"/>
              <a:gd name="connsiteX28" fmla="*/ 0 w 5473336"/>
              <a:gd name="connsiteY28" fmla="*/ 2787194 h 4883744"/>
              <a:gd name="connsiteX29" fmla="*/ 0 w 5473336"/>
              <a:gd name="connsiteY29" fmla="*/ 2506434 h 4883744"/>
              <a:gd name="connsiteX30" fmla="*/ 0 w 5473336"/>
              <a:gd name="connsiteY30" fmla="*/ 2377311 h 4883744"/>
              <a:gd name="connsiteX31" fmla="*/ 0 w 5473336"/>
              <a:gd name="connsiteY31" fmla="*/ 2096551 h 4883744"/>
              <a:gd name="connsiteX32" fmla="*/ 0 w 5473336"/>
              <a:gd name="connsiteY32" fmla="*/ 2093425 h 4883744"/>
              <a:gd name="connsiteX33" fmla="*/ 0 w 5473336"/>
              <a:gd name="connsiteY33" fmla="*/ 2022223 h 4883744"/>
              <a:gd name="connsiteX34" fmla="*/ 0 w 5473336"/>
              <a:gd name="connsiteY34" fmla="*/ 1958257 h 4883744"/>
              <a:gd name="connsiteX35" fmla="*/ 0 w 5473336"/>
              <a:gd name="connsiteY35" fmla="*/ 1812665 h 4883744"/>
              <a:gd name="connsiteX36" fmla="*/ 0 w 5473336"/>
              <a:gd name="connsiteY36" fmla="*/ 1738337 h 4883744"/>
              <a:gd name="connsiteX37" fmla="*/ 0 w 5473336"/>
              <a:gd name="connsiteY37" fmla="*/ 1677497 h 4883744"/>
              <a:gd name="connsiteX38" fmla="*/ 0 w 5473336"/>
              <a:gd name="connsiteY38" fmla="*/ 1674371 h 4883744"/>
              <a:gd name="connsiteX39" fmla="*/ 0 w 5473336"/>
              <a:gd name="connsiteY39" fmla="*/ 1633637 h 4883744"/>
              <a:gd name="connsiteX40" fmla="*/ 0 w 5473336"/>
              <a:gd name="connsiteY40" fmla="*/ 909400 h 4883744"/>
              <a:gd name="connsiteX41" fmla="*/ 4506471 w 5473336"/>
              <a:gd name="connsiteY41" fmla="*/ 20767 h 4883744"/>
              <a:gd name="connsiteX42" fmla="*/ 4676664 w 5473336"/>
              <a:gd name="connsiteY42" fmla="*/ 1448 h 4883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473336" h="4883744">
                <a:moveTo>
                  <a:pt x="4676664" y="1448"/>
                </a:moveTo>
                <a:cubicBezTo>
                  <a:pt x="5473336" y="-38046"/>
                  <a:pt x="5473336" y="743338"/>
                  <a:pt x="5473336" y="743338"/>
                </a:cubicBezTo>
                <a:lnTo>
                  <a:pt x="5473336" y="1633637"/>
                </a:lnTo>
                <a:lnTo>
                  <a:pt x="5473336" y="1674371"/>
                </a:lnTo>
                <a:lnTo>
                  <a:pt x="5473336" y="1677497"/>
                </a:lnTo>
                <a:lnTo>
                  <a:pt x="5473336" y="1812665"/>
                </a:lnTo>
                <a:lnTo>
                  <a:pt x="5473336" y="1856161"/>
                </a:lnTo>
                <a:lnTo>
                  <a:pt x="5473336" y="1958257"/>
                </a:lnTo>
                <a:lnTo>
                  <a:pt x="5473336" y="2093425"/>
                </a:lnTo>
                <a:lnTo>
                  <a:pt x="5473336" y="2096551"/>
                </a:lnTo>
                <a:lnTo>
                  <a:pt x="5473336" y="2377311"/>
                </a:lnTo>
                <a:lnTo>
                  <a:pt x="5473336" y="2506434"/>
                </a:lnTo>
                <a:lnTo>
                  <a:pt x="5473336" y="2787194"/>
                </a:lnTo>
                <a:lnTo>
                  <a:pt x="5473336" y="2790320"/>
                </a:lnTo>
                <a:lnTo>
                  <a:pt x="5473336" y="2861522"/>
                </a:lnTo>
                <a:lnTo>
                  <a:pt x="5473336" y="2925488"/>
                </a:lnTo>
                <a:lnTo>
                  <a:pt x="5473336" y="3071080"/>
                </a:lnTo>
                <a:lnTo>
                  <a:pt x="5473336" y="3078035"/>
                </a:lnTo>
                <a:lnTo>
                  <a:pt x="5473336" y="3206248"/>
                </a:lnTo>
                <a:lnTo>
                  <a:pt x="5473336" y="3974345"/>
                </a:lnTo>
                <a:lnTo>
                  <a:pt x="966865" y="4862978"/>
                </a:lnTo>
                <a:cubicBezTo>
                  <a:pt x="0" y="5029448"/>
                  <a:pt x="0" y="4140407"/>
                  <a:pt x="0" y="4140407"/>
                </a:cubicBezTo>
                <a:lnTo>
                  <a:pt x="0" y="3206248"/>
                </a:lnTo>
                <a:lnTo>
                  <a:pt x="0" y="3078035"/>
                </a:lnTo>
                <a:lnTo>
                  <a:pt x="0" y="3071080"/>
                </a:lnTo>
                <a:lnTo>
                  <a:pt x="0" y="3027584"/>
                </a:lnTo>
                <a:lnTo>
                  <a:pt x="0" y="2925488"/>
                </a:lnTo>
                <a:lnTo>
                  <a:pt x="0" y="2790320"/>
                </a:lnTo>
                <a:lnTo>
                  <a:pt x="0" y="2787194"/>
                </a:lnTo>
                <a:lnTo>
                  <a:pt x="0" y="2506434"/>
                </a:lnTo>
                <a:lnTo>
                  <a:pt x="0" y="2377311"/>
                </a:lnTo>
                <a:lnTo>
                  <a:pt x="0" y="2096551"/>
                </a:lnTo>
                <a:lnTo>
                  <a:pt x="0" y="2093425"/>
                </a:lnTo>
                <a:lnTo>
                  <a:pt x="0" y="2022223"/>
                </a:lnTo>
                <a:lnTo>
                  <a:pt x="0" y="1958257"/>
                </a:lnTo>
                <a:lnTo>
                  <a:pt x="0" y="1812665"/>
                </a:lnTo>
                <a:lnTo>
                  <a:pt x="0" y="1738337"/>
                </a:lnTo>
                <a:lnTo>
                  <a:pt x="0" y="1677497"/>
                </a:lnTo>
                <a:lnTo>
                  <a:pt x="0" y="1674371"/>
                </a:lnTo>
                <a:lnTo>
                  <a:pt x="0" y="1633637"/>
                </a:lnTo>
                <a:lnTo>
                  <a:pt x="0" y="909400"/>
                </a:lnTo>
                <a:lnTo>
                  <a:pt x="4506471" y="20767"/>
                </a:lnTo>
                <a:cubicBezTo>
                  <a:pt x="4566900" y="10363"/>
                  <a:pt x="4623552" y="4081"/>
                  <a:pt x="4676664" y="1448"/>
                </a:cubicBezTo>
                <a:close/>
              </a:path>
            </a:pathLst>
          </a:custGeom>
          <a:noFill/>
          <a:ln w="19050">
            <a:solidFill>
              <a:schemeClr val="tx2"/>
            </a:solidFill>
          </a:ln>
        </p:spPr>
        <p:txBody>
          <a:bodyPr vert="horz" wrap="square" lIns="324000" tIns="1224000" rIns="324000" bIns="0" rtlCol="0">
            <a:noAutofit/>
          </a:bodyPr>
          <a:lstStyle>
            <a:lvl1pPr>
              <a:defRPr lang="de-DE" dirty="0"/>
            </a:lvl1pPr>
            <a:lvl2pPr>
              <a:defRPr lang="de-DE" dirty="0"/>
            </a:lvl2pPr>
            <a:lvl3pPr>
              <a:defRPr lang="de-DE" dirty="0"/>
            </a:lvl3pPr>
            <a:lvl4pPr>
              <a:defRPr lang="de-DE" dirty="0"/>
            </a:lvl4pPr>
            <a:lvl5pPr>
              <a:defRPr lang="de-DE" dirty="0"/>
            </a:lvl5pPr>
            <a:lvl6pPr>
              <a:defRPr lang="de-DE" dirty="0"/>
            </a:lvl6pPr>
            <a:lvl7pPr>
              <a:defRPr lang="de-DE" dirty="0"/>
            </a:lvl7pPr>
            <a:lvl8pPr>
              <a:defRPr lang="de-DE" dirty="0"/>
            </a:lvl8pPr>
            <a:lvl9pPr>
              <a:defRPr lang="de-DE" dirty="0"/>
            </a:lvl9p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4" name="Titel 3">
            <a:extLst>
              <a:ext uri="{FF2B5EF4-FFF2-40B4-BE49-F238E27FC236}">
                <a16:creationId xmlns:a16="http://schemas.microsoft.com/office/drawing/2014/main" id="{A78C2E2F-A8F0-4C21-BB59-3698B7B3047D}"/>
              </a:ext>
            </a:extLst>
          </p:cNvPr>
          <p:cNvSpPr>
            <a:spLocks noGrp="1"/>
          </p:cNvSpPr>
          <p:nvPr>
            <p:ph type="title" hasCustomPrompt="1"/>
          </p:nvPr>
        </p:nvSpPr>
        <p:spPr bwMode="gray"/>
        <p:txBody>
          <a:bodyPr/>
          <a:lstStyle>
            <a:lvl1pPr>
              <a:defRPr/>
            </a:lvl1pPr>
          </a:lstStyle>
          <a:p>
            <a:r>
              <a:rPr lang="de-DE"/>
              <a:t>Titel durch Klicken bearbeiten</a:t>
            </a:r>
          </a:p>
        </p:txBody>
      </p:sp>
      <p:sp>
        <p:nvSpPr>
          <p:cNvPr id="2" name="Datumsplatzhalter 1">
            <a:extLst>
              <a:ext uri="{FF2B5EF4-FFF2-40B4-BE49-F238E27FC236}">
                <a16:creationId xmlns:a16="http://schemas.microsoft.com/office/drawing/2014/main" id="{03DBE675-0839-4CF0-9FAC-D77590974244}"/>
              </a:ext>
            </a:extLst>
          </p:cNvPr>
          <p:cNvSpPr>
            <a:spLocks noGrp="1"/>
          </p:cNvSpPr>
          <p:nvPr>
            <p:ph type="dt" sz="half" idx="31"/>
          </p:nvPr>
        </p:nvSpPr>
        <p:spPr bwMode="gray">
          <a:xfrm>
            <a:off x="10709631" y="151200"/>
            <a:ext cx="748800" cy="180000"/>
          </a:xfrm>
          <a:prstGeom prst="rect">
            <a:avLst/>
          </a:prstGeom>
        </p:spPr>
        <p:txBody>
          <a:bodyPr/>
          <a:lstStyle/>
          <a:p>
            <a:r>
              <a:rPr lang="de-DE"/>
              <a:t>XX.XX.2021</a:t>
            </a:r>
          </a:p>
        </p:txBody>
      </p:sp>
      <p:sp>
        <p:nvSpPr>
          <p:cNvPr id="3" name="Fußzeilenplatzhalter 2">
            <a:extLst>
              <a:ext uri="{FF2B5EF4-FFF2-40B4-BE49-F238E27FC236}">
                <a16:creationId xmlns:a16="http://schemas.microsoft.com/office/drawing/2014/main" id="{9DD061C6-025A-4FB7-A4B9-D392582079F0}"/>
              </a:ext>
            </a:extLst>
          </p:cNvPr>
          <p:cNvSpPr>
            <a:spLocks noGrp="1"/>
          </p:cNvSpPr>
          <p:nvPr>
            <p:ph type="ftr" sz="quarter" idx="32"/>
          </p:nvPr>
        </p:nvSpPr>
        <p:spPr bwMode="gray">
          <a:xfrm>
            <a:off x="6313488" y="151200"/>
            <a:ext cx="4393761" cy="180000"/>
          </a:xfrm>
          <a:prstGeom prst="rect">
            <a:avLst/>
          </a:prstGeom>
        </p:spPr>
        <p:txBody>
          <a:bodyPr/>
          <a:lstStyle/>
          <a:p>
            <a:r>
              <a:rPr lang="de-DE"/>
              <a:t>Kürzel  |  CX  |</a:t>
            </a:r>
          </a:p>
        </p:txBody>
      </p:sp>
      <p:sp>
        <p:nvSpPr>
          <p:cNvPr id="7" name="Foliennummernplatzhalter 6">
            <a:extLst>
              <a:ext uri="{FF2B5EF4-FFF2-40B4-BE49-F238E27FC236}">
                <a16:creationId xmlns:a16="http://schemas.microsoft.com/office/drawing/2014/main" id="{F73D1FAA-2A21-43F1-BE1D-D2DA9F393430}"/>
              </a:ext>
            </a:extLst>
          </p:cNvPr>
          <p:cNvSpPr>
            <a:spLocks noGrp="1"/>
          </p:cNvSpPr>
          <p:nvPr>
            <p:ph type="sldNum" sz="quarter" idx="33"/>
          </p:nvPr>
        </p:nvSpPr>
        <p:spPr bwMode="gray">
          <a:xfrm>
            <a:off x="11504750" y="151200"/>
            <a:ext cx="280800" cy="180000"/>
          </a:xfrm>
          <a:prstGeom prst="rect">
            <a:avLst/>
          </a:prstGeom>
        </p:spPr>
        <p:txBody>
          <a:bodyPr/>
          <a:lstStyle/>
          <a:p>
            <a:fld id="{9C89B081-1F44-4440-BC7B-989C90F97B77}" type="slidenum">
              <a:rPr lang="de-DE"/>
              <a:pPr/>
              <a:t>‹Nr.›</a:t>
            </a:fld>
            <a:endParaRPr lang="de-DE"/>
          </a:p>
        </p:txBody>
      </p:sp>
    </p:spTree>
    <p:extLst>
      <p:ext uri="{BB962C8B-B14F-4D97-AF65-F5344CB8AC3E}">
        <p14:creationId xmlns:p14="http://schemas.microsoft.com/office/powerpoint/2010/main" val="3326777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57">
          <p15:clr>
            <a:srgbClr val="F26B43"/>
          </p15:clr>
        </p15:guide>
        <p15:guide id="3" orient="horz" pos="255">
          <p15:clr>
            <a:srgbClr val="F26B43"/>
          </p15:clr>
        </p15:guide>
        <p15:guide id="6" orient="horz" pos="890">
          <p15:clr>
            <a:srgbClr val="F26B43"/>
          </p15:clr>
        </p15:guide>
        <p15:guide id="9" pos="3976">
          <p15:clr>
            <a:srgbClr val="F26B43"/>
          </p15:clr>
        </p15:guide>
        <p15:guide id="10" pos="3705">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elfolie mit Bild oben">
    <p:spTree>
      <p:nvGrpSpPr>
        <p:cNvPr id="1" name=""/>
        <p:cNvGrpSpPr/>
        <p:nvPr/>
      </p:nvGrpSpPr>
      <p:grpSpPr>
        <a:xfrm>
          <a:off x="0" y="0"/>
          <a:ext cx="0" cy="0"/>
          <a:chOff x="0" y="0"/>
          <a:chExt cx="0" cy="0"/>
        </a:xfrm>
      </p:grpSpPr>
      <p:sp>
        <p:nvSpPr>
          <p:cNvPr id="13" name="Bildplatzhalter 39">
            <a:extLst>
              <a:ext uri="{FF2B5EF4-FFF2-40B4-BE49-F238E27FC236}">
                <a16:creationId xmlns:a16="http://schemas.microsoft.com/office/drawing/2014/main" id="{B8CEE1E7-A4C8-4B76-ABEE-3D6D98FF6081}"/>
              </a:ext>
            </a:extLst>
          </p:cNvPr>
          <p:cNvSpPr>
            <a:spLocks noGrp="1" noChangeAspect="1"/>
          </p:cNvSpPr>
          <p:nvPr>
            <p:ph type="pic" sz="quarter" idx="14" hasCustomPrompt="1"/>
          </p:nvPr>
        </p:nvSpPr>
        <p:spPr bwMode="gray">
          <a:xfrm>
            <a:off x="630002" y="0"/>
            <a:ext cx="11565175" cy="4222563"/>
          </a:xfrm>
          <a:custGeom>
            <a:avLst/>
            <a:gdLst>
              <a:gd name="connsiteX0" fmla="*/ 0 w 11565175"/>
              <a:gd name="connsiteY0" fmla="*/ 0 h 4222563"/>
              <a:gd name="connsiteX1" fmla="*/ 11565175 w 11565175"/>
              <a:gd name="connsiteY1" fmla="*/ 0 h 4222563"/>
              <a:gd name="connsiteX2" fmla="*/ 11565175 w 11565175"/>
              <a:gd name="connsiteY2" fmla="*/ 2101964 h 4222563"/>
              <a:gd name="connsiteX3" fmla="*/ 910254 w 11565175"/>
              <a:gd name="connsiteY3" fmla="*/ 4203013 h 4222563"/>
              <a:gd name="connsiteX4" fmla="*/ 0 w 11565175"/>
              <a:gd name="connsiteY4" fmla="*/ 3522749 h 4222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65175" h="4222563">
                <a:moveTo>
                  <a:pt x="0" y="0"/>
                </a:moveTo>
                <a:lnTo>
                  <a:pt x="11565175" y="0"/>
                </a:lnTo>
                <a:lnTo>
                  <a:pt x="11565175" y="2101964"/>
                </a:lnTo>
                <a:lnTo>
                  <a:pt x="910254" y="4203013"/>
                </a:lnTo>
                <a:cubicBezTo>
                  <a:pt x="0" y="4359736"/>
                  <a:pt x="0" y="3522749"/>
                  <a:pt x="0" y="3522749"/>
                </a:cubicBezTo>
                <a:close/>
              </a:path>
            </a:pathLst>
          </a:custGeom>
          <a:pattFill prst="pct20">
            <a:fgClr>
              <a:schemeClr val="accent3"/>
            </a:fgClr>
            <a:bgClr>
              <a:schemeClr val="bg1"/>
            </a:bgClr>
          </a:pattFill>
        </p:spPr>
        <p:txBody>
          <a:bodyPr vert="horz" wrap="square" lIns="72000" tIns="72000" rIns="72000" bIns="72000" rtlCol="0" anchor="t">
            <a:noAutofit/>
          </a:bodyPr>
          <a:lstStyle>
            <a:lvl1pPr>
              <a:defRPr lang="de-DE" sz="1600" baseline="0" dirty="0">
                <a:solidFill>
                  <a:schemeClr val="tx1"/>
                </a:solidFill>
              </a:defRPr>
            </a:lvl1pPr>
          </a:lstStyle>
          <a:p>
            <a:pPr marR="0" lvl="0" fontAlgn="auto">
              <a:lnSpc>
                <a:spcPct val="100000"/>
              </a:lnSpc>
              <a:spcBef>
                <a:spcPts val="0"/>
              </a:spcBef>
              <a:spcAft>
                <a:spcPts val="0"/>
              </a:spcAft>
              <a:buClrTx/>
              <a:buSzTx/>
              <a:tabLst/>
            </a:pPr>
            <a:r>
              <a:rPr lang="de-DE"/>
              <a:t>Um ein Hintergrundbild einzufügen, markieren Sie bitte den Platzhalter und wählen entweder ein Bild aus der </a:t>
            </a:r>
            <a:r>
              <a:rPr lang="de-DE" err="1"/>
              <a:t>empower</a:t>
            </a:r>
            <a:r>
              <a:rPr lang="de-DE"/>
              <a:t> Bibliothek oder über den Reiter „Einfügen“, „Bilder“ aus. </a:t>
            </a:r>
          </a:p>
        </p:txBody>
      </p:sp>
      <p:sp>
        <p:nvSpPr>
          <p:cNvPr id="31" name="Textplatzhalter 2">
            <a:extLst>
              <a:ext uri="{FF2B5EF4-FFF2-40B4-BE49-F238E27FC236}">
                <a16:creationId xmlns:a16="http://schemas.microsoft.com/office/drawing/2014/main" id="{2EAC7641-4AD3-4BC3-994B-F6617167D29D}"/>
              </a:ext>
            </a:extLst>
          </p:cNvPr>
          <p:cNvSpPr>
            <a:spLocks noGrp="1" noChangeAspect="1"/>
          </p:cNvSpPr>
          <p:nvPr>
            <p:ph type="body" sz="quarter" idx="15" hasCustomPrompt="1"/>
          </p:nvPr>
        </p:nvSpPr>
        <p:spPr bwMode="gray">
          <a:xfrm>
            <a:off x="149" y="2075688"/>
            <a:ext cx="9554060" cy="4782312"/>
          </a:xfrm>
          <a:custGeom>
            <a:avLst/>
            <a:gdLst>
              <a:gd name="connsiteX0" fmla="*/ 8804033 w 9554060"/>
              <a:gd name="connsiteY0" fmla="*/ 1364 h 4782312"/>
              <a:gd name="connsiteX1" fmla="*/ 9554060 w 9554060"/>
              <a:gd name="connsiteY1" fmla="*/ 699815 h 4782312"/>
              <a:gd name="connsiteX2" fmla="*/ 9554060 w 9554060"/>
              <a:gd name="connsiteY2" fmla="*/ 4782312 h 4782312"/>
              <a:gd name="connsiteX3" fmla="*/ 0 w 9554060"/>
              <a:gd name="connsiteY3" fmla="*/ 4782312 h 4782312"/>
              <a:gd name="connsiteX4" fmla="*/ 0 w 9554060"/>
              <a:gd name="connsiteY4" fmla="*/ 1724029 h 4782312"/>
              <a:gd name="connsiteX5" fmla="*/ 8643805 w 9554060"/>
              <a:gd name="connsiteY5" fmla="*/ 19551 h 4782312"/>
              <a:gd name="connsiteX6" fmla="*/ 8804033 w 9554060"/>
              <a:gd name="connsiteY6" fmla="*/ 1364 h 4782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54060" h="4782312">
                <a:moveTo>
                  <a:pt x="8804033" y="1364"/>
                </a:moveTo>
                <a:cubicBezTo>
                  <a:pt x="9554060" y="-35818"/>
                  <a:pt x="9554060" y="699815"/>
                  <a:pt x="9554060" y="699815"/>
                </a:cubicBezTo>
                <a:lnTo>
                  <a:pt x="9554060" y="4782312"/>
                </a:lnTo>
                <a:lnTo>
                  <a:pt x="0" y="4782312"/>
                </a:lnTo>
                <a:lnTo>
                  <a:pt x="0" y="1724029"/>
                </a:lnTo>
                <a:lnTo>
                  <a:pt x="8643805" y="19551"/>
                </a:lnTo>
                <a:cubicBezTo>
                  <a:pt x="8700696" y="9756"/>
                  <a:pt x="8754031" y="3842"/>
                  <a:pt x="8804033" y="1364"/>
                </a:cubicBezTo>
                <a:close/>
              </a:path>
            </a:pathLst>
          </a:custGeom>
          <a:solidFill>
            <a:schemeClr val="tx2">
              <a:alpha val="89000"/>
            </a:schemeClr>
          </a:solidFill>
        </p:spPr>
        <p:txBody>
          <a:bodyPr wrap="square" lIns="630000" tIns="2127600" rIns="648000">
            <a:noAutofit/>
          </a:bodyPr>
          <a:lstStyle>
            <a:lvl1pPr marL="0" indent="0">
              <a:spcBef>
                <a:spcPts val="0"/>
              </a:spcBef>
              <a:buFont typeface="Arial" panose="020B0604020202020204" pitchFamily="34" charset="0"/>
              <a:buNone/>
              <a:defRPr sz="3000" b="1">
                <a:solidFill>
                  <a:schemeClr val="bg1"/>
                </a:solidFill>
              </a:defRPr>
            </a:lvl1pPr>
            <a:lvl2pPr marL="0" indent="0">
              <a:spcBef>
                <a:spcPts val="0"/>
              </a:spcBef>
              <a:buFont typeface="Arial" panose="020B0604020202020204" pitchFamily="34" charset="0"/>
              <a:buNone/>
              <a:defRPr sz="3000" b="1">
                <a:solidFill>
                  <a:schemeClr val="bg1"/>
                </a:solidFill>
              </a:defRPr>
            </a:lvl2pPr>
            <a:lvl3pPr marL="0" indent="0">
              <a:spcBef>
                <a:spcPts val="0"/>
              </a:spcBef>
              <a:buNone/>
              <a:defRPr sz="3000" b="1">
                <a:solidFill>
                  <a:schemeClr val="bg1"/>
                </a:solidFill>
              </a:defRPr>
            </a:lvl3pPr>
            <a:lvl4pPr marL="0" indent="0">
              <a:spcBef>
                <a:spcPts val="0"/>
              </a:spcBef>
              <a:buNone/>
              <a:defRPr sz="3000" b="1">
                <a:solidFill>
                  <a:schemeClr val="bg1"/>
                </a:solidFill>
              </a:defRPr>
            </a:lvl4pPr>
            <a:lvl5pPr marL="0" indent="0">
              <a:spcBef>
                <a:spcPts val="0"/>
              </a:spcBef>
              <a:buNone/>
              <a:defRPr sz="3000" b="1">
                <a:solidFill>
                  <a:schemeClr val="bg1"/>
                </a:solidFill>
              </a:defRPr>
            </a:lvl5pPr>
          </a:lstStyle>
          <a:p>
            <a:pPr lvl="0"/>
            <a:r>
              <a:rPr lang="de-DE"/>
              <a:t>Titelfolie (max. 2-zeilig)</a:t>
            </a:r>
          </a:p>
        </p:txBody>
      </p:sp>
      <p:pic>
        <p:nvPicPr>
          <p:cNvPr id="17" name="Grafik 10">
            <a:extLst>
              <a:ext uri="{FF2B5EF4-FFF2-40B4-BE49-F238E27FC236}">
                <a16:creationId xmlns:a16="http://schemas.microsoft.com/office/drawing/2014/main" id="{412AF270-B816-43E1-8A6B-9C7CB566774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9875843" y="5986257"/>
            <a:ext cx="2016000" cy="608729"/>
          </a:xfrm>
          <a:prstGeom prst="rect">
            <a:avLst/>
          </a:prstGeom>
        </p:spPr>
      </p:pic>
      <p:sp>
        <p:nvSpPr>
          <p:cNvPr id="9" name="Textplatzhalter 2">
            <a:extLst>
              <a:ext uri="{FF2B5EF4-FFF2-40B4-BE49-F238E27FC236}">
                <a16:creationId xmlns:a16="http://schemas.microsoft.com/office/drawing/2014/main" id="{0252936D-CF3B-429A-803F-307FC170318B}"/>
              </a:ext>
            </a:extLst>
          </p:cNvPr>
          <p:cNvSpPr>
            <a:spLocks noGrp="1"/>
          </p:cNvSpPr>
          <p:nvPr>
            <p:ph type="body" sz="quarter" idx="18"/>
          </p:nvPr>
        </p:nvSpPr>
        <p:spPr bwMode="gray">
          <a:xfrm>
            <a:off x="630000" y="6329316"/>
            <a:ext cx="1789200" cy="198000"/>
          </a:xfrm>
          <a:blipFill>
            <a:blip r:embed="rId3"/>
            <a:stretch>
              <a:fillRect/>
            </a:stretch>
          </a:blipFill>
        </p:spPr>
        <p:txBody>
          <a:bodyPr/>
          <a:lstStyle>
            <a:lvl1pPr>
              <a:defRPr sz="100">
                <a:noFill/>
              </a:defRPr>
            </a:lvl1pPr>
          </a:lstStyle>
          <a:p>
            <a:pPr lvl="0"/>
            <a:r>
              <a:rPr lang="de-DE"/>
              <a:t>Mastertextformat bearbeiten</a:t>
            </a:r>
          </a:p>
        </p:txBody>
      </p:sp>
      <p:sp>
        <p:nvSpPr>
          <p:cNvPr id="10" name="Textplatzhalter 3">
            <a:extLst>
              <a:ext uri="{FF2B5EF4-FFF2-40B4-BE49-F238E27FC236}">
                <a16:creationId xmlns:a16="http://schemas.microsoft.com/office/drawing/2014/main" id="{32AEB4EB-7B5D-4662-921E-F9C79FD76A24}"/>
              </a:ext>
            </a:extLst>
          </p:cNvPr>
          <p:cNvSpPr>
            <a:spLocks noGrp="1"/>
          </p:cNvSpPr>
          <p:nvPr>
            <p:ph type="body" sz="quarter" idx="19" hasCustomPrompt="1"/>
          </p:nvPr>
        </p:nvSpPr>
        <p:spPr bwMode="gray">
          <a:xfrm>
            <a:off x="630000" y="3781198"/>
            <a:ext cx="8280000" cy="246221"/>
          </a:xfrm>
        </p:spPr>
        <p:txBody>
          <a:bodyPr anchor="b" anchorCtr="0">
            <a:spAutoFit/>
          </a:bodyPr>
          <a:lstStyle>
            <a:lvl1pPr>
              <a:spcBef>
                <a:spcPts val="0"/>
              </a:spcBef>
              <a:defRPr sz="1600" b="1">
                <a:solidFill>
                  <a:schemeClr val="accent2"/>
                </a:solidFill>
              </a:defRPr>
            </a:lvl1pPr>
          </a:lstStyle>
          <a:p>
            <a:pPr lvl="0"/>
            <a:r>
              <a:rPr lang="de-DE"/>
              <a:t>Name Kunde / Veranstaltung</a:t>
            </a:r>
          </a:p>
        </p:txBody>
      </p:sp>
      <p:sp>
        <p:nvSpPr>
          <p:cNvPr id="11" name="Textplatzhalter 3">
            <a:extLst>
              <a:ext uri="{FF2B5EF4-FFF2-40B4-BE49-F238E27FC236}">
                <a16:creationId xmlns:a16="http://schemas.microsoft.com/office/drawing/2014/main" id="{4A2CC0C5-103F-4DC2-9434-B5F3E4480F29}"/>
              </a:ext>
            </a:extLst>
          </p:cNvPr>
          <p:cNvSpPr>
            <a:spLocks noGrp="1"/>
          </p:cNvSpPr>
          <p:nvPr>
            <p:ph type="body" sz="quarter" idx="20" hasCustomPrompt="1"/>
          </p:nvPr>
        </p:nvSpPr>
        <p:spPr bwMode="gray">
          <a:xfrm>
            <a:off x="630000" y="5302154"/>
            <a:ext cx="8280000" cy="246221"/>
          </a:xfrm>
        </p:spPr>
        <p:txBody>
          <a:bodyPr anchor="b" anchorCtr="0">
            <a:spAutoFit/>
          </a:bodyPr>
          <a:lstStyle>
            <a:lvl1pPr>
              <a:spcBef>
                <a:spcPts val="0"/>
              </a:spcBef>
              <a:defRPr sz="1600" b="0">
                <a:solidFill>
                  <a:schemeClr val="bg1"/>
                </a:solidFill>
              </a:defRPr>
            </a:lvl1pPr>
          </a:lstStyle>
          <a:p>
            <a:pPr lvl="0"/>
            <a:r>
              <a:rPr lang="de-DE"/>
              <a:t>Ort, Datum – Referent Vorname Name</a:t>
            </a:r>
          </a:p>
        </p:txBody>
      </p:sp>
      <p:sp>
        <p:nvSpPr>
          <p:cNvPr id="12" name="Textplatzhalter 3">
            <a:extLst>
              <a:ext uri="{FF2B5EF4-FFF2-40B4-BE49-F238E27FC236}">
                <a16:creationId xmlns:a16="http://schemas.microsoft.com/office/drawing/2014/main" id="{F33DC02B-A91D-47BF-AF90-CB743C92FCD8}"/>
              </a:ext>
            </a:extLst>
          </p:cNvPr>
          <p:cNvSpPr>
            <a:spLocks noGrp="1"/>
          </p:cNvSpPr>
          <p:nvPr>
            <p:ph type="body" sz="quarter" idx="21" hasCustomPrompt="1"/>
          </p:nvPr>
        </p:nvSpPr>
        <p:spPr bwMode="gray">
          <a:xfrm>
            <a:off x="630000" y="5659035"/>
            <a:ext cx="8280000" cy="184666"/>
          </a:xfrm>
        </p:spPr>
        <p:txBody>
          <a:bodyPr>
            <a:spAutoFit/>
          </a:bodyPr>
          <a:lstStyle>
            <a:lvl1pPr>
              <a:spcBef>
                <a:spcPts val="0"/>
              </a:spcBef>
              <a:defRPr sz="1200" b="0">
                <a:solidFill>
                  <a:schemeClr val="bg1"/>
                </a:solidFill>
              </a:defRPr>
            </a:lvl1pPr>
          </a:lstStyle>
          <a:p>
            <a:pPr lvl="0"/>
            <a:r>
              <a:rPr lang="de-DE"/>
              <a:t>Vertraulichkeitshinweis durch Klicken bearbeiten</a:t>
            </a:r>
          </a:p>
        </p:txBody>
      </p:sp>
    </p:spTree>
    <p:extLst>
      <p:ext uri="{BB962C8B-B14F-4D97-AF65-F5344CB8AC3E}">
        <p14:creationId xmlns:p14="http://schemas.microsoft.com/office/powerpoint/2010/main" val="3148821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Zweispaltig mit Markenform links 01">
    <p:spTree>
      <p:nvGrpSpPr>
        <p:cNvPr id="1" name=""/>
        <p:cNvGrpSpPr/>
        <p:nvPr/>
      </p:nvGrpSpPr>
      <p:grpSpPr>
        <a:xfrm>
          <a:off x="0" y="0"/>
          <a:ext cx="0" cy="0"/>
          <a:chOff x="0" y="0"/>
          <a:chExt cx="0" cy="0"/>
        </a:xfrm>
      </p:grpSpPr>
      <p:sp>
        <p:nvSpPr>
          <p:cNvPr id="13" name="Textplatzhalter 12">
            <a:extLst>
              <a:ext uri="{FF2B5EF4-FFF2-40B4-BE49-F238E27FC236}">
                <a16:creationId xmlns:a16="http://schemas.microsoft.com/office/drawing/2014/main" id="{4B780080-8437-46A0-B196-C15BAC2E73BE}"/>
              </a:ext>
            </a:extLst>
          </p:cNvPr>
          <p:cNvSpPr>
            <a:spLocks noGrp="1" noChangeAspect="1"/>
          </p:cNvSpPr>
          <p:nvPr>
            <p:ph type="body" sz="quarter" idx="28" hasCustomPrompt="1"/>
          </p:nvPr>
        </p:nvSpPr>
        <p:spPr bwMode="gray">
          <a:xfrm>
            <a:off x="1" y="1420964"/>
            <a:ext cx="6097587" cy="5437036"/>
          </a:xfrm>
          <a:custGeom>
            <a:avLst/>
            <a:gdLst>
              <a:gd name="connsiteX0" fmla="*/ 5440402 w 6097587"/>
              <a:gd name="connsiteY0" fmla="*/ 1174 h 5437036"/>
              <a:gd name="connsiteX1" fmla="*/ 6097587 w 6097587"/>
              <a:gd name="connsiteY1" fmla="*/ 603756 h 5437036"/>
              <a:gd name="connsiteX2" fmla="*/ 6097587 w 6097587"/>
              <a:gd name="connsiteY2" fmla="*/ 1200666 h 5437036"/>
              <a:gd name="connsiteX3" fmla="*/ 6097587 w 6097587"/>
              <a:gd name="connsiteY3" fmla="*/ 1255879 h 5437036"/>
              <a:gd name="connsiteX4" fmla="*/ 6097587 w 6097587"/>
              <a:gd name="connsiteY4" fmla="*/ 1277987 h 5437036"/>
              <a:gd name="connsiteX5" fmla="*/ 6097587 w 6097587"/>
              <a:gd name="connsiteY5" fmla="*/ 1305780 h 5437036"/>
              <a:gd name="connsiteX6" fmla="*/ 6097587 w 6097587"/>
              <a:gd name="connsiteY6" fmla="*/ 1308283 h 5437036"/>
              <a:gd name="connsiteX7" fmla="*/ 6097587 w 6097587"/>
              <a:gd name="connsiteY7" fmla="*/ 1358230 h 5437036"/>
              <a:gd name="connsiteX8" fmla="*/ 6097587 w 6097587"/>
              <a:gd name="connsiteY8" fmla="*/ 1422562 h 5437036"/>
              <a:gd name="connsiteX9" fmla="*/ 6097587 w 6097587"/>
              <a:gd name="connsiteY9" fmla="*/ 1432741 h 5437036"/>
              <a:gd name="connsiteX10" fmla="*/ 6097587 w 6097587"/>
              <a:gd name="connsiteY10" fmla="*/ 1536730 h 5437036"/>
              <a:gd name="connsiteX11" fmla="*/ 6097587 w 6097587"/>
              <a:gd name="connsiteY11" fmla="*/ 1551627 h 5437036"/>
              <a:gd name="connsiteX12" fmla="*/ 6097587 w 6097587"/>
              <a:gd name="connsiteY12" fmla="*/ 1601313 h 5437036"/>
              <a:gd name="connsiteX13" fmla="*/ 6097587 w 6097587"/>
              <a:gd name="connsiteY13" fmla="*/ 1675108 h 5437036"/>
              <a:gd name="connsiteX14" fmla="*/ 6097587 w 6097587"/>
              <a:gd name="connsiteY14" fmla="*/ 1693587 h 5437036"/>
              <a:gd name="connsiteX15" fmla="*/ 6097587 w 6097587"/>
              <a:gd name="connsiteY15" fmla="*/ 1758728 h 5437036"/>
              <a:gd name="connsiteX16" fmla="*/ 6097587 w 6097587"/>
              <a:gd name="connsiteY16" fmla="*/ 1849058 h 5437036"/>
              <a:gd name="connsiteX17" fmla="*/ 6097587 w 6097587"/>
              <a:gd name="connsiteY17" fmla="*/ 1852789 h 5437036"/>
              <a:gd name="connsiteX18" fmla="*/ 6097587 w 6097587"/>
              <a:gd name="connsiteY18" fmla="*/ 1957903 h 5437036"/>
              <a:gd name="connsiteX19" fmla="*/ 6097587 w 6097587"/>
              <a:gd name="connsiteY19" fmla="*/ 2018653 h 5437036"/>
              <a:gd name="connsiteX20" fmla="*/ 6097587 w 6097587"/>
              <a:gd name="connsiteY20" fmla="*/ 2074685 h 5437036"/>
              <a:gd name="connsiteX21" fmla="*/ 6097587 w 6097587"/>
              <a:gd name="connsiteY21" fmla="*/ 2202987 h 5437036"/>
              <a:gd name="connsiteX22" fmla="*/ 6097587 w 6097587"/>
              <a:gd name="connsiteY22" fmla="*/ 2203749 h 5437036"/>
              <a:gd name="connsiteX23" fmla="*/ 6097587 w 6097587"/>
              <a:gd name="connsiteY23" fmla="*/ 2345710 h 5437036"/>
              <a:gd name="connsiteX24" fmla="*/ 6097587 w 6097587"/>
              <a:gd name="connsiteY24" fmla="*/ 2402673 h 5437036"/>
              <a:gd name="connsiteX25" fmla="*/ 6097587 w 6097587"/>
              <a:gd name="connsiteY25" fmla="*/ 2501181 h 5437036"/>
              <a:gd name="connsiteX26" fmla="*/ 6097587 w 6097587"/>
              <a:gd name="connsiteY26" fmla="*/ 2618326 h 5437036"/>
              <a:gd name="connsiteX27" fmla="*/ 6097587 w 6097587"/>
              <a:gd name="connsiteY27" fmla="*/ 2670776 h 5437036"/>
              <a:gd name="connsiteX28" fmla="*/ 6097587 w 6097587"/>
              <a:gd name="connsiteY28" fmla="*/ 2850560 h 5437036"/>
              <a:gd name="connsiteX29" fmla="*/ 6097587 w 6097587"/>
              <a:gd name="connsiteY29" fmla="*/ 2855110 h 5437036"/>
              <a:gd name="connsiteX30" fmla="*/ 6097587 w 6097587"/>
              <a:gd name="connsiteY30" fmla="*/ 3054796 h 5437036"/>
              <a:gd name="connsiteX31" fmla="*/ 6097587 w 6097587"/>
              <a:gd name="connsiteY31" fmla="*/ 3099990 h 5437036"/>
              <a:gd name="connsiteX32" fmla="*/ 6097587 w 6097587"/>
              <a:gd name="connsiteY32" fmla="*/ 3270449 h 5437036"/>
              <a:gd name="connsiteX33" fmla="*/ 6097587 w 6097587"/>
              <a:gd name="connsiteY33" fmla="*/ 3367227 h 5437036"/>
              <a:gd name="connsiteX34" fmla="*/ 6097587 w 6097587"/>
              <a:gd name="connsiteY34" fmla="*/ 3502684 h 5437036"/>
              <a:gd name="connsiteX35" fmla="*/ 6097587 w 6097587"/>
              <a:gd name="connsiteY35" fmla="*/ 3652889 h 5437036"/>
              <a:gd name="connsiteX36" fmla="*/ 6097587 w 6097587"/>
              <a:gd name="connsiteY36" fmla="*/ 3752112 h 5437036"/>
              <a:gd name="connsiteX37" fmla="*/ 6097587 w 6097587"/>
              <a:gd name="connsiteY37" fmla="*/ 3957586 h 5437036"/>
              <a:gd name="connsiteX38" fmla="*/ 6097587 w 6097587"/>
              <a:gd name="connsiteY38" fmla="*/ 4019350 h 5437036"/>
              <a:gd name="connsiteX39" fmla="*/ 6097587 w 6097587"/>
              <a:gd name="connsiteY39" fmla="*/ 4262137 h 5437036"/>
              <a:gd name="connsiteX40" fmla="*/ 6097587 w 6097587"/>
              <a:gd name="connsiteY40" fmla="*/ 4292733 h 5437036"/>
              <a:gd name="connsiteX41" fmla="*/ 6097587 w 6097587"/>
              <a:gd name="connsiteY41" fmla="*/ 4305011 h 5437036"/>
              <a:gd name="connsiteX42" fmla="*/ 6097587 w 6097587"/>
              <a:gd name="connsiteY42" fmla="*/ 4362984 h 5437036"/>
              <a:gd name="connsiteX43" fmla="*/ 6097587 w 6097587"/>
              <a:gd name="connsiteY43" fmla="*/ 4367675 h 5437036"/>
              <a:gd name="connsiteX44" fmla="*/ 6097587 w 6097587"/>
              <a:gd name="connsiteY44" fmla="*/ 4378813 h 5437036"/>
              <a:gd name="connsiteX45" fmla="*/ 6097587 w 6097587"/>
              <a:gd name="connsiteY45" fmla="*/ 4400506 h 5437036"/>
              <a:gd name="connsiteX46" fmla="*/ 6097587 w 6097587"/>
              <a:gd name="connsiteY46" fmla="*/ 4436268 h 5437036"/>
              <a:gd name="connsiteX47" fmla="*/ 6097587 w 6097587"/>
              <a:gd name="connsiteY47" fmla="*/ 4489620 h 5437036"/>
              <a:gd name="connsiteX48" fmla="*/ 6097587 w 6097587"/>
              <a:gd name="connsiteY48" fmla="*/ 4564076 h 5437036"/>
              <a:gd name="connsiteX49" fmla="*/ 6097587 w 6097587"/>
              <a:gd name="connsiteY49" fmla="*/ 4609710 h 5437036"/>
              <a:gd name="connsiteX50" fmla="*/ 6097587 w 6097587"/>
              <a:gd name="connsiteY50" fmla="*/ 4663157 h 5437036"/>
              <a:gd name="connsiteX51" fmla="*/ 6097587 w 6097587"/>
              <a:gd name="connsiteY51" fmla="*/ 4674064 h 5437036"/>
              <a:gd name="connsiteX52" fmla="*/ 6097587 w 6097587"/>
              <a:gd name="connsiteY52" fmla="*/ 4737893 h 5437036"/>
              <a:gd name="connsiteX53" fmla="*/ 6097587 w 6097587"/>
              <a:gd name="connsiteY53" fmla="*/ 4871773 h 5437036"/>
              <a:gd name="connsiteX54" fmla="*/ 6097587 w 6097587"/>
              <a:gd name="connsiteY54" fmla="*/ 4914259 h 5437036"/>
              <a:gd name="connsiteX55" fmla="*/ 6097587 w 6097587"/>
              <a:gd name="connsiteY55" fmla="*/ 4944856 h 5437036"/>
              <a:gd name="connsiteX56" fmla="*/ 6097587 w 6097587"/>
              <a:gd name="connsiteY56" fmla="*/ 4949260 h 5437036"/>
              <a:gd name="connsiteX57" fmla="*/ 6097587 w 6097587"/>
              <a:gd name="connsiteY57" fmla="*/ 5015108 h 5437036"/>
              <a:gd name="connsiteX58" fmla="*/ 6097587 w 6097587"/>
              <a:gd name="connsiteY58" fmla="*/ 5019797 h 5437036"/>
              <a:gd name="connsiteX59" fmla="*/ 6097587 w 6097587"/>
              <a:gd name="connsiteY59" fmla="*/ 5030937 h 5437036"/>
              <a:gd name="connsiteX60" fmla="*/ 6097587 w 6097587"/>
              <a:gd name="connsiteY60" fmla="*/ 5034241 h 5437036"/>
              <a:gd name="connsiteX61" fmla="*/ 6097587 w 6097587"/>
              <a:gd name="connsiteY61" fmla="*/ 5052628 h 5437036"/>
              <a:gd name="connsiteX62" fmla="*/ 6097587 w 6097587"/>
              <a:gd name="connsiteY62" fmla="*/ 5080807 h 5437036"/>
              <a:gd name="connsiteX63" fmla="*/ 6097587 w 6097587"/>
              <a:gd name="connsiteY63" fmla="*/ 5088391 h 5437036"/>
              <a:gd name="connsiteX64" fmla="*/ 6097587 w 6097587"/>
              <a:gd name="connsiteY64" fmla="*/ 5141742 h 5437036"/>
              <a:gd name="connsiteX65" fmla="*/ 6097587 w 6097587"/>
              <a:gd name="connsiteY65" fmla="*/ 5159803 h 5437036"/>
              <a:gd name="connsiteX66" fmla="*/ 6097587 w 6097587"/>
              <a:gd name="connsiteY66" fmla="*/ 5216199 h 5437036"/>
              <a:gd name="connsiteX67" fmla="*/ 6097587 w 6097587"/>
              <a:gd name="connsiteY67" fmla="*/ 5315280 h 5437036"/>
              <a:gd name="connsiteX68" fmla="*/ 6097587 w 6097587"/>
              <a:gd name="connsiteY68" fmla="*/ 5326186 h 5437036"/>
              <a:gd name="connsiteX69" fmla="*/ 6097587 w 6097587"/>
              <a:gd name="connsiteY69" fmla="*/ 5347127 h 5437036"/>
              <a:gd name="connsiteX70" fmla="*/ 6097587 w 6097587"/>
              <a:gd name="connsiteY70" fmla="*/ 5390016 h 5437036"/>
              <a:gd name="connsiteX71" fmla="*/ 6097587 w 6097587"/>
              <a:gd name="connsiteY71" fmla="*/ 5437036 h 5437036"/>
              <a:gd name="connsiteX72" fmla="*/ 0 w 6097587"/>
              <a:gd name="connsiteY72" fmla="*/ 5437036 h 5437036"/>
              <a:gd name="connsiteX73" fmla="*/ 0 w 6097587"/>
              <a:gd name="connsiteY73" fmla="*/ 1568122 h 5437036"/>
              <a:gd name="connsiteX74" fmla="*/ 0 w 6097587"/>
              <a:gd name="connsiteY74" fmla="*/ 915999 h 5437036"/>
              <a:gd name="connsiteX75" fmla="*/ 175716 w 6097587"/>
              <a:gd name="connsiteY75" fmla="*/ 886189 h 5437036"/>
              <a:gd name="connsiteX76" fmla="*/ 5300008 w 6097587"/>
              <a:gd name="connsiteY76" fmla="*/ 16855 h 5437036"/>
              <a:gd name="connsiteX77" fmla="*/ 5440402 w 6097587"/>
              <a:gd name="connsiteY77" fmla="*/ 1174 h 5437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097587" h="5437036">
                <a:moveTo>
                  <a:pt x="5440402" y="1174"/>
                </a:moveTo>
                <a:cubicBezTo>
                  <a:pt x="6097587" y="-30859"/>
                  <a:pt x="6097587" y="603756"/>
                  <a:pt x="6097587" y="603756"/>
                </a:cubicBezTo>
                <a:cubicBezTo>
                  <a:pt x="6097587" y="603756"/>
                  <a:pt x="6097587" y="603756"/>
                  <a:pt x="6097587" y="1200666"/>
                </a:cubicBezTo>
                <a:lnTo>
                  <a:pt x="6097587" y="1255879"/>
                </a:lnTo>
                <a:cubicBezTo>
                  <a:pt x="6097587" y="1255879"/>
                  <a:pt x="6097587" y="1255879"/>
                  <a:pt x="6097587" y="1277987"/>
                </a:cubicBezTo>
                <a:lnTo>
                  <a:pt x="6097587" y="1305780"/>
                </a:lnTo>
                <a:lnTo>
                  <a:pt x="6097587" y="1308283"/>
                </a:lnTo>
                <a:cubicBezTo>
                  <a:pt x="6097587" y="1321384"/>
                  <a:pt x="6097587" y="1337760"/>
                  <a:pt x="6097587" y="1358230"/>
                </a:cubicBezTo>
                <a:lnTo>
                  <a:pt x="6097587" y="1422562"/>
                </a:lnTo>
                <a:lnTo>
                  <a:pt x="6097587" y="1432741"/>
                </a:lnTo>
                <a:cubicBezTo>
                  <a:pt x="6097587" y="1462218"/>
                  <a:pt x="6097587" y="1496608"/>
                  <a:pt x="6097587" y="1536730"/>
                </a:cubicBezTo>
                <a:lnTo>
                  <a:pt x="6097587" y="1551627"/>
                </a:lnTo>
                <a:lnTo>
                  <a:pt x="6097587" y="1601313"/>
                </a:lnTo>
                <a:cubicBezTo>
                  <a:pt x="6097587" y="1624342"/>
                  <a:pt x="6097587" y="1648906"/>
                  <a:pt x="6097587" y="1675108"/>
                </a:cubicBezTo>
                <a:lnTo>
                  <a:pt x="6097587" y="1693587"/>
                </a:lnTo>
                <a:lnTo>
                  <a:pt x="6097587" y="1758728"/>
                </a:lnTo>
                <a:lnTo>
                  <a:pt x="6097587" y="1849058"/>
                </a:lnTo>
                <a:lnTo>
                  <a:pt x="6097587" y="1852789"/>
                </a:lnTo>
                <a:cubicBezTo>
                  <a:pt x="6097587" y="1885950"/>
                  <a:pt x="6097587" y="1920954"/>
                  <a:pt x="6097587" y="1957903"/>
                </a:cubicBezTo>
                <a:lnTo>
                  <a:pt x="6097587" y="2018653"/>
                </a:lnTo>
                <a:lnTo>
                  <a:pt x="6097587" y="2074685"/>
                </a:lnTo>
                <a:lnTo>
                  <a:pt x="6097587" y="2202987"/>
                </a:lnTo>
                <a:lnTo>
                  <a:pt x="6097587" y="2203749"/>
                </a:lnTo>
                <a:cubicBezTo>
                  <a:pt x="6097587" y="2248886"/>
                  <a:pt x="6097587" y="2296172"/>
                  <a:pt x="6097587" y="2345710"/>
                </a:cubicBezTo>
                <a:lnTo>
                  <a:pt x="6097587" y="2402673"/>
                </a:lnTo>
                <a:lnTo>
                  <a:pt x="6097587" y="2501181"/>
                </a:lnTo>
                <a:lnTo>
                  <a:pt x="6097587" y="2618326"/>
                </a:lnTo>
                <a:lnTo>
                  <a:pt x="6097587" y="2670776"/>
                </a:lnTo>
                <a:lnTo>
                  <a:pt x="6097587" y="2850560"/>
                </a:lnTo>
                <a:lnTo>
                  <a:pt x="6097587" y="2855110"/>
                </a:lnTo>
                <a:cubicBezTo>
                  <a:pt x="6097587" y="2919079"/>
                  <a:pt x="6097587" y="2985607"/>
                  <a:pt x="6097587" y="3054796"/>
                </a:cubicBezTo>
                <a:lnTo>
                  <a:pt x="6097587" y="3099990"/>
                </a:lnTo>
                <a:lnTo>
                  <a:pt x="6097587" y="3270449"/>
                </a:lnTo>
                <a:lnTo>
                  <a:pt x="6097587" y="3367227"/>
                </a:lnTo>
                <a:lnTo>
                  <a:pt x="6097587" y="3502684"/>
                </a:lnTo>
                <a:lnTo>
                  <a:pt x="6097587" y="3652889"/>
                </a:lnTo>
                <a:lnTo>
                  <a:pt x="6097587" y="3752112"/>
                </a:lnTo>
                <a:lnTo>
                  <a:pt x="6097587" y="3957586"/>
                </a:lnTo>
                <a:lnTo>
                  <a:pt x="6097587" y="4019350"/>
                </a:lnTo>
                <a:lnTo>
                  <a:pt x="6097587" y="4262137"/>
                </a:lnTo>
                <a:lnTo>
                  <a:pt x="6097587" y="4292733"/>
                </a:lnTo>
                <a:lnTo>
                  <a:pt x="6097587" y="4305011"/>
                </a:lnTo>
                <a:lnTo>
                  <a:pt x="6097587" y="4362984"/>
                </a:lnTo>
                <a:lnTo>
                  <a:pt x="6097587" y="4367675"/>
                </a:lnTo>
                <a:lnTo>
                  <a:pt x="6097587" y="4378813"/>
                </a:lnTo>
                <a:lnTo>
                  <a:pt x="6097587" y="4400506"/>
                </a:lnTo>
                <a:lnTo>
                  <a:pt x="6097587" y="4436268"/>
                </a:lnTo>
                <a:lnTo>
                  <a:pt x="6097587" y="4489620"/>
                </a:lnTo>
                <a:lnTo>
                  <a:pt x="6097587" y="4564076"/>
                </a:lnTo>
                <a:lnTo>
                  <a:pt x="6097587" y="4609710"/>
                </a:lnTo>
                <a:lnTo>
                  <a:pt x="6097587" y="4663157"/>
                </a:lnTo>
                <a:lnTo>
                  <a:pt x="6097587" y="4674064"/>
                </a:lnTo>
                <a:lnTo>
                  <a:pt x="6097587" y="4737893"/>
                </a:lnTo>
                <a:lnTo>
                  <a:pt x="6097587" y="4871773"/>
                </a:lnTo>
                <a:lnTo>
                  <a:pt x="6097587" y="4914259"/>
                </a:lnTo>
                <a:lnTo>
                  <a:pt x="6097587" y="4944856"/>
                </a:lnTo>
                <a:lnTo>
                  <a:pt x="6097587" y="4949260"/>
                </a:lnTo>
                <a:lnTo>
                  <a:pt x="6097587" y="5015108"/>
                </a:lnTo>
                <a:lnTo>
                  <a:pt x="6097587" y="5019797"/>
                </a:lnTo>
                <a:lnTo>
                  <a:pt x="6097587" y="5030937"/>
                </a:lnTo>
                <a:lnTo>
                  <a:pt x="6097587" y="5034241"/>
                </a:lnTo>
                <a:lnTo>
                  <a:pt x="6097587" y="5052628"/>
                </a:lnTo>
                <a:lnTo>
                  <a:pt x="6097587" y="5080807"/>
                </a:lnTo>
                <a:lnTo>
                  <a:pt x="6097587" y="5088391"/>
                </a:lnTo>
                <a:lnTo>
                  <a:pt x="6097587" y="5141742"/>
                </a:lnTo>
                <a:lnTo>
                  <a:pt x="6097587" y="5159803"/>
                </a:lnTo>
                <a:lnTo>
                  <a:pt x="6097587" y="5216199"/>
                </a:lnTo>
                <a:lnTo>
                  <a:pt x="6097587" y="5315280"/>
                </a:lnTo>
                <a:lnTo>
                  <a:pt x="6097587" y="5326186"/>
                </a:lnTo>
                <a:lnTo>
                  <a:pt x="6097587" y="5347127"/>
                </a:lnTo>
                <a:lnTo>
                  <a:pt x="6097587" y="5390016"/>
                </a:lnTo>
                <a:lnTo>
                  <a:pt x="6097587" y="5437036"/>
                </a:lnTo>
                <a:lnTo>
                  <a:pt x="0" y="5437036"/>
                </a:lnTo>
                <a:lnTo>
                  <a:pt x="0" y="1568122"/>
                </a:lnTo>
                <a:lnTo>
                  <a:pt x="0" y="915999"/>
                </a:lnTo>
                <a:lnTo>
                  <a:pt x="175716" y="886189"/>
                </a:lnTo>
                <a:cubicBezTo>
                  <a:pt x="1513763" y="659190"/>
                  <a:pt x="3192880" y="374328"/>
                  <a:pt x="5300008" y="16855"/>
                </a:cubicBezTo>
                <a:cubicBezTo>
                  <a:pt x="5349857" y="8408"/>
                  <a:pt x="5396590" y="3310"/>
                  <a:pt x="5440402" y="1174"/>
                </a:cubicBezTo>
                <a:close/>
              </a:path>
            </a:pathLst>
          </a:custGeom>
          <a:solidFill>
            <a:schemeClr val="tx2"/>
          </a:solidFill>
        </p:spPr>
        <p:txBody>
          <a:bodyPr wrap="square" lIns="410400" tIns="1224000" rIns="39600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6" name="Inhaltsplatzhalter 2"/>
          <p:cNvSpPr>
            <a:spLocks noGrp="1"/>
          </p:cNvSpPr>
          <p:nvPr>
            <p:ph sz="quarter" idx="24" hasCustomPrompt="1"/>
          </p:nvPr>
        </p:nvSpPr>
        <p:spPr bwMode="gray">
          <a:xfrm>
            <a:off x="6313610" y="1412776"/>
            <a:ext cx="5471940" cy="4896445"/>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5" name="Textplatzhalter 3"/>
          <p:cNvSpPr>
            <a:spLocks noGrp="1"/>
          </p:cNvSpPr>
          <p:nvPr>
            <p:ph type="body" sz="quarter" idx="23" hasCustomPrompt="1"/>
          </p:nvPr>
        </p:nvSpPr>
        <p:spPr bwMode="gray">
          <a:xfrm>
            <a:off x="6313610" y="6001543"/>
            <a:ext cx="5471940"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a:t>Quelle:</a:t>
            </a:r>
          </a:p>
        </p:txBody>
      </p:sp>
      <p:sp>
        <p:nvSpPr>
          <p:cNvPr id="4" name="Titel 3">
            <a:extLst>
              <a:ext uri="{FF2B5EF4-FFF2-40B4-BE49-F238E27FC236}">
                <a16:creationId xmlns:a16="http://schemas.microsoft.com/office/drawing/2014/main" id="{C9B79889-2E07-47F2-A0C4-DC80A37FDBDA}"/>
              </a:ext>
            </a:extLst>
          </p:cNvPr>
          <p:cNvSpPr>
            <a:spLocks noGrp="1"/>
          </p:cNvSpPr>
          <p:nvPr>
            <p:ph type="title" hasCustomPrompt="1"/>
          </p:nvPr>
        </p:nvSpPr>
        <p:spPr bwMode="gray"/>
        <p:txBody>
          <a:bodyPr/>
          <a:lstStyle>
            <a:lvl1pPr>
              <a:defRPr/>
            </a:lvl1pPr>
          </a:lstStyle>
          <a:p>
            <a:r>
              <a:rPr lang="de-DE"/>
              <a:t>Titel durch Klicken bearbeiten</a:t>
            </a:r>
          </a:p>
        </p:txBody>
      </p:sp>
      <p:sp>
        <p:nvSpPr>
          <p:cNvPr id="2" name="Datumsplatzhalter 1">
            <a:extLst>
              <a:ext uri="{FF2B5EF4-FFF2-40B4-BE49-F238E27FC236}">
                <a16:creationId xmlns:a16="http://schemas.microsoft.com/office/drawing/2014/main" id="{ECD1828B-5300-418C-A147-023E190B0660}"/>
              </a:ext>
            </a:extLst>
          </p:cNvPr>
          <p:cNvSpPr>
            <a:spLocks noGrp="1"/>
          </p:cNvSpPr>
          <p:nvPr>
            <p:ph type="dt" sz="half" idx="29"/>
          </p:nvPr>
        </p:nvSpPr>
        <p:spPr bwMode="gray">
          <a:xfrm>
            <a:off x="10709631" y="151200"/>
            <a:ext cx="748800" cy="180000"/>
          </a:xfrm>
          <a:prstGeom prst="rect">
            <a:avLst/>
          </a:prstGeom>
        </p:spPr>
        <p:txBody>
          <a:bodyPr/>
          <a:lstStyle/>
          <a:p>
            <a:r>
              <a:rPr lang="de-DE"/>
              <a:t>XX.XX.2021</a:t>
            </a:r>
          </a:p>
        </p:txBody>
      </p:sp>
      <p:sp>
        <p:nvSpPr>
          <p:cNvPr id="3" name="Fußzeilenplatzhalter 2">
            <a:extLst>
              <a:ext uri="{FF2B5EF4-FFF2-40B4-BE49-F238E27FC236}">
                <a16:creationId xmlns:a16="http://schemas.microsoft.com/office/drawing/2014/main" id="{FCF4070D-3CE1-4E9F-9080-3DB95E789FEB}"/>
              </a:ext>
            </a:extLst>
          </p:cNvPr>
          <p:cNvSpPr>
            <a:spLocks noGrp="1"/>
          </p:cNvSpPr>
          <p:nvPr>
            <p:ph type="ftr" sz="quarter" idx="30"/>
          </p:nvPr>
        </p:nvSpPr>
        <p:spPr bwMode="gray">
          <a:xfrm>
            <a:off x="6313488" y="151200"/>
            <a:ext cx="4393761" cy="180000"/>
          </a:xfrm>
          <a:prstGeom prst="rect">
            <a:avLst/>
          </a:prstGeom>
        </p:spPr>
        <p:txBody>
          <a:bodyPr/>
          <a:lstStyle/>
          <a:p>
            <a:r>
              <a:rPr lang="de-DE"/>
              <a:t>Kürzel  |  CX  |</a:t>
            </a:r>
          </a:p>
        </p:txBody>
      </p:sp>
      <p:sp>
        <p:nvSpPr>
          <p:cNvPr id="7" name="Foliennummernplatzhalter 6">
            <a:extLst>
              <a:ext uri="{FF2B5EF4-FFF2-40B4-BE49-F238E27FC236}">
                <a16:creationId xmlns:a16="http://schemas.microsoft.com/office/drawing/2014/main" id="{04C38013-45C9-48D9-971F-F1A5581A4B0E}"/>
              </a:ext>
            </a:extLst>
          </p:cNvPr>
          <p:cNvSpPr>
            <a:spLocks noGrp="1"/>
          </p:cNvSpPr>
          <p:nvPr>
            <p:ph type="sldNum" sz="quarter" idx="31"/>
          </p:nvPr>
        </p:nvSpPr>
        <p:spPr bwMode="gray">
          <a:xfrm>
            <a:off x="11504750" y="151200"/>
            <a:ext cx="280800" cy="180000"/>
          </a:xfrm>
          <a:prstGeom prst="rect">
            <a:avLst/>
          </a:prstGeom>
        </p:spPr>
        <p:txBody>
          <a:bodyPr/>
          <a:lstStyle/>
          <a:p>
            <a:fld id="{9C89B081-1F44-4440-BC7B-989C90F97B77}" type="slidenum">
              <a:rPr lang="de-DE"/>
              <a:pPr/>
              <a:t>‹Nr.›</a:t>
            </a:fld>
            <a:endParaRPr lang="de-DE"/>
          </a:p>
        </p:txBody>
      </p:sp>
    </p:spTree>
    <p:extLst>
      <p:ext uri="{BB962C8B-B14F-4D97-AF65-F5344CB8AC3E}">
        <p14:creationId xmlns:p14="http://schemas.microsoft.com/office/powerpoint/2010/main" val="3088152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57">
          <p15:clr>
            <a:srgbClr val="F26B43"/>
          </p15:clr>
        </p15:guide>
        <p15:guide id="3" orient="horz" pos="255">
          <p15:clr>
            <a:srgbClr val="F26B43"/>
          </p15:clr>
        </p15:guide>
        <p15:guide id="6" orient="horz" pos="890">
          <p15:clr>
            <a:srgbClr val="F26B43"/>
          </p15:clr>
        </p15:guide>
        <p15:guide id="9" pos="3976">
          <p15:clr>
            <a:srgbClr val="F26B43"/>
          </p15:clr>
        </p15:guide>
        <p15:guide id="10" pos="3705">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Zweispaltig mit Markenform links 02">
    <p:spTree>
      <p:nvGrpSpPr>
        <p:cNvPr id="1" name=""/>
        <p:cNvGrpSpPr/>
        <p:nvPr/>
      </p:nvGrpSpPr>
      <p:grpSpPr>
        <a:xfrm>
          <a:off x="0" y="0"/>
          <a:ext cx="0" cy="0"/>
          <a:chOff x="0" y="0"/>
          <a:chExt cx="0" cy="0"/>
        </a:xfrm>
      </p:grpSpPr>
      <p:sp>
        <p:nvSpPr>
          <p:cNvPr id="16" name="Inhaltsplatzhalter 2"/>
          <p:cNvSpPr>
            <a:spLocks noGrp="1"/>
          </p:cNvSpPr>
          <p:nvPr>
            <p:ph sz="quarter" idx="24" hasCustomPrompt="1"/>
          </p:nvPr>
        </p:nvSpPr>
        <p:spPr bwMode="gray">
          <a:xfrm>
            <a:off x="6313611" y="1412776"/>
            <a:ext cx="5472000" cy="4896445"/>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5" name="Textplatzhalter 3"/>
          <p:cNvSpPr>
            <a:spLocks noGrp="1"/>
          </p:cNvSpPr>
          <p:nvPr>
            <p:ph type="body" sz="quarter" idx="23" hasCustomPrompt="1"/>
          </p:nvPr>
        </p:nvSpPr>
        <p:spPr bwMode="gray">
          <a:xfrm>
            <a:off x="6313611" y="6001543"/>
            <a:ext cx="5472000"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a:t>Quelle:</a:t>
            </a:r>
          </a:p>
        </p:txBody>
      </p:sp>
      <p:sp>
        <p:nvSpPr>
          <p:cNvPr id="13" name="Textplatzhalter 12">
            <a:extLst>
              <a:ext uri="{FF2B5EF4-FFF2-40B4-BE49-F238E27FC236}">
                <a16:creationId xmlns:a16="http://schemas.microsoft.com/office/drawing/2014/main" id="{2717C83D-431F-4C94-BEAC-38C5298EC06C}"/>
              </a:ext>
            </a:extLst>
          </p:cNvPr>
          <p:cNvSpPr>
            <a:spLocks noGrp="1" noChangeAspect="1"/>
          </p:cNvSpPr>
          <p:nvPr>
            <p:ph type="body" sz="quarter" idx="30" hasCustomPrompt="1"/>
          </p:nvPr>
        </p:nvSpPr>
        <p:spPr bwMode="gray">
          <a:xfrm>
            <a:off x="408955" y="1412776"/>
            <a:ext cx="5472000" cy="4896000"/>
          </a:xfrm>
          <a:custGeom>
            <a:avLst/>
            <a:gdLst>
              <a:gd name="connsiteX0" fmla="*/ 4676664 w 5473336"/>
              <a:gd name="connsiteY0" fmla="*/ 1448 h 4883744"/>
              <a:gd name="connsiteX1" fmla="*/ 5473336 w 5473336"/>
              <a:gd name="connsiteY1" fmla="*/ 743338 h 4883744"/>
              <a:gd name="connsiteX2" fmla="*/ 5473336 w 5473336"/>
              <a:gd name="connsiteY2" fmla="*/ 1633637 h 4883744"/>
              <a:gd name="connsiteX3" fmla="*/ 5473336 w 5473336"/>
              <a:gd name="connsiteY3" fmla="*/ 1674371 h 4883744"/>
              <a:gd name="connsiteX4" fmla="*/ 5473336 w 5473336"/>
              <a:gd name="connsiteY4" fmla="*/ 1677497 h 4883744"/>
              <a:gd name="connsiteX5" fmla="*/ 5473336 w 5473336"/>
              <a:gd name="connsiteY5" fmla="*/ 1812665 h 4883744"/>
              <a:gd name="connsiteX6" fmla="*/ 5473336 w 5473336"/>
              <a:gd name="connsiteY6" fmla="*/ 1856161 h 4883744"/>
              <a:gd name="connsiteX7" fmla="*/ 5473336 w 5473336"/>
              <a:gd name="connsiteY7" fmla="*/ 1958257 h 4883744"/>
              <a:gd name="connsiteX8" fmla="*/ 5473336 w 5473336"/>
              <a:gd name="connsiteY8" fmla="*/ 2093425 h 4883744"/>
              <a:gd name="connsiteX9" fmla="*/ 5473336 w 5473336"/>
              <a:gd name="connsiteY9" fmla="*/ 2096551 h 4883744"/>
              <a:gd name="connsiteX10" fmla="*/ 5473336 w 5473336"/>
              <a:gd name="connsiteY10" fmla="*/ 2377311 h 4883744"/>
              <a:gd name="connsiteX11" fmla="*/ 5473336 w 5473336"/>
              <a:gd name="connsiteY11" fmla="*/ 2506434 h 4883744"/>
              <a:gd name="connsiteX12" fmla="*/ 5473336 w 5473336"/>
              <a:gd name="connsiteY12" fmla="*/ 2787194 h 4883744"/>
              <a:gd name="connsiteX13" fmla="*/ 5473336 w 5473336"/>
              <a:gd name="connsiteY13" fmla="*/ 2790320 h 4883744"/>
              <a:gd name="connsiteX14" fmla="*/ 5473336 w 5473336"/>
              <a:gd name="connsiteY14" fmla="*/ 2861522 h 4883744"/>
              <a:gd name="connsiteX15" fmla="*/ 5473336 w 5473336"/>
              <a:gd name="connsiteY15" fmla="*/ 2925488 h 4883744"/>
              <a:gd name="connsiteX16" fmla="*/ 5473336 w 5473336"/>
              <a:gd name="connsiteY16" fmla="*/ 3071080 h 4883744"/>
              <a:gd name="connsiteX17" fmla="*/ 5473336 w 5473336"/>
              <a:gd name="connsiteY17" fmla="*/ 3078035 h 4883744"/>
              <a:gd name="connsiteX18" fmla="*/ 5473336 w 5473336"/>
              <a:gd name="connsiteY18" fmla="*/ 3206248 h 4883744"/>
              <a:gd name="connsiteX19" fmla="*/ 5473336 w 5473336"/>
              <a:gd name="connsiteY19" fmla="*/ 3974345 h 4883744"/>
              <a:gd name="connsiteX20" fmla="*/ 966865 w 5473336"/>
              <a:gd name="connsiteY20" fmla="*/ 4862978 h 4883744"/>
              <a:gd name="connsiteX21" fmla="*/ 0 w 5473336"/>
              <a:gd name="connsiteY21" fmla="*/ 4140407 h 4883744"/>
              <a:gd name="connsiteX22" fmla="*/ 0 w 5473336"/>
              <a:gd name="connsiteY22" fmla="*/ 3206248 h 4883744"/>
              <a:gd name="connsiteX23" fmla="*/ 0 w 5473336"/>
              <a:gd name="connsiteY23" fmla="*/ 3078035 h 4883744"/>
              <a:gd name="connsiteX24" fmla="*/ 0 w 5473336"/>
              <a:gd name="connsiteY24" fmla="*/ 3071080 h 4883744"/>
              <a:gd name="connsiteX25" fmla="*/ 0 w 5473336"/>
              <a:gd name="connsiteY25" fmla="*/ 3027584 h 4883744"/>
              <a:gd name="connsiteX26" fmla="*/ 0 w 5473336"/>
              <a:gd name="connsiteY26" fmla="*/ 2925488 h 4883744"/>
              <a:gd name="connsiteX27" fmla="*/ 0 w 5473336"/>
              <a:gd name="connsiteY27" fmla="*/ 2790320 h 4883744"/>
              <a:gd name="connsiteX28" fmla="*/ 0 w 5473336"/>
              <a:gd name="connsiteY28" fmla="*/ 2787194 h 4883744"/>
              <a:gd name="connsiteX29" fmla="*/ 0 w 5473336"/>
              <a:gd name="connsiteY29" fmla="*/ 2506434 h 4883744"/>
              <a:gd name="connsiteX30" fmla="*/ 0 w 5473336"/>
              <a:gd name="connsiteY30" fmla="*/ 2377311 h 4883744"/>
              <a:gd name="connsiteX31" fmla="*/ 0 w 5473336"/>
              <a:gd name="connsiteY31" fmla="*/ 2096551 h 4883744"/>
              <a:gd name="connsiteX32" fmla="*/ 0 w 5473336"/>
              <a:gd name="connsiteY32" fmla="*/ 2093425 h 4883744"/>
              <a:gd name="connsiteX33" fmla="*/ 0 w 5473336"/>
              <a:gd name="connsiteY33" fmla="*/ 2022223 h 4883744"/>
              <a:gd name="connsiteX34" fmla="*/ 0 w 5473336"/>
              <a:gd name="connsiteY34" fmla="*/ 1958257 h 4883744"/>
              <a:gd name="connsiteX35" fmla="*/ 0 w 5473336"/>
              <a:gd name="connsiteY35" fmla="*/ 1812665 h 4883744"/>
              <a:gd name="connsiteX36" fmla="*/ 0 w 5473336"/>
              <a:gd name="connsiteY36" fmla="*/ 1738337 h 4883744"/>
              <a:gd name="connsiteX37" fmla="*/ 0 w 5473336"/>
              <a:gd name="connsiteY37" fmla="*/ 1677497 h 4883744"/>
              <a:gd name="connsiteX38" fmla="*/ 0 w 5473336"/>
              <a:gd name="connsiteY38" fmla="*/ 1674371 h 4883744"/>
              <a:gd name="connsiteX39" fmla="*/ 0 w 5473336"/>
              <a:gd name="connsiteY39" fmla="*/ 1633637 h 4883744"/>
              <a:gd name="connsiteX40" fmla="*/ 0 w 5473336"/>
              <a:gd name="connsiteY40" fmla="*/ 909400 h 4883744"/>
              <a:gd name="connsiteX41" fmla="*/ 4506471 w 5473336"/>
              <a:gd name="connsiteY41" fmla="*/ 20767 h 4883744"/>
              <a:gd name="connsiteX42" fmla="*/ 4676664 w 5473336"/>
              <a:gd name="connsiteY42" fmla="*/ 1448 h 4883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473336" h="4883744">
                <a:moveTo>
                  <a:pt x="4676664" y="1448"/>
                </a:moveTo>
                <a:cubicBezTo>
                  <a:pt x="5473336" y="-38046"/>
                  <a:pt x="5473336" y="743338"/>
                  <a:pt x="5473336" y="743338"/>
                </a:cubicBezTo>
                <a:lnTo>
                  <a:pt x="5473336" y="1633637"/>
                </a:lnTo>
                <a:lnTo>
                  <a:pt x="5473336" y="1674371"/>
                </a:lnTo>
                <a:lnTo>
                  <a:pt x="5473336" y="1677497"/>
                </a:lnTo>
                <a:lnTo>
                  <a:pt x="5473336" y="1812665"/>
                </a:lnTo>
                <a:lnTo>
                  <a:pt x="5473336" y="1856161"/>
                </a:lnTo>
                <a:lnTo>
                  <a:pt x="5473336" y="1958257"/>
                </a:lnTo>
                <a:lnTo>
                  <a:pt x="5473336" y="2093425"/>
                </a:lnTo>
                <a:lnTo>
                  <a:pt x="5473336" y="2096551"/>
                </a:lnTo>
                <a:lnTo>
                  <a:pt x="5473336" y="2377311"/>
                </a:lnTo>
                <a:lnTo>
                  <a:pt x="5473336" y="2506434"/>
                </a:lnTo>
                <a:lnTo>
                  <a:pt x="5473336" y="2787194"/>
                </a:lnTo>
                <a:lnTo>
                  <a:pt x="5473336" y="2790320"/>
                </a:lnTo>
                <a:lnTo>
                  <a:pt x="5473336" y="2861522"/>
                </a:lnTo>
                <a:lnTo>
                  <a:pt x="5473336" y="2925488"/>
                </a:lnTo>
                <a:lnTo>
                  <a:pt x="5473336" y="3071080"/>
                </a:lnTo>
                <a:lnTo>
                  <a:pt x="5473336" y="3078035"/>
                </a:lnTo>
                <a:lnTo>
                  <a:pt x="5473336" y="3206248"/>
                </a:lnTo>
                <a:lnTo>
                  <a:pt x="5473336" y="3974345"/>
                </a:lnTo>
                <a:lnTo>
                  <a:pt x="966865" y="4862978"/>
                </a:lnTo>
                <a:cubicBezTo>
                  <a:pt x="0" y="5029448"/>
                  <a:pt x="0" y="4140407"/>
                  <a:pt x="0" y="4140407"/>
                </a:cubicBezTo>
                <a:lnTo>
                  <a:pt x="0" y="3206248"/>
                </a:lnTo>
                <a:lnTo>
                  <a:pt x="0" y="3078035"/>
                </a:lnTo>
                <a:lnTo>
                  <a:pt x="0" y="3071080"/>
                </a:lnTo>
                <a:lnTo>
                  <a:pt x="0" y="3027584"/>
                </a:lnTo>
                <a:lnTo>
                  <a:pt x="0" y="2925488"/>
                </a:lnTo>
                <a:lnTo>
                  <a:pt x="0" y="2790320"/>
                </a:lnTo>
                <a:lnTo>
                  <a:pt x="0" y="2787194"/>
                </a:lnTo>
                <a:lnTo>
                  <a:pt x="0" y="2506434"/>
                </a:lnTo>
                <a:lnTo>
                  <a:pt x="0" y="2377311"/>
                </a:lnTo>
                <a:lnTo>
                  <a:pt x="0" y="2096551"/>
                </a:lnTo>
                <a:lnTo>
                  <a:pt x="0" y="2093425"/>
                </a:lnTo>
                <a:lnTo>
                  <a:pt x="0" y="2022223"/>
                </a:lnTo>
                <a:lnTo>
                  <a:pt x="0" y="1958257"/>
                </a:lnTo>
                <a:lnTo>
                  <a:pt x="0" y="1812665"/>
                </a:lnTo>
                <a:lnTo>
                  <a:pt x="0" y="1738337"/>
                </a:lnTo>
                <a:lnTo>
                  <a:pt x="0" y="1677497"/>
                </a:lnTo>
                <a:lnTo>
                  <a:pt x="0" y="1674371"/>
                </a:lnTo>
                <a:lnTo>
                  <a:pt x="0" y="1633637"/>
                </a:lnTo>
                <a:lnTo>
                  <a:pt x="0" y="909400"/>
                </a:lnTo>
                <a:lnTo>
                  <a:pt x="4506471" y="20767"/>
                </a:lnTo>
                <a:cubicBezTo>
                  <a:pt x="4566900" y="10363"/>
                  <a:pt x="4623552" y="4081"/>
                  <a:pt x="4676664" y="1448"/>
                </a:cubicBezTo>
                <a:close/>
              </a:path>
            </a:pathLst>
          </a:custGeom>
          <a:solidFill>
            <a:schemeClr val="tx2"/>
          </a:solidFill>
        </p:spPr>
        <p:txBody>
          <a:bodyPr wrap="square" lIns="324000" tIns="1216800" rIns="32400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4" name="Titel 3">
            <a:extLst>
              <a:ext uri="{FF2B5EF4-FFF2-40B4-BE49-F238E27FC236}">
                <a16:creationId xmlns:a16="http://schemas.microsoft.com/office/drawing/2014/main" id="{E7FDA46B-AC42-497F-9DFD-87CDC7AAD004}"/>
              </a:ext>
            </a:extLst>
          </p:cNvPr>
          <p:cNvSpPr>
            <a:spLocks noGrp="1"/>
          </p:cNvSpPr>
          <p:nvPr>
            <p:ph type="title" hasCustomPrompt="1"/>
          </p:nvPr>
        </p:nvSpPr>
        <p:spPr bwMode="gray"/>
        <p:txBody>
          <a:bodyPr/>
          <a:lstStyle>
            <a:lvl1pPr>
              <a:defRPr/>
            </a:lvl1pPr>
          </a:lstStyle>
          <a:p>
            <a:r>
              <a:rPr lang="de-DE"/>
              <a:t>Titel durch Klicken bearbeiten</a:t>
            </a:r>
          </a:p>
        </p:txBody>
      </p:sp>
      <p:sp>
        <p:nvSpPr>
          <p:cNvPr id="2" name="Datumsplatzhalter 1">
            <a:extLst>
              <a:ext uri="{FF2B5EF4-FFF2-40B4-BE49-F238E27FC236}">
                <a16:creationId xmlns:a16="http://schemas.microsoft.com/office/drawing/2014/main" id="{A22F1C15-782E-4B2C-A2E9-361CB8446BEA}"/>
              </a:ext>
            </a:extLst>
          </p:cNvPr>
          <p:cNvSpPr>
            <a:spLocks noGrp="1"/>
          </p:cNvSpPr>
          <p:nvPr>
            <p:ph type="dt" sz="half" idx="31"/>
          </p:nvPr>
        </p:nvSpPr>
        <p:spPr bwMode="gray">
          <a:xfrm>
            <a:off x="10709631" y="151200"/>
            <a:ext cx="748800" cy="180000"/>
          </a:xfrm>
          <a:prstGeom prst="rect">
            <a:avLst/>
          </a:prstGeom>
        </p:spPr>
        <p:txBody>
          <a:bodyPr/>
          <a:lstStyle/>
          <a:p>
            <a:r>
              <a:rPr lang="de-DE"/>
              <a:t>XX.XX.2021</a:t>
            </a:r>
          </a:p>
        </p:txBody>
      </p:sp>
      <p:sp>
        <p:nvSpPr>
          <p:cNvPr id="3" name="Fußzeilenplatzhalter 2">
            <a:extLst>
              <a:ext uri="{FF2B5EF4-FFF2-40B4-BE49-F238E27FC236}">
                <a16:creationId xmlns:a16="http://schemas.microsoft.com/office/drawing/2014/main" id="{AD984C28-5572-4147-9BEB-25DCFB06761F}"/>
              </a:ext>
            </a:extLst>
          </p:cNvPr>
          <p:cNvSpPr>
            <a:spLocks noGrp="1"/>
          </p:cNvSpPr>
          <p:nvPr>
            <p:ph type="ftr" sz="quarter" idx="32"/>
          </p:nvPr>
        </p:nvSpPr>
        <p:spPr bwMode="gray">
          <a:xfrm>
            <a:off x="6313488" y="151200"/>
            <a:ext cx="4393761" cy="180000"/>
          </a:xfrm>
          <a:prstGeom prst="rect">
            <a:avLst/>
          </a:prstGeom>
        </p:spPr>
        <p:txBody>
          <a:bodyPr/>
          <a:lstStyle/>
          <a:p>
            <a:r>
              <a:rPr lang="de-DE"/>
              <a:t>Kürzel  |  CX  |</a:t>
            </a:r>
          </a:p>
        </p:txBody>
      </p:sp>
      <p:sp>
        <p:nvSpPr>
          <p:cNvPr id="7" name="Foliennummernplatzhalter 6">
            <a:extLst>
              <a:ext uri="{FF2B5EF4-FFF2-40B4-BE49-F238E27FC236}">
                <a16:creationId xmlns:a16="http://schemas.microsoft.com/office/drawing/2014/main" id="{1C6F92A8-FAD4-42FF-ADAD-6DAC89E1A1C9}"/>
              </a:ext>
            </a:extLst>
          </p:cNvPr>
          <p:cNvSpPr>
            <a:spLocks noGrp="1"/>
          </p:cNvSpPr>
          <p:nvPr>
            <p:ph type="sldNum" sz="quarter" idx="33"/>
          </p:nvPr>
        </p:nvSpPr>
        <p:spPr bwMode="gray">
          <a:xfrm>
            <a:off x="11504750" y="151200"/>
            <a:ext cx="280800" cy="180000"/>
          </a:xfrm>
          <a:prstGeom prst="rect">
            <a:avLst/>
          </a:prstGeom>
        </p:spPr>
        <p:txBody>
          <a:bodyPr/>
          <a:lstStyle/>
          <a:p>
            <a:fld id="{9C89B081-1F44-4440-BC7B-989C90F97B77}" type="slidenum">
              <a:rPr lang="de-DE"/>
              <a:pPr/>
              <a:t>‹Nr.›</a:t>
            </a:fld>
            <a:endParaRPr lang="de-DE"/>
          </a:p>
        </p:txBody>
      </p:sp>
    </p:spTree>
    <p:extLst>
      <p:ext uri="{BB962C8B-B14F-4D97-AF65-F5344CB8AC3E}">
        <p14:creationId xmlns:p14="http://schemas.microsoft.com/office/powerpoint/2010/main" val="2357240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57">
          <p15:clr>
            <a:srgbClr val="F26B43"/>
          </p15:clr>
        </p15:guide>
        <p15:guide id="3" orient="horz" pos="255">
          <p15:clr>
            <a:srgbClr val="F26B43"/>
          </p15:clr>
        </p15:guide>
        <p15:guide id="6" orient="horz" pos="890">
          <p15:clr>
            <a:srgbClr val="F26B43"/>
          </p15:clr>
        </p15:guide>
        <p15:guide id="9" pos="3977">
          <p15:clr>
            <a:srgbClr val="F26B43"/>
          </p15:clr>
        </p15:guide>
        <p15:guide id="10" pos="3705">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Zweispaltig mit Markenform links 03">
    <p:spTree>
      <p:nvGrpSpPr>
        <p:cNvPr id="1" name=""/>
        <p:cNvGrpSpPr/>
        <p:nvPr/>
      </p:nvGrpSpPr>
      <p:grpSpPr>
        <a:xfrm>
          <a:off x="0" y="0"/>
          <a:ext cx="0" cy="0"/>
          <a:chOff x="0" y="0"/>
          <a:chExt cx="0" cy="0"/>
        </a:xfrm>
      </p:grpSpPr>
      <p:sp>
        <p:nvSpPr>
          <p:cNvPr id="16" name="Inhaltsplatzhalter 2"/>
          <p:cNvSpPr>
            <a:spLocks noGrp="1"/>
          </p:cNvSpPr>
          <p:nvPr>
            <p:ph sz="quarter" idx="24" hasCustomPrompt="1"/>
          </p:nvPr>
        </p:nvSpPr>
        <p:spPr bwMode="gray">
          <a:xfrm>
            <a:off x="6313610" y="1412776"/>
            <a:ext cx="5471989" cy="4896445"/>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5" name="Textplatzhalter 3"/>
          <p:cNvSpPr>
            <a:spLocks noGrp="1"/>
          </p:cNvSpPr>
          <p:nvPr>
            <p:ph type="body" sz="quarter" idx="23" hasCustomPrompt="1"/>
          </p:nvPr>
        </p:nvSpPr>
        <p:spPr bwMode="gray">
          <a:xfrm>
            <a:off x="6313610" y="6001543"/>
            <a:ext cx="5471989"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a:t>Quelle:</a:t>
            </a:r>
          </a:p>
        </p:txBody>
      </p:sp>
      <p:sp>
        <p:nvSpPr>
          <p:cNvPr id="14" name="Textplatzhalter 13">
            <a:extLst>
              <a:ext uri="{FF2B5EF4-FFF2-40B4-BE49-F238E27FC236}">
                <a16:creationId xmlns:a16="http://schemas.microsoft.com/office/drawing/2014/main" id="{AA5E6719-7D45-4CEE-B7F8-0F96AB357F5D}"/>
              </a:ext>
            </a:extLst>
          </p:cNvPr>
          <p:cNvSpPr>
            <a:spLocks noGrp="1" noChangeAspect="1"/>
          </p:cNvSpPr>
          <p:nvPr>
            <p:ph type="body" sz="quarter" idx="30" hasCustomPrompt="1"/>
          </p:nvPr>
        </p:nvSpPr>
        <p:spPr bwMode="gray">
          <a:xfrm>
            <a:off x="408955" y="1412776"/>
            <a:ext cx="5473594" cy="4896000"/>
          </a:xfrm>
          <a:custGeom>
            <a:avLst/>
            <a:gdLst>
              <a:gd name="connsiteX0" fmla="*/ 4676664 w 5473336"/>
              <a:gd name="connsiteY0" fmla="*/ 1448 h 4883744"/>
              <a:gd name="connsiteX1" fmla="*/ 5473336 w 5473336"/>
              <a:gd name="connsiteY1" fmla="*/ 743338 h 4883744"/>
              <a:gd name="connsiteX2" fmla="*/ 5473336 w 5473336"/>
              <a:gd name="connsiteY2" fmla="*/ 1633637 h 4883744"/>
              <a:gd name="connsiteX3" fmla="*/ 5473336 w 5473336"/>
              <a:gd name="connsiteY3" fmla="*/ 1674371 h 4883744"/>
              <a:gd name="connsiteX4" fmla="*/ 5473336 w 5473336"/>
              <a:gd name="connsiteY4" fmla="*/ 1677497 h 4883744"/>
              <a:gd name="connsiteX5" fmla="*/ 5473336 w 5473336"/>
              <a:gd name="connsiteY5" fmla="*/ 1812665 h 4883744"/>
              <a:gd name="connsiteX6" fmla="*/ 5473336 w 5473336"/>
              <a:gd name="connsiteY6" fmla="*/ 1856161 h 4883744"/>
              <a:gd name="connsiteX7" fmla="*/ 5473336 w 5473336"/>
              <a:gd name="connsiteY7" fmla="*/ 1958257 h 4883744"/>
              <a:gd name="connsiteX8" fmla="*/ 5473336 w 5473336"/>
              <a:gd name="connsiteY8" fmla="*/ 2093425 h 4883744"/>
              <a:gd name="connsiteX9" fmla="*/ 5473336 w 5473336"/>
              <a:gd name="connsiteY9" fmla="*/ 2096551 h 4883744"/>
              <a:gd name="connsiteX10" fmla="*/ 5473336 w 5473336"/>
              <a:gd name="connsiteY10" fmla="*/ 2377311 h 4883744"/>
              <a:gd name="connsiteX11" fmla="*/ 5473336 w 5473336"/>
              <a:gd name="connsiteY11" fmla="*/ 2506434 h 4883744"/>
              <a:gd name="connsiteX12" fmla="*/ 5473336 w 5473336"/>
              <a:gd name="connsiteY12" fmla="*/ 2787194 h 4883744"/>
              <a:gd name="connsiteX13" fmla="*/ 5473336 w 5473336"/>
              <a:gd name="connsiteY13" fmla="*/ 2790320 h 4883744"/>
              <a:gd name="connsiteX14" fmla="*/ 5473336 w 5473336"/>
              <a:gd name="connsiteY14" fmla="*/ 2861522 h 4883744"/>
              <a:gd name="connsiteX15" fmla="*/ 5473336 w 5473336"/>
              <a:gd name="connsiteY15" fmla="*/ 2925488 h 4883744"/>
              <a:gd name="connsiteX16" fmla="*/ 5473336 w 5473336"/>
              <a:gd name="connsiteY16" fmla="*/ 3071080 h 4883744"/>
              <a:gd name="connsiteX17" fmla="*/ 5473336 w 5473336"/>
              <a:gd name="connsiteY17" fmla="*/ 3078035 h 4883744"/>
              <a:gd name="connsiteX18" fmla="*/ 5473336 w 5473336"/>
              <a:gd name="connsiteY18" fmla="*/ 3206248 h 4883744"/>
              <a:gd name="connsiteX19" fmla="*/ 5473336 w 5473336"/>
              <a:gd name="connsiteY19" fmla="*/ 3974345 h 4883744"/>
              <a:gd name="connsiteX20" fmla="*/ 966865 w 5473336"/>
              <a:gd name="connsiteY20" fmla="*/ 4862978 h 4883744"/>
              <a:gd name="connsiteX21" fmla="*/ 0 w 5473336"/>
              <a:gd name="connsiteY21" fmla="*/ 4140407 h 4883744"/>
              <a:gd name="connsiteX22" fmla="*/ 0 w 5473336"/>
              <a:gd name="connsiteY22" fmla="*/ 3206248 h 4883744"/>
              <a:gd name="connsiteX23" fmla="*/ 0 w 5473336"/>
              <a:gd name="connsiteY23" fmla="*/ 3078035 h 4883744"/>
              <a:gd name="connsiteX24" fmla="*/ 0 w 5473336"/>
              <a:gd name="connsiteY24" fmla="*/ 3071080 h 4883744"/>
              <a:gd name="connsiteX25" fmla="*/ 0 w 5473336"/>
              <a:gd name="connsiteY25" fmla="*/ 3027584 h 4883744"/>
              <a:gd name="connsiteX26" fmla="*/ 0 w 5473336"/>
              <a:gd name="connsiteY26" fmla="*/ 2925488 h 4883744"/>
              <a:gd name="connsiteX27" fmla="*/ 0 w 5473336"/>
              <a:gd name="connsiteY27" fmla="*/ 2790320 h 4883744"/>
              <a:gd name="connsiteX28" fmla="*/ 0 w 5473336"/>
              <a:gd name="connsiteY28" fmla="*/ 2787194 h 4883744"/>
              <a:gd name="connsiteX29" fmla="*/ 0 w 5473336"/>
              <a:gd name="connsiteY29" fmla="*/ 2506434 h 4883744"/>
              <a:gd name="connsiteX30" fmla="*/ 0 w 5473336"/>
              <a:gd name="connsiteY30" fmla="*/ 2377311 h 4883744"/>
              <a:gd name="connsiteX31" fmla="*/ 0 w 5473336"/>
              <a:gd name="connsiteY31" fmla="*/ 2096551 h 4883744"/>
              <a:gd name="connsiteX32" fmla="*/ 0 w 5473336"/>
              <a:gd name="connsiteY32" fmla="*/ 2093425 h 4883744"/>
              <a:gd name="connsiteX33" fmla="*/ 0 w 5473336"/>
              <a:gd name="connsiteY33" fmla="*/ 2022223 h 4883744"/>
              <a:gd name="connsiteX34" fmla="*/ 0 w 5473336"/>
              <a:gd name="connsiteY34" fmla="*/ 1958257 h 4883744"/>
              <a:gd name="connsiteX35" fmla="*/ 0 w 5473336"/>
              <a:gd name="connsiteY35" fmla="*/ 1812665 h 4883744"/>
              <a:gd name="connsiteX36" fmla="*/ 0 w 5473336"/>
              <a:gd name="connsiteY36" fmla="*/ 1738337 h 4883744"/>
              <a:gd name="connsiteX37" fmla="*/ 0 w 5473336"/>
              <a:gd name="connsiteY37" fmla="*/ 1677497 h 4883744"/>
              <a:gd name="connsiteX38" fmla="*/ 0 w 5473336"/>
              <a:gd name="connsiteY38" fmla="*/ 1674371 h 4883744"/>
              <a:gd name="connsiteX39" fmla="*/ 0 w 5473336"/>
              <a:gd name="connsiteY39" fmla="*/ 1633637 h 4883744"/>
              <a:gd name="connsiteX40" fmla="*/ 0 w 5473336"/>
              <a:gd name="connsiteY40" fmla="*/ 909400 h 4883744"/>
              <a:gd name="connsiteX41" fmla="*/ 4506471 w 5473336"/>
              <a:gd name="connsiteY41" fmla="*/ 20767 h 4883744"/>
              <a:gd name="connsiteX42" fmla="*/ 4676664 w 5473336"/>
              <a:gd name="connsiteY42" fmla="*/ 1448 h 4883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473336" h="4883744">
                <a:moveTo>
                  <a:pt x="4676664" y="1448"/>
                </a:moveTo>
                <a:cubicBezTo>
                  <a:pt x="5473336" y="-38046"/>
                  <a:pt x="5473336" y="743338"/>
                  <a:pt x="5473336" y="743338"/>
                </a:cubicBezTo>
                <a:lnTo>
                  <a:pt x="5473336" y="1633637"/>
                </a:lnTo>
                <a:lnTo>
                  <a:pt x="5473336" y="1674371"/>
                </a:lnTo>
                <a:lnTo>
                  <a:pt x="5473336" y="1677497"/>
                </a:lnTo>
                <a:lnTo>
                  <a:pt x="5473336" y="1812665"/>
                </a:lnTo>
                <a:lnTo>
                  <a:pt x="5473336" y="1856161"/>
                </a:lnTo>
                <a:lnTo>
                  <a:pt x="5473336" y="1958257"/>
                </a:lnTo>
                <a:lnTo>
                  <a:pt x="5473336" y="2093425"/>
                </a:lnTo>
                <a:lnTo>
                  <a:pt x="5473336" y="2096551"/>
                </a:lnTo>
                <a:lnTo>
                  <a:pt x="5473336" y="2377311"/>
                </a:lnTo>
                <a:lnTo>
                  <a:pt x="5473336" y="2506434"/>
                </a:lnTo>
                <a:lnTo>
                  <a:pt x="5473336" y="2787194"/>
                </a:lnTo>
                <a:lnTo>
                  <a:pt x="5473336" y="2790320"/>
                </a:lnTo>
                <a:lnTo>
                  <a:pt x="5473336" y="2861522"/>
                </a:lnTo>
                <a:lnTo>
                  <a:pt x="5473336" y="2925488"/>
                </a:lnTo>
                <a:lnTo>
                  <a:pt x="5473336" y="3071080"/>
                </a:lnTo>
                <a:lnTo>
                  <a:pt x="5473336" y="3078035"/>
                </a:lnTo>
                <a:lnTo>
                  <a:pt x="5473336" y="3206248"/>
                </a:lnTo>
                <a:lnTo>
                  <a:pt x="5473336" y="3974345"/>
                </a:lnTo>
                <a:lnTo>
                  <a:pt x="966865" y="4862978"/>
                </a:lnTo>
                <a:cubicBezTo>
                  <a:pt x="0" y="5029448"/>
                  <a:pt x="0" y="4140407"/>
                  <a:pt x="0" y="4140407"/>
                </a:cubicBezTo>
                <a:lnTo>
                  <a:pt x="0" y="3206248"/>
                </a:lnTo>
                <a:lnTo>
                  <a:pt x="0" y="3078035"/>
                </a:lnTo>
                <a:lnTo>
                  <a:pt x="0" y="3071080"/>
                </a:lnTo>
                <a:lnTo>
                  <a:pt x="0" y="3027584"/>
                </a:lnTo>
                <a:lnTo>
                  <a:pt x="0" y="2925488"/>
                </a:lnTo>
                <a:lnTo>
                  <a:pt x="0" y="2790320"/>
                </a:lnTo>
                <a:lnTo>
                  <a:pt x="0" y="2787194"/>
                </a:lnTo>
                <a:lnTo>
                  <a:pt x="0" y="2506434"/>
                </a:lnTo>
                <a:lnTo>
                  <a:pt x="0" y="2377311"/>
                </a:lnTo>
                <a:lnTo>
                  <a:pt x="0" y="2096551"/>
                </a:lnTo>
                <a:lnTo>
                  <a:pt x="0" y="2093425"/>
                </a:lnTo>
                <a:lnTo>
                  <a:pt x="0" y="2022223"/>
                </a:lnTo>
                <a:lnTo>
                  <a:pt x="0" y="1958257"/>
                </a:lnTo>
                <a:lnTo>
                  <a:pt x="0" y="1812665"/>
                </a:lnTo>
                <a:lnTo>
                  <a:pt x="0" y="1738337"/>
                </a:lnTo>
                <a:lnTo>
                  <a:pt x="0" y="1677497"/>
                </a:lnTo>
                <a:lnTo>
                  <a:pt x="0" y="1674371"/>
                </a:lnTo>
                <a:lnTo>
                  <a:pt x="0" y="1633637"/>
                </a:lnTo>
                <a:lnTo>
                  <a:pt x="0" y="909400"/>
                </a:lnTo>
                <a:lnTo>
                  <a:pt x="4506471" y="20767"/>
                </a:lnTo>
                <a:cubicBezTo>
                  <a:pt x="4566900" y="10363"/>
                  <a:pt x="4623552" y="4081"/>
                  <a:pt x="4676664" y="1448"/>
                </a:cubicBezTo>
                <a:close/>
              </a:path>
            </a:pathLst>
          </a:custGeom>
          <a:noFill/>
          <a:ln w="19050">
            <a:solidFill>
              <a:schemeClr val="accent2"/>
            </a:solidFill>
          </a:ln>
        </p:spPr>
        <p:txBody>
          <a:bodyPr vert="horz" wrap="square" lIns="324000" tIns="1224000" rIns="324000" bIns="0" rtlCol="0">
            <a:noAutofit/>
          </a:bodyPr>
          <a:lstStyle>
            <a:lvl1pPr>
              <a:defRPr lang="de-DE" dirty="0"/>
            </a:lvl1pPr>
            <a:lvl2pPr>
              <a:defRPr lang="de-DE" dirty="0"/>
            </a:lvl2pPr>
            <a:lvl3pPr>
              <a:defRPr lang="de-DE" dirty="0"/>
            </a:lvl3pPr>
            <a:lvl4pPr>
              <a:defRPr lang="de-DE" dirty="0"/>
            </a:lvl4pPr>
            <a:lvl5pPr>
              <a:defRPr lang="de-DE" dirty="0"/>
            </a:lvl5pPr>
            <a:lvl6pPr>
              <a:defRPr lang="de-DE" dirty="0"/>
            </a:lvl6pPr>
            <a:lvl7pPr>
              <a:defRPr lang="de-DE" dirty="0"/>
            </a:lvl7pPr>
            <a:lvl8pPr>
              <a:defRPr lang="de-DE" dirty="0"/>
            </a:lvl8pPr>
            <a:lvl9pPr>
              <a:defRPr lang="de-DE" dirty="0"/>
            </a:lvl9p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4" name="Titel 3">
            <a:extLst>
              <a:ext uri="{FF2B5EF4-FFF2-40B4-BE49-F238E27FC236}">
                <a16:creationId xmlns:a16="http://schemas.microsoft.com/office/drawing/2014/main" id="{C64D3147-6A98-4684-B348-F506E50A7218}"/>
              </a:ext>
            </a:extLst>
          </p:cNvPr>
          <p:cNvSpPr>
            <a:spLocks noGrp="1"/>
          </p:cNvSpPr>
          <p:nvPr>
            <p:ph type="title" hasCustomPrompt="1"/>
          </p:nvPr>
        </p:nvSpPr>
        <p:spPr bwMode="gray"/>
        <p:txBody>
          <a:bodyPr/>
          <a:lstStyle>
            <a:lvl1pPr>
              <a:defRPr/>
            </a:lvl1pPr>
          </a:lstStyle>
          <a:p>
            <a:r>
              <a:rPr lang="de-DE"/>
              <a:t>Titel durch Klicken bearbeiten</a:t>
            </a:r>
          </a:p>
        </p:txBody>
      </p:sp>
      <p:sp>
        <p:nvSpPr>
          <p:cNvPr id="12" name="Datumsplatzhalter 11">
            <a:extLst>
              <a:ext uri="{FF2B5EF4-FFF2-40B4-BE49-F238E27FC236}">
                <a16:creationId xmlns:a16="http://schemas.microsoft.com/office/drawing/2014/main" id="{253F14FA-B25B-4FD9-AA98-80E7B88C9450}"/>
              </a:ext>
            </a:extLst>
          </p:cNvPr>
          <p:cNvSpPr>
            <a:spLocks noGrp="1"/>
          </p:cNvSpPr>
          <p:nvPr>
            <p:ph type="dt" sz="half" idx="31"/>
          </p:nvPr>
        </p:nvSpPr>
        <p:spPr bwMode="gray">
          <a:xfrm>
            <a:off x="10709631" y="151200"/>
            <a:ext cx="748800" cy="180000"/>
          </a:xfrm>
          <a:prstGeom prst="rect">
            <a:avLst/>
          </a:prstGeom>
        </p:spPr>
        <p:txBody>
          <a:bodyPr/>
          <a:lstStyle/>
          <a:p>
            <a:r>
              <a:rPr lang="de-DE"/>
              <a:t>XX.XX.2021</a:t>
            </a:r>
          </a:p>
        </p:txBody>
      </p:sp>
      <p:sp>
        <p:nvSpPr>
          <p:cNvPr id="13" name="Fußzeilenplatzhalter 12">
            <a:extLst>
              <a:ext uri="{FF2B5EF4-FFF2-40B4-BE49-F238E27FC236}">
                <a16:creationId xmlns:a16="http://schemas.microsoft.com/office/drawing/2014/main" id="{4ECB1D28-ED18-4C3D-9D04-D6E3B360F05A}"/>
              </a:ext>
            </a:extLst>
          </p:cNvPr>
          <p:cNvSpPr>
            <a:spLocks noGrp="1"/>
          </p:cNvSpPr>
          <p:nvPr>
            <p:ph type="ftr" sz="quarter" idx="32"/>
          </p:nvPr>
        </p:nvSpPr>
        <p:spPr bwMode="gray">
          <a:xfrm>
            <a:off x="6313488" y="151200"/>
            <a:ext cx="4393761" cy="180000"/>
          </a:xfrm>
          <a:prstGeom prst="rect">
            <a:avLst/>
          </a:prstGeom>
        </p:spPr>
        <p:txBody>
          <a:bodyPr/>
          <a:lstStyle/>
          <a:p>
            <a:r>
              <a:rPr lang="de-DE"/>
              <a:t>Kürzel  |  CX  |</a:t>
            </a:r>
          </a:p>
        </p:txBody>
      </p:sp>
      <p:sp>
        <p:nvSpPr>
          <p:cNvPr id="17" name="Foliennummernplatzhalter 16">
            <a:extLst>
              <a:ext uri="{FF2B5EF4-FFF2-40B4-BE49-F238E27FC236}">
                <a16:creationId xmlns:a16="http://schemas.microsoft.com/office/drawing/2014/main" id="{E23746C8-73AD-4284-A38B-4F2952558076}"/>
              </a:ext>
            </a:extLst>
          </p:cNvPr>
          <p:cNvSpPr>
            <a:spLocks noGrp="1"/>
          </p:cNvSpPr>
          <p:nvPr>
            <p:ph type="sldNum" sz="quarter" idx="33"/>
          </p:nvPr>
        </p:nvSpPr>
        <p:spPr bwMode="gray">
          <a:xfrm>
            <a:off x="11504750" y="151200"/>
            <a:ext cx="280800" cy="180000"/>
          </a:xfrm>
          <a:prstGeom prst="rect">
            <a:avLst/>
          </a:prstGeom>
        </p:spPr>
        <p:txBody>
          <a:bodyPr/>
          <a:lstStyle/>
          <a:p>
            <a:fld id="{9C89B081-1F44-4440-BC7B-989C90F97B77}" type="slidenum">
              <a:rPr lang="de-DE"/>
              <a:pPr/>
              <a:t>‹Nr.›</a:t>
            </a:fld>
            <a:endParaRPr lang="de-DE"/>
          </a:p>
        </p:txBody>
      </p:sp>
    </p:spTree>
    <p:extLst>
      <p:ext uri="{BB962C8B-B14F-4D97-AF65-F5344CB8AC3E}">
        <p14:creationId xmlns:p14="http://schemas.microsoft.com/office/powerpoint/2010/main" val="2377056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57">
          <p15:clr>
            <a:srgbClr val="F26B43"/>
          </p15:clr>
        </p15:guide>
        <p15:guide id="3" orient="horz" pos="255">
          <p15:clr>
            <a:srgbClr val="F26B43"/>
          </p15:clr>
        </p15:guide>
        <p15:guide id="6" orient="horz" pos="890">
          <p15:clr>
            <a:srgbClr val="F26B43"/>
          </p15:clr>
        </p15:guide>
        <p15:guide id="9" pos="3977">
          <p15:clr>
            <a:srgbClr val="F26B43"/>
          </p15:clr>
        </p15:guide>
        <p15:guide id="10" pos="3705">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Vollflächiges Bild mit Zitat 01">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EB601A16-8A14-4253-AFFA-8FD4DA9063DB}"/>
              </a:ext>
            </a:extLst>
          </p:cNvPr>
          <p:cNvSpPr>
            <a:spLocks noGrp="1" noChangeAspect="1"/>
          </p:cNvSpPr>
          <p:nvPr>
            <p:ph type="pic" sz="quarter" idx="25" hasCustomPrompt="1"/>
          </p:nvPr>
        </p:nvSpPr>
        <p:spPr bwMode="gray">
          <a:xfrm>
            <a:off x="2" y="3"/>
            <a:ext cx="12195173" cy="6310681"/>
          </a:xfrm>
          <a:custGeom>
            <a:avLst/>
            <a:gdLst>
              <a:gd name="connsiteX0" fmla="*/ 0 w 12195173"/>
              <a:gd name="connsiteY0" fmla="*/ 0 h 6310681"/>
              <a:gd name="connsiteX1" fmla="*/ 12195173 w 12195173"/>
              <a:gd name="connsiteY1" fmla="*/ 0 h 6310681"/>
              <a:gd name="connsiteX2" fmla="*/ 12195173 w 12195173"/>
              <a:gd name="connsiteY2" fmla="*/ 3933113 h 6310681"/>
              <a:gd name="connsiteX3" fmla="*/ 0 w 12195173"/>
              <a:gd name="connsiteY3" fmla="*/ 6310681 h 6310681"/>
            </a:gdLst>
            <a:ahLst/>
            <a:cxnLst>
              <a:cxn ang="0">
                <a:pos x="connsiteX0" y="connsiteY0"/>
              </a:cxn>
              <a:cxn ang="0">
                <a:pos x="connsiteX1" y="connsiteY1"/>
              </a:cxn>
              <a:cxn ang="0">
                <a:pos x="connsiteX2" y="connsiteY2"/>
              </a:cxn>
              <a:cxn ang="0">
                <a:pos x="connsiteX3" y="connsiteY3"/>
              </a:cxn>
            </a:cxnLst>
            <a:rect l="l" t="t" r="r" b="b"/>
            <a:pathLst>
              <a:path w="12195173" h="6310681">
                <a:moveTo>
                  <a:pt x="0" y="0"/>
                </a:moveTo>
                <a:lnTo>
                  <a:pt x="12195173" y="0"/>
                </a:lnTo>
                <a:lnTo>
                  <a:pt x="12195173" y="3933113"/>
                </a:lnTo>
                <a:lnTo>
                  <a:pt x="0" y="6310681"/>
                </a:lnTo>
                <a:close/>
              </a:path>
            </a:pathLst>
          </a:custGeom>
          <a:pattFill prst="pct20">
            <a:fgClr>
              <a:schemeClr val="accent3"/>
            </a:fgClr>
            <a:bgClr>
              <a:schemeClr val="bg1"/>
            </a:bgClr>
          </a:pattFill>
        </p:spPr>
        <p:txBody>
          <a:bodyPr vert="horz" wrap="square" lIns="72000" tIns="72000" rIns="72000" bIns="72000" rtlCol="0" anchor="t">
            <a:noAutofit/>
          </a:bodyPr>
          <a:lstStyle>
            <a:lvl1pPr>
              <a:defRPr lang="de-DE" sz="1600" baseline="0" dirty="0">
                <a:solidFill>
                  <a:schemeClr val="tx1"/>
                </a:solidFill>
              </a:defRPr>
            </a:lvl1pPr>
          </a:lstStyle>
          <a:p>
            <a:pPr marR="0" lvl="0" fontAlgn="auto">
              <a:lnSpc>
                <a:spcPct val="100000"/>
              </a:lnSpc>
              <a:spcBef>
                <a:spcPts val="0"/>
              </a:spcBef>
              <a:spcAft>
                <a:spcPts val="0"/>
              </a:spcAft>
              <a:buClrTx/>
              <a:buSzTx/>
              <a:tabLst/>
            </a:pPr>
            <a:r>
              <a:rPr lang="de-DE" sz="1600"/>
              <a:t>Um ein Hintergrundbild einzufügen, markieren Sie bitte den Platzhalter und wählen entweder ein Bild aus der </a:t>
            </a:r>
            <a:r>
              <a:rPr lang="de-DE" sz="1600" err="1"/>
              <a:t>empower</a:t>
            </a:r>
            <a:r>
              <a:rPr lang="de-DE" sz="1600"/>
              <a:t> Bibliothek oder über den Reiter „Einfügen“, „Bilder“ aus. </a:t>
            </a:r>
          </a:p>
        </p:txBody>
      </p:sp>
      <p:sp>
        <p:nvSpPr>
          <p:cNvPr id="14" name="Textplatzhalter 13">
            <a:extLst>
              <a:ext uri="{FF2B5EF4-FFF2-40B4-BE49-F238E27FC236}">
                <a16:creationId xmlns:a16="http://schemas.microsoft.com/office/drawing/2014/main" id="{390DFC38-6A65-4082-8ED5-8A69F055D7DB}"/>
              </a:ext>
            </a:extLst>
          </p:cNvPr>
          <p:cNvSpPr>
            <a:spLocks noGrp="1" noChangeAspect="1"/>
          </p:cNvSpPr>
          <p:nvPr>
            <p:ph type="body" sz="quarter" idx="26" hasCustomPrompt="1"/>
          </p:nvPr>
        </p:nvSpPr>
        <p:spPr bwMode="gray">
          <a:xfrm>
            <a:off x="6313488" y="2255874"/>
            <a:ext cx="5473336" cy="4054808"/>
          </a:xfrm>
          <a:custGeom>
            <a:avLst/>
            <a:gdLst>
              <a:gd name="connsiteX0" fmla="*/ 4676664 w 5473336"/>
              <a:gd name="connsiteY0" fmla="*/ 1449 h 4054808"/>
              <a:gd name="connsiteX1" fmla="*/ 5473336 w 5473336"/>
              <a:gd name="connsiteY1" fmla="*/ 743339 h 4054808"/>
              <a:gd name="connsiteX2" fmla="*/ 5473336 w 5473336"/>
              <a:gd name="connsiteY2" fmla="*/ 1677498 h 4054808"/>
              <a:gd name="connsiteX3" fmla="*/ 5473336 w 5473336"/>
              <a:gd name="connsiteY3" fmla="*/ 1958258 h 4054808"/>
              <a:gd name="connsiteX4" fmla="*/ 5473336 w 5473336"/>
              <a:gd name="connsiteY4" fmla="*/ 2096552 h 4054808"/>
              <a:gd name="connsiteX5" fmla="*/ 5473336 w 5473336"/>
              <a:gd name="connsiteY5" fmla="*/ 2377312 h 4054808"/>
              <a:gd name="connsiteX6" fmla="*/ 5473336 w 5473336"/>
              <a:gd name="connsiteY6" fmla="*/ 3145409 h 4054808"/>
              <a:gd name="connsiteX7" fmla="*/ 966865 w 5473336"/>
              <a:gd name="connsiteY7" fmla="*/ 4034042 h 4054808"/>
              <a:gd name="connsiteX8" fmla="*/ 0 w 5473336"/>
              <a:gd name="connsiteY8" fmla="*/ 3311471 h 4054808"/>
              <a:gd name="connsiteX9" fmla="*/ 0 w 5473336"/>
              <a:gd name="connsiteY9" fmla="*/ 2377312 h 4054808"/>
              <a:gd name="connsiteX10" fmla="*/ 0 w 5473336"/>
              <a:gd name="connsiteY10" fmla="*/ 2096552 h 4054808"/>
              <a:gd name="connsiteX11" fmla="*/ 0 w 5473336"/>
              <a:gd name="connsiteY11" fmla="*/ 1958258 h 4054808"/>
              <a:gd name="connsiteX12" fmla="*/ 0 w 5473336"/>
              <a:gd name="connsiteY12" fmla="*/ 1677498 h 4054808"/>
              <a:gd name="connsiteX13" fmla="*/ 0 w 5473336"/>
              <a:gd name="connsiteY13" fmla="*/ 909401 h 4054808"/>
              <a:gd name="connsiteX14" fmla="*/ 4506471 w 5473336"/>
              <a:gd name="connsiteY14" fmla="*/ 20768 h 4054808"/>
              <a:gd name="connsiteX15" fmla="*/ 4676664 w 5473336"/>
              <a:gd name="connsiteY15" fmla="*/ 1449 h 4054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473336" h="4054808">
                <a:moveTo>
                  <a:pt x="4676664" y="1449"/>
                </a:moveTo>
                <a:cubicBezTo>
                  <a:pt x="5473336" y="-38045"/>
                  <a:pt x="5473336" y="743339"/>
                  <a:pt x="5473336" y="743339"/>
                </a:cubicBezTo>
                <a:lnTo>
                  <a:pt x="5473336" y="1677498"/>
                </a:lnTo>
                <a:lnTo>
                  <a:pt x="5473336" y="1958258"/>
                </a:lnTo>
                <a:lnTo>
                  <a:pt x="5473336" y="2096552"/>
                </a:lnTo>
                <a:lnTo>
                  <a:pt x="5473336" y="2377312"/>
                </a:lnTo>
                <a:lnTo>
                  <a:pt x="5473336" y="3145409"/>
                </a:lnTo>
                <a:lnTo>
                  <a:pt x="966865" y="4034042"/>
                </a:lnTo>
                <a:cubicBezTo>
                  <a:pt x="0" y="4200512"/>
                  <a:pt x="0" y="3311471"/>
                  <a:pt x="0" y="3311471"/>
                </a:cubicBezTo>
                <a:lnTo>
                  <a:pt x="0" y="2377312"/>
                </a:lnTo>
                <a:lnTo>
                  <a:pt x="0" y="2096552"/>
                </a:lnTo>
                <a:lnTo>
                  <a:pt x="0" y="1958258"/>
                </a:lnTo>
                <a:lnTo>
                  <a:pt x="0" y="1677498"/>
                </a:lnTo>
                <a:lnTo>
                  <a:pt x="0" y="909401"/>
                </a:lnTo>
                <a:lnTo>
                  <a:pt x="4506471" y="20768"/>
                </a:lnTo>
                <a:cubicBezTo>
                  <a:pt x="4566900" y="10364"/>
                  <a:pt x="4623552" y="4082"/>
                  <a:pt x="4676664" y="1449"/>
                </a:cubicBezTo>
                <a:close/>
              </a:path>
            </a:pathLst>
          </a:custGeom>
          <a:solidFill>
            <a:schemeClr val="tx2">
              <a:alpha val="89000"/>
            </a:schemeClr>
          </a:solidFill>
        </p:spPr>
        <p:txBody>
          <a:bodyPr wrap="square" lIns="72000" tIns="72000" rIns="72000" bIns="36000" anchor="ctr">
            <a:noAutofit/>
          </a:bodyPr>
          <a:lstStyle>
            <a:lvl1pPr marL="0" indent="0" algn="ctr">
              <a:spcBef>
                <a:spcPts val="0"/>
              </a:spcBef>
              <a:buFont typeface="Arial" panose="020B0604020202020204" pitchFamily="34" charset="0"/>
              <a:buNone/>
              <a:defRPr sz="2800" b="1">
                <a:solidFill>
                  <a:schemeClr val="bg1"/>
                </a:solidFill>
              </a:defRPr>
            </a:lvl1pPr>
            <a:lvl2pPr marL="0" indent="0" algn="ctr">
              <a:spcBef>
                <a:spcPts val="0"/>
              </a:spcBef>
              <a:buFont typeface="Arial" panose="020B0604020202020204" pitchFamily="34" charset="0"/>
              <a:buNone/>
              <a:defRPr sz="2800" b="1">
                <a:solidFill>
                  <a:schemeClr val="bg1"/>
                </a:solidFill>
              </a:defRPr>
            </a:lvl2pPr>
            <a:lvl3pPr marL="0" indent="0" algn="ctr">
              <a:spcBef>
                <a:spcPts val="0"/>
              </a:spcBef>
              <a:buNone/>
              <a:defRPr sz="2800" b="1">
                <a:solidFill>
                  <a:schemeClr val="bg1"/>
                </a:solidFill>
              </a:defRPr>
            </a:lvl3pPr>
            <a:lvl4pPr marL="0" indent="0" algn="ctr">
              <a:spcBef>
                <a:spcPts val="0"/>
              </a:spcBef>
              <a:buNone/>
              <a:defRPr sz="2800" b="1">
                <a:solidFill>
                  <a:schemeClr val="bg1"/>
                </a:solidFill>
              </a:defRPr>
            </a:lvl4pPr>
            <a:lvl5pPr marL="0" indent="0" algn="ctr">
              <a:spcBef>
                <a:spcPts val="0"/>
              </a:spcBef>
              <a:buNone/>
              <a:defRPr sz="2800" b="1">
                <a:solidFill>
                  <a:schemeClr val="bg1"/>
                </a:solidFill>
              </a:defRPr>
            </a:lvl5pPr>
          </a:lstStyle>
          <a:p>
            <a:pPr lvl="0"/>
            <a:r>
              <a:rPr lang="de-DE"/>
              <a:t>Text durch </a:t>
            </a:r>
            <a:br>
              <a:rPr lang="de-DE"/>
            </a:br>
            <a:r>
              <a:rPr lang="de-DE"/>
              <a:t>Klicken hinzufügen</a:t>
            </a:r>
          </a:p>
        </p:txBody>
      </p:sp>
      <p:sp>
        <p:nvSpPr>
          <p:cNvPr id="6" name="Textfeld 5">
            <a:extLst>
              <a:ext uri="{FF2B5EF4-FFF2-40B4-BE49-F238E27FC236}">
                <a16:creationId xmlns:a16="http://schemas.microsoft.com/office/drawing/2014/main" id="{B77B4609-E141-4123-84B9-E6B81A6AEEFF}"/>
              </a:ext>
            </a:extLst>
          </p:cNvPr>
          <p:cNvSpPr txBox="1"/>
          <p:nvPr/>
        </p:nvSpPr>
        <p:spPr bwMode="gray">
          <a:xfrm>
            <a:off x="409575" y="6516000"/>
            <a:ext cx="11376000" cy="144000"/>
          </a:xfrm>
          <a:prstGeom prst="rect">
            <a:avLst/>
          </a:prstGeom>
          <a:noFill/>
        </p:spPr>
        <p:txBody>
          <a:bodyPr wrap="square" lIns="0" tIns="0" rIns="0" bIns="0" rtlCol="0" anchor="t">
            <a:noAutofit/>
          </a:bodyPr>
          <a:lstStyle/>
          <a:p>
            <a:pPr marL="0" marR="0" lvl="0" indent="0" algn="l" defTabSz="914400" eaLnBrk="1" fontAlgn="auto" latinLnBrk="0" hangingPunct="1">
              <a:lnSpc>
                <a:spcPct val="100000"/>
              </a:lnSpc>
              <a:spcBef>
                <a:spcPts val="600"/>
              </a:spcBef>
              <a:spcAft>
                <a:spcPts val="0"/>
              </a:spcAft>
              <a:buClr>
                <a:srgbClr val="003F74"/>
              </a:buClr>
              <a:buSzTx/>
              <a:buFontTx/>
              <a:buNone/>
              <a:tabLst/>
              <a:defRPr/>
            </a:pPr>
            <a:r>
              <a:rPr kumimoji="0" lang="de-DE" sz="1000" b="0" i="0" u="none" strike="noStrike" kern="0" cap="none" spc="0" normalizeH="0" baseline="0" noProof="0">
                <a:ln>
                  <a:noFill/>
                </a:ln>
                <a:solidFill>
                  <a:schemeClr val="tx2"/>
                </a:solidFill>
                <a:effectLst/>
                <a:uLnTx/>
                <a:uFillTx/>
              </a:rPr>
              <a:t>Union Investment  </a:t>
            </a:r>
            <a:r>
              <a:rPr kumimoji="0" lang="de-DE" sz="1000" b="0" i="0" u="none" strike="noStrike" kern="0" cap="none" spc="0" normalizeH="0" baseline="0" noProof="0">
                <a:ln>
                  <a:noFill/>
                </a:ln>
                <a:solidFill>
                  <a:srgbClr val="888888"/>
                </a:solidFill>
                <a:effectLst/>
                <a:uLnTx/>
                <a:uFillTx/>
              </a:rPr>
              <a:t>|  In Kooperation mit VOLKSBANK					Beachten Sie den rechtlichen Hinweis am Ende der Präsentation</a:t>
            </a:r>
          </a:p>
        </p:txBody>
      </p:sp>
    </p:spTree>
    <p:extLst>
      <p:ext uri="{BB962C8B-B14F-4D97-AF65-F5344CB8AC3E}">
        <p14:creationId xmlns:p14="http://schemas.microsoft.com/office/powerpoint/2010/main" val="3104160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57">
          <p15:clr>
            <a:srgbClr val="F26B43"/>
          </p15:clr>
        </p15:guide>
        <p15:guide id="3" orient="horz" pos="255">
          <p15:clr>
            <a:srgbClr val="F26B43"/>
          </p15:clr>
        </p15:guide>
        <p15:guide id="6" orient="horz" pos="89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Vollflächiges Bild mit Zitat 02">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EB601A16-8A14-4253-AFFA-8FD4DA9063DB}"/>
              </a:ext>
            </a:extLst>
          </p:cNvPr>
          <p:cNvSpPr>
            <a:spLocks noGrp="1"/>
          </p:cNvSpPr>
          <p:nvPr>
            <p:ph type="pic" sz="quarter" idx="25" hasCustomPrompt="1"/>
          </p:nvPr>
        </p:nvSpPr>
        <p:spPr bwMode="gray">
          <a:xfrm>
            <a:off x="2" y="3"/>
            <a:ext cx="12195173" cy="6857997"/>
          </a:xfrm>
          <a:prstGeom prst="rect">
            <a:avLst/>
          </a:prstGeom>
          <a:pattFill prst="pct20">
            <a:fgClr>
              <a:schemeClr val="accent3"/>
            </a:fgClr>
            <a:bgClr>
              <a:schemeClr val="bg1"/>
            </a:bgClr>
          </a:pattFill>
        </p:spPr>
        <p:txBody>
          <a:bodyPr vert="horz" wrap="square" lIns="72000" tIns="72000" rIns="72000" bIns="72000" rtlCol="0" anchor="t">
            <a:noAutofit/>
          </a:bodyPr>
          <a:lstStyle>
            <a:lvl1pPr>
              <a:defRPr lang="de-DE" sz="1600" baseline="0" dirty="0">
                <a:solidFill>
                  <a:schemeClr val="tx1"/>
                </a:solidFill>
              </a:defRPr>
            </a:lvl1pPr>
          </a:lstStyle>
          <a:p>
            <a:pPr marR="0" lvl="0" fontAlgn="auto">
              <a:lnSpc>
                <a:spcPct val="100000"/>
              </a:lnSpc>
              <a:spcBef>
                <a:spcPts val="0"/>
              </a:spcBef>
              <a:spcAft>
                <a:spcPts val="0"/>
              </a:spcAft>
              <a:buClrTx/>
              <a:buSzTx/>
              <a:tabLst/>
            </a:pPr>
            <a:r>
              <a:rPr lang="de-DE" sz="1600"/>
              <a:t>Um ein Hintergrundbild einzufügen, markieren Sie bitte den Platzhalter und wählen entweder ein Bild aus der </a:t>
            </a:r>
            <a:r>
              <a:rPr lang="de-DE" sz="1600" err="1"/>
              <a:t>empower</a:t>
            </a:r>
            <a:r>
              <a:rPr lang="de-DE" sz="1600"/>
              <a:t> Bibliothek oder über den Reiter „Einfügen“, „Bilder“ aus. </a:t>
            </a:r>
          </a:p>
        </p:txBody>
      </p:sp>
      <p:sp>
        <p:nvSpPr>
          <p:cNvPr id="8" name="Textplatzhalter 7">
            <a:extLst>
              <a:ext uri="{FF2B5EF4-FFF2-40B4-BE49-F238E27FC236}">
                <a16:creationId xmlns:a16="http://schemas.microsoft.com/office/drawing/2014/main" id="{48BFDE8F-3291-4AEE-B536-360B9E557D44}"/>
              </a:ext>
            </a:extLst>
          </p:cNvPr>
          <p:cNvSpPr>
            <a:spLocks noGrp="1" noChangeAspect="1"/>
          </p:cNvSpPr>
          <p:nvPr>
            <p:ph type="body" sz="quarter" idx="26" hasCustomPrompt="1"/>
          </p:nvPr>
        </p:nvSpPr>
        <p:spPr bwMode="gray">
          <a:xfrm>
            <a:off x="8727117" y="404664"/>
            <a:ext cx="3059102" cy="5904000"/>
          </a:xfrm>
          <a:custGeom>
            <a:avLst/>
            <a:gdLst>
              <a:gd name="connsiteX0" fmla="*/ 2260389 w 3057061"/>
              <a:gd name="connsiteY0" fmla="*/ 1449 h 5907827"/>
              <a:gd name="connsiteX1" fmla="*/ 3057061 w 3057061"/>
              <a:gd name="connsiteY1" fmla="*/ 743338 h 5907827"/>
              <a:gd name="connsiteX2" fmla="*/ 3057061 w 3057061"/>
              <a:gd name="connsiteY2" fmla="*/ 1677497 h 5907827"/>
              <a:gd name="connsiteX3" fmla="*/ 3057061 w 3057061"/>
              <a:gd name="connsiteY3" fmla="*/ 1958257 h 5907827"/>
              <a:gd name="connsiteX4" fmla="*/ 3057061 w 3057061"/>
              <a:gd name="connsiteY4" fmla="*/ 2096551 h 5907827"/>
              <a:gd name="connsiteX5" fmla="*/ 3057061 w 3057061"/>
              <a:gd name="connsiteY5" fmla="*/ 2159597 h 5907827"/>
              <a:gd name="connsiteX6" fmla="*/ 3057061 w 3057061"/>
              <a:gd name="connsiteY6" fmla="*/ 2377311 h 5907827"/>
              <a:gd name="connsiteX7" fmla="*/ 3057061 w 3057061"/>
              <a:gd name="connsiteY7" fmla="*/ 3145408 h 5907827"/>
              <a:gd name="connsiteX8" fmla="*/ 3057061 w 3057061"/>
              <a:gd name="connsiteY8" fmla="*/ 5474894 h 5907827"/>
              <a:gd name="connsiteX9" fmla="*/ 966865 w 3057061"/>
              <a:gd name="connsiteY9" fmla="*/ 5887061 h 5907827"/>
              <a:gd name="connsiteX10" fmla="*/ 0 w 3057061"/>
              <a:gd name="connsiteY10" fmla="*/ 5164490 h 5907827"/>
              <a:gd name="connsiteX11" fmla="*/ 0 w 3057061"/>
              <a:gd name="connsiteY11" fmla="*/ 4230331 h 5907827"/>
              <a:gd name="connsiteX12" fmla="*/ 0 w 3057061"/>
              <a:gd name="connsiteY12" fmla="*/ 3949571 h 5907827"/>
              <a:gd name="connsiteX13" fmla="*/ 0 w 3057061"/>
              <a:gd name="connsiteY13" fmla="*/ 3811277 h 5907827"/>
              <a:gd name="connsiteX14" fmla="*/ 0 w 3057061"/>
              <a:gd name="connsiteY14" fmla="*/ 3748231 h 5907827"/>
              <a:gd name="connsiteX15" fmla="*/ 0 w 3057061"/>
              <a:gd name="connsiteY15" fmla="*/ 3530517 h 5907827"/>
              <a:gd name="connsiteX16" fmla="*/ 0 w 3057061"/>
              <a:gd name="connsiteY16" fmla="*/ 2762420 h 5907827"/>
              <a:gd name="connsiteX17" fmla="*/ 0 w 3057061"/>
              <a:gd name="connsiteY17" fmla="*/ 432934 h 5907827"/>
              <a:gd name="connsiteX18" fmla="*/ 2090196 w 3057061"/>
              <a:gd name="connsiteY18" fmla="*/ 20767 h 5907827"/>
              <a:gd name="connsiteX19" fmla="*/ 2260389 w 3057061"/>
              <a:gd name="connsiteY19" fmla="*/ 1449 h 5907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057061" h="5907827">
                <a:moveTo>
                  <a:pt x="2260389" y="1449"/>
                </a:moveTo>
                <a:cubicBezTo>
                  <a:pt x="3057061" y="-38046"/>
                  <a:pt x="3057061" y="743338"/>
                  <a:pt x="3057061" y="743338"/>
                </a:cubicBezTo>
                <a:lnTo>
                  <a:pt x="3057061" y="1677497"/>
                </a:lnTo>
                <a:lnTo>
                  <a:pt x="3057061" y="1958257"/>
                </a:lnTo>
                <a:lnTo>
                  <a:pt x="3057061" y="2096551"/>
                </a:lnTo>
                <a:lnTo>
                  <a:pt x="3057061" y="2159597"/>
                </a:lnTo>
                <a:lnTo>
                  <a:pt x="3057061" y="2377311"/>
                </a:lnTo>
                <a:lnTo>
                  <a:pt x="3057061" y="3145408"/>
                </a:lnTo>
                <a:lnTo>
                  <a:pt x="3057061" y="5474894"/>
                </a:lnTo>
                <a:lnTo>
                  <a:pt x="966865" y="5887061"/>
                </a:lnTo>
                <a:cubicBezTo>
                  <a:pt x="0" y="6053531"/>
                  <a:pt x="0" y="5164490"/>
                  <a:pt x="0" y="5164490"/>
                </a:cubicBezTo>
                <a:lnTo>
                  <a:pt x="0" y="4230331"/>
                </a:lnTo>
                <a:lnTo>
                  <a:pt x="0" y="3949571"/>
                </a:lnTo>
                <a:lnTo>
                  <a:pt x="0" y="3811277"/>
                </a:lnTo>
                <a:lnTo>
                  <a:pt x="0" y="3748231"/>
                </a:lnTo>
                <a:lnTo>
                  <a:pt x="0" y="3530517"/>
                </a:lnTo>
                <a:lnTo>
                  <a:pt x="0" y="2762420"/>
                </a:lnTo>
                <a:lnTo>
                  <a:pt x="0" y="432934"/>
                </a:lnTo>
                <a:lnTo>
                  <a:pt x="2090196" y="20767"/>
                </a:lnTo>
                <a:cubicBezTo>
                  <a:pt x="2150625" y="10363"/>
                  <a:pt x="2207277" y="4081"/>
                  <a:pt x="2260389" y="1449"/>
                </a:cubicBezTo>
                <a:close/>
              </a:path>
            </a:pathLst>
          </a:custGeom>
          <a:solidFill>
            <a:schemeClr val="tx2">
              <a:alpha val="89000"/>
            </a:schemeClr>
          </a:solidFill>
        </p:spPr>
        <p:txBody>
          <a:bodyPr wrap="square" lIns="180000" tIns="72000" rIns="180000" bIns="72000" anchor="ctr">
            <a:noAutofit/>
          </a:bodyPr>
          <a:lstStyle>
            <a:lvl1pPr marL="0" indent="0" algn="ctr">
              <a:spcBef>
                <a:spcPts val="0"/>
              </a:spcBef>
              <a:buFont typeface="Arial" panose="020B0604020202020204" pitchFamily="34" charset="0"/>
              <a:buNone/>
              <a:defRPr sz="2800" b="1">
                <a:solidFill>
                  <a:schemeClr val="bg1"/>
                </a:solidFill>
              </a:defRPr>
            </a:lvl1pPr>
            <a:lvl2pPr marL="0" indent="0" algn="ctr">
              <a:spcBef>
                <a:spcPts val="0"/>
              </a:spcBef>
              <a:buFont typeface="Arial" panose="020B0604020202020204" pitchFamily="34" charset="0"/>
              <a:buNone/>
              <a:defRPr sz="2800" b="1">
                <a:solidFill>
                  <a:schemeClr val="bg1"/>
                </a:solidFill>
              </a:defRPr>
            </a:lvl2pPr>
            <a:lvl3pPr marL="0" indent="0" algn="ctr">
              <a:spcBef>
                <a:spcPts val="0"/>
              </a:spcBef>
              <a:buNone/>
              <a:defRPr sz="2800" b="1">
                <a:solidFill>
                  <a:schemeClr val="bg1"/>
                </a:solidFill>
              </a:defRPr>
            </a:lvl3pPr>
            <a:lvl4pPr marL="0" indent="0" algn="ctr">
              <a:spcBef>
                <a:spcPts val="0"/>
              </a:spcBef>
              <a:buNone/>
              <a:defRPr sz="2800" b="1">
                <a:solidFill>
                  <a:schemeClr val="bg1"/>
                </a:solidFill>
              </a:defRPr>
            </a:lvl4pPr>
            <a:lvl5pPr marL="0" indent="0" algn="ctr">
              <a:spcBef>
                <a:spcPts val="0"/>
              </a:spcBef>
              <a:buNone/>
              <a:defRPr sz="2800" b="1">
                <a:solidFill>
                  <a:schemeClr val="bg1"/>
                </a:solidFill>
              </a:defRPr>
            </a:lvl5pPr>
          </a:lstStyle>
          <a:p>
            <a:pPr lvl="0"/>
            <a:r>
              <a:rPr lang="de-DE"/>
              <a:t>Text durch Klicken hinzufügen</a:t>
            </a:r>
          </a:p>
        </p:txBody>
      </p:sp>
    </p:spTree>
    <p:extLst>
      <p:ext uri="{BB962C8B-B14F-4D97-AF65-F5344CB8AC3E}">
        <p14:creationId xmlns:p14="http://schemas.microsoft.com/office/powerpoint/2010/main" val="1856305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57">
          <p15:clr>
            <a:srgbClr val="F26B43"/>
          </p15:clr>
        </p15:guide>
        <p15:guide id="3" orient="horz" pos="255">
          <p15:clr>
            <a:srgbClr val="F26B43"/>
          </p15:clr>
        </p15:guide>
        <p15:guide id="6" orient="horz" pos="89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Vollflächiges Bild mit Zitat 03">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EB601A16-8A14-4253-AFFA-8FD4DA9063DB}"/>
              </a:ext>
            </a:extLst>
          </p:cNvPr>
          <p:cNvSpPr>
            <a:spLocks noGrp="1"/>
          </p:cNvSpPr>
          <p:nvPr>
            <p:ph type="pic" sz="quarter" idx="25" hasCustomPrompt="1"/>
          </p:nvPr>
        </p:nvSpPr>
        <p:spPr bwMode="gray">
          <a:xfrm>
            <a:off x="2" y="3"/>
            <a:ext cx="12195173" cy="6857997"/>
          </a:xfrm>
          <a:prstGeom prst="rect">
            <a:avLst/>
          </a:prstGeom>
          <a:pattFill prst="pct20">
            <a:fgClr>
              <a:schemeClr val="accent3"/>
            </a:fgClr>
            <a:bgClr>
              <a:schemeClr val="bg1"/>
            </a:bgClr>
          </a:pattFill>
        </p:spPr>
        <p:txBody>
          <a:bodyPr vert="horz" wrap="square" lIns="72000" tIns="72000" rIns="72000" bIns="72000" rtlCol="0" anchor="t">
            <a:noAutofit/>
          </a:bodyPr>
          <a:lstStyle>
            <a:lvl1pPr>
              <a:defRPr lang="de-DE" sz="1600" baseline="0" dirty="0">
                <a:solidFill>
                  <a:schemeClr val="tx1"/>
                </a:solidFill>
              </a:defRPr>
            </a:lvl1pPr>
          </a:lstStyle>
          <a:p>
            <a:pPr marR="0" lvl="0" fontAlgn="auto">
              <a:lnSpc>
                <a:spcPct val="100000"/>
              </a:lnSpc>
              <a:spcBef>
                <a:spcPts val="0"/>
              </a:spcBef>
              <a:spcAft>
                <a:spcPts val="0"/>
              </a:spcAft>
              <a:buClrTx/>
              <a:buSzTx/>
              <a:tabLst/>
            </a:pPr>
            <a:r>
              <a:rPr lang="de-DE" sz="1600"/>
              <a:t>Um ein Hintergrundbild einzufügen, markieren Sie bitte den Platzhalter und wählen entweder ein Bild aus der </a:t>
            </a:r>
            <a:r>
              <a:rPr lang="de-DE" sz="1600" err="1"/>
              <a:t>empower</a:t>
            </a:r>
            <a:r>
              <a:rPr lang="de-DE" sz="1600"/>
              <a:t> Bibliothek oder über den Reiter „Einfügen“, „Bilder“ aus. </a:t>
            </a:r>
          </a:p>
        </p:txBody>
      </p:sp>
      <p:sp>
        <p:nvSpPr>
          <p:cNvPr id="14" name="Textplatzhalter 13">
            <a:extLst>
              <a:ext uri="{FF2B5EF4-FFF2-40B4-BE49-F238E27FC236}">
                <a16:creationId xmlns:a16="http://schemas.microsoft.com/office/drawing/2014/main" id="{390DFC38-6A65-4082-8ED5-8A69F055D7DB}"/>
              </a:ext>
            </a:extLst>
          </p:cNvPr>
          <p:cNvSpPr>
            <a:spLocks noGrp="1" noChangeAspect="1"/>
          </p:cNvSpPr>
          <p:nvPr>
            <p:ph type="body" sz="quarter" idx="26" hasCustomPrompt="1"/>
          </p:nvPr>
        </p:nvSpPr>
        <p:spPr bwMode="gray">
          <a:xfrm>
            <a:off x="6313611" y="2255874"/>
            <a:ext cx="5473336" cy="4054808"/>
          </a:xfrm>
          <a:custGeom>
            <a:avLst/>
            <a:gdLst>
              <a:gd name="connsiteX0" fmla="*/ 4676664 w 5473336"/>
              <a:gd name="connsiteY0" fmla="*/ 1449 h 4054808"/>
              <a:gd name="connsiteX1" fmla="*/ 5473336 w 5473336"/>
              <a:gd name="connsiteY1" fmla="*/ 743339 h 4054808"/>
              <a:gd name="connsiteX2" fmla="*/ 5473336 w 5473336"/>
              <a:gd name="connsiteY2" fmla="*/ 1677498 h 4054808"/>
              <a:gd name="connsiteX3" fmla="*/ 5473336 w 5473336"/>
              <a:gd name="connsiteY3" fmla="*/ 1958258 h 4054808"/>
              <a:gd name="connsiteX4" fmla="*/ 5473336 w 5473336"/>
              <a:gd name="connsiteY4" fmla="*/ 2096552 h 4054808"/>
              <a:gd name="connsiteX5" fmla="*/ 5473336 w 5473336"/>
              <a:gd name="connsiteY5" fmla="*/ 2377312 h 4054808"/>
              <a:gd name="connsiteX6" fmla="*/ 5473336 w 5473336"/>
              <a:gd name="connsiteY6" fmla="*/ 3145409 h 4054808"/>
              <a:gd name="connsiteX7" fmla="*/ 966865 w 5473336"/>
              <a:gd name="connsiteY7" fmla="*/ 4034042 h 4054808"/>
              <a:gd name="connsiteX8" fmla="*/ 0 w 5473336"/>
              <a:gd name="connsiteY8" fmla="*/ 3311471 h 4054808"/>
              <a:gd name="connsiteX9" fmla="*/ 0 w 5473336"/>
              <a:gd name="connsiteY9" fmla="*/ 2377312 h 4054808"/>
              <a:gd name="connsiteX10" fmla="*/ 0 w 5473336"/>
              <a:gd name="connsiteY10" fmla="*/ 2096552 h 4054808"/>
              <a:gd name="connsiteX11" fmla="*/ 0 w 5473336"/>
              <a:gd name="connsiteY11" fmla="*/ 1958258 h 4054808"/>
              <a:gd name="connsiteX12" fmla="*/ 0 w 5473336"/>
              <a:gd name="connsiteY12" fmla="*/ 1677498 h 4054808"/>
              <a:gd name="connsiteX13" fmla="*/ 0 w 5473336"/>
              <a:gd name="connsiteY13" fmla="*/ 909401 h 4054808"/>
              <a:gd name="connsiteX14" fmla="*/ 4506471 w 5473336"/>
              <a:gd name="connsiteY14" fmla="*/ 20768 h 4054808"/>
              <a:gd name="connsiteX15" fmla="*/ 4676664 w 5473336"/>
              <a:gd name="connsiteY15" fmla="*/ 1449 h 4054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473336" h="4054808">
                <a:moveTo>
                  <a:pt x="4676664" y="1449"/>
                </a:moveTo>
                <a:cubicBezTo>
                  <a:pt x="5473336" y="-38045"/>
                  <a:pt x="5473336" y="743339"/>
                  <a:pt x="5473336" y="743339"/>
                </a:cubicBezTo>
                <a:lnTo>
                  <a:pt x="5473336" y="1677498"/>
                </a:lnTo>
                <a:lnTo>
                  <a:pt x="5473336" y="1958258"/>
                </a:lnTo>
                <a:lnTo>
                  <a:pt x="5473336" y="2096552"/>
                </a:lnTo>
                <a:lnTo>
                  <a:pt x="5473336" y="2377312"/>
                </a:lnTo>
                <a:lnTo>
                  <a:pt x="5473336" y="3145409"/>
                </a:lnTo>
                <a:lnTo>
                  <a:pt x="966865" y="4034042"/>
                </a:lnTo>
                <a:cubicBezTo>
                  <a:pt x="0" y="4200512"/>
                  <a:pt x="0" y="3311471"/>
                  <a:pt x="0" y="3311471"/>
                </a:cubicBezTo>
                <a:lnTo>
                  <a:pt x="0" y="2377312"/>
                </a:lnTo>
                <a:lnTo>
                  <a:pt x="0" y="2096552"/>
                </a:lnTo>
                <a:lnTo>
                  <a:pt x="0" y="1958258"/>
                </a:lnTo>
                <a:lnTo>
                  <a:pt x="0" y="1677498"/>
                </a:lnTo>
                <a:lnTo>
                  <a:pt x="0" y="909401"/>
                </a:lnTo>
                <a:lnTo>
                  <a:pt x="4506471" y="20768"/>
                </a:lnTo>
                <a:cubicBezTo>
                  <a:pt x="4566900" y="10364"/>
                  <a:pt x="4623552" y="4082"/>
                  <a:pt x="4676664" y="1449"/>
                </a:cubicBezTo>
                <a:close/>
              </a:path>
            </a:pathLst>
          </a:custGeom>
          <a:solidFill>
            <a:schemeClr val="tx2">
              <a:alpha val="89000"/>
            </a:schemeClr>
          </a:solidFill>
        </p:spPr>
        <p:txBody>
          <a:bodyPr wrap="square" lIns="72000" tIns="72000" rIns="72000" bIns="36000" anchor="ctr">
            <a:noAutofit/>
          </a:bodyPr>
          <a:lstStyle>
            <a:lvl1pPr marL="0" indent="0" algn="ctr">
              <a:spcBef>
                <a:spcPts val="0"/>
              </a:spcBef>
              <a:buFont typeface="Arial" panose="020B0604020202020204" pitchFamily="34" charset="0"/>
              <a:buNone/>
              <a:defRPr sz="2800" b="1">
                <a:solidFill>
                  <a:schemeClr val="bg1"/>
                </a:solidFill>
              </a:defRPr>
            </a:lvl1pPr>
            <a:lvl2pPr marL="0" indent="0" algn="ctr">
              <a:spcBef>
                <a:spcPts val="0"/>
              </a:spcBef>
              <a:buFont typeface="Arial" panose="020B0604020202020204" pitchFamily="34" charset="0"/>
              <a:buNone/>
              <a:defRPr sz="2800" b="1">
                <a:solidFill>
                  <a:schemeClr val="bg1"/>
                </a:solidFill>
              </a:defRPr>
            </a:lvl2pPr>
            <a:lvl3pPr marL="0" indent="0" algn="ctr">
              <a:spcBef>
                <a:spcPts val="0"/>
              </a:spcBef>
              <a:buNone/>
              <a:defRPr sz="2800" b="1">
                <a:solidFill>
                  <a:schemeClr val="bg1"/>
                </a:solidFill>
              </a:defRPr>
            </a:lvl3pPr>
            <a:lvl4pPr marL="0" indent="0" algn="ctr">
              <a:spcBef>
                <a:spcPts val="0"/>
              </a:spcBef>
              <a:buNone/>
              <a:defRPr sz="2800" b="1">
                <a:solidFill>
                  <a:schemeClr val="bg1"/>
                </a:solidFill>
              </a:defRPr>
            </a:lvl4pPr>
            <a:lvl5pPr marL="0" indent="0" algn="ctr">
              <a:spcBef>
                <a:spcPts val="0"/>
              </a:spcBef>
              <a:buNone/>
              <a:defRPr sz="2800" b="1">
                <a:solidFill>
                  <a:schemeClr val="bg1"/>
                </a:solidFill>
              </a:defRPr>
            </a:lvl5pPr>
          </a:lstStyle>
          <a:p>
            <a:pPr lvl="0"/>
            <a:r>
              <a:rPr lang="de-DE"/>
              <a:t>Text durch </a:t>
            </a:r>
            <a:br>
              <a:rPr lang="de-DE"/>
            </a:br>
            <a:r>
              <a:rPr lang="de-DE"/>
              <a:t>Klicken hinzufügen</a:t>
            </a:r>
          </a:p>
        </p:txBody>
      </p:sp>
    </p:spTree>
    <p:extLst>
      <p:ext uri="{BB962C8B-B14F-4D97-AF65-F5344CB8AC3E}">
        <p14:creationId xmlns:p14="http://schemas.microsoft.com/office/powerpoint/2010/main" val="1714277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57">
          <p15:clr>
            <a:srgbClr val="F26B43"/>
          </p15:clr>
        </p15:guide>
        <p15:guide id="3" orient="horz" pos="255">
          <p15:clr>
            <a:srgbClr val="F26B43"/>
          </p15:clr>
        </p15:guide>
        <p15:guide id="6" orient="horz" pos="89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2_Titelfolie mit Bild und negativ Logo">
    <p:spTree>
      <p:nvGrpSpPr>
        <p:cNvPr id="1" name=""/>
        <p:cNvGrpSpPr/>
        <p:nvPr/>
      </p:nvGrpSpPr>
      <p:grpSpPr>
        <a:xfrm>
          <a:off x="0" y="0"/>
          <a:ext cx="0" cy="0"/>
          <a:chOff x="0" y="0"/>
          <a:chExt cx="0" cy="0"/>
        </a:xfrm>
      </p:grpSpPr>
      <p:sp>
        <p:nvSpPr>
          <p:cNvPr id="40" name="Bildplatzhalter 36">
            <a:extLst>
              <a:ext uri="{FF2B5EF4-FFF2-40B4-BE49-F238E27FC236}">
                <a16:creationId xmlns:a16="http://schemas.microsoft.com/office/drawing/2014/main" id="{4870B9C8-84BA-4064-8D52-EB6D8BB2C906}"/>
              </a:ext>
            </a:extLst>
          </p:cNvPr>
          <p:cNvSpPr>
            <a:spLocks noGrp="1"/>
          </p:cNvSpPr>
          <p:nvPr>
            <p:ph type="pic" sz="quarter" idx="14" hasCustomPrompt="1"/>
          </p:nvPr>
        </p:nvSpPr>
        <p:spPr bwMode="gray">
          <a:xfrm>
            <a:off x="0" y="-1"/>
            <a:ext cx="12196763" cy="6858000"/>
          </a:xfrm>
          <a:prstGeom prst="rect">
            <a:avLst/>
          </a:prstGeom>
          <a:pattFill prst="pct20">
            <a:fgClr>
              <a:schemeClr val="accent3"/>
            </a:fgClr>
            <a:bgClr>
              <a:schemeClr val="bg1"/>
            </a:bgClr>
          </a:pattFill>
        </p:spPr>
        <p:txBody>
          <a:bodyPr vert="horz" wrap="square" lIns="2520000" tIns="72000" rIns="72000" bIns="72000" rtlCol="0" anchor="b">
            <a:noAutofit/>
          </a:bodyPr>
          <a:lstStyle>
            <a:lvl1pPr>
              <a:defRPr lang="de-DE" sz="1600" baseline="0" dirty="0">
                <a:solidFill>
                  <a:schemeClr val="tx1"/>
                </a:solidFill>
              </a:defRPr>
            </a:lvl1pPr>
          </a:lstStyle>
          <a:p>
            <a:pPr marR="0" lvl="0" fontAlgn="auto">
              <a:lnSpc>
                <a:spcPct val="100000"/>
              </a:lnSpc>
              <a:spcBef>
                <a:spcPts val="0"/>
              </a:spcBef>
              <a:spcAft>
                <a:spcPts val="0"/>
              </a:spcAft>
              <a:buClrTx/>
              <a:buSzTx/>
              <a:tabLst/>
            </a:pPr>
            <a:r>
              <a:rPr lang="de-DE"/>
              <a:t>Um ein Hintergrundbild einzufügen, markieren Sie bitte den Platzhalter und wählen entweder ein Bild aus der </a:t>
            </a:r>
            <a:r>
              <a:rPr lang="de-DE" err="1"/>
              <a:t>empower</a:t>
            </a:r>
            <a:r>
              <a:rPr lang="de-DE"/>
              <a:t> Bibliothek oder über den Reiter „Einfügen“, „Bilder“ aus. Dieses Layout steht in zwei Varianten zur Verfügung: mit positivem und negativem Partnerlogo. Bitte wählen Sie das Layout aus, welches den bestmöglichen Kontrast zwischen Bild und Logo erzeugt.</a:t>
            </a:r>
          </a:p>
        </p:txBody>
      </p:sp>
      <p:sp>
        <p:nvSpPr>
          <p:cNvPr id="30" name="Textplatzhalter 13">
            <a:extLst>
              <a:ext uri="{FF2B5EF4-FFF2-40B4-BE49-F238E27FC236}">
                <a16:creationId xmlns:a16="http://schemas.microsoft.com/office/drawing/2014/main" id="{58F070F6-CDDE-4C67-9078-9184F9E3EE06}"/>
              </a:ext>
            </a:extLst>
          </p:cNvPr>
          <p:cNvSpPr>
            <a:spLocks noGrp="1" noChangeAspect="1"/>
          </p:cNvSpPr>
          <p:nvPr>
            <p:ph type="body" sz="quarter" idx="15" hasCustomPrompt="1"/>
          </p:nvPr>
        </p:nvSpPr>
        <p:spPr bwMode="gray">
          <a:xfrm>
            <a:off x="629999" y="1"/>
            <a:ext cx="11565176" cy="4222561"/>
          </a:xfrm>
          <a:custGeom>
            <a:avLst/>
            <a:gdLst>
              <a:gd name="connsiteX0" fmla="*/ 0 w 11565176"/>
              <a:gd name="connsiteY0" fmla="*/ 0 h 4222561"/>
              <a:gd name="connsiteX1" fmla="*/ 11565176 w 11565176"/>
              <a:gd name="connsiteY1" fmla="*/ 0 h 4222561"/>
              <a:gd name="connsiteX2" fmla="*/ 11565176 w 11565176"/>
              <a:gd name="connsiteY2" fmla="*/ 2101962 h 4222561"/>
              <a:gd name="connsiteX3" fmla="*/ 910254 w 11565176"/>
              <a:gd name="connsiteY3" fmla="*/ 4203011 h 4222561"/>
              <a:gd name="connsiteX4" fmla="*/ 0 w 11565176"/>
              <a:gd name="connsiteY4" fmla="*/ 3522747 h 4222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65176" h="4222561">
                <a:moveTo>
                  <a:pt x="0" y="0"/>
                </a:moveTo>
                <a:lnTo>
                  <a:pt x="11565176" y="0"/>
                </a:lnTo>
                <a:lnTo>
                  <a:pt x="11565176" y="2101962"/>
                </a:lnTo>
                <a:lnTo>
                  <a:pt x="910254" y="4203011"/>
                </a:lnTo>
                <a:cubicBezTo>
                  <a:pt x="0" y="4359734"/>
                  <a:pt x="0" y="3522747"/>
                  <a:pt x="0" y="3522747"/>
                </a:cubicBezTo>
                <a:close/>
              </a:path>
            </a:pathLst>
          </a:custGeom>
          <a:solidFill>
            <a:schemeClr val="tx2">
              <a:alpha val="89000"/>
            </a:schemeClr>
          </a:solidFill>
        </p:spPr>
        <p:txBody>
          <a:bodyPr wrap="square" lIns="399600" tIns="1407600" rIns="3240000">
            <a:noAutofit/>
          </a:bodyPr>
          <a:lstStyle>
            <a:lvl1pPr marL="0" indent="0">
              <a:spcBef>
                <a:spcPts val="0"/>
              </a:spcBef>
              <a:buFont typeface="Arial" panose="020B0604020202020204" pitchFamily="34" charset="0"/>
              <a:buNone/>
              <a:defRPr sz="3000" b="1">
                <a:solidFill>
                  <a:schemeClr val="bg1"/>
                </a:solidFill>
              </a:defRPr>
            </a:lvl1pPr>
            <a:lvl2pPr marL="0" indent="0">
              <a:spcBef>
                <a:spcPts val="0"/>
              </a:spcBef>
              <a:buFont typeface="Arial" panose="020B0604020202020204" pitchFamily="34" charset="0"/>
              <a:buNone/>
              <a:defRPr sz="3000" b="1">
                <a:solidFill>
                  <a:schemeClr val="bg1"/>
                </a:solidFill>
              </a:defRPr>
            </a:lvl2pPr>
            <a:lvl3pPr marL="0" indent="0">
              <a:spcBef>
                <a:spcPts val="0"/>
              </a:spcBef>
              <a:buNone/>
              <a:defRPr sz="3000" b="1">
                <a:solidFill>
                  <a:schemeClr val="bg1"/>
                </a:solidFill>
              </a:defRPr>
            </a:lvl3pPr>
            <a:lvl4pPr marL="0" indent="0">
              <a:spcBef>
                <a:spcPts val="0"/>
              </a:spcBef>
              <a:buNone/>
              <a:defRPr sz="3000" b="1">
                <a:solidFill>
                  <a:schemeClr val="bg1"/>
                </a:solidFill>
              </a:defRPr>
            </a:lvl4pPr>
            <a:lvl5pPr marL="0" indent="0">
              <a:spcBef>
                <a:spcPts val="0"/>
              </a:spcBef>
              <a:buNone/>
              <a:defRPr sz="3000" b="1">
                <a:solidFill>
                  <a:schemeClr val="bg1"/>
                </a:solidFill>
              </a:defRPr>
            </a:lvl5pPr>
          </a:lstStyle>
          <a:p>
            <a:pPr lvl="0"/>
            <a:r>
              <a:rPr lang="de-DE"/>
              <a:t>Titelfolie (max. 2-zeilig)</a:t>
            </a:r>
          </a:p>
        </p:txBody>
      </p:sp>
      <p:sp>
        <p:nvSpPr>
          <p:cNvPr id="46" name="Textplatzhalter 45">
            <a:extLst>
              <a:ext uri="{FF2B5EF4-FFF2-40B4-BE49-F238E27FC236}">
                <a16:creationId xmlns:a16="http://schemas.microsoft.com/office/drawing/2014/main" id="{502B336E-2768-432F-A8DB-0FB505A7D87D}"/>
              </a:ext>
            </a:extLst>
          </p:cNvPr>
          <p:cNvSpPr>
            <a:spLocks noGrp="1"/>
          </p:cNvSpPr>
          <p:nvPr>
            <p:ph type="body" sz="quarter" idx="17" hasCustomPrompt="1"/>
          </p:nvPr>
        </p:nvSpPr>
        <p:spPr bwMode="gray">
          <a:xfrm>
            <a:off x="9563898" y="409422"/>
            <a:ext cx="2014538" cy="608013"/>
          </a:xfrm>
          <a:blipFill>
            <a:blip r:embed="rId2" cstate="screen">
              <a:extLst>
                <a:ext uri="{28A0092B-C50C-407E-A947-70E740481C1C}">
                  <a14:useLocalDpi xmlns:a14="http://schemas.microsoft.com/office/drawing/2010/main"/>
                </a:ext>
              </a:extLst>
            </a:blip>
            <a:stretch>
              <a:fillRect/>
            </a:stretch>
          </a:blipFill>
        </p:spPr>
        <p:txBody>
          <a:bodyPr/>
          <a:lstStyle>
            <a:lvl1pPr marL="0" indent="0">
              <a:spcBef>
                <a:spcPts val="0"/>
              </a:spcBef>
              <a:spcAft>
                <a:spcPts val="0"/>
              </a:spcAft>
              <a:buFont typeface="Arial" panose="020B0604020202020204" pitchFamily="34" charset="0"/>
              <a:buNone/>
              <a:defRPr sz="100">
                <a:noFill/>
              </a:defRPr>
            </a:lvl1pPr>
            <a:lvl2pPr marL="0" indent="0">
              <a:spcBef>
                <a:spcPts val="0"/>
              </a:spcBef>
              <a:spcAft>
                <a:spcPts val="0"/>
              </a:spcAft>
              <a:buFont typeface="Arial" panose="020B0604020202020204" pitchFamily="34" charset="0"/>
              <a:buNone/>
              <a:defRPr sz="100">
                <a:noFill/>
              </a:defRPr>
            </a:lvl2pPr>
            <a:lvl3pPr marL="0" indent="0">
              <a:spcBef>
                <a:spcPts val="0"/>
              </a:spcBef>
              <a:spcAft>
                <a:spcPts val="0"/>
              </a:spcAft>
              <a:buFont typeface="Arial" panose="020B0604020202020204" pitchFamily="34" charset="0"/>
              <a:buNone/>
              <a:defRPr sz="100">
                <a:noFill/>
              </a:defRPr>
            </a:lvl3pPr>
            <a:lvl4pPr marL="0" indent="0">
              <a:spcBef>
                <a:spcPts val="0"/>
              </a:spcBef>
              <a:spcAft>
                <a:spcPts val="0"/>
              </a:spcAft>
              <a:buFont typeface="Arial" panose="020B0604020202020204" pitchFamily="34" charset="0"/>
              <a:buNone/>
              <a:defRPr sz="100">
                <a:noFill/>
              </a:defRPr>
            </a:lvl4pPr>
            <a:lvl5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
                <a:noFill/>
              </a:defRPr>
            </a:lvl5pPr>
            <a:lvl6pPr marL="360000" indent="0">
              <a:spcBef>
                <a:spcPts val="0"/>
              </a:spcBef>
              <a:spcAft>
                <a:spcPts val="0"/>
              </a:spcAft>
              <a:buFontTx/>
              <a:buNone/>
              <a:defRPr/>
            </a:lvl6pPr>
            <a:lvl7pPr marL="0" indent="0">
              <a:spcBef>
                <a:spcPts val="0"/>
              </a:spcBef>
              <a:spcAft>
                <a:spcPts val="0"/>
              </a:spcAft>
              <a:buNone/>
              <a:defRPr/>
            </a:lvl7pPr>
            <a:lvl8pPr marL="0" indent="0">
              <a:spcBef>
                <a:spcPts val="0"/>
              </a:spcBef>
              <a:spcAft>
                <a:spcPts val="0"/>
              </a:spcAft>
              <a:buNone/>
              <a:defRPr/>
            </a:lvl8pPr>
            <a:lvl9pPr marL="0" indent="0">
              <a:spcBef>
                <a:spcPts val="0"/>
              </a:spcBef>
              <a:spcAft>
                <a:spcPts val="0"/>
              </a:spcAft>
              <a:buNone/>
              <a:defRPr/>
            </a:lvl9pPr>
          </a:lstStyle>
          <a:p>
            <a:pPr lvl="0"/>
            <a:r>
              <a:rPr lang="de-DE"/>
              <a:t>x</a:t>
            </a:r>
          </a:p>
        </p:txBody>
      </p:sp>
      <p:sp>
        <p:nvSpPr>
          <p:cNvPr id="10" name="Textplatzhalter 3">
            <a:extLst>
              <a:ext uri="{FF2B5EF4-FFF2-40B4-BE49-F238E27FC236}">
                <a16:creationId xmlns:a16="http://schemas.microsoft.com/office/drawing/2014/main" id="{F27D9437-25D4-41C0-9FDB-67DE2F56C5F2}"/>
              </a:ext>
            </a:extLst>
          </p:cNvPr>
          <p:cNvSpPr>
            <a:spLocks noGrp="1"/>
          </p:cNvSpPr>
          <p:nvPr>
            <p:ph type="body" sz="quarter" idx="19" hasCustomPrompt="1"/>
          </p:nvPr>
        </p:nvSpPr>
        <p:spPr bwMode="gray">
          <a:xfrm>
            <a:off x="1030048" y="984854"/>
            <a:ext cx="6481588" cy="246221"/>
          </a:xfrm>
        </p:spPr>
        <p:txBody>
          <a:bodyPr anchor="b" anchorCtr="0">
            <a:spAutoFit/>
          </a:bodyPr>
          <a:lstStyle>
            <a:lvl1pPr>
              <a:spcBef>
                <a:spcPts val="0"/>
              </a:spcBef>
              <a:defRPr sz="1600" b="1">
                <a:solidFill>
                  <a:schemeClr val="accent2"/>
                </a:solidFill>
              </a:defRPr>
            </a:lvl1pPr>
          </a:lstStyle>
          <a:p>
            <a:pPr lvl="0"/>
            <a:r>
              <a:rPr lang="de-DE"/>
              <a:t>Name Kunde / Veranstaltung</a:t>
            </a:r>
          </a:p>
        </p:txBody>
      </p:sp>
      <p:sp>
        <p:nvSpPr>
          <p:cNvPr id="11" name="Textplatzhalter 3">
            <a:extLst>
              <a:ext uri="{FF2B5EF4-FFF2-40B4-BE49-F238E27FC236}">
                <a16:creationId xmlns:a16="http://schemas.microsoft.com/office/drawing/2014/main" id="{211751F6-7D82-4879-9644-28DE0AFB0E95}"/>
              </a:ext>
            </a:extLst>
          </p:cNvPr>
          <p:cNvSpPr>
            <a:spLocks noGrp="1"/>
          </p:cNvSpPr>
          <p:nvPr>
            <p:ph type="body" sz="quarter" idx="20" hasCustomPrompt="1"/>
          </p:nvPr>
        </p:nvSpPr>
        <p:spPr bwMode="gray">
          <a:xfrm>
            <a:off x="1030048" y="2500031"/>
            <a:ext cx="6481588" cy="246221"/>
          </a:xfrm>
        </p:spPr>
        <p:txBody>
          <a:bodyPr anchor="b" anchorCtr="0">
            <a:spAutoFit/>
          </a:bodyPr>
          <a:lstStyle>
            <a:lvl1pPr>
              <a:spcBef>
                <a:spcPts val="0"/>
              </a:spcBef>
              <a:defRPr sz="1600" b="0">
                <a:solidFill>
                  <a:schemeClr val="bg1"/>
                </a:solidFill>
              </a:defRPr>
            </a:lvl1pPr>
          </a:lstStyle>
          <a:p>
            <a:pPr lvl="0"/>
            <a:r>
              <a:rPr lang="de-DE"/>
              <a:t>Ort, Datum – Referent Vorname Name</a:t>
            </a:r>
          </a:p>
        </p:txBody>
      </p:sp>
      <p:sp>
        <p:nvSpPr>
          <p:cNvPr id="9" name="Textplatzhalter 2">
            <a:extLst>
              <a:ext uri="{FF2B5EF4-FFF2-40B4-BE49-F238E27FC236}">
                <a16:creationId xmlns:a16="http://schemas.microsoft.com/office/drawing/2014/main" id="{418F49FD-C2B3-4630-93C8-5F7B71394E9A}"/>
              </a:ext>
            </a:extLst>
          </p:cNvPr>
          <p:cNvSpPr>
            <a:spLocks noGrp="1" noChangeAspect="1"/>
          </p:cNvSpPr>
          <p:nvPr>
            <p:ph type="body" sz="quarter" idx="22"/>
          </p:nvPr>
        </p:nvSpPr>
        <p:spPr bwMode="gray">
          <a:xfrm>
            <a:off x="630000" y="6075931"/>
            <a:ext cx="1746530" cy="468052"/>
          </a:xfrm>
          <a:blipFill>
            <a:blip r:embed="rId3">
              <a:lum bright="100000"/>
            </a:blip>
            <a:srcRect/>
            <a:stretch>
              <a:fillRect t="878" b="3272"/>
            </a:stretch>
          </a:blipFill>
        </p:spPr>
        <p:txBody>
          <a:bodyPr/>
          <a:lstStyle>
            <a:lvl1pPr>
              <a:defRPr sz="100">
                <a:noFill/>
              </a:defRPr>
            </a:lvl1pPr>
          </a:lstStyle>
          <a:p>
            <a:pPr lvl="0"/>
            <a:r>
              <a:rPr lang="de-DE"/>
              <a:t>Mastertextformat bearbeiten</a:t>
            </a:r>
          </a:p>
        </p:txBody>
      </p:sp>
    </p:spTree>
    <p:extLst>
      <p:ext uri="{BB962C8B-B14F-4D97-AF65-F5344CB8AC3E}">
        <p14:creationId xmlns:p14="http://schemas.microsoft.com/office/powerpoint/2010/main" val="201019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und positiv Logo">
    <p:spTree>
      <p:nvGrpSpPr>
        <p:cNvPr id="1" name=""/>
        <p:cNvGrpSpPr/>
        <p:nvPr/>
      </p:nvGrpSpPr>
      <p:grpSpPr>
        <a:xfrm>
          <a:off x="0" y="0"/>
          <a:ext cx="0" cy="0"/>
          <a:chOff x="0" y="0"/>
          <a:chExt cx="0" cy="0"/>
        </a:xfrm>
      </p:grpSpPr>
      <p:sp>
        <p:nvSpPr>
          <p:cNvPr id="40" name="Bildplatzhalter 36">
            <a:extLst>
              <a:ext uri="{FF2B5EF4-FFF2-40B4-BE49-F238E27FC236}">
                <a16:creationId xmlns:a16="http://schemas.microsoft.com/office/drawing/2014/main" id="{4870B9C8-84BA-4064-8D52-EB6D8BB2C906}"/>
              </a:ext>
            </a:extLst>
          </p:cNvPr>
          <p:cNvSpPr>
            <a:spLocks noGrp="1"/>
          </p:cNvSpPr>
          <p:nvPr>
            <p:ph type="pic" sz="quarter" idx="14" hasCustomPrompt="1"/>
          </p:nvPr>
        </p:nvSpPr>
        <p:spPr bwMode="gray">
          <a:xfrm>
            <a:off x="-5881" y="-1"/>
            <a:ext cx="12196763" cy="6858000"/>
          </a:xfrm>
          <a:prstGeom prst="rect">
            <a:avLst/>
          </a:prstGeom>
          <a:pattFill prst="pct20">
            <a:fgClr>
              <a:schemeClr val="accent3"/>
            </a:fgClr>
            <a:bgClr>
              <a:schemeClr val="bg1"/>
            </a:bgClr>
          </a:pattFill>
        </p:spPr>
        <p:txBody>
          <a:bodyPr vert="horz" wrap="square" lIns="2520000" tIns="72000" rIns="72000" bIns="72000" rtlCol="0" anchor="b">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1600" b="0" baseline="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t>Um ein Hintergrundbild einzufügen, markieren Sie bitte den Platzhalter und wählen entweder ein Bild aus der </a:t>
            </a:r>
            <a:r>
              <a:rPr lang="de-DE" dirty="0" err="1"/>
              <a:t>empower</a:t>
            </a:r>
            <a:r>
              <a:rPr lang="de-DE" dirty="0"/>
              <a:t> Bibliothek oder über den Reiter „Einfügen“, „Bilder“ aus. Dieses Layout steht in zwei Varianten zur Verfügung: mit positivem und negativem Partnerlogo. Bitte wählen Sie das Layout aus, welches den bestmöglichen Kontrast zwischen Bild und Logo erzeugt.</a:t>
            </a:r>
          </a:p>
        </p:txBody>
      </p:sp>
      <p:sp>
        <p:nvSpPr>
          <p:cNvPr id="30" name="Textplatzhalter 13">
            <a:extLst>
              <a:ext uri="{FF2B5EF4-FFF2-40B4-BE49-F238E27FC236}">
                <a16:creationId xmlns:a16="http://schemas.microsoft.com/office/drawing/2014/main" id="{58F070F6-CDDE-4C67-9078-9184F9E3EE06}"/>
              </a:ext>
            </a:extLst>
          </p:cNvPr>
          <p:cNvSpPr>
            <a:spLocks noGrp="1" noChangeAspect="1"/>
          </p:cNvSpPr>
          <p:nvPr>
            <p:ph type="body" sz="quarter" idx="15" hasCustomPrompt="1"/>
          </p:nvPr>
        </p:nvSpPr>
        <p:spPr bwMode="gray">
          <a:xfrm>
            <a:off x="629999" y="1"/>
            <a:ext cx="11565176" cy="4222561"/>
          </a:xfrm>
          <a:custGeom>
            <a:avLst/>
            <a:gdLst>
              <a:gd name="connsiteX0" fmla="*/ 0 w 11565176"/>
              <a:gd name="connsiteY0" fmla="*/ 0 h 4222561"/>
              <a:gd name="connsiteX1" fmla="*/ 11565176 w 11565176"/>
              <a:gd name="connsiteY1" fmla="*/ 0 h 4222561"/>
              <a:gd name="connsiteX2" fmla="*/ 11565176 w 11565176"/>
              <a:gd name="connsiteY2" fmla="*/ 2101962 h 4222561"/>
              <a:gd name="connsiteX3" fmla="*/ 910254 w 11565176"/>
              <a:gd name="connsiteY3" fmla="*/ 4203011 h 4222561"/>
              <a:gd name="connsiteX4" fmla="*/ 0 w 11565176"/>
              <a:gd name="connsiteY4" fmla="*/ 3522747 h 4222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65176" h="4222561">
                <a:moveTo>
                  <a:pt x="0" y="0"/>
                </a:moveTo>
                <a:lnTo>
                  <a:pt x="11565176" y="0"/>
                </a:lnTo>
                <a:lnTo>
                  <a:pt x="11565176" y="2101962"/>
                </a:lnTo>
                <a:lnTo>
                  <a:pt x="910254" y="4203011"/>
                </a:lnTo>
                <a:cubicBezTo>
                  <a:pt x="0" y="4359734"/>
                  <a:pt x="0" y="3522747"/>
                  <a:pt x="0" y="3522747"/>
                </a:cubicBezTo>
                <a:close/>
              </a:path>
            </a:pathLst>
          </a:custGeom>
          <a:solidFill>
            <a:srgbClr val="E9E9E9">
              <a:alpha val="89000"/>
            </a:srgbClr>
          </a:solidFill>
        </p:spPr>
        <p:txBody>
          <a:bodyPr wrap="square" lIns="399600" tIns="1407600" rIns="3240000">
            <a:noAutofit/>
          </a:bodyPr>
          <a:lstStyle>
            <a:lvl1pPr marL="0" indent="0">
              <a:spcBef>
                <a:spcPts val="0"/>
              </a:spcBef>
              <a:buFont typeface="Arial" panose="020B0604020202020204" pitchFamily="34" charset="0"/>
              <a:buNone/>
              <a:defRPr sz="3000" b="1">
                <a:solidFill>
                  <a:schemeClr val="tx2"/>
                </a:solidFill>
              </a:defRPr>
            </a:lvl1pPr>
            <a:lvl2pPr marL="0" indent="0">
              <a:spcBef>
                <a:spcPts val="0"/>
              </a:spcBef>
              <a:buFont typeface="Arial" panose="020B0604020202020204" pitchFamily="34" charset="0"/>
              <a:buNone/>
              <a:defRPr sz="3000" b="1">
                <a:solidFill>
                  <a:schemeClr val="bg1"/>
                </a:solidFill>
              </a:defRPr>
            </a:lvl2pPr>
            <a:lvl3pPr marL="0" indent="0">
              <a:spcBef>
                <a:spcPts val="0"/>
              </a:spcBef>
              <a:buNone/>
              <a:defRPr sz="3000" b="1">
                <a:solidFill>
                  <a:schemeClr val="bg1"/>
                </a:solidFill>
              </a:defRPr>
            </a:lvl3pPr>
            <a:lvl4pPr marL="0" indent="0">
              <a:spcBef>
                <a:spcPts val="0"/>
              </a:spcBef>
              <a:buNone/>
              <a:defRPr sz="3000" b="1">
                <a:solidFill>
                  <a:schemeClr val="bg1"/>
                </a:solidFill>
              </a:defRPr>
            </a:lvl4pPr>
            <a:lvl5pPr marL="0" indent="0">
              <a:spcBef>
                <a:spcPts val="0"/>
              </a:spcBef>
              <a:buNone/>
              <a:defRPr sz="3000" b="1">
                <a:solidFill>
                  <a:schemeClr val="bg1"/>
                </a:solidFill>
              </a:defRPr>
            </a:lvl5pPr>
          </a:lstStyle>
          <a:p>
            <a:pPr lvl="0"/>
            <a:r>
              <a:rPr lang="de-DE" dirty="0"/>
              <a:t>Titelfolie (max. 2-zeilig)</a:t>
            </a:r>
          </a:p>
        </p:txBody>
      </p:sp>
      <p:sp>
        <p:nvSpPr>
          <p:cNvPr id="4" name="Textplatzhalter 3">
            <a:extLst>
              <a:ext uri="{FF2B5EF4-FFF2-40B4-BE49-F238E27FC236}">
                <a16:creationId xmlns:a16="http://schemas.microsoft.com/office/drawing/2014/main" id="{E1B7D21C-9956-4F89-AA73-D6897EEE2B60}"/>
              </a:ext>
            </a:extLst>
          </p:cNvPr>
          <p:cNvSpPr>
            <a:spLocks noGrp="1"/>
          </p:cNvSpPr>
          <p:nvPr>
            <p:ph type="body" sz="quarter" idx="19" hasCustomPrompt="1"/>
          </p:nvPr>
        </p:nvSpPr>
        <p:spPr bwMode="gray">
          <a:xfrm>
            <a:off x="1030048" y="984854"/>
            <a:ext cx="6481588" cy="246221"/>
          </a:xfrm>
        </p:spPr>
        <p:txBody>
          <a:bodyPr anchor="b" anchorCtr="0">
            <a:spAutoFit/>
          </a:bodyPr>
          <a:lstStyle>
            <a:lvl1pPr>
              <a:spcBef>
                <a:spcPts val="0"/>
              </a:spcBef>
              <a:defRPr sz="1600" b="1">
                <a:solidFill>
                  <a:schemeClr val="accent2"/>
                </a:solidFill>
              </a:defRPr>
            </a:lvl1pPr>
          </a:lstStyle>
          <a:p>
            <a:pPr lvl="0"/>
            <a:r>
              <a:rPr lang="de-DE" dirty="0"/>
              <a:t>Name Kunde / Veranstaltung</a:t>
            </a:r>
          </a:p>
        </p:txBody>
      </p:sp>
      <p:sp>
        <p:nvSpPr>
          <p:cNvPr id="10" name="Textplatzhalter 3">
            <a:extLst>
              <a:ext uri="{FF2B5EF4-FFF2-40B4-BE49-F238E27FC236}">
                <a16:creationId xmlns:a16="http://schemas.microsoft.com/office/drawing/2014/main" id="{A72896F1-3FAF-4424-BD5C-93438D4E2E50}"/>
              </a:ext>
            </a:extLst>
          </p:cNvPr>
          <p:cNvSpPr>
            <a:spLocks noGrp="1"/>
          </p:cNvSpPr>
          <p:nvPr>
            <p:ph type="body" sz="quarter" idx="20" hasCustomPrompt="1"/>
          </p:nvPr>
        </p:nvSpPr>
        <p:spPr bwMode="gray">
          <a:xfrm>
            <a:off x="1030048" y="2500031"/>
            <a:ext cx="6481588" cy="246221"/>
          </a:xfrm>
        </p:spPr>
        <p:txBody>
          <a:bodyPr anchor="b" anchorCtr="0">
            <a:spAutoFit/>
          </a:bodyPr>
          <a:lstStyle>
            <a:lvl1pPr>
              <a:spcBef>
                <a:spcPts val="0"/>
              </a:spcBef>
              <a:defRPr sz="1600" b="0">
                <a:solidFill>
                  <a:schemeClr val="tx2"/>
                </a:solidFill>
              </a:defRPr>
            </a:lvl1pPr>
          </a:lstStyle>
          <a:p>
            <a:pPr lvl="0"/>
            <a:r>
              <a:rPr lang="de-DE" dirty="0"/>
              <a:t>Ort, Datum – Referent Vorname Name</a:t>
            </a:r>
          </a:p>
        </p:txBody>
      </p:sp>
      <p:sp>
        <p:nvSpPr>
          <p:cNvPr id="11" name="Textplatzhalter 3">
            <a:extLst>
              <a:ext uri="{FF2B5EF4-FFF2-40B4-BE49-F238E27FC236}">
                <a16:creationId xmlns:a16="http://schemas.microsoft.com/office/drawing/2014/main" id="{E6DB12D6-50EB-4AE2-8385-0E97F9F8DCD1}"/>
              </a:ext>
            </a:extLst>
          </p:cNvPr>
          <p:cNvSpPr>
            <a:spLocks noGrp="1"/>
          </p:cNvSpPr>
          <p:nvPr>
            <p:ph type="body" sz="quarter" idx="21" hasCustomPrompt="1"/>
          </p:nvPr>
        </p:nvSpPr>
        <p:spPr bwMode="gray">
          <a:xfrm>
            <a:off x="1030048" y="2852957"/>
            <a:ext cx="5760000" cy="184666"/>
          </a:xfrm>
        </p:spPr>
        <p:txBody>
          <a:bodyPr>
            <a:spAutoFit/>
          </a:bodyPr>
          <a:lstStyle>
            <a:lvl1pPr>
              <a:spcBef>
                <a:spcPts val="0"/>
              </a:spcBef>
              <a:defRPr sz="1200" b="0">
                <a:solidFill>
                  <a:schemeClr val="tx2"/>
                </a:solidFill>
              </a:defRPr>
            </a:lvl1pPr>
          </a:lstStyle>
          <a:p>
            <a:pPr lvl="0"/>
            <a:r>
              <a:rPr lang="de-DE" dirty="0"/>
              <a:t>Vertraulichkeitshinweis durch Klicken bearbeiten</a:t>
            </a:r>
          </a:p>
        </p:txBody>
      </p:sp>
      <p:sp>
        <p:nvSpPr>
          <p:cNvPr id="9" name="Textplatzhalter 45">
            <a:extLst>
              <a:ext uri="{FF2B5EF4-FFF2-40B4-BE49-F238E27FC236}">
                <a16:creationId xmlns:a16="http://schemas.microsoft.com/office/drawing/2014/main" id="{FEE46D00-BE5A-42BA-B99B-6ADA7823B251}"/>
              </a:ext>
            </a:extLst>
          </p:cNvPr>
          <p:cNvSpPr>
            <a:spLocks noGrp="1"/>
          </p:cNvSpPr>
          <p:nvPr>
            <p:ph type="body" sz="quarter" idx="17" hasCustomPrompt="1"/>
          </p:nvPr>
        </p:nvSpPr>
        <p:spPr bwMode="gray">
          <a:xfrm>
            <a:off x="9563898" y="409422"/>
            <a:ext cx="2014538" cy="608013"/>
          </a:xfrm>
          <a:blipFill>
            <a:blip r:embed="rId2" cstate="email">
              <a:extLst>
                <a:ext uri="{28A0092B-C50C-407E-A947-70E740481C1C}">
                  <a14:useLocalDpi xmlns:a14="http://schemas.microsoft.com/office/drawing/2010/main"/>
                </a:ext>
              </a:extLst>
            </a:blip>
            <a:stretch>
              <a:fillRect/>
            </a:stretch>
          </a:blipFill>
        </p:spPr>
        <p:txBody>
          <a:bodyPr/>
          <a:lstStyle>
            <a:lvl1pPr marL="0" indent="0">
              <a:spcBef>
                <a:spcPts val="0"/>
              </a:spcBef>
              <a:spcAft>
                <a:spcPts val="0"/>
              </a:spcAft>
              <a:buFont typeface="Arial" panose="020B0604020202020204" pitchFamily="34" charset="0"/>
              <a:buNone/>
              <a:defRPr sz="100">
                <a:noFill/>
              </a:defRPr>
            </a:lvl1pPr>
            <a:lvl2pPr marL="0" indent="0">
              <a:spcBef>
                <a:spcPts val="0"/>
              </a:spcBef>
              <a:spcAft>
                <a:spcPts val="0"/>
              </a:spcAft>
              <a:buFont typeface="Arial" panose="020B0604020202020204" pitchFamily="34" charset="0"/>
              <a:buNone/>
              <a:defRPr sz="100">
                <a:noFill/>
              </a:defRPr>
            </a:lvl2pPr>
            <a:lvl3pPr marL="0" indent="0">
              <a:spcBef>
                <a:spcPts val="0"/>
              </a:spcBef>
              <a:spcAft>
                <a:spcPts val="0"/>
              </a:spcAft>
              <a:buFont typeface="Arial" panose="020B0604020202020204" pitchFamily="34" charset="0"/>
              <a:buNone/>
              <a:defRPr sz="100">
                <a:noFill/>
              </a:defRPr>
            </a:lvl3pPr>
            <a:lvl4pPr marL="0" indent="0">
              <a:spcBef>
                <a:spcPts val="0"/>
              </a:spcBef>
              <a:spcAft>
                <a:spcPts val="0"/>
              </a:spcAft>
              <a:buFont typeface="Arial" panose="020B0604020202020204" pitchFamily="34" charset="0"/>
              <a:buNone/>
              <a:defRPr sz="100">
                <a:noFill/>
              </a:defRPr>
            </a:lvl4pPr>
            <a:lvl5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
                <a:noFill/>
              </a:defRPr>
            </a:lvl5pPr>
            <a:lvl6pPr marL="360000" indent="0">
              <a:spcBef>
                <a:spcPts val="0"/>
              </a:spcBef>
              <a:spcAft>
                <a:spcPts val="0"/>
              </a:spcAft>
              <a:buFontTx/>
              <a:buNone/>
              <a:defRPr/>
            </a:lvl6pPr>
            <a:lvl7pPr marL="0" indent="0">
              <a:spcBef>
                <a:spcPts val="0"/>
              </a:spcBef>
              <a:spcAft>
                <a:spcPts val="0"/>
              </a:spcAft>
              <a:buNone/>
              <a:defRPr/>
            </a:lvl7pPr>
            <a:lvl8pPr marL="0" indent="0">
              <a:spcBef>
                <a:spcPts val="0"/>
              </a:spcBef>
              <a:spcAft>
                <a:spcPts val="0"/>
              </a:spcAft>
              <a:buNone/>
              <a:defRPr/>
            </a:lvl8pPr>
            <a:lvl9pPr marL="0" indent="0">
              <a:spcBef>
                <a:spcPts val="0"/>
              </a:spcBef>
              <a:spcAft>
                <a:spcPts val="0"/>
              </a:spcAft>
              <a:buNone/>
              <a:defRPr/>
            </a:lvl9pPr>
          </a:lstStyle>
          <a:p>
            <a:pPr lvl="0"/>
            <a:r>
              <a:rPr lang="de-DE" dirty="0"/>
              <a:t>x</a:t>
            </a:r>
          </a:p>
        </p:txBody>
      </p:sp>
      <p:sp>
        <p:nvSpPr>
          <p:cNvPr id="13" name="Bildplatzhalter 68">
            <a:extLst>
              <a:ext uri="{FF2B5EF4-FFF2-40B4-BE49-F238E27FC236}">
                <a16:creationId xmlns:a16="http://schemas.microsoft.com/office/drawing/2014/main" id="{4E95D4FC-A5AB-4821-AA2B-67B00C21FB26}"/>
              </a:ext>
            </a:extLst>
          </p:cNvPr>
          <p:cNvSpPr>
            <a:spLocks noGrp="1"/>
          </p:cNvSpPr>
          <p:nvPr>
            <p:ph type="pic" sz="quarter" idx="22" hasCustomPrompt="1"/>
          </p:nvPr>
        </p:nvSpPr>
        <p:spPr bwMode="gray">
          <a:xfrm>
            <a:off x="409575" y="6308725"/>
            <a:ext cx="1789200" cy="1980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spcBef>
                <a:spcPts val="0"/>
              </a:spcBef>
              <a:buNone/>
              <a:defRPr sz="1200" b="0" baseline="0">
                <a:solidFill>
                  <a:schemeClr val="tx1"/>
                </a:solidFill>
              </a:defRPr>
            </a:lvl1pPr>
          </a:lstStyle>
          <a:p>
            <a:r>
              <a:rPr lang="de-DE" dirty="0"/>
              <a:t> </a:t>
            </a:r>
          </a:p>
        </p:txBody>
      </p:sp>
    </p:spTree>
    <p:extLst>
      <p:ext uri="{BB962C8B-B14F-4D97-AF65-F5344CB8AC3E}">
        <p14:creationId xmlns:p14="http://schemas.microsoft.com/office/powerpoint/2010/main" val="2757745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a16="http://schemas.microsoft.com/office/drawing/2014/main">
      <p:transition spd="med">
        <p:fade/>
      </p:transition>
    </mc:Fallback>
  </mc:AlternateContent>
  <p:hf hdr="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Titelfolie mit Bild und negativ Logo">
    <p:spTree>
      <p:nvGrpSpPr>
        <p:cNvPr id="1" name=""/>
        <p:cNvGrpSpPr/>
        <p:nvPr/>
      </p:nvGrpSpPr>
      <p:grpSpPr>
        <a:xfrm>
          <a:off x="0" y="0"/>
          <a:ext cx="0" cy="0"/>
          <a:chOff x="0" y="0"/>
          <a:chExt cx="0" cy="0"/>
        </a:xfrm>
      </p:grpSpPr>
      <p:sp>
        <p:nvSpPr>
          <p:cNvPr id="40" name="Bildplatzhalter 36">
            <a:extLst>
              <a:ext uri="{FF2B5EF4-FFF2-40B4-BE49-F238E27FC236}">
                <a16:creationId xmlns:a16="http://schemas.microsoft.com/office/drawing/2014/main" id="{4870B9C8-84BA-4064-8D52-EB6D8BB2C906}"/>
              </a:ext>
            </a:extLst>
          </p:cNvPr>
          <p:cNvSpPr>
            <a:spLocks noGrp="1"/>
          </p:cNvSpPr>
          <p:nvPr>
            <p:ph type="pic" sz="quarter" idx="14" hasCustomPrompt="1"/>
          </p:nvPr>
        </p:nvSpPr>
        <p:spPr bwMode="gray">
          <a:xfrm>
            <a:off x="0" y="-1"/>
            <a:ext cx="12196763" cy="6858000"/>
          </a:xfrm>
          <a:prstGeom prst="rect">
            <a:avLst/>
          </a:prstGeom>
          <a:pattFill prst="pct20">
            <a:fgClr>
              <a:schemeClr val="accent3"/>
            </a:fgClr>
            <a:bgClr>
              <a:schemeClr val="bg1"/>
            </a:bgClr>
          </a:pattFill>
        </p:spPr>
        <p:txBody>
          <a:bodyPr vert="horz" wrap="square" lIns="2520000" tIns="72000" rIns="72000" bIns="72000" rtlCol="0" anchor="b">
            <a:noAutofit/>
          </a:bodyPr>
          <a:lstStyle>
            <a:lvl1pPr>
              <a:defRPr lang="de-DE" sz="1600" baseline="0" dirty="0">
                <a:solidFill>
                  <a:schemeClr val="tx1"/>
                </a:solidFill>
              </a:defRPr>
            </a:lvl1pPr>
          </a:lstStyle>
          <a:p>
            <a:pPr marR="0" lvl="0" fontAlgn="auto">
              <a:lnSpc>
                <a:spcPct val="100000"/>
              </a:lnSpc>
              <a:spcBef>
                <a:spcPts val="0"/>
              </a:spcBef>
              <a:spcAft>
                <a:spcPts val="0"/>
              </a:spcAft>
              <a:buClrTx/>
              <a:buSzTx/>
              <a:tabLst/>
            </a:pPr>
            <a:r>
              <a:rPr lang="de-DE" dirty="0"/>
              <a:t>Um ein Hintergrundbild einzufügen, markieren Sie bitte den Platzhalter und wählen entweder ein Bild aus der </a:t>
            </a:r>
            <a:r>
              <a:rPr lang="de-DE" dirty="0" err="1"/>
              <a:t>empower</a:t>
            </a:r>
            <a:r>
              <a:rPr lang="de-DE" dirty="0"/>
              <a:t> Bibliothek oder über den Reiter „Einfügen“, „Bilder“ aus. Dieses Layout steht in zwei Varianten zur Verfügung: mit positivem und negativem Partnerlogo. Bitte wählen Sie das Layout aus, welches den bestmöglichen Kontrast zwischen Bild und Logo erzeugt.</a:t>
            </a:r>
          </a:p>
        </p:txBody>
      </p:sp>
      <p:sp>
        <p:nvSpPr>
          <p:cNvPr id="30" name="Textplatzhalter 13">
            <a:extLst>
              <a:ext uri="{FF2B5EF4-FFF2-40B4-BE49-F238E27FC236}">
                <a16:creationId xmlns:a16="http://schemas.microsoft.com/office/drawing/2014/main" id="{58F070F6-CDDE-4C67-9078-9184F9E3EE06}"/>
              </a:ext>
            </a:extLst>
          </p:cNvPr>
          <p:cNvSpPr>
            <a:spLocks noGrp="1" noChangeAspect="1"/>
          </p:cNvSpPr>
          <p:nvPr>
            <p:ph type="body" sz="quarter" idx="15" hasCustomPrompt="1"/>
          </p:nvPr>
        </p:nvSpPr>
        <p:spPr bwMode="gray">
          <a:xfrm>
            <a:off x="629999" y="1"/>
            <a:ext cx="11565176" cy="4222561"/>
          </a:xfrm>
          <a:custGeom>
            <a:avLst/>
            <a:gdLst>
              <a:gd name="connsiteX0" fmla="*/ 0 w 11565176"/>
              <a:gd name="connsiteY0" fmla="*/ 0 h 4222561"/>
              <a:gd name="connsiteX1" fmla="*/ 11565176 w 11565176"/>
              <a:gd name="connsiteY1" fmla="*/ 0 h 4222561"/>
              <a:gd name="connsiteX2" fmla="*/ 11565176 w 11565176"/>
              <a:gd name="connsiteY2" fmla="*/ 2101962 h 4222561"/>
              <a:gd name="connsiteX3" fmla="*/ 910254 w 11565176"/>
              <a:gd name="connsiteY3" fmla="*/ 4203011 h 4222561"/>
              <a:gd name="connsiteX4" fmla="*/ 0 w 11565176"/>
              <a:gd name="connsiteY4" fmla="*/ 3522747 h 4222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65176" h="4222561">
                <a:moveTo>
                  <a:pt x="0" y="0"/>
                </a:moveTo>
                <a:lnTo>
                  <a:pt x="11565176" y="0"/>
                </a:lnTo>
                <a:lnTo>
                  <a:pt x="11565176" y="2101962"/>
                </a:lnTo>
                <a:lnTo>
                  <a:pt x="910254" y="4203011"/>
                </a:lnTo>
                <a:cubicBezTo>
                  <a:pt x="0" y="4359734"/>
                  <a:pt x="0" y="3522747"/>
                  <a:pt x="0" y="3522747"/>
                </a:cubicBezTo>
                <a:close/>
              </a:path>
            </a:pathLst>
          </a:custGeom>
          <a:solidFill>
            <a:srgbClr val="E9E9E9">
              <a:alpha val="89000"/>
            </a:srgbClr>
          </a:solidFill>
        </p:spPr>
        <p:txBody>
          <a:bodyPr wrap="square" lIns="399600" tIns="1407600" rIns="3240000">
            <a:noAutofit/>
          </a:bodyPr>
          <a:lstStyle>
            <a:lvl1pPr marL="0" indent="0">
              <a:spcBef>
                <a:spcPts val="0"/>
              </a:spcBef>
              <a:buFont typeface="Arial" panose="020B0604020202020204" pitchFamily="34" charset="0"/>
              <a:buNone/>
              <a:defRPr sz="3000" b="1">
                <a:solidFill>
                  <a:schemeClr val="tx2"/>
                </a:solidFill>
              </a:defRPr>
            </a:lvl1pPr>
            <a:lvl2pPr marL="0" indent="0">
              <a:spcBef>
                <a:spcPts val="0"/>
              </a:spcBef>
              <a:buFont typeface="Arial" panose="020B0604020202020204" pitchFamily="34" charset="0"/>
              <a:buNone/>
              <a:defRPr sz="3000" b="1">
                <a:solidFill>
                  <a:schemeClr val="bg1"/>
                </a:solidFill>
              </a:defRPr>
            </a:lvl2pPr>
            <a:lvl3pPr marL="0" indent="0">
              <a:spcBef>
                <a:spcPts val="0"/>
              </a:spcBef>
              <a:buNone/>
              <a:defRPr sz="3000" b="1">
                <a:solidFill>
                  <a:schemeClr val="bg1"/>
                </a:solidFill>
              </a:defRPr>
            </a:lvl3pPr>
            <a:lvl4pPr marL="0" indent="0">
              <a:spcBef>
                <a:spcPts val="0"/>
              </a:spcBef>
              <a:buNone/>
              <a:defRPr sz="3000" b="1">
                <a:solidFill>
                  <a:schemeClr val="bg1"/>
                </a:solidFill>
              </a:defRPr>
            </a:lvl4pPr>
            <a:lvl5pPr marL="0" indent="0">
              <a:spcBef>
                <a:spcPts val="0"/>
              </a:spcBef>
              <a:buNone/>
              <a:defRPr sz="3000" b="1">
                <a:solidFill>
                  <a:schemeClr val="bg1"/>
                </a:solidFill>
              </a:defRPr>
            </a:lvl5pPr>
          </a:lstStyle>
          <a:p>
            <a:pPr lvl="0"/>
            <a:r>
              <a:rPr lang="de-DE" dirty="0"/>
              <a:t>Titelfolie (max. 2-zeilig)</a:t>
            </a:r>
          </a:p>
        </p:txBody>
      </p:sp>
      <p:sp>
        <p:nvSpPr>
          <p:cNvPr id="9" name="Textplatzhalter 2">
            <a:extLst>
              <a:ext uri="{FF2B5EF4-FFF2-40B4-BE49-F238E27FC236}">
                <a16:creationId xmlns:a16="http://schemas.microsoft.com/office/drawing/2014/main" id="{79842972-B43D-4498-9CE0-114835F45A37}"/>
              </a:ext>
            </a:extLst>
          </p:cNvPr>
          <p:cNvSpPr>
            <a:spLocks noGrp="1"/>
          </p:cNvSpPr>
          <p:nvPr>
            <p:ph type="body" sz="quarter" idx="18"/>
          </p:nvPr>
        </p:nvSpPr>
        <p:spPr bwMode="gray">
          <a:xfrm>
            <a:off x="630000" y="6329316"/>
            <a:ext cx="1789200" cy="198000"/>
          </a:xfrm>
          <a:blipFill>
            <a:blip r:embed="rId2" cstate="email">
              <a:extLst>
                <a:ext uri="{28A0092B-C50C-407E-A947-70E740481C1C}">
                  <a14:useLocalDpi xmlns:a14="http://schemas.microsoft.com/office/drawing/2010/main"/>
                </a:ext>
              </a:extLst>
            </a:blip>
            <a:stretch>
              <a:fillRect/>
            </a:stretch>
          </a:blipFill>
        </p:spPr>
        <p:txBody>
          <a:bodyPr/>
          <a:lstStyle>
            <a:lvl1pPr>
              <a:defRPr sz="100">
                <a:noFill/>
              </a:defRPr>
            </a:lvl1pPr>
          </a:lstStyle>
          <a:p>
            <a:pPr lvl="0"/>
            <a:r>
              <a:rPr lang="de-DE"/>
              <a:t>Mastertextformat bearbeiten</a:t>
            </a:r>
          </a:p>
        </p:txBody>
      </p:sp>
      <p:sp>
        <p:nvSpPr>
          <p:cNvPr id="10" name="Textplatzhalter 3">
            <a:extLst>
              <a:ext uri="{FF2B5EF4-FFF2-40B4-BE49-F238E27FC236}">
                <a16:creationId xmlns:a16="http://schemas.microsoft.com/office/drawing/2014/main" id="{F27D9437-25D4-41C0-9FDB-67DE2F56C5F2}"/>
              </a:ext>
            </a:extLst>
          </p:cNvPr>
          <p:cNvSpPr>
            <a:spLocks noGrp="1"/>
          </p:cNvSpPr>
          <p:nvPr>
            <p:ph type="body" sz="quarter" idx="19" hasCustomPrompt="1"/>
          </p:nvPr>
        </p:nvSpPr>
        <p:spPr bwMode="gray">
          <a:xfrm>
            <a:off x="1030048" y="984854"/>
            <a:ext cx="6481588" cy="246221"/>
          </a:xfrm>
        </p:spPr>
        <p:txBody>
          <a:bodyPr anchor="b" anchorCtr="0">
            <a:spAutoFit/>
          </a:bodyPr>
          <a:lstStyle>
            <a:lvl1pPr>
              <a:spcBef>
                <a:spcPts val="0"/>
              </a:spcBef>
              <a:defRPr sz="1600" b="1">
                <a:solidFill>
                  <a:schemeClr val="accent2"/>
                </a:solidFill>
              </a:defRPr>
            </a:lvl1pPr>
          </a:lstStyle>
          <a:p>
            <a:pPr lvl="0"/>
            <a:r>
              <a:rPr lang="de-DE" dirty="0"/>
              <a:t>Name Kunde / Veranstaltung</a:t>
            </a:r>
          </a:p>
        </p:txBody>
      </p:sp>
      <p:sp>
        <p:nvSpPr>
          <p:cNvPr id="11" name="Textplatzhalter 3">
            <a:extLst>
              <a:ext uri="{FF2B5EF4-FFF2-40B4-BE49-F238E27FC236}">
                <a16:creationId xmlns:a16="http://schemas.microsoft.com/office/drawing/2014/main" id="{211751F6-7D82-4879-9644-28DE0AFB0E95}"/>
              </a:ext>
            </a:extLst>
          </p:cNvPr>
          <p:cNvSpPr>
            <a:spLocks noGrp="1"/>
          </p:cNvSpPr>
          <p:nvPr>
            <p:ph type="body" sz="quarter" idx="20" hasCustomPrompt="1"/>
          </p:nvPr>
        </p:nvSpPr>
        <p:spPr bwMode="gray">
          <a:xfrm>
            <a:off x="1030048" y="2500031"/>
            <a:ext cx="6481588" cy="246221"/>
          </a:xfrm>
        </p:spPr>
        <p:txBody>
          <a:bodyPr anchor="b" anchorCtr="0">
            <a:spAutoFit/>
          </a:bodyPr>
          <a:lstStyle>
            <a:lvl1pPr>
              <a:spcBef>
                <a:spcPts val="0"/>
              </a:spcBef>
              <a:defRPr sz="1600" b="0">
                <a:solidFill>
                  <a:schemeClr val="tx2"/>
                </a:solidFill>
              </a:defRPr>
            </a:lvl1pPr>
          </a:lstStyle>
          <a:p>
            <a:pPr lvl="0"/>
            <a:r>
              <a:rPr lang="de-DE" dirty="0"/>
              <a:t>Ort, Datum – Referent Vorname Name</a:t>
            </a:r>
          </a:p>
        </p:txBody>
      </p:sp>
      <p:sp>
        <p:nvSpPr>
          <p:cNvPr id="14" name="Textplatzhalter 3">
            <a:extLst>
              <a:ext uri="{FF2B5EF4-FFF2-40B4-BE49-F238E27FC236}">
                <a16:creationId xmlns:a16="http://schemas.microsoft.com/office/drawing/2014/main" id="{CB214486-2E9D-4910-B40E-A31969FCC43A}"/>
              </a:ext>
            </a:extLst>
          </p:cNvPr>
          <p:cNvSpPr>
            <a:spLocks noGrp="1"/>
          </p:cNvSpPr>
          <p:nvPr>
            <p:ph type="body" sz="quarter" idx="21" hasCustomPrompt="1"/>
          </p:nvPr>
        </p:nvSpPr>
        <p:spPr bwMode="gray">
          <a:xfrm>
            <a:off x="1030048" y="2852957"/>
            <a:ext cx="5760000" cy="184666"/>
          </a:xfrm>
        </p:spPr>
        <p:txBody>
          <a:bodyPr>
            <a:spAutoFit/>
          </a:bodyPr>
          <a:lstStyle>
            <a:lvl1pPr>
              <a:spcBef>
                <a:spcPts val="0"/>
              </a:spcBef>
              <a:defRPr sz="1200" b="0">
                <a:solidFill>
                  <a:schemeClr val="tx2"/>
                </a:solidFill>
              </a:defRPr>
            </a:lvl1pPr>
          </a:lstStyle>
          <a:p>
            <a:pPr lvl="0"/>
            <a:r>
              <a:rPr lang="de-DE" dirty="0"/>
              <a:t>Vertraulichkeitshinweis durch Klicken bearbeiten</a:t>
            </a:r>
          </a:p>
        </p:txBody>
      </p:sp>
      <p:sp>
        <p:nvSpPr>
          <p:cNvPr id="12" name="Textplatzhalter 45">
            <a:extLst>
              <a:ext uri="{FF2B5EF4-FFF2-40B4-BE49-F238E27FC236}">
                <a16:creationId xmlns:a16="http://schemas.microsoft.com/office/drawing/2014/main" id="{022F2665-F715-4123-AE95-CD706C525612}"/>
              </a:ext>
            </a:extLst>
          </p:cNvPr>
          <p:cNvSpPr>
            <a:spLocks noGrp="1"/>
          </p:cNvSpPr>
          <p:nvPr>
            <p:ph type="body" sz="quarter" idx="17" hasCustomPrompt="1"/>
          </p:nvPr>
        </p:nvSpPr>
        <p:spPr bwMode="gray">
          <a:xfrm>
            <a:off x="9563898" y="409422"/>
            <a:ext cx="2014538" cy="608013"/>
          </a:xfrm>
          <a:blipFill>
            <a:blip r:embed="rId3" cstate="email">
              <a:extLst>
                <a:ext uri="{28A0092B-C50C-407E-A947-70E740481C1C}">
                  <a14:useLocalDpi xmlns:a14="http://schemas.microsoft.com/office/drawing/2010/main"/>
                </a:ext>
              </a:extLst>
            </a:blip>
            <a:stretch>
              <a:fillRect/>
            </a:stretch>
          </a:blipFill>
        </p:spPr>
        <p:txBody>
          <a:bodyPr/>
          <a:lstStyle>
            <a:lvl1pPr marL="0" indent="0">
              <a:spcBef>
                <a:spcPts val="0"/>
              </a:spcBef>
              <a:spcAft>
                <a:spcPts val="0"/>
              </a:spcAft>
              <a:buFont typeface="Arial" panose="020B0604020202020204" pitchFamily="34" charset="0"/>
              <a:buNone/>
              <a:defRPr sz="100">
                <a:noFill/>
              </a:defRPr>
            </a:lvl1pPr>
            <a:lvl2pPr marL="0" indent="0">
              <a:spcBef>
                <a:spcPts val="0"/>
              </a:spcBef>
              <a:spcAft>
                <a:spcPts val="0"/>
              </a:spcAft>
              <a:buFont typeface="Arial" panose="020B0604020202020204" pitchFamily="34" charset="0"/>
              <a:buNone/>
              <a:defRPr sz="100">
                <a:noFill/>
              </a:defRPr>
            </a:lvl2pPr>
            <a:lvl3pPr marL="0" indent="0">
              <a:spcBef>
                <a:spcPts val="0"/>
              </a:spcBef>
              <a:spcAft>
                <a:spcPts val="0"/>
              </a:spcAft>
              <a:buFont typeface="Arial" panose="020B0604020202020204" pitchFamily="34" charset="0"/>
              <a:buNone/>
              <a:defRPr sz="100">
                <a:noFill/>
              </a:defRPr>
            </a:lvl3pPr>
            <a:lvl4pPr marL="0" indent="0">
              <a:spcBef>
                <a:spcPts val="0"/>
              </a:spcBef>
              <a:spcAft>
                <a:spcPts val="0"/>
              </a:spcAft>
              <a:buFont typeface="Arial" panose="020B0604020202020204" pitchFamily="34" charset="0"/>
              <a:buNone/>
              <a:defRPr sz="100">
                <a:noFill/>
              </a:defRPr>
            </a:lvl4pPr>
            <a:lvl5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
                <a:noFill/>
              </a:defRPr>
            </a:lvl5pPr>
            <a:lvl6pPr marL="360000" indent="0">
              <a:spcBef>
                <a:spcPts val="0"/>
              </a:spcBef>
              <a:spcAft>
                <a:spcPts val="0"/>
              </a:spcAft>
              <a:buFontTx/>
              <a:buNone/>
              <a:defRPr/>
            </a:lvl6pPr>
            <a:lvl7pPr marL="0" indent="0">
              <a:spcBef>
                <a:spcPts val="0"/>
              </a:spcBef>
              <a:spcAft>
                <a:spcPts val="0"/>
              </a:spcAft>
              <a:buNone/>
              <a:defRPr/>
            </a:lvl7pPr>
            <a:lvl8pPr marL="0" indent="0">
              <a:spcBef>
                <a:spcPts val="0"/>
              </a:spcBef>
              <a:spcAft>
                <a:spcPts val="0"/>
              </a:spcAft>
              <a:buNone/>
              <a:defRPr/>
            </a:lvl8pPr>
            <a:lvl9pPr marL="0" indent="0">
              <a:spcBef>
                <a:spcPts val="0"/>
              </a:spcBef>
              <a:spcAft>
                <a:spcPts val="0"/>
              </a:spcAft>
              <a:buNone/>
              <a:defRPr/>
            </a:lvl9pPr>
          </a:lstStyle>
          <a:p>
            <a:pPr lvl="0"/>
            <a:r>
              <a:rPr lang="de-DE" dirty="0"/>
              <a:t>x</a:t>
            </a:r>
          </a:p>
        </p:txBody>
      </p:sp>
    </p:spTree>
    <p:extLst>
      <p:ext uri="{BB962C8B-B14F-4D97-AF65-F5344CB8AC3E}">
        <p14:creationId xmlns:p14="http://schemas.microsoft.com/office/powerpoint/2010/main" val="3132999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Titelfolie mit Bild oben">
    <p:spTree>
      <p:nvGrpSpPr>
        <p:cNvPr id="1" name=""/>
        <p:cNvGrpSpPr/>
        <p:nvPr/>
      </p:nvGrpSpPr>
      <p:grpSpPr>
        <a:xfrm>
          <a:off x="0" y="0"/>
          <a:ext cx="0" cy="0"/>
          <a:chOff x="0" y="0"/>
          <a:chExt cx="0" cy="0"/>
        </a:xfrm>
      </p:grpSpPr>
      <p:sp>
        <p:nvSpPr>
          <p:cNvPr id="13" name="Bildplatzhalter 39">
            <a:extLst>
              <a:ext uri="{FF2B5EF4-FFF2-40B4-BE49-F238E27FC236}">
                <a16:creationId xmlns:a16="http://schemas.microsoft.com/office/drawing/2014/main" id="{B8CEE1E7-A4C8-4B76-ABEE-3D6D98FF6081}"/>
              </a:ext>
            </a:extLst>
          </p:cNvPr>
          <p:cNvSpPr>
            <a:spLocks noGrp="1" noChangeAspect="1"/>
          </p:cNvSpPr>
          <p:nvPr>
            <p:ph type="pic" sz="quarter" idx="14" hasCustomPrompt="1"/>
          </p:nvPr>
        </p:nvSpPr>
        <p:spPr bwMode="gray">
          <a:xfrm>
            <a:off x="630002" y="0"/>
            <a:ext cx="11565175" cy="4222563"/>
          </a:xfrm>
          <a:custGeom>
            <a:avLst/>
            <a:gdLst>
              <a:gd name="connsiteX0" fmla="*/ 0 w 11565175"/>
              <a:gd name="connsiteY0" fmla="*/ 0 h 4222563"/>
              <a:gd name="connsiteX1" fmla="*/ 11565175 w 11565175"/>
              <a:gd name="connsiteY1" fmla="*/ 0 h 4222563"/>
              <a:gd name="connsiteX2" fmla="*/ 11565175 w 11565175"/>
              <a:gd name="connsiteY2" fmla="*/ 2101964 h 4222563"/>
              <a:gd name="connsiteX3" fmla="*/ 910254 w 11565175"/>
              <a:gd name="connsiteY3" fmla="*/ 4203013 h 4222563"/>
              <a:gd name="connsiteX4" fmla="*/ 0 w 11565175"/>
              <a:gd name="connsiteY4" fmla="*/ 3522749 h 4222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65175" h="4222563">
                <a:moveTo>
                  <a:pt x="0" y="0"/>
                </a:moveTo>
                <a:lnTo>
                  <a:pt x="11565175" y="0"/>
                </a:lnTo>
                <a:lnTo>
                  <a:pt x="11565175" y="2101964"/>
                </a:lnTo>
                <a:lnTo>
                  <a:pt x="910254" y="4203013"/>
                </a:lnTo>
                <a:cubicBezTo>
                  <a:pt x="0" y="4359736"/>
                  <a:pt x="0" y="3522749"/>
                  <a:pt x="0" y="3522749"/>
                </a:cubicBezTo>
                <a:close/>
              </a:path>
            </a:pathLst>
          </a:custGeom>
          <a:pattFill prst="pct20">
            <a:fgClr>
              <a:schemeClr val="accent3"/>
            </a:fgClr>
            <a:bgClr>
              <a:schemeClr val="bg1"/>
            </a:bgClr>
          </a:pattFill>
        </p:spPr>
        <p:txBody>
          <a:bodyPr vert="horz" wrap="square" lIns="72000" tIns="72000" rIns="72000" bIns="72000" rtlCol="0" anchor="t">
            <a:noAutofit/>
          </a:bodyPr>
          <a:lstStyle>
            <a:lvl1pPr>
              <a:defRPr lang="de-DE" sz="1600" baseline="0" dirty="0">
                <a:solidFill>
                  <a:schemeClr val="tx1"/>
                </a:solidFill>
              </a:defRPr>
            </a:lvl1pPr>
          </a:lstStyle>
          <a:p>
            <a:pPr marR="0" lvl="0" fontAlgn="auto">
              <a:lnSpc>
                <a:spcPct val="100000"/>
              </a:lnSpc>
              <a:spcBef>
                <a:spcPts val="0"/>
              </a:spcBef>
              <a:spcAft>
                <a:spcPts val="0"/>
              </a:spcAft>
              <a:buClrTx/>
              <a:buSzTx/>
              <a:tabLst/>
            </a:pPr>
            <a:r>
              <a:rPr lang="de-DE" dirty="0"/>
              <a:t>Um ein Hintergrundbild einzufügen, markieren Sie bitte den Platzhalter und wählen entweder ein Bild aus der </a:t>
            </a:r>
            <a:r>
              <a:rPr lang="de-DE" dirty="0" err="1"/>
              <a:t>empower</a:t>
            </a:r>
            <a:r>
              <a:rPr lang="de-DE" dirty="0"/>
              <a:t> Bibliothek oder über den Reiter „Einfügen“, „Bilder“ aus. </a:t>
            </a:r>
          </a:p>
        </p:txBody>
      </p:sp>
      <p:sp>
        <p:nvSpPr>
          <p:cNvPr id="31" name="Textplatzhalter 2">
            <a:extLst>
              <a:ext uri="{FF2B5EF4-FFF2-40B4-BE49-F238E27FC236}">
                <a16:creationId xmlns:a16="http://schemas.microsoft.com/office/drawing/2014/main" id="{2EAC7641-4AD3-4BC3-994B-F6617167D29D}"/>
              </a:ext>
            </a:extLst>
          </p:cNvPr>
          <p:cNvSpPr>
            <a:spLocks noGrp="1" noChangeAspect="1"/>
          </p:cNvSpPr>
          <p:nvPr>
            <p:ph type="body" sz="quarter" idx="15" hasCustomPrompt="1"/>
          </p:nvPr>
        </p:nvSpPr>
        <p:spPr bwMode="gray">
          <a:xfrm>
            <a:off x="149" y="2075688"/>
            <a:ext cx="9554060" cy="4782312"/>
          </a:xfrm>
          <a:custGeom>
            <a:avLst/>
            <a:gdLst>
              <a:gd name="connsiteX0" fmla="*/ 8804033 w 9554060"/>
              <a:gd name="connsiteY0" fmla="*/ 1364 h 4782312"/>
              <a:gd name="connsiteX1" fmla="*/ 9554060 w 9554060"/>
              <a:gd name="connsiteY1" fmla="*/ 699815 h 4782312"/>
              <a:gd name="connsiteX2" fmla="*/ 9554060 w 9554060"/>
              <a:gd name="connsiteY2" fmla="*/ 4782312 h 4782312"/>
              <a:gd name="connsiteX3" fmla="*/ 0 w 9554060"/>
              <a:gd name="connsiteY3" fmla="*/ 4782312 h 4782312"/>
              <a:gd name="connsiteX4" fmla="*/ 0 w 9554060"/>
              <a:gd name="connsiteY4" fmla="*/ 1724029 h 4782312"/>
              <a:gd name="connsiteX5" fmla="*/ 8643805 w 9554060"/>
              <a:gd name="connsiteY5" fmla="*/ 19551 h 4782312"/>
              <a:gd name="connsiteX6" fmla="*/ 8804033 w 9554060"/>
              <a:gd name="connsiteY6" fmla="*/ 1364 h 4782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54060" h="4782312">
                <a:moveTo>
                  <a:pt x="8804033" y="1364"/>
                </a:moveTo>
                <a:cubicBezTo>
                  <a:pt x="9554060" y="-35818"/>
                  <a:pt x="9554060" y="699815"/>
                  <a:pt x="9554060" y="699815"/>
                </a:cubicBezTo>
                <a:lnTo>
                  <a:pt x="9554060" y="4782312"/>
                </a:lnTo>
                <a:lnTo>
                  <a:pt x="0" y="4782312"/>
                </a:lnTo>
                <a:lnTo>
                  <a:pt x="0" y="1724029"/>
                </a:lnTo>
                <a:lnTo>
                  <a:pt x="8643805" y="19551"/>
                </a:lnTo>
                <a:cubicBezTo>
                  <a:pt x="8700696" y="9756"/>
                  <a:pt x="8754031" y="3842"/>
                  <a:pt x="8804033" y="1364"/>
                </a:cubicBezTo>
                <a:close/>
              </a:path>
            </a:pathLst>
          </a:custGeom>
          <a:solidFill>
            <a:srgbClr val="E9E9E9">
              <a:alpha val="89000"/>
            </a:srgbClr>
          </a:solidFill>
        </p:spPr>
        <p:txBody>
          <a:bodyPr wrap="square" lIns="630000" tIns="2127600" rIns="648000">
            <a:noAutofit/>
          </a:bodyPr>
          <a:lstStyle>
            <a:lvl1pPr marL="0" indent="0">
              <a:spcBef>
                <a:spcPts val="0"/>
              </a:spcBef>
              <a:buFont typeface="Arial" panose="020B0604020202020204" pitchFamily="34" charset="0"/>
              <a:buNone/>
              <a:defRPr sz="3000" b="1">
                <a:solidFill>
                  <a:schemeClr val="tx2"/>
                </a:solidFill>
              </a:defRPr>
            </a:lvl1pPr>
            <a:lvl2pPr marL="0" indent="0">
              <a:spcBef>
                <a:spcPts val="0"/>
              </a:spcBef>
              <a:buFont typeface="Arial" panose="020B0604020202020204" pitchFamily="34" charset="0"/>
              <a:buNone/>
              <a:defRPr sz="3000" b="1">
                <a:solidFill>
                  <a:schemeClr val="bg1"/>
                </a:solidFill>
              </a:defRPr>
            </a:lvl2pPr>
            <a:lvl3pPr marL="0" indent="0">
              <a:spcBef>
                <a:spcPts val="0"/>
              </a:spcBef>
              <a:buNone/>
              <a:defRPr sz="3000" b="1">
                <a:solidFill>
                  <a:schemeClr val="bg1"/>
                </a:solidFill>
              </a:defRPr>
            </a:lvl3pPr>
            <a:lvl4pPr marL="0" indent="0">
              <a:spcBef>
                <a:spcPts val="0"/>
              </a:spcBef>
              <a:buNone/>
              <a:defRPr sz="3000" b="1">
                <a:solidFill>
                  <a:schemeClr val="bg1"/>
                </a:solidFill>
              </a:defRPr>
            </a:lvl4pPr>
            <a:lvl5pPr marL="0" indent="0">
              <a:spcBef>
                <a:spcPts val="0"/>
              </a:spcBef>
              <a:buNone/>
              <a:defRPr sz="3000" b="1">
                <a:solidFill>
                  <a:schemeClr val="bg1"/>
                </a:solidFill>
              </a:defRPr>
            </a:lvl5pPr>
          </a:lstStyle>
          <a:p>
            <a:pPr lvl="0"/>
            <a:r>
              <a:rPr lang="de-DE" dirty="0"/>
              <a:t>Titelfolie (max. 2-zeilig)</a:t>
            </a:r>
          </a:p>
        </p:txBody>
      </p:sp>
      <p:pic>
        <p:nvPicPr>
          <p:cNvPr id="17" name="Grafik 10">
            <a:extLst>
              <a:ext uri="{FF2B5EF4-FFF2-40B4-BE49-F238E27FC236}">
                <a16:creationId xmlns:a16="http://schemas.microsoft.com/office/drawing/2014/main" id="{412AF270-B816-43E1-8A6B-9C7CB566774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9875843" y="5986257"/>
            <a:ext cx="2016000" cy="608729"/>
          </a:xfrm>
          <a:prstGeom prst="rect">
            <a:avLst/>
          </a:prstGeom>
        </p:spPr>
      </p:pic>
      <p:sp>
        <p:nvSpPr>
          <p:cNvPr id="10" name="Textplatzhalter 3">
            <a:extLst>
              <a:ext uri="{FF2B5EF4-FFF2-40B4-BE49-F238E27FC236}">
                <a16:creationId xmlns:a16="http://schemas.microsoft.com/office/drawing/2014/main" id="{32AEB4EB-7B5D-4662-921E-F9C79FD76A24}"/>
              </a:ext>
            </a:extLst>
          </p:cNvPr>
          <p:cNvSpPr>
            <a:spLocks noGrp="1"/>
          </p:cNvSpPr>
          <p:nvPr>
            <p:ph type="body" sz="quarter" idx="19" hasCustomPrompt="1"/>
          </p:nvPr>
        </p:nvSpPr>
        <p:spPr bwMode="gray">
          <a:xfrm>
            <a:off x="630000" y="3781198"/>
            <a:ext cx="8280000" cy="246221"/>
          </a:xfrm>
        </p:spPr>
        <p:txBody>
          <a:bodyPr anchor="b" anchorCtr="0">
            <a:spAutoFit/>
          </a:bodyPr>
          <a:lstStyle>
            <a:lvl1pPr>
              <a:spcBef>
                <a:spcPts val="0"/>
              </a:spcBef>
              <a:defRPr sz="1600" b="1">
                <a:solidFill>
                  <a:schemeClr val="accent2"/>
                </a:solidFill>
              </a:defRPr>
            </a:lvl1pPr>
          </a:lstStyle>
          <a:p>
            <a:pPr lvl="0"/>
            <a:r>
              <a:rPr lang="de-DE" dirty="0"/>
              <a:t>Name Kunde / Veranstaltung</a:t>
            </a:r>
          </a:p>
        </p:txBody>
      </p:sp>
      <p:sp>
        <p:nvSpPr>
          <p:cNvPr id="11" name="Textplatzhalter 3">
            <a:extLst>
              <a:ext uri="{FF2B5EF4-FFF2-40B4-BE49-F238E27FC236}">
                <a16:creationId xmlns:a16="http://schemas.microsoft.com/office/drawing/2014/main" id="{4A2CC0C5-103F-4DC2-9434-B5F3E4480F29}"/>
              </a:ext>
            </a:extLst>
          </p:cNvPr>
          <p:cNvSpPr>
            <a:spLocks noGrp="1"/>
          </p:cNvSpPr>
          <p:nvPr>
            <p:ph type="body" sz="quarter" idx="20" hasCustomPrompt="1"/>
          </p:nvPr>
        </p:nvSpPr>
        <p:spPr bwMode="gray">
          <a:xfrm>
            <a:off x="630000" y="5302154"/>
            <a:ext cx="8280000" cy="246221"/>
          </a:xfrm>
        </p:spPr>
        <p:txBody>
          <a:bodyPr anchor="b" anchorCtr="0">
            <a:spAutoFit/>
          </a:bodyPr>
          <a:lstStyle>
            <a:lvl1pPr>
              <a:spcBef>
                <a:spcPts val="0"/>
              </a:spcBef>
              <a:defRPr sz="1600" b="0">
                <a:solidFill>
                  <a:schemeClr val="tx2"/>
                </a:solidFill>
              </a:defRPr>
            </a:lvl1pPr>
          </a:lstStyle>
          <a:p>
            <a:pPr lvl="0"/>
            <a:r>
              <a:rPr lang="de-DE" dirty="0"/>
              <a:t>Ort, Datum – Referent Vorname Name</a:t>
            </a:r>
          </a:p>
        </p:txBody>
      </p:sp>
      <p:sp>
        <p:nvSpPr>
          <p:cNvPr id="12" name="Textplatzhalter 3">
            <a:extLst>
              <a:ext uri="{FF2B5EF4-FFF2-40B4-BE49-F238E27FC236}">
                <a16:creationId xmlns:a16="http://schemas.microsoft.com/office/drawing/2014/main" id="{F33DC02B-A91D-47BF-AF90-CB743C92FCD8}"/>
              </a:ext>
            </a:extLst>
          </p:cNvPr>
          <p:cNvSpPr>
            <a:spLocks noGrp="1"/>
          </p:cNvSpPr>
          <p:nvPr>
            <p:ph type="body" sz="quarter" idx="21" hasCustomPrompt="1"/>
          </p:nvPr>
        </p:nvSpPr>
        <p:spPr bwMode="gray">
          <a:xfrm>
            <a:off x="630000" y="5659035"/>
            <a:ext cx="8280000" cy="184666"/>
          </a:xfrm>
        </p:spPr>
        <p:txBody>
          <a:bodyPr>
            <a:spAutoFit/>
          </a:bodyPr>
          <a:lstStyle>
            <a:lvl1pPr>
              <a:spcBef>
                <a:spcPts val="0"/>
              </a:spcBef>
              <a:defRPr sz="1200" b="0">
                <a:solidFill>
                  <a:schemeClr val="tx2"/>
                </a:solidFill>
              </a:defRPr>
            </a:lvl1pPr>
          </a:lstStyle>
          <a:p>
            <a:pPr lvl="0"/>
            <a:r>
              <a:rPr lang="de-DE" dirty="0"/>
              <a:t>Vertraulichkeitshinweis durch Klicken bearbeiten</a:t>
            </a:r>
          </a:p>
        </p:txBody>
      </p:sp>
      <p:sp>
        <p:nvSpPr>
          <p:cNvPr id="14" name="Textplatzhalter 2">
            <a:extLst>
              <a:ext uri="{FF2B5EF4-FFF2-40B4-BE49-F238E27FC236}">
                <a16:creationId xmlns:a16="http://schemas.microsoft.com/office/drawing/2014/main" id="{BC463B35-C6CA-41BC-BF25-D6D99C9CEE9E}"/>
              </a:ext>
            </a:extLst>
          </p:cNvPr>
          <p:cNvSpPr>
            <a:spLocks noGrp="1"/>
          </p:cNvSpPr>
          <p:nvPr>
            <p:ph type="body" sz="quarter" idx="18"/>
          </p:nvPr>
        </p:nvSpPr>
        <p:spPr bwMode="gray">
          <a:xfrm>
            <a:off x="630000" y="6329316"/>
            <a:ext cx="1789200" cy="198000"/>
          </a:xfrm>
          <a:blipFill>
            <a:blip r:embed="rId3" cstate="email">
              <a:extLst>
                <a:ext uri="{28A0092B-C50C-407E-A947-70E740481C1C}">
                  <a14:useLocalDpi xmlns:a14="http://schemas.microsoft.com/office/drawing/2010/main"/>
                </a:ext>
              </a:extLst>
            </a:blip>
            <a:stretch>
              <a:fillRect/>
            </a:stretch>
          </a:blipFill>
        </p:spPr>
        <p:txBody>
          <a:bodyPr/>
          <a:lstStyle>
            <a:lvl1pPr>
              <a:defRPr sz="100">
                <a:noFill/>
              </a:defRPr>
            </a:lvl1pPr>
          </a:lstStyle>
          <a:p>
            <a:pPr lvl="0"/>
            <a:r>
              <a:rPr lang="de-DE"/>
              <a:t>Mastertextformat bearbeiten</a:t>
            </a:r>
          </a:p>
        </p:txBody>
      </p:sp>
    </p:spTree>
    <p:extLst>
      <p:ext uri="{BB962C8B-B14F-4D97-AF65-F5344CB8AC3E}">
        <p14:creationId xmlns:p14="http://schemas.microsoft.com/office/powerpoint/2010/main" val="2517688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elfolie mit Bild unten und positiv Logo">
    <p:spTree>
      <p:nvGrpSpPr>
        <p:cNvPr id="1" name=""/>
        <p:cNvGrpSpPr/>
        <p:nvPr/>
      </p:nvGrpSpPr>
      <p:grpSpPr>
        <a:xfrm>
          <a:off x="0" y="0"/>
          <a:ext cx="0" cy="0"/>
          <a:chOff x="0" y="0"/>
          <a:chExt cx="0" cy="0"/>
        </a:xfrm>
      </p:grpSpPr>
      <p:sp>
        <p:nvSpPr>
          <p:cNvPr id="15" name="Bildplatzhalter 39">
            <a:extLst>
              <a:ext uri="{FF2B5EF4-FFF2-40B4-BE49-F238E27FC236}">
                <a16:creationId xmlns:a16="http://schemas.microsoft.com/office/drawing/2014/main" id="{659E978D-933F-488C-82EE-39A95991D2B8}"/>
              </a:ext>
            </a:extLst>
          </p:cNvPr>
          <p:cNvSpPr>
            <a:spLocks noGrp="1" noChangeAspect="1"/>
          </p:cNvSpPr>
          <p:nvPr>
            <p:ph type="pic" sz="quarter" idx="14" hasCustomPrompt="1"/>
          </p:nvPr>
        </p:nvSpPr>
        <p:spPr bwMode="gray">
          <a:xfrm>
            <a:off x="2" y="2348738"/>
            <a:ext cx="11575073" cy="4509262"/>
          </a:xfrm>
          <a:custGeom>
            <a:avLst/>
            <a:gdLst>
              <a:gd name="connsiteX0" fmla="*/ 10825046 w 11575073"/>
              <a:gd name="connsiteY0" fmla="*/ 1364 h 4509262"/>
              <a:gd name="connsiteX1" fmla="*/ 11575073 w 11575073"/>
              <a:gd name="connsiteY1" fmla="*/ 699815 h 4509262"/>
              <a:gd name="connsiteX2" fmla="*/ 11575073 w 11575073"/>
              <a:gd name="connsiteY2" fmla="*/ 4509262 h 4509262"/>
              <a:gd name="connsiteX3" fmla="*/ 0 w 11575073"/>
              <a:gd name="connsiteY3" fmla="*/ 4509262 h 4509262"/>
              <a:gd name="connsiteX4" fmla="*/ 0 w 11575073"/>
              <a:gd name="connsiteY4" fmla="*/ 2122554 h 4509262"/>
              <a:gd name="connsiteX5" fmla="*/ 10664818 w 11575073"/>
              <a:gd name="connsiteY5" fmla="*/ 19551 h 4509262"/>
              <a:gd name="connsiteX6" fmla="*/ 10825046 w 11575073"/>
              <a:gd name="connsiteY6" fmla="*/ 1364 h 4509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75073" h="4509262">
                <a:moveTo>
                  <a:pt x="10825046" y="1364"/>
                </a:moveTo>
                <a:cubicBezTo>
                  <a:pt x="11575073" y="-35818"/>
                  <a:pt x="11575073" y="699815"/>
                  <a:pt x="11575073" y="699815"/>
                </a:cubicBezTo>
                <a:lnTo>
                  <a:pt x="11575073" y="4509262"/>
                </a:lnTo>
                <a:lnTo>
                  <a:pt x="0" y="4509262"/>
                </a:lnTo>
                <a:lnTo>
                  <a:pt x="0" y="2122554"/>
                </a:lnTo>
                <a:lnTo>
                  <a:pt x="10664818" y="19551"/>
                </a:lnTo>
                <a:cubicBezTo>
                  <a:pt x="10721709" y="9756"/>
                  <a:pt x="10775044" y="3843"/>
                  <a:pt x="10825046" y="1364"/>
                </a:cubicBezTo>
                <a:close/>
              </a:path>
            </a:pathLst>
          </a:custGeom>
          <a:pattFill prst="pct20">
            <a:fgClr>
              <a:schemeClr val="accent3"/>
            </a:fgClr>
            <a:bgClr>
              <a:schemeClr val="bg1"/>
            </a:bgClr>
          </a:pattFill>
        </p:spPr>
        <p:txBody>
          <a:bodyPr vert="horz" wrap="square" lIns="2520000" tIns="72000" rIns="72000" bIns="72000" rtlCol="0" anchor="b">
            <a:noAutofit/>
          </a:bodyPr>
          <a:lstStyle>
            <a:lvl1pPr>
              <a:defRPr lang="de-DE" sz="1600" baseline="0" dirty="0">
                <a:solidFill>
                  <a:schemeClr val="tx1"/>
                </a:solidFill>
              </a:defRPr>
            </a:lvl1pPr>
          </a:lstStyle>
          <a:p>
            <a:pPr marR="0" lvl="0" fontAlgn="auto">
              <a:lnSpc>
                <a:spcPct val="100000"/>
              </a:lnSpc>
              <a:spcBef>
                <a:spcPts val="0"/>
              </a:spcBef>
              <a:spcAft>
                <a:spcPts val="0"/>
              </a:spcAft>
              <a:buClrTx/>
              <a:buSzTx/>
              <a:tabLst/>
            </a:pPr>
            <a:r>
              <a:rPr lang="de-DE"/>
              <a:t>Um ein Hintergrundbild einzufügen, markieren Sie bitte den Platzhalter und wählen entweder ein Bild aus der </a:t>
            </a:r>
            <a:r>
              <a:rPr lang="de-DE" err="1"/>
              <a:t>empower</a:t>
            </a:r>
            <a:r>
              <a:rPr lang="de-DE"/>
              <a:t> Bibliothek oder über den Reiter „Einfügen“, „Bilder“ aus. Dieses Layout steht in zwei Varianten zur Verfügung: mit positivem und negativem Partnerlogo. Bitte wählen Sie das Layout aus, welches den bestmöglichen Kontrast zwischen Bild und Logo erzeugt.</a:t>
            </a:r>
          </a:p>
        </p:txBody>
      </p:sp>
      <p:sp>
        <p:nvSpPr>
          <p:cNvPr id="16" name="Textplatzhalter 2">
            <a:extLst>
              <a:ext uri="{FF2B5EF4-FFF2-40B4-BE49-F238E27FC236}">
                <a16:creationId xmlns:a16="http://schemas.microsoft.com/office/drawing/2014/main" id="{F4FDA422-946E-4E94-9A2A-DF3A8167EDE2}"/>
              </a:ext>
            </a:extLst>
          </p:cNvPr>
          <p:cNvSpPr>
            <a:spLocks noGrp="1"/>
          </p:cNvSpPr>
          <p:nvPr>
            <p:ph type="body" sz="quarter" idx="15" hasCustomPrompt="1"/>
          </p:nvPr>
        </p:nvSpPr>
        <p:spPr bwMode="gray">
          <a:xfrm>
            <a:off x="630000" y="1327148"/>
            <a:ext cx="10080000" cy="923330"/>
          </a:xfrm>
          <a:prstGeom prst="rect">
            <a:avLst/>
          </a:prstGeom>
          <a:noFill/>
        </p:spPr>
        <p:txBody>
          <a:bodyPr wrap="square" lIns="0" tIns="0">
            <a:noAutofit/>
          </a:bodyPr>
          <a:lstStyle>
            <a:lvl1pPr marL="0" indent="0">
              <a:spcBef>
                <a:spcPts val="0"/>
              </a:spcBef>
              <a:buFont typeface="Arial" panose="020B0604020202020204" pitchFamily="34" charset="0"/>
              <a:buNone/>
              <a:defRPr sz="3000" b="1">
                <a:solidFill>
                  <a:schemeClr val="accent1"/>
                </a:solidFill>
              </a:defRPr>
            </a:lvl1pPr>
            <a:lvl2pPr marL="0" indent="0">
              <a:spcBef>
                <a:spcPts val="0"/>
              </a:spcBef>
              <a:buFont typeface="Arial" panose="020B0604020202020204" pitchFamily="34" charset="0"/>
              <a:buNone/>
              <a:defRPr sz="3000" b="1">
                <a:solidFill>
                  <a:schemeClr val="bg1"/>
                </a:solidFill>
              </a:defRPr>
            </a:lvl2pPr>
            <a:lvl3pPr marL="0" indent="0">
              <a:spcBef>
                <a:spcPts val="0"/>
              </a:spcBef>
              <a:buNone/>
              <a:defRPr sz="3000" b="1">
                <a:solidFill>
                  <a:schemeClr val="bg1"/>
                </a:solidFill>
              </a:defRPr>
            </a:lvl3pPr>
            <a:lvl4pPr marL="0" indent="0">
              <a:spcBef>
                <a:spcPts val="0"/>
              </a:spcBef>
              <a:buNone/>
              <a:defRPr sz="3000" b="1">
                <a:solidFill>
                  <a:schemeClr val="bg1"/>
                </a:solidFill>
              </a:defRPr>
            </a:lvl4pPr>
            <a:lvl5pPr marL="0" indent="0">
              <a:spcBef>
                <a:spcPts val="0"/>
              </a:spcBef>
              <a:buNone/>
              <a:defRPr sz="3000" b="1">
                <a:solidFill>
                  <a:schemeClr val="bg1"/>
                </a:solidFill>
              </a:defRPr>
            </a:lvl5pPr>
          </a:lstStyle>
          <a:p>
            <a:pPr lvl="0"/>
            <a:r>
              <a:rPr lang="de-DE"/>
              <a:t>Titelfolie (max. 2-zeilig)</a:t>
            </a:r>
          </a:p>
        </p:txBody>
      </p:sp>
      <p:pic>
        <p:nvPicPr>
          <p:cNvPr id="23" name="Grafik 10">
            <a:extLst>
              <a:ext uri="{FF2B5EF4-FFF2-40B4-BE49-F238E27FC236}">
                <a16:creationId xmlns:a16="http://schemas.microsoft.com/office/drawing/2014/main" id="{2F90E044-3115-466D-9C29-E40A066B546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9563898" y="409422"/>
            <a:ext cx="2016000" cy="608729"/>
          </a:xfrm>
          <a:prstGeom prst="rect">
            <a:avLst/>
          </a:prstGeom>
        </p:spPr>
      </p:pic>
      <p:sp>
        <p:nvSpPr>
          <p:cNvPr id="9" name="Textplatzhalter 2">
            <a:extLst>
              <a:ext uri="{FF2B5EF4-FFF2-40B4-BE49-F238E27FC236}">
                <a16:creationId xmlns:a16="http://schemas.microsoft.com/office/drawing/2014/main" id="{9B4F194E-6CE7-4A85-AE3A-24CCC4D5B3F8}"/>
              </a:ext>
            </a:extLst>
          </p:cNvPr>
          <p:cNvSpPr>
            <a:spLocks noGrp="1"/>
          </p:cNvSpPr>
          <p:nvPr>
            <p:ph type="body" sz="quarter" idx="18"/>
          </p:nvPr>
        </p:nvSpPr>
        <p:spPr bwMode="gray">
          <a:xfrm>
            <a:off x="630000" y="6329316"/>
            <a:ext cx="1789200" cy="198000"/>
          </a:xfrm>
          <a:blipFill>
            <a:blip r:embed="rId3"/>
            <a:stretch>
              <a:fillRect/>
            </a:stretch>
          </a:blipFill>
        </p:spPr>
        <p:txBody>
          <a:bodyPr/>
          <a:lstStyle>
            <a:lvl1pPr>
              <a:defRPr sz="100">
                <a:noFill/>
              </a:defRPr>
            </a:lvl1pPr>
          </a:lstStyle>
          <a:p>
            <a:pPr lvl="0"/>
            <a:r>
              <a:rPr lang="de-DE"/>
              <a:t>Mastertextformat bearbeiten</a:t>
            </a:r>
          </a:p>
        </p:txBody>
      </p:sp>
      <p:sp>
        <p:nvSpPr>
          <p:cNvPr id="10" name="Textplatzhalter 3">
            <a:extLst>
              <a:ext uri="{FF2B5EF4-FFF2-40B4-BE49-F238E27FC236}">
                <a16:creationId xmlns:a16="http://schemas.microsoft.com/office/drawing/2014/main" id="{946DF9A9-BEA9-4792-80DC-AA1D7320E66C}"/>
              </a:ext>
            </a:extLst>
          </p:cNvPr>
          <p:cNvSpPr>
            <a:spLocks noGrp="1"/>
          </p:cNvSpPr>
          <p:nvPr>
            <p:ph type="body" sz="quarter" idx="19" hasCustomPrompt="1"/>
          </p:nvPr>
        </p:nvSpPr>
        <p:spPr bwMode="gray">
          <a:xfrm>
            <a:off x="630000" y="951417"/>
            <a:ext cx="7560000" cy="246221"/>
          </a:xfrm>
        </p:spPr>
        <p:txBody>
          <a:bodyPr anchor="b" anchorCtr="0">
            <a:spAutoFit/>
          </a:bodyPr>
          <a:lstStyle>
            <a:lvl1pPr>
              <a:spcBef>
                <a:spcPts val="0"/>
              </a:spcBef>
              <a:defRPr sz="1600" b="1">
                <a:solidFill>
                  <a:schemeClr val="accent2"/>
                </a:solidFill>
              </a:defRPr>
            </a:lvl1pPr>
          </a:lstStyle>
          <a:p>
            <a:pPr lvl="0"/>
            <a:r>
              <a:rPr lang="de-DE"/>
              <a:t>Name Kunde / Veranstaltung</a:t>
            </a:r>
          </a:p>
        </p:txBody>
      </p:sp>
      <p:sp>
        <p:nvSpPr>
          <p:cNvPr id="11" name="Textplatzhalter 3">
            <a:extLst>
              <a:ext uri="{FF2B5EF4-FFF2-40B4-BE49-F238E27FC236}">
                <a16:creationId xmlns:a16="http://schemas.microsoft.com/office/drawing/2014/main" id="{270AD210-D093-44F8-B337-CD00E42A1373}"/>
              </a:ext>
            </a:extLst>
          </p:cNvPr>
          <p:cNvSpPr>
            <a:spLocks noGrp="1"/>
          </p:cNvSpPr>
          <p:nvPr>
            <p:ph type="body" sz="quarter" idx="20" hasCustomPrompt="1"/>
          </p:nvPr>
        </p:nvSpPr>
        <p:spPr bwMode="gray">
          <a:xfrm>
            <a:off x="630000" y="2453983"/>
            <a:ext cx="7560000" cy="246221"/>
          </a:xfrm>
        </p:spPr>
        <p:txBody>
          <a:bodyPr anchor="b" anchorCtr="0">
            <a:spAutoFit/>
          </a:bodyPr>
          <a:lstStyle>
            <a:lvl1pPr>
              <a:spcBef>
                <a:spcPts val="0"/>
              </a:spcBef>
              <a:defRPr sz="1600" b="0">
                <a:solidFill>
                  <a:schemeClr val="tx2"/>
                </a:solidFill>
              </a:defRPr>
            </a:lvl1pPr>
          </a:lstStyle>
          <a:p>
            <a:pPr lvl="0"/>
            <a:r>
              <a:rPr lang="de-DE"/>
              <a:t>Ort, Datum – Referent Vorname Name</a:t>
            </a:r>
          </a:p>
        </p:txBody>
      </p:sp>
      <p:sp>
        <p:nvSpPr>
          <p:cNvPr id="12" name="Textplatzhalter 3">
            <a:extLst>
              <a:ext uri="{FF2B5EF4-FFF2-40B4-BE49-F238E27FC236}">
                <a16:creationId xmlns:a16="http://schemas.microsoft.com/office/drawing/2014/main" id="{8D5A066C-AA8A-4AD7-B1D2-497F5E3D364F}"/>
              </a:ext>
            </a:extLst>
          </p:cNvPr>
          <p:cNvSpPr>
            <a:spLocks noGrp="1"/>
          </p:cNvSpPr>
          <p:nvPr>
            <p:ph type="body" sz="quarter" idx="21" hasCustomPrompt="1"/>
          </p:nvPr>
        </p:nvSpPr>
        <p:spPr bwMode="gray">
          <a:xfrm>
            <a:off x="630000" y="2816643"/>
            <a:ext cx="6264000" cy="184666"/>
          </a:xfrm>
        </p:spPr>
        <p:txBody>
          <a:bodyPr>
            <a:spAutoFit/>
          </a:bodyPr>
          <a:lstStyle>
            <a:lvl1pPr>
              <a:spcBef>
                <a:spcPts val="0"/>
              </a:spcBef>
              <a:defRPr sz="1200" b="0">
                <a:solidFill>
                  <a:schemeClr val="tx2"/>
                </a:solidFill>
              </a:defRPr>
            </a:lvl1pPr>
          </a:lstStyle>
          <a:p>
            <a:pPr lvl="0"/>
            <a:r>
              <a:rPr lang="de-DE"/>
              <a:t>Vertraulichkeitshinweis durch Klicken bearbeiten</a:t>
            </a:r>
          </a:p>
        </p:txBody>
      </p:sp>
    </p:spTree>
    <p:extLst>
      <p:ext uri="{BB962C8B-B14F-4D97-AF65-F5344CB8AC3E}">
        <p14:creationId xmlns:p14="http://schemas.microsoft.com/office/powerpoint/2010/main" val="3410058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Titelfolie mit Bild unten und positiv Logo">
    <p:spTree>
      <p:nvGrpSpPr>
        <p:cNvPr id="1" name=""/>
        <p:cNvGrpSpPr/>
        <p:nvPr/>
      </p:nvGrpSpPr>
      <p:grpSpPr>
        <a:xfrm>
          <a:off x="0" y="0"/>
          <a:ext cx="0" cy="0"/>
          <a:chOff x="0" y="0"/>
          <a:chExt cx="0" cy="0"/>
        </a:xfrm>
      </p:grpSpPr>
      <p:sp>
        <p:nvSpPr>
          <p:cNvPr id="15" name="Bildplatzhalter 39">
            <a:extLst>
              <a:ext uri="{FF2B5EF4-FFF2-40B4-BE49-F238E27FC236}">
                <a16:creationId xmlns:a16="http://schemas.microsoft.com/office/drawing/2014/main" id="{659E978D-933F-488C-82EE-39A95991D2B8}"/>
              </a:ext>
            </a:extLst>
          </p:cNvPr>
          <p:cNvSpPr>
            <a:spLocks noGrp="1" noChangeAspect="1"/>
          </p:cNvSpPr>
          <p:nvPr>
            <p:ph type="pic" sz="quarter" idx="14" hasCustomPrompt="1"/>
          </p:nvPr>
        </p:nvSpPr>
        <p:spPr bwMode="gray">
          <a:xfrm>
            <a:off x="2" y="2348738"/>
            <a:ext cx="11575073" cy="4509262"/>
          </a:xfrm>
          <a:custGeom>
            <a:avLst/>
            <a:gdLst>
              <a:gd name="connsiteX0" fmla="*/ 10825046 w 11575073"/>
              <a:gd name="connsiteY0" fmla="*/ 1364 h 4509262"/>
              <a:gd name="connsiteX1" fmla="*/ 11575073 w 11575073"/>
              <a:gd name="connsiteY1" fmla="*/ 699815 h 4509262"/>
              <a:gd name="connsiteX2" fmla="*/ 11575073 w 11575073"/>
              <a:gd name="connsiteY2" fmla="*/ 4509262 h 4509262"/>
              <a:gd name="connsiteX3" fmla="*/ 0 w 11575073"/>
              <a:gd name="connsiteY3" fmla="*/ 4509262 h 4509262"/>
              <a:gd name="connsiteX4" fmla="*/ 0 w 11575073"/>
              <a:gd name="connsiteY4" fmla="*/ 2122554 h 4509262"/>
              <a:gd name="connsiteX5" fmla="*/ 10664818 w 11575073"/>
              <a:gd name="connsiteY5" fmla="*/ 19551 h 4509262"/>
              <a:gd name="connsiteX6" fmla="*/ 10825046 w 11575073"/>
              <a:gd name="connsiteY6" fmla="*/ 1364 h 4509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75073" h="4509262">
                <a:moveTo>
                  <a:pt x="10825046" y="1364"/>
                </a:moveTo>
                <a:cubicBezTo>
                  <a:pt x="11575073" y="-35818"/>
                  <a:pt x="11575073" y="699815"/>
                  <a:pt x="11575073" y="699815"/>
                </a:cubicBezTo>
                <a:lnTo>
                  <a:pt x="11575073" y="4509262"/>
                </a:lnTo>
                <a:lnTo>
                  <a:pt x="0" y="4509262"/>
                </a:lnTo>
                <a:lnTo>
                  <a:pt x="0" y="2122554"/>
                </a:lnTo>
                <a:lnTo>
                  <a:pt x="10664818" y="19551"/>
                </a:lnTo>
                <a:cubicBezTo>
                  <a:pt x="10721709" y="9756"/>
                  <a:pt x="10775044" y="3843"/>
                  <a:pt x="10825046" y="1364"/>
                </a:cubicBezTo>
                <a:close/>
              </a:path>
            </a:pathLst>
          </a:custGeom>
          <a:pattFill prst="pct20">
            <a:fgClr>
              <a:schemeClr val="accent3"/>
            </a:fgClr>
            <a:bgClr>
              <a:schemeClr val="bg1"/>
            </a:bgClr>
          </a:pattFill>
        </p:spPr>
        <p:txBody>
          <a:bodyPr vert="horz" wrap="square" lIns="2520000" tIns="72000" rIns="72000" bIns="72000" rtlCol="0" anchor="b">
            <a:noAutofit/>
          </a:bodyPr>
          <a:lstStyle>
            <a:lvl1pPr>
              <a:defRPr lang="de-DE" sz="1600" baseline="0" dirty="0">
                <a:solidFill>
                  <a:schemeClr val="tx1"/>
                </a:solidFill>
              </a:defRPr>
            </a:lvl1pPr>
          </a:lstStyle>
          <a:p>
            <a:pPr marR="0" lvl="0" fontAlgn="auto">
              <a:lnSpc>
                <a:spcPct val="100000"/>
              </a:lnSpc>
              <a:spcBef>
                <a:spcPts val="0"/>
              </a:spcBef>
              <a:spcAft>
                <a:spcPts val="0"/>
              </a:spcAft>
              <a:buClrTx/>
              <a:buSzTx/>
              <a:tabLst/>
            </a:pPr>
            <a:r>
              <a:rPr lang="de-DE" dirty="0"/>
              <a:t>Um ein Hintergrundbild einzufügen, markieren Sie bitte den Platzhalter und wählen entweder ein Bild aus der </a:t>
            </a:r>
            <a:r>
              <a:rPr lang="de-DE" dirty="0" err="1"/>
              <a:t>empower</a:t>
            </a:r>
            <a:r>
              <a:rPr lang="de-DE" dirty="0"/>
              <a:t> Bibliothek oder über den Reiter „Einfügen“, „Bilder“ aus. Dieses Layout steht in zwei Varianten zur Verfügung: mit positivem und negativem Partnerlogo. Bitte wählen Sie das Layout aus, welches den bestmöglichen Kontrast zwischen Bild und Logo erzeugt.</a:t>
            </a:r>
          </a:p>
        </p:txBody>
      </p:sp>
      <p:sp>
        <p:nvSpPr>
          <p:cNvPr id="16" name="Textplatzhalter 2">
            <a:extLst>
              <a:ext uri="{FF2B5EF4-FFF2-40B4-BE49-F238E27FC236}">
                <a16:creationId xmlns:a16="http://schemas.microsoft.com/office/drawing/2014/main" id="{F4FDA422-946E-4E94-9A2A-DF3A8167EDE2}"/>
              </a:ext>
            </a:extLst>
          </p:cNvPr>
          <p:cNvSpPr>
            <a:spLocks noGrp="1"/>
          </p:cNvSpPr>
          <p:nvPr>
            <p:ph type="body" sz="quarter" idx="15" hasCustomPrompt="1"/>
          </p:nvPr>
        </p:nvSpPr>
        <p:spPr bwMode="gray">
          <a:xfrm>
            <a:off x="630000" y="1327148"/>
            <a:ext cx="10080000" cy="923330"/>
          </a:xfrm>
          <a:prstGeom prst="rect">
            <a:avLst/>
          </a:prstGeom>
          <a:noFill/>
        </p:spPr>
        <p:txBody>
          <a:bodyPr wrap="square" lIns="0" tIns="0">
            <a:noAutofit/>
          </a:bodyPr>
          <a:lstStyle>
            <a:lvl1pPr marL="0" indent="0">
              <a:spcBef>
                <a:spcPts val="0"/>
              </a:spcBef>
              <a:buFont typeface="Arial" panose="020B0604020202020204" pitchFamily="34" charset="0"/>
              <a:buNone/>
              <a:defRPr sz="3000" b="1">
                <a:solidFill>
                  <a:schemeClr val="accent1"/>
                </a:solidFill>
              </a:defRPr>
            </a:lvl1pPr>
            <a:lvl2pPr marL="0" indent="0">
              <a:spcBef>
                <a:spcPts val="0"/>
              </a:spcBef>
              <a:buFont typeface="Arial" panose="020B0604020202020204" pitchFamily="34" charset="0"/>
              <a:buNone/>
              <a:defRPr sz="3000" b="1">
                <a:solidFill>
                  <a:schemeClr val="bg1"/>
                </a:solidFill>
              </a:defRPr>
            </a:lvl2pPr>
            <a:lvl3pPr marL="0" indent="0">
              <a:spcBef>
                <a:spcPts val="0"/>
              </a:spcBef>
              <a:buNone/>
              <a:defRPr sz="3000" b="1">
                <a:solidFill>
                  <a:schemeClr val="bg1"/>
                </a:solidFill>
              </a:defRPr>
            </a:lvl3pPr>
            <a:lvl4pPr marL="0" indent="0">
              <a:spcBef>
                <a:spcPts val="0"/>
              </a:spcBef>
              <a:buNone/>
              <a:defRPr sz="3000" b="1">
                <a:solidFill>
                  <a:schemeClr val="bg1"/>
                </a:solidFill>
              </a:defRPr>
            </a:lvl4pPr>
            <a:lvl5pPr marL="0" indent="0">
              <a:spcBef>
                <a:spcPts val="0"/>
              </a:spcBef>
              <a:buNone/>
              <a:defRPr sz="3000" b="1">
                <a:solidFill>
                  <a:schemeClr val="bg1"/>
                </a:solidFill>
              </a:defRPr>
            </a:lvl5pPr>
          </a:lstStyle>
          <a:p>
            <a:pPr lvl="0"/>
            <a:r>
              <a:rPr lang="de-DE" dirty="0"/>
              <a:t>Titelfolie (max. 2-zeilig)</a:t>
            </a:r>
          </a:p>
        </p:txBody>
      </p:sp>
      <p:pic>
        <p:nvPicPr>
          <p:cNvPr id="23" name="Grafik 10">
            <a:extLst>
              <a:ext uri="{FF2B5EF4-FFF2-40B4-BE49-F238E27FC236}">
                <a16:creationId xmlns:a16="http://schemas.microsoft.com/office/drawing/2014/main" id="{2F90E044-3115-466D-9C29-E40A066B546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9563898" y="409422"/>
            <a:ext cx="2016000" cy="608729"/>
          </a:xfrm>
          <a:prstGeom prst="rect">
            <a:avLst/>
          </a:prstGeom>
        </p:spPr>
      </p:pic>
      <p:sp>
        <p:nvSpPr>
          <p:cNvPr id="9" name="Textplatzhalter 2">
            <a:extLst>
              <a:ext uri="{FF2B5EF4-FFF2-40B4-BE49-F238E27FC236}">
                <a16:creationId xmlns:a16="http://schemas.microsoft.com/office/drawing/2014/main" id="{9B4F194E-6CE7-4A85-AE3A-24CCC4D5B3F8}"/>
              </a:ext>
            </a:extLst>
          </p:cNvPr>
          <p:cNvSpPr>
            <a:spLocks noGrp="1"/>
          </p:cNvSpPr>
          <p:nvPr>
            <p:ph type="body" sz="quarter" idx="18"/>
          </p:nvPr>
        </p:nvSpPr>
        <p:spPr bwMode="gray">
          <a:xfrm>
            <a:off x="630000" y="6329316"/>
            <a:ext cx="1789200" cy="198000"/>
          </a:xfrm>
          <a:blipFill>
            <a:blip r:embed="rId3" cstate="email">
              <a:extLst>
                <a:ext uri="{28A0092B-C50C-407E-A947-70E740481C1C}">
                  <a14:useLocalDpi xmlns:a14="http://schemas.microsoft.com/office/drawing/2010/main"/>
                </a:ext>
              </a:extLst>
            </a:blip>
            <a:stretch>
              <a:fillRect/>
            </a:stretch>
          </a:blipFill>
        </p:spPr>
        <p:txBody>
          <a:bodyPr/>
          <a:lstStyle>
            <a:lvl1pPr>
              <a:defRPr sz="100">
                <a:noFill/>
              </a:defRPr>
            </a:lvl1pPr>
          </a:lstStyle>
          <a:p>
            <a:pPr lvl="0"/>
            <a:r>
              <a:rPr lang="de-DE"/>
              <a:t>Mastertextformat bearbeiten</a:t>
            </a:r>
          </a:p>
        </p:txBody>
      </p:sp>
      <p:sp>
        <p:nvSpPr>
          <p:cNvPr id="10" name="Textplatzhalter 3">
            <a:extLst>
              <a:ext uri="{FF2B5EF4-FFF2-40B4-BE49-F238E27FC236}">
                <a16:creationId xmlns:a16="http://schemas.microsoft.com/office/drawing/2014/main" id="{946DF9A9-BEA9-4792-80DC-AA1D7320E66C}"/>
              </a:ext>
            </a:extLst>
          </p:cNvPr>
          <p:cNvSpPr>
            <a:spLocks noGrp="1"/>
          </p:cNvSpPr>
          <p:nvPr>
            <p:ph type="body" sz="quarter" idx="19" hasCustomPrompt="1"/>
          </p:nvPr>
        </p:nvSpPr>
        <p:spPr bwMode="gray">
          <a:xfrm>
            <a:off x="630000" y="951417"/>
            <a:ext cx="7560000" cy="246221"/>
          </a:xfrm>
        </p:spPr>
        <p:txBody>
          <a:bodyPr anchor="b" anchorCtr="0">
            <a:spAutoFit/>
          </a:bodyPr>
          <a:lstStyle>
            <a:lvl1pPr>
              <a:spcBef>
                <a:spcPts val="0"/>
              </a:spcBef>
              <a:defRPr sz="1600" b="1">
                <a:solidFill>
                  <a:schemeClr val="accent2"/>
                </a:solidFill>
              </a:defRPr>
            </a:lvl1pPr>
          </a:lstStyle>
          <a:p>
            <a:pPr lvl="0"/>
            <a:r>
              <a:rPr lang="de-DE" dirty="0"/>
              <a:t>Name Kunde / Veranstaltung</a:t>
            </a:r>
          </a:p>
        </p:txBody>
      </p:sp>
      <p:sp>
        <p:nvSpPr>
          <p:cNvPr id="11" name="Textplatzhalter 3">
            <a:extLst>
              <a:ext uri="{FF2B5EF4-FFF2-40B4-BE49-F238E27FC236}">
                <a16:creationId xmlns:a16="http://schemas.microsoft.com/office/drawing/2014/main" id="{270AD210-D093-44F8-B337-CD00E42A1373}"/>
              </a:ext>
            </a:extLst>
          </p:cNvPr>
          <p:cNvSpPr>
            <a:spLocks noGrp="1"/>
          </p:cNvSpPr>
          <p:nvPr>
            <p:ph type="body" sz="quarter" idx="20" hasCustomPrompt="1"/>
          </p:nvPr>
        </p:nvSpPr>
        <p:spPr bwMode="gray">
          <a:xfrm>
            <a:off x="630000" y="2453983"/>
            <a:ext cx="7560000" cy="246221"/>
          </a:xfrm>
        </p:spPr>
        <p:txBody>
          <a:bodyPr anchor="b" anchorCtr="0">
            <a:spAutoFit/>
          </a:bodyPr>
          <a:lstStyle>
            <a:lvl1pPr>
              <a:spcBef>
                <a:spcPts val="0"/>
              </a:spcBef>
              <a:defRPr sz="1600" b="0">
                <a:solidFill>
                  <a:schemeClr val="tx2"/>
                </a:solidFill>
              </a:defRPr>
            </a:lvl1pPr>
          </a:lstStyle>
          <a:p>
            <a:pPr lvl="0"/>
            <a:r>
              <a:rPr lang="de-DE" dirty="0"/>
              <a:t>Ort, Datum – Referent Vorname Name</a:t>
            </a:r>
          </a:p>
        </p:txBody>
      </p:sp>
      <p:sp>
        <p:nvSpPr>
          <p:cNvPr id="12" name="Textplatzhalter 3">
            <a:extLst>
              <a:ext uri="{FF2B5EF4-FFF2-40B4-BE49-F238E27FC236}">
                <a16:creationId xmlns:a16="http://schemas.microsoft.com/office/drawing/2014/main" id="{8D5A066C-AA8A-4AD7-B1D2-497F5E3D364F}"/>
              </a:ext>
            </a:extLst>
          </p:cNvPr>
          <p:cNvSpPr>
            <a:spLocks noGrp="1"/>
          </p:cNvSpPr>
          <p:nvPr>
            <p:ph type="body" sz="quarter" idx="21" hasCustomPrompt="1"/>
          </p:nvPr>
        </p:nvSpPr>
        <p:spPr bwMode="gray">
          <a:xfrm>
            <a:off x="630000" y="2816643"/>
            <a:ext cx="6264000" cy="184666"/>
          </a:xfrm>
        </p:spPr>
        <p:txBody>
          <a:bodyPr>
            <a:spAutoFit/>
          </a:bodyPr>
          <a:lstStyle>
            <a:lvl1pPr>
              <a:spcBef>
                <a:spcPts val="0"/>
              </a:spcBef>
              <a:defRPr sz="1200" b="0">
                <a:solidFill>
                  <a:schemeClr val="tx2"/>
                </a:solidFill>
              </a:defRPr>
            </a:lvl1pPr>
          </a:lstStyle>
          <a:p>
            <a:pPr lvl="0"/>
            <a:r>
              <a:rPr lang="de-DE" dirty="0"/>
              <a:t>Vertraulichkeitshinweis durch Klicken bearbeiten</a:t>
            </a:r>
          </a:p>
        </p:txBody>
      </p:sp>
    </p:spTree>
    <p:extLst>
      <p:ext uri="{BB962C8B-B14F-4D97-AF65-F5344CB8AC3E}">
        <p14:creationId xmlns:p14="http://schemas.microsoft.com/office/powerpoint/2010/main" val="3350984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a16="http://schemas.microsoft.com/office/drawing/2014/main">
      <p:transition spd="med">
        <p:fade/>
      </p:transition>
    </mc:Fallback>
  </mc:AlternateContent>
  <p:hf hdr="0"/>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Titelfolie mit Bild unten und negativ Logo">
    <p:spTree>
      <p:nvGrpSpPr>
        <p:cNvPr id="1" name=""/>
        <p:cNvGrpSpPr/>
        <p:nvPr/>
      </p:nvGrpSpPr>
      <p:grpSpPr>
        <a:xfrm>
          <a:off x="0" y="0"/>
          <a:ext cx="0" cy="0"/>
          <a:chOff x="0" y="0"/>
          <a:chExt cx="0" cy="0"/>
        </a:xfrm>
      </p:grpSpPr>
      <p:sp>
        <p:nvSpPr>
          <p:cNvPr id="15" name="Bildplatzhalter 39">
            <a:extLst>
              <a:ext uri="{FF2B5EF4-FFF2-40B4-BE49-F238E27FC236}">
                <a16:creationId xmlns:a16="http://schemas.microsoft.com/office/drawing/2014/main" id="{659E978D-933F-488C-82EE-39A95991D2B8}"/>
              </a:ext>
            </a:extLst>
          </p:cNvPr>
          <p:cNvSpPr>
            <a:spLocks noGrp="1" noChangeAspect="1"/>
          </p:cNvSpPr>
          <p:nvPr>
            <p:ph type="pic" sz="quarter" idx="14" hasCustomPrompt="1"/>
          </p:nvPr>
        </p:nvSpPr>
        <p:spPr bwMode="gray">
          <a:xfrm>
            <a:off x="2" y="2348738"/>
            <a:ext cx="11575073" cy="4509262"/>
          </a:xfrm>
          <a:custGeom>
            <a:avLst/>
            <a:gdLst>
              <a:gd name="connsiteX0" fmla="*/ 10825046 w 11575073"/>
              <a:gd name="connsiteY0" fmla="*/ 1364 h 4509262"/>
              <a:gd name="connsiteX1" fmla="*/ 11575073 w 11575073"/>
              <a:gd name="connsiteY1" fmla="*/ 699815 h 4509262"/>
              <a:gd name="connsiteX2" fmla="*/ 11575073 w 11575073"/>
              <a:gd name="connsiteY2" fmla="*/ 4509262 h 4509262"/>
              <a:gd name="connsiteX3" fmla="*/ 0 w 11575073"/>
              <a:gd name="connsiteY3" fmla="*/ 4509262 h 4509262"/>
              <a:gd name="connsiteX4" fmla="*/ 0 w 11575073"/>
              <a:gd name="connsiteY4" fmla="*/ 2122554 h 4509262"/>
              <a:gd name="connsiteX5" fmla="*/ 10664818 w 11575073"/>
              <a:gd name="connsiteY5" fmla="*/ 19551 h 4509262"/>
              <a:gd name="connsiteX6" fmla="*/ 10825046 w 11575073"/>
              <a:gd name="connsiteY6" fmla="*/ 1364 h 4509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75073" h="4509262">
                <a:moveTo>
                  <a:pt x="10825046" y="1364"/>
                </a:moveTo>
                <a:cubicBezTo>
                  <a:pt x="11575073" y="-35818"/>
                  <a:pt x="11575073" y="699815"/>
                  <a:pt x="11575073" y="699815"/>
                </a:cubicBezTo>
                <a:lnTo>
                  <a:pt x="11575073" y="4509262"/>
                </a:lnTo>
                <a:lnTo>
                  <a:pt x="0" y="4509262"/>
                </a:lnTo>
                <a:lnTo>
                  <a:pt x="0" y="2122554"/>
                </a:lnTo>
                <a:lnTo>
                  <a:pt x="10664818" y="19551"/>
                </a:lnTo>
                <a:cubicBezTo>
                  <a:pt x="10721709" y="9756"/>
                  <a:pt x="10775044" y="3843"/>
                  <a:pt x="10825046" y="1364"/>
                </a:cubicBezTo>
                <a:close/>
              </a:path>
            </a:pathLst>
          </a:custGeom>
          <a:pattFill prst="pct20">
            <a:fgClr>
              <a:schemeClr val="accent3"/>
            </a:fgClr>
            <a:bgClr>
              <a:schemeClr val="bg1"/>
            </a:bgClr>
          </a:pattFill>
        </p:spPr>
        <p:txBody>
          <a:bodyPr vert="horz" wrap="square" lIns="2520000" tIns="72000" rIns="72000" bIns="72000" rtlCol="0" anchor="b">
            <a:noAutofit/>
          </a:bodyPr>
          <a:lstStyle>
            <a:lvl1pPr>
              <a:defRPr lang="de-DE" sz="1600" baseline="0" dirty="0">
                <a:solidFill>
                  <a:schemeClr val="tx1"/>
                </a:solidFill>
              </a:defRPr>
            </a:lvl1pPr>
          </a:lstStyle>
          <a:p>
            <a:pPr marR="0" lvl="0" fontAlgn="auto">
              <a:lnSpc>
                <a:spcPct val="100000"/>
              </a:lnSpc>
              <a:spcBef>
                <a:spcPts val="0"/>
              </a:spcBef>
              <a:spcAft>
                <a:spcPts val="0"/>
              </a:spcAft>
              <a:buClrTx/>
              <a:buSzTx/>
              <a:tabLst/>
            </a:pPr>
            <a:r>
              <a:rPr lang="de-DE" dirty="0"/>
              <a:t>Um ein Hintergrundbild einzufügen, markieren Sie bitte den Platzhalter und wählen entweder ein Bild aus der </a:t>
            </a:r>
            <a:r>
              <a:rPr lang="de-DE" dirty="0" err="1"/>
              <a:t>empower</a:t>
            </a:r>
            <a:r>
              <a:rPr lang="de-DE" dirty="0"/>
              <a:t> Bibliothek oder über den Reiter „Einfügen“, „Bilder“ aus. Dieses Layout steht in zwei Varianten zur Verfügung: mit positivem und negativem Partnerlogo. Bitte wählen Sie das Layout aus, welches den bestmöglichen Kontrast zwischen Bild und Logo erzeugt.</a:t>
            </a:r>
          </a:p>
        </p:txBody>
      </p:sp>
      <p:pic>
        <p:nvPicPr>
          <p:cNvPr id="23" name="Grafik 10">
            <a:extLst>
              <a:ext uri="{FF2B5EF4-FFF2-40B4-BE49-F238E27FC236}">
                <a16:creationId xmlns:a16="http://schemas.microsoft.com/office/drawing/2014/main" id="{2F90E044-3115-466D-9C29-E40A066B546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9563898" y="409422"/>
            <a:ext cx="2016000" cy="608729"/>
          </a:xfrm>
          <a:prstGeom prst="rect">
            <a:avLst/>
          </a:prstGeom>
        </p:spPr>
      </p:pic>
      <p:sp>
        <p:nvSpPr>
          <p:cNvPr id="9" name="Textplatzhalter 2">
            <a:extLst>
              <a:ext uri="{FF2B5EF4-FFF2-40B4-BE49-F238E27FC236}">
                <a16:creationId xmlns:a16="http://schemas.microsoft.com/office/drawing/2014/main" id="{4EC0FAF0-A1D6-4E9D-BCC5-5FE9781849D2}"/>
              </a:ext>
            </a:extLst>
          </p:cNvPr>
          <p:cNvSpPr>
            <a:spLocks noGrp="1"/>
          </p:cNvSpPr>
          <p:nvPr>
            <p:ph type="body" sz="quarter" idx="18"/>
          </p:nvPr>
        </p:nvSpPr>
        <p:spPr bwMode="gray">
          <a:xfrm>
            <a:off x="630000" y="6329316"/>
            <a:ext cx="1789200" cy="198000"/>
          </a:xfrm>
          <a:blipFill>
            <a:blip r:embed="rId3" cstate="email">
              <a:extLst>
                <a:ext uri="{28A0092B-C50C-407E-A947-70E740481C1C}">
                  <a14:useLocalDpi xmlns:a14="http://schemas.microsoft.com/office/drawing/2010/main"/>
                </a:ext>
              </a:extLst>
            </a:blip>
            <a:stretch>
              <a:fillRect/>
            </a:stretch>
          </a:blipFill>
        </p:spPr>
        <p:txBody>
          <a:bodyPr/>
          <a:lstStyle>
            <a:lvl1pPr>
              <a:defRPr sz="100">
                <a:noFill/>
              </a:defRPr>
            </a:lvl1pPr>
          </a:lstStyle>
          <a:p>
            <a:pPr lvl="0"/>
            <a:r>
              <a:rPr lang="de-DE"/>
              <a:t>Mastertextformat bearbeiten</a:t>
            </a:r>
          </a:p>
        </p:txBody>
      </p:sp>
      <p:sp>
        <p:nvSpPr>
          <p:cNvPr id="14" name="Textplatzhalter 2">
            <a:extLst>
              <a:ext uri="{FF2B5EF4-FFF2-40B4-BE49-F238E27FC236}">
                <a16:creationId xmlns:a16="http://schemas.microsoft.com/office/drawing/2014/main" id="{514BC479-07EC-42DB-ABF9-357BB1B8D150}"/>
              </a:ext>
            </a:extLst>
          </p:cNvPr>
          <p:cNvSpPr>
            <a:spLocks noGrp="1"/>
          </p:cNvSpPr>
          <p:nvPr>
            <p:ph type="body" sz="quarter" idx="15" hasCustomPrompt="1"/>
          </p:nvPr>
        </p:nvSpPr>
        <p:spPr bwMode="gray">
          <a:xfrm>
            <a:off x="630000" y="1327148"/>
            <a:ext cx="10080000" cy="923330"/>
          </a:xfrm>
          <a:prstGeom prst="rect">
            <a:avLst/>
          </a:prstGeom>
          <a:noFill/>
        </p:spPr>
        <p:txBody>
          <a:bodyPr wrap="square" lIns="0" tIns="0">
            <a:noAutofit/>
          </a:bodyPr>
          <a:lstStyle>
            <a:lvl1pPr marL="0" indent="0">
              <a:spcBef>
                <a:spcPts val="0"/>
              </a:spcBef>
              <a:buFont typeface="Arial" panose="020B0604020202020204" pitchFamily="34" charset="0"/>
              <a:buNone/>
              <a:defRPr sz="3000" b="1">
                <a:solidFill>
                  <a:schemeClr val="accent1"/>
                </a:solidFill>
              </a:defRPr>
            </a:lvl1pPr>
            <a:lvl2pPr marL="0" indent="0">
              <a:spcBef>
                <a:spcPts val="0"/>
              </a:spcBef>
              <a:buFont typeface="Arial" panose="020B0604020202020204" pitchFamily="34" charset="0"/>
              <a:buNone/>
              <a:defRPr sz="3000" b="1">
                <a:solidFill>
                  <a:schemeClr val="bg1"/>
                </a:solidFill>
              </a:defRPr>
            </a:lvl2pPr>
            <a:lvl3pPr marL="0" indent="0">
              <a:spcBef>
                <a:spcPts val="0"/>
              </a:spcBef>
              <a:buNone/>
              <a:defRPr sz="3000" b="1">
                <a:solidFill>
                  <a:schemeClr val="bg1"/>
                </a:solidFill>
              </a:defRPr>
            </a:lvl3pPr>
            <a:lvl4pPr marL="0" indent="0">
              <a:spcBef>
                <a:spcPts val="0"/>
              </a:spcBef>
              <a:buNone/>
              <a:defRPr sz="3000" b="1">
                <a:solidFill>
                  <a:schemeClr val="bg1"/>
                </a:solidFill>
              </a:defRPr>
            </a:lvl4pPr>
            <a:lvl5pPr marL="0" indent="0">
              <a:spcBef>
                <a:spcPts val="0"/>
              </a:spcBef>
              <a:buNone/>
              <a:defRPr sz="3000" b="1">
                <a:solidFill>
                  <a:schemeClr val="bg1"/>
                </a:solidFill>
              </a:defRPr>
            </a:lvl5pPr>
          </a:lstStyle>
          <a:p>
            <a:pPr lvl="0"/>
            <a:r>
              <a:rPr lang="de-DE" dirty="0"/>
              <a:t>Titelfolie (max. 2-zeilig)</a:t>
            </a:r>
          </a:p>
        </p:txBody>
      </p:sp>
      <p:sp>
        <p:nvSpPr>
          <p:cNvPr id="16" name="Textplatzhalter 3">
            <a:extLst>
              <a:ext uri="{FF2B5EF4-FFF2-40B4-BE49-F238E27FC236}">
                <a16:creationId xmlns:a16="http://schemas.microsoft.com/office/drawing/2014/main" id="{CCB26A21-6BFA-43D2-89A0-93F36FE1456D}"/>
              </a:ext>
            </a:extLst>
          </p:cNvPr>
          <p:cNvSpPr>
            <a:spLocks noGrp="1"/>
          </p:cNvSpPr>
          <p:nvPr>
            <p:ph type="body" sz="quarter" idx="19" hasCustomPrompt="1"/>
          </p:nvPr>
        </p:nvSpPr>
        <p:spPr bwMode="gray">
          <a:xfrm>
            <a:off x="630000" y="951417"/>
            <a:ext cx="7560000" cy="246221"/>
          </a:xfrm>
        </p:spPr>
        <p:txBody>
          <a:bodyPr anchor="b" anchorCtr="0">
            <a:spAutoFit/>
          </a:bodyPr>
          <a:lstStyle>
            <a:lvl1pPr>
              <a:spcBef>
                <a:spcPts val="0"/>
              </a:spcBef>
              <a:defRPr sz="1600" b="1">
                <a:solidFill>
                  <a:schemeClr val="accent2"/>
                </a:solidFill>
              </a:defRPr>
            </a:lvl1pPr>
          </a:lstStyle>
          <a:p>
            <a:pPr lvl="0"/>
            <a:r>
              <a:rPr lang="de-DE" dirty="0"/>
              <a:t>Name Kunde / Veranstaltung</a:t>
            </a:r>
          </a:p>
        </p:txBody>
      </p:sp>
      <p:sp>
        <p:nvSpPr>
          <p:cNvPr id="17" name="Textplatzhalter 3">
            <a:extLst>
              <a:ext uri="{FF2B5EF4-FFF2-40B4-BE49-F238E27FC236}">
                <a16:creationId xmlns:a16="http://schemas.microsoft.com/office/drawing/2014/main" id="{4FECC35D-B1E8-4D3D-893F-E4B9747B4390}"/>
              </a:ext>
            </a:extLst>
          </p:cNvPr>
          <p:cNvSpPr>
            <a:spLocks noGrp="1"/>
          </p:cNvSpPr>
          <p:nvPr>
            <p:ph type="body" sz="quarter" idx="20" hasCustomPrompt="1"/>
          </p:nvPr>
        </p:nvSpPr>
        <p:spPr bwMode="gray">
          <a:xfrm>
            <a:off x="630000" y="2453983"/>
            <a:ext cx="7560000" cy="246221"/>
          </a:xfrm>
        </p:spPr>
        <p:txBody>
          <a:bodyPr anchor="b" anchorCtr="0">
            <a:spAutoFit/>
          </a:bodyPr>
          <a:lstStyle>
            <a:lvl1pPr>
              <a:spcBef>
                <a:spcPts val="0"/>
              </a:spcBef>
              <a:defRPr sz="1600" b="0">
                <a:solidFill>
                  <a:schemeClr val="tx2"/>
                </a:solidFill>
              </a:defRPr>
            </a:lvl1pPr>
          </a:lstStyle>
          <a:p>
            <a:pPr lvl="0"/>
            <a:r>
              <a:rPr lang="de-DE" dirty="0"/>
              <a:t>Ort, Datum – Referent Vorname Name</a:t>
            </a:r>
          </a:p>
        </p:txBody>
      </p:sp>
      <p:sp>
        <p:nvSpPr>
          <p:cNvPr id="18" name="Textplatzhalter 3">
            <a:extLst>
              <a:ext uri="{FF2B5EF4-FFF2-40B4-BE49-F238E27FC236}">
                <a16:creationId xmlns:a16="http://schemas.microsoft.com/office/drawing/2014/main" id="{F189B50E-3F80-429D-933C-029109AD7863}"/>
              </a:ext>
            </a:extLst>
          </p:cNvPr>
          <p:cNvSpPr>
            <a:spLocks noGrp="1"/>
          </p:cNvSpPr>
          <p:nvPr>
            <p:ph type="body" sz="quarter" idx="21" hasCustomPrompt="1"/>
          </p:nvPr>
        </p:nvSpPr>
        <p:spPr bwMode="gray">
          <a:xfrm>
            <a:off x="630000" y="2816643"/>
            <a:ext cx="6264000" cy="184666"/>
          </a:xfrm>
        </p:spPr>
        <p:txBody>
          <a:bodyPr>
            <a:spAutoFit/>
          </a:bodyPr>
          <a:lstStyle>
            <a:lvl1pPr>
              <a:spcBef>
                <a:spcPts val="0"/>
              </a:spcBef>
              <a:defRPr sz="1200" b="0">
                <a:solidFill>
                  <a:schemeClr val="tx2"/>
                </a:solidFill>
              </a:defRPr>
            </a:lvl1pPr>
          </a:lstStyle>
          <a:p>
            <a:pPr lvl="0"/>
            <a:r>
              <a:rPr lang="de-DE" dirty="0"/>
              <a:t>Vertraulichkeitshinweis durch Klicken bearbeiten</a:t>
            </a:r>
          </a:p>
        </p:txBody>
      </p:sp>
    </p:spTree>
    <p:extLst>
      <p:ext uri="{BB962C8B-B14F-4D97-AF65-F5344CB8AC3E}">
        <p14:creationId xmlns:p14="http://schemas.microsoft.com/office/powerpoint/2010/main" val="465348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Titelfolie ohne Bild">
    <p:spTree>
      <p:nvGrpSpPr>
        <p:cNvPr id="1" name=""/>
        <p:cNvGrpSpPr/>
        <p:nvPr/>
      </p:nvGrpSpPr>
      <p:grpSpPr>
        <a:xfrm>
          <a:off x="0" y="0"/>
          <a:ext cx="0" cy="0"/>
          <a:chOff x="0" y="0"/>
          <a:chExt cx="0" cy="0"/>
        </a:xfrm>
      </p:grpSpPr>
      <p:sp>
        <p:nvSpPr>
          <p:cNvPr id="15" name="Textplatzhalter 13">
            <a:extLst>
              <a:ext uri="{FF2B5EF4-FFF2-40B4-BE49-F238E27FC236}">
                <a16:creationId xmlns:a16="http://schemas.microsoft.com/office/drawing/2014/main" id="{E0C68517-A305-4B55-B379-C2D052B1CFD3}"/>
              </a:ext>
            </a:extLst>
          </p:cNvPr>
          <p:cNvSpPr>
            <a:spLocks noGrp="1" noChangeAspect="1"/>
          </p:cNvSpPr>
          <p:nvPr>
            <p:ph type="body" sz="quarter" idx="15" hasCustomPrompt="1"/>
          </p:nvPr>
        </p:nvSpPr>
        <p:spPr bwMode="gray">
          <a:xfrm>
            <a:off x="629999" y="1"/>
            <a:ext cx="11565176" cy="4222561"/>
          </a:xfrm>
          <a:custGeom>
            <a:avLst/>
            <a:gdLst>
              <a:gd name="connsiteX0" fmla="*/ 0 w 11565176"/>
              <a:gd name="connsiteY0" fmla="*/ 0 h 4222561"/>
              <a:gd name="connsiteX1" fmla="*/ 11565176 w 11565176"/>
              <a:gd name="connsiteY1" fmla="*/ 0 h 4222561"/>
              <a:gd name="connsiteX2" fmla="*/ 11565176 w 11565176"/>
              <a:gd name="connsiteY2" fmla="*/ 2101962 h 4222561"/>
              <a:gd name="connsiteX3" fmla="*/ 910254 w 11565176"/>
              <a:gd name="connsiteY3" fmla="*/ 4203011 h 4222561"/>
              <a:gd name="connsiteX4" fmla="*/ 0 w 11565176"/>
              <a:gd name="connsiteY4" fmla="*/ 3522747 h 4222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65176" h="4222561">
                <a:moveTo>
                  <a:pt x="0" y="0"/>
                </a:moveTo>
                <a:lnTo>
                  <a:pt x="11565176" y="0"/>
                </a:lnTo>
                <a:lnTo>
                  <a:pt x="11565176" y="2101962"/>
                </a:lnTo>
                <a:lnTo>
                  <a:pt x="910254" y="4203011"/>
                </a:lnTo>
                <a:cubicBezTo>
                  <a:pt x="0" y="4359734"/>
                  <a:pt x="0" y="3522747"/>
                  <a:pt x="0" y="3522747"/>
                </a:cubicBezTo>
                <a:close/>
              </a:path>
            </a:pathLst>
          </a:custGeom>
          <a:solidFill>
            <a:srgbClr val="E9E9E9"/>
          </a:solidFill>
        </p:spPr>
        <p:txBody>
          <a:bodyPr wrap="square" lIns="399600" tIns="1407600" rIns="3240000">
            <a:noAutofit/>
          </a:bodyPr>
          <a:lstStyle>
            <a:lvl1pPr marL="0" indent="0">
              <a:spcBef>
                <a:spcPts val="0"/>
              </a:spcBef>
              <a:buFont typeface="Arial" panose="020B0604020202020204" pitchFamily="34" charset="0"/>
              <a:buNone/>
              <a:defRPr sz="3000" b="1">
                <a:solidFill>
                  <a:schemeClr val="tx2"/>
                </a:solidFill>
              </a:defRPr>
            </a:lvl1pPr>
            <a:lvl2pPr marL="0" indent="0">
              <a:spcBef>
                <a:spcPts val="0"/>
              </a:spcBef>
              <a:buFont typeface="Arial" panose="020B0604020202020204" pitchFamily="34" charset="0"/>
              <a:buNone/>
              <a:defRPr sz="3000" b="1">
                <a:solidFill>
                  <a:schemeClr val="bg1"/>
                </a:solidFill>
              </a:defRPr>
            </a:lvl2pPr>
            <a:lvl3pPr marL="0" indent="0">
              <a:spcBef>
                <a:spcPts val="0"/>
              </a:spcBef>
              <a:buNone/>
              <a:defRPr sz="3000" b="1">
                <a:solidFill>
                  <a:schemeClr val="bg1"/>
                </a:solidFill>
              </a:defRPr>
            </a:lvl3pPr>
            <a:lvl4pPr marL="0" indent="0">
              <a:spcBef>
                <a:spcPts val="0"/>
              </a:spcBef>
              <a:buNone/>
              <a:defRPr sz="3000" b="1">
                <a:solidFill>
                  <a:schemeClr val="bg1"/>
                </a:solidFill>
              </a:defRPr>
            </a:lvl4pPr>
            <a:lvl5pPr marL="0" indent="0">
              <a:spcBef>
                <a:spcPts val="0"/>
              </a:spcBef>
              <a:buNone/>
              <a:defRPr sz="3000" b="1">
                <a:solidFill>
                  <a:schemeClr val="bg1"/>
                </a:solidFill>
              </a:defRPr>
            </a:lvl5pPr>
          </a:lstStyle>
          <a:p>
            <a:pPr lvl="0"/>
            <a:r>
              <a:rPr lang="de-DE" dirty="0"/>
              <a:t>Titelfolie (max. 2-zeilig)</a:t>
            </a:r>
          </a:p>
        </p:txBody>
      </p:sp>
      <p:sp>
        <p:nvSpPr>
          <p:cNvPr id="22" name="Grafik 9">
            <a:extLst>
              <a:ext uri="{FF2B5EF4-FFF2-40B4-BE49-F238E27FC236}">
                <a16:creationId xmlns:a16="http://schemas.microsoft.com/office/drawing/2014/main" id="{7D2E2297-447D-4A5B-A68B-EE05793D8FAD}"/>
              </a:ext>
            </a:extLst>
          </p:cNvPr>
          <p:cNvSpPr txBox="1">
            <a:spLocks/>
          </p:cNvSpPr>
          <p:nvPr/>
        </p:nvSpPr>
        <p:spPr bwMode="gray">
          <a:xfrm>
            <a:off x="630000" y="6329316"/>
            <a:ext cx="1789200" cy="1980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vert="horz" lIns="0" tIns="0" rIns="0" bIns="0" rtlCol="0" anchor="ctr">
            <a:noAutofit/>
          </a:bodyPr>
          <a:lstStyle>
            <a:lvl1pPr marL="0" indent="0" algn="ctr" defTabSz="914400" rtl="0" eaLnBrk="1" latinLnBrk="0" hangingPunct="1">
              <a:spcBef>
                <a:spcPts val="1200"/>
              </a:spcBef>
              <a:buFont typeface="Arial" panose="020B0604020202020204" pitchFamily="34" charset="0"/>
              <a:buNone/>
              <a:defRPr lang="de-DE" sz="1200" b="0" kern="1200" baseline="0" dirty="0">
                <a:solidFill>
                  <a:schemeClr val="tx1"/>
                </a:solidFill>
                <a:latin typeface="+mn-lt"/>
                <a:ea typeface="+mn-ea"/>
                <a:cs typeface="+mn-cs"/>
              </a:defRPr>
            </a:lvl1pPr>
            <a:lvl2pPr marL="0" indent="0" algn="l" defTabSz="914400" rtl="0" eaLnBrk="1" latinLnBrk="0" hangingPunct="1">
              <a:spcBef>
                <a:spcPts val="600"/>
              </a:spcBef>
              <a:buFont typeface="Arial" panose="020B0604020202020204" pitchFamily="34" charset="0"/>
              <a:buNone/>
              <a:defRPr lang="de-DE" sz="1800" kern="1200" dirty="0">
                <a:solidFill>
                  <a:schemeClr val="tx1"/>
                </a:solidFill>
                <a:latin typeface="+mn-lt"/>
                <a:ea typeface="+mn-ea"/>
                <a:cs typeface="+mn-cs"/>
              </a:defRPr>
            </a:lvl2pPr>
            <a:lvl3pPr marL="180000" indent="-180000" algn="l" defTabSz="914400" rtl="0" eaLnBrk="1" latinLnBrk="0" hangingPunct="1">
              <a:spcBef>
                <a:spcPts val="600"/>
              </a:spcBef>
              <a:buClrTx/>
              <a:buFont typeface="Wingdings" panose="05000000000000000000" pitchFamily="2" charset="2"/>
              <a:buChar char=""/>
              <a:defRPr lang="de-DE" sz="1800" kern="1200" dirty="0">
                <a:solidFill>
                  <a:schemeClr val="tx1"/>
                </a:solidFill>
                <a:latin typeface="+mn-lt"/>
                <a:ea typeface="+mn-ea"/>
                <a:cs typeface="+mn-cs"/>
              </a:defRPr>
            </a:lvl3pPr>
            <a:lvl4pPr marL="360000" indent="-180000" algn="l" defTabSz="914400" rtl="0" eaLnBrk="1" latinLnBrk="0" hangingPunct="1">
              <a:spcBef>
                <a:spcPts val="400"/>
              </a:spcBef>
              <a:buClrTx/>
              <a:buFont typeface="Arial" panose="020B0604020202020204" pitchFamily="34" charset="0"/>
              <a:buChar char="•"/>
              <a:defRPr lang="de-DE" sz="1800" kern="1200" dirty="0">
                <a:solidFill>
                  <a:schemeClr val="tx1"/>
                </a:solidFill>
                <a:latin typeface="+mn-lt"/>
                <a:ea typeface="+mn-ea"/>
                <a:cs typeface="+mn-cs"/>
              </a:defRPr>
            </a:lvl4pPr>
            <a:lvl5pPr marL="576000" indent="-216000" algn="l" defTabSz="914400" rtl="0" eaLnBrk="1" latinLnBrk="0" hangingPunct="1">
              <a:spcBef>
                <a:spcPts val="400"/>
              </a:spcBef>
              <a:buFont typeface="Symbol" panose="05050102010706020507" pitchFamily="18" charset="2"/>
              <a:buChar char="-"/>
              <a:defRPr lang="de-DE" sz="1800" kern="1200" dirty="0">
                <a:solidFill>
                  <a:schemeClr val="tx1"/>
                </a:solidFill>
                <a:latin typeface="+mn-lt"/>
                <a:ea typeface="+mn-ea"/>
                <a:cs typeface="+mn-cs"/>
              </a:defRPr>
            </a:lvl5pPr>
            <a:lvl6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6pPr>
            <a:lvl7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7pPr>
            <a:lvl8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8pPr>
            <a:lvl9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9pPr>
          </a:lstStyle>
          <a:p>
            <a:pPr marL="342900" indent="-342900">
              <a:spcBef>
                <a:spcPts val="0"/>
              </a:spcBef>
            </a:pPr>
            <a:r>
              <a:rPr lang="de-DE"/>
              <a:t> </a:t>
            </a:r>
          </a:p>
        </p:txBody>
      </p:sp>
      <p:sp>
        <p:nvSpPr>
          <p:cNvPr id="8" name="Textplatzhalter 3">
            <a:extLst>
              <a:ext uri="{FF2B5EF4-FFF2-40B4-BE49-F238E27FC236}">
                <a16:creationId xmlns:a16="http://schemas.microsoft.com/office/drawing/2014/main" id="{D5E6013F-1162-401F-BF4F-843707295C35}"/>
              </a:ext>
            </a:extLst>
          </p:cNvPr>
          <p:cNvSpPr>
            <a:spLocks noGrp="1"/>
          </p:cNvSpPr>
          <p:nvPr>
            <p:ph type="body" sz="quarter" idx="19" hasCustomPrompt="1"/>
          </p:nvPr>
        </p:nvSpPr>
        <p:spPr bwMode="gray">
          <a:xfrm>
            <a:off x="1030048" y="984854"/>
            <a:ext cx="6481588" cy="246221"/>
          </a:xfrm>
        </p:spPr>
        <p:txBody>
          <a:bodyPr anchor="b" anchorCtr="0">
            <a:spAutoFit/>
          </a:bodyPr>
          <a:lstStyle>
            <a:lvl1pPr>
              <a:spcBef>
                <a:spcPts val="0"/>
              </a:spcBef>
              <a:defRPr sz="1600" b="1">
                <a:solidFill>
                  <a:schemeClr val="accent2"/>
                </a:solidFill>
              </a:defRPr>
            </a:lvl1pPr>
          </a:lstStyle>
          <a:p>
            <a:pPr lvl="0"/>
            <a:r>
              <a:rPr lang="de-DE" dirty="0"/>
              <a:t>Name Kunde / Veranstaltung</a:t>
            </a:r>
          </a:p>
        </p:txBody>
      </p:sp>
      <p:sp>
        <p:nvSpPr>
          <p:cNvPr id="9" name="Textplatzhalter 3">
            <a:extLst>
              <a:ext uri="{FF2B5EF4-FFF2-40B4-BE49-F238E27FC236}">
                <a16:creationId xmlns:a16="http://schemas.microsoft.com/office/drawing/2014/main" id="{850ADE13-7C6F-4597-A3C6-29F3D36F673D}"/>
              </a:ext>
            </a:extLst>
          </p:cNvPr>
          <p:cNvSpPr>
            <a:spLocks noGrp="1"/>
          </p:cNvSpPr>
          <p:nvPr>
            <p:ph type="body" sz="quarter" idx="20" hasCustomPrompt="1"/>
          </p:nvPr>
        </p:nvSpPr>
        <p:spPr bwMode="gray">
          <a:xfrm>
            <a:off x="1030048" y="2500031"/>
            <a:ext cx="6481588" cy="246221"/>
          </a:xfrm>
        </p:spPr>
        <p:txBody>
          <a:bodyPr anchor="b" anchorCtr="0">
            <a:spAutoFit/>
          </a:bodyPr>
          <a:lstStyle>
            <a:lvl1pPr>
              <a:spcBef>
                <a:spcPts val="0"/>
              </a:spcBef>
              <a:defRPr sz="1600" b="0">
                <a:solidFill>
                  <a:schemeClr val="tx2"/>
                </a:solidFill>
              </a:defRPr>
            </a:lvl1pPr>
          </a:lstStyle>
          <a:p>
            <a:pPr lvl="0"/>
            <a:r>
              <a:rPr lang="de-DE" dirty="0"/>
              <a:t>Ort, Datum – Referent Vorname Name</a:t>
            </a:r>
          </a:p>
        </p:txBody>
      </p:sp>
      <p:sp>
        <p:nvSpPr>
          <p:cNvPr id="10" name="Textplatzhalter 3">
            <a:extLst>
              <a:ext uri="{FF2B5EF4-FFF2-40B4-BE49-F238E27FC236}">
                <a16:creationId xmlns:a16="http://schemas.microsoft.com/office/drawing/2014/main" id="{52CE6598-11D4-4C02-AADE-7D8C1E1C609D}"/>
              </a:ext>
            </a:extLst>
          </p:cNvPr>
          <p:cNvSpPr>
            <a:spLocks noGrp="1"/>
          </p:cNvSpPr>
          <p:nvPr>
            <p:ph type="body" sz="quarter" idx="21" hasCustomPrompt="1"/>
          </p:nvPr>
        </p:nvSpPr>
        <p:spPr bwMode="gray">
          <a:xfrm>
            <a:off x="1030048" y="2852957"/>
            <a:ext cx="5760000" cy="184666"/>
          </a:xfrm>
        </p:spPr>
        <p:txBody>
          <a:bodyPr>
            <a:spAutoFit/>
          </a:bodyPr>
          <a:lstStyle>
            <a:lvl1pPr>
              <a:spcBef>
                <a:spcPts val="0"/>
              </a:spcBef>
              <a:defRPr sz="1200" b="0">
                <a:solidFill>
                  <a:schemeClr val="tx2"/>
                </a:solidFill>
              </a:defRPr>
            </a:lvl1pPr>
          </a:lstStyle>
          <a:p>
            <a:pPr lvl="0"/>
            <a:r>
              <a:rPr lang="de-DE" dirty="0"/>
              <a:t>Vertraulichkeitshinweis durch Klicken bearbeiten</a:t>
            </a:r>
          </a:p>
        </p:txBody>
      </p:sp>
      <p:sp>
        <p:nvSpPr>
          <p:cNvPr id="11" name="Textplatzhalter 45">
            <a:extLst>
              <a:ext uri="{FF2B5EF4-FFF2-40B4-BE49-F238E27FC236}">
                <a16:creationId xmlns:a16="http://schemas.microsoft.com/office/drawing/2014/main" id="{BC2383F6-E6EB-489A-B907-085C0A594111}"/>
              </a:ext>
            </a:extLst>
          </p:cNvPr>
          <p:cNvSpPr>
            <a:spLocks noGrp="1"/>
          </p:cNvSpPr>
          <p:nvPr>
            <p:ph type="body" sz="quarter" idx="17" hasCustomPrompt="1"/>
          </p:nvPr>
        </p:nvSpPr>
        <p:spPr bwMode="gray">
          <a:xfrm>
            <a:off x="9563898" y="409422"/>
            <a:ext cx="2014538" cy="608013"/>
          </a:xfrm>
          <a:blipFill>
            <a:blip r:embed="rId3" cstate="email">
              <a:extLst>
                <a:ext uri="{28A0092B-C50C-407E-A947-70E740481C1C}">
                  <a14:useLocalDpi xmlns:a14="http://schemas.microsoft.com/office/drawing/2010/main"/>
                </a:ext>
              </a:extLst>
            </a:blip>
            <a:stretch>
              <a:fillRect/>
            </a:stretch>
          </a:blipFill>
        </p:spPr>
        <p:txBody>
          <a:bodyPr/>
          <a:lstStyle>
            <a:lvl1pPr marL="0" indent="0">
              <a:spcBef>
                <a:spcPts val="0"/>
              </a:spcBef>
              <a:spcAft>
                <a:spcPts val="0"/>
              </a:spcAft>
              <a:buFont typeface="Arial" panose="020B0604020202020204" pitchFamily="34" charset="0"/>
              <a:buNone/>
              <a:defRPr sz="100">
                <a:noFill/>
              </a:defRPr>
            </a:lvl1pPr>
            <a:lvl2pPr marL="0" indent="0">
              <a:spcBef>
                <a:spcPts val="0"/>
              </a:spcBef>
              <a:spcAft>
                <a:spcPts val="0"/>
              </a:spcAft>
              <a:buFont typeface="Arial" panose="020B0604020202020204" pitchFamily="34" charset="0"/>
              <a:buNone/>
              <a:defRPr sz="100">
                <a:noFill/>
              </a:defRPr>
            </a:lvl2pPr>
            <a:lvl3pPr marL="0" indent="0">
              <a:spcBef>
                <a:spcPts val="0"/>
              </a:spcBef>
              <a:spcAft>
                <a:spcPts val="0"/>
              </a:spcAft>
              <a:buFont typeface="Arial" panose="020B0604020202020204" pitchFamily="34" charset="0"/>
              <a:buNone/>
              <a:defRPr sz="100">
                <a:noFill/>
              </a:defRPr>
            </a:lvl3pPr>
            <a:lvl4pPr marL="0" indent="0">
              <a:spcBef>
                <a:spcPts val="0"/>
              </a:spcBef>
              <a:spcAft>
                <a:spcPts val="0"/>
              </a:spcAft>
              <a:buFont typeface="Arial" panose="020B0604020202020204" pitchFamily="34" charset="0"/>
              <a:buNone/>
              <a:defRPr sz="100">
                <a:noFill/>
              </a:defRPr>
            </a:lvl4pPr>
            <a:lvl5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
                <a:noFill/>
              </a:defRPr>
            </a:lvl5pPr>
            <a:lvl6pPr marL="360000" indent="0">
              <a:spcBef>
                <a:spcPts val="0"/>
              </a:spcBef>
              <a:spcAft>
                <a:spcPts val="0"/>
              </a:spcAft>
              <a:buFontTx/>
              <a:buNone/>
              <a:defRPr/>
            </a:lvl6pPr>
            <a:lvl7pPr marL="0" indent="0">
              <a:spcBef>
                <a:spcPts val="0"/>
              </a:spcBef>
              <a:spcAft>
                <a:spcPts val="0"/>
              </a:spcAft>
              <a:buNone/>
              <a:defRPr/>
            </a:lvl7pPr>
            <a:lvl8pPr marL="0" indent="0">
              <a:spcBef>
                <a:spcPts val="0"/>
              </a:spcBef>
              <a:spcAft>
                <a:spcPts val="0"/>
              </a:spcAft>
              <a:buNone/>
              <a:defRPr/>
            </a:lvl8pPr>
            <a:lvl9pPr marL="0" indent="0">
              <a:spcBef>
                <a:spcPts val="0"/>
              </a:spcBef>
              <a:spcAft>
                <a:spcPts val="0"/>
              </a:spcAft>
              <a:buNone/>
              <a:defRPr/>
            </a:lvl9pPr>
          </a:lstStyle>
          <a:p>
            <a:pPr lvl="0"/>
            <a:r>
              <a:rPr lang="de-DE" dirty="0"/>
              <a:t>x</a:t>
            </a:r>
          </a:p>
        </p:txBody>
      </p:sp>
    </p:spTree>
    <p:extLst>
      <p:ext uri="{BB962C8B-B14F-4D97-AF65-F5344CB8AC3E}">
        <p14:creationId xmlns:p14="http://schemas.microsoft.com/office/powerpoint/2010/main" val="1564425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xmlns:a16="http://schemas.microsoft.com/office/drawing/2014/main">
      <p:transition spd="med">
        <p:fade/>
      </p:transition>
    </mc:Fallback>
  </mc:AlternateContent>
  <p:hf hdr="0"/>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Titelfolie mit Bild rechts 01">
    <p:spTree>
      <p:nvGrpSpPr>
        <p:cNvPr id="1" name=""/>
        <p:cNvGrpSpPr/>
        <p:nvPr/>
      </p:nvGrpSpPr>
      <p:grpSpPr>
        <a:xfrm>
          <a:off x="0" y="0"/>
          <a:ext cx="0" cy="0"/>
          <a:chOff x="0" y="0"/>
          <a:chExt cx="0" cy="0"/>
        </a:xfrm>
      </p:grpSpPr>
      <p:sp>
        <p:nvSpPr>
          <p:cNvPr id="16" name="Textplatzhalter 2">
            <a:extLst>
              <a:ext uri="{FF2B5EF4-FFF2-40B4-BE49-F238E27FC236}">
                <a16:creationId xmlns:a16="http://schemas.microsoft.com/office/drawing/2014/main" id="{F4FDA422-946E-4E94-9A2A-DF3A8167EDE2}"/>
              </a:ext>
            </a:extLst>
          </p:cNvPr>
          <p:cNvSpPr>
            <a:spLocks noGrp="1"/>
          </p:cNvSpPr>
          <p:nvPr>
            <p:ph type="body" sz="quarter" idx="15" hasCustomPrompt="1"/>
          </p:nvPr>
        </p:nvSpPr>
        <p:spPr bwMode="gray">
          <a:xfrm>
            <a:off x="418272" y="2873814"/>
            <a:ext cx="5464800" cy="1440000"/>
          </a:xfrm>
          <a:prstGeom prst="rect">
            <a:avLst/>
          </a:prstGeom>
          <a:noFill/>
        </p:spPr>
        <p:txBody>
          <a:bodyPr wrap="square" lIns="0" tIns="0">
            <a:noAutofit/>
          </a:bodyPr>
          <a:lstStyle>
            <a:lvl1pPr marL="0" indent="0">
              <a:spcBef>
                <a:spcPts val="0"/>
              </a:spcBef>
              <a:buFont typeface="Arial" panose="020B0604020202020204" pitchFamily="34" charset="0"/>
              <a:buNone/>
              <a:defRPr sz="3000" b="1">
                <a:solidFill>
                  <a:schemeClr val="accent1"/>
                </a:solidFill>
              </a:defRPr>
            </a:lvl1pPr>
            <a:lvl2pPr marL="0" indent="0">
              <a:spcBef>
                <a:spcPts val="0"/>
              </a:spcBef>
              <a:buFont typeface="Arial" panose="020B0604020202020204" pitchFamily="34" charset="0"/>
              <a:buNone/>
              <a:defRPr sz="3000" b="1">
                <a:solidFill>
                  <a:schemeClr val="bg1"/>
                </a:solidFill>
              </a:defRPr>
            </a:lvl2pPr>
            <a:lvl3pPr marL="0" indent="0">
              <a:spcBef>
                <a:spcPts val="0"/>
              </a:spcBef>
              <a:buNone/>
              <a:defRPr sz="3000" b="1">
                <a:solidFill>
                  <a:schemeClr val="bg1"/>
                </a:solidFill>
              </a:defRPr>
            </a:lvl3pPr>
            <a:lvl4pPr marL="0" indent="0">
              <a:spcBef>
                <a:spcPts val="0"/>
              </a:spcBef>
              <a:buNone/>
              <a:defRPr sz="3000" b="1">
                <a:solidFill>
                  <a:schemeClr val="bg1"/>
                </a:solidFill>
              </a:defRPr>
            </a:lvl4pPr>
            <a:lvl5pPr marL="0" indent="0">
              <a:spcBef>
                <a:spcPts val="0"/>
              </a:spcBef>
              <a:buNone/>
              <a:defRPr sz="3000" b="1">
                <a:solidFill>
                  <a:schemeClr val="bg1"/>
                </a:solidFill>
              </a:defRPr>
            </a:lvl5pPr>
          </a:lstStyle>
          <a:p>
            <a:pPr lvl="0"/>
            <a:r>
              <a:rPr lang="de-DE" dirty="0"/>
              <a:t>Titelfolie (max. 3-zeilig)</a:t>
            </a:r>
          </a:p>
        </p:txBody>
      </p:sp>
      <p:pic>
        <p:nvPicPr>
          <p:cNvPr id="23" name="Grafik 10">
            <a:extLst>
              <a:ext uri="{FF2B5EF4-FFF2-40B4-BE49-F238E27FC236}">
                <a16:creationId xmlns:a16="http://schemas.microsoft.com/office/drawing/2014/main" id="{2F90E044-3115-466D-9C29-E40A066B546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418272" y="409422"/>
            <a:ext cx="2016000" cy="608729"/>
          </a:xfrm>
          <a:prstGeom prst="rect">
            <a:avLst/>
          </a:prstGeom>
        </p:spPr>
      </p:pic>
      <p:sp>
        <p:nvSpPr>
          <p:cNvPr id="10" name="Bildplatzhalter 9">
            <a:extLst>
              <a:ext uri="{FF2B5EF4-FFF2-40B4-BE49-F238E27FC236}">
                <a16:creationId xmlns:a16="http://schemas.microsoft.com/office/drawing/2014/main" id="{B474BA87-0443-4502-B2DD-8263DC069C69}"/>
              </a:ext>
            </a:extLst>
          </p:cNvPr>
          <p:cNvSpPr>
            <a:spLocks noGrp="1" noChangeAspect="1"/>
          </p:cNvSpPr>
          <p:nvPr>
            <p:ph type="pic" sz="quarter" idx="19" hasCustomPrompt="1"/>
          </p:nvPr>
        </p:nvSpPr>
        <p:spPr bwMode="gray">
          <a:xfrm>
            <a:off x="6103895" y="0"/>
            <a:ext cx="6091280" cy="6310680"/>
          </a:xfrm>
          <a:custGeom>
            <a:avLst/>
            <a:gdLst>
              <a:gd name="connsiteX0" fmla="*/ 0 w 6091280"/>
              <a:gd name="connsiteY0" fmla="*/ 0 h 6310680"/>
              <a:gd name="connsiteX1" fmla="*/ 6091280 w 6091280"/>
              <a:gd name="connsiteY1" fmla="*/ 0 h 6310680"/>
              <a:gd name="connsiteX2" fmla="*/ 6091280 w 6091280"/>
              <a:gd name="connsiteY2" fmla="*/ 5279428 h 6310680"/>
              <a:gd name="connsiteX3" fmla="*/ 966865 w 6091280"/>
              <a:gd name="connsiteY3" fmla="*/ 6289914 h 6310680"/>
              <a:gd name="connsiteX4" fmla="*/ 0 w 6091280"/>
              <a:gd name="connsiteY4" fmla="*/ 5567343 h 6310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1280" h="6310680">
                <a:moveTo>
                  <a:pt x="0" y="0"/>
                </a:moveTo>
                <a:lnTo>
                  <a:pt x="6091280" y="0"/>
                </a:lnTo>
                <a:lnTo>
                  <a:pt x="6091280" y="5279428"/>
                </a:lnTo>
                <a:lnTo>
                  <a:pt x="966865" y="6289914"/>
                </a:lnTo>
                <a:cubicBezTo>
                  <a:pt x="0" y="6456384"/>
                  <a:pt x="0" y="5567343"/>
                  <a:pt x="0" y="5567343"/>
                </a:cubicBezTo>
                <a:close/>
              </a:path>
            </a:pathLst>
          </a:custGeom>
          <a:pattFill prst="pct20">
            <a:fgClr>
              <a:schemeClr val="accent3"/>
            </a:fgClr>
            <a:bgClr>
              <a:schemeClr val="bg1"/>
            </a:bgClr>
          </a:pattFill>
        </p:spPr>
        <p:txBody>
          <a:bodyPr vert="horz" wrap="square" lIns="72000" tIns="72000" rIns="72000" bIns="72000" rtlCol="0" anchor="t">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1600" baseline="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600" dirty="0"/>
              <a:t>Um ein Hintergrundbild einzufügen, markieren Sie bitte den Platzhalter und wählen entweder ein Bild aus der </a:t>
            </a:r>
            <a:r>
              <a:rPr lang="de-DE" sz="1600" dirty="0" err="1"/>
              <a:t>empower</a:t>
            </a:r>
            <a:r>
              <a:rPr lang="de-DE" sz="1600" dirty="0"/>
              <a:t> Bibliothek oder über den Reiter „Einfügen“, „Bilder“ aus. </a:t>
            </a:r>
          </a:p>
        </p:txBody>
      </p:sp>
      <p:sp>
        <p:nvSpPr>
          <p:cNvPr id="11" name="Textplatzhalter 3">
            <a:extLst>
              <a:ext uri="{FF2B5EF4-FFF2-40B4-BE49-F238E27FC236}">
                <a16:creationId xmlns:a16="http://schemas.microsoft.com/office/drawing/2014/main" id="{C9793A6E-8589-4144-B6FE-A4DFDECE949D}"/>
              </a:ext>
            </a:extLst>
          </p:cNvPr>
          <p:cNvSpPr>
            <a:spLocks noGrp="1"/>
          </p:cNvSpPr>
          <p:nvPr>
            <p:ph type="body" sz="quarter" idx="20" hasCustomPrompt="1"/>
          </p:nvPr>
        </p:nvSpPr>
        <p:spPr bwMode="gray">
          <a:xfrm>
            <a:off x="418272" y="2498083"/>
            <a:ext cx="5464800" cy="246221"/>
          </a:xfrm>
        </p:spPr>
        <p:txBody>
          <a:bodyPr anchor="b" anchorCtr="0">
            <a:spAutoFit/>
          </a:bodyPr>
          <a:lstStyle>
            <a:lvl1pPr>
              <a:spcBef>
                <a:spcPts val="0"/>
              </a:spcBef>
              <a:defRPr sz="1600" b="1">
                <a:solidFill>
                  <a:schemeClr val="accent2"/>
                </a:solidFill>
              </a:defRPr>
            </a:lvl1pPr>
          </a:lstStyle>
          <a:p>
            <a:pPr lvl="0"/>
            <a:r>
              <a:rPr lang="de-DE" dirty="0"/>
              <a:t>Name Kunde / Veranstaltung</a:t>
            </a:r>
          </a:p>
        </p:txBody>
      </p:sp>
      <p:sp>
        <p:nvSpPr>
          <p:cNvPr id="12" name="Textplatzhalter 3">
            <a:extLst>
              <a:ext uri="{FF2B5EF4-FFF2-40B4-BE49-F238E27FC236}">
                <a16:creationId xmlns:a16="http://schemas.microsoft.com/office/drawing/2014/main" id="{6E112725-DFBF-42E4-912D-A818361A47F7}"/>
              </a:ext>
            </a:extLst>
          </p:cNvPr>
          <p:cNvSpPr>
            <a:spLocks noGrp="1"/>
          </p:cNvSpPr>
          <p:nvPr>
            <p:ph type="body" sz="quarter" idx="21" hasCustomPrompt="1"/>
          </p:nvPr>
        </p:nvSpPr>
        <p:spPr bwMode="gray">
          <a:xfrm>
            <a:off x="418272" y="4522877"/>
            <a:ext cx="5464800" cy="246221"/>
          </a:xfrm>
        </p:spPr>
        <p:txBody>
          <a:bodyPr anchor="b" anchorCtr="0">
            <a:spAutoFit/>
          </a:bodyPr>
          <a:lstStyle>
            <a:lvl1pPr>
              <a:spcBef>
                <a:spcPts val="0"/>
              </a:spcBef>
              <a:defRPr sz="1600" b="0">
                <a:solidFill>
                  <a:schemeClr val="tx2"/>
                </a:solidFill>
              </a:defRPr>
            </a:lvl1pPr>
          </a:lstStyle>
          <a:p>
            <a:pPr lvl="0"/>
            <a:r>
              <a:rPr lang="de-DE" dirty="0"/>
              <a:t>Ort, Datum – Referent Vorname Name</a:t>
            </a:r>
          </a:p>
        </p:txBody>
      </p:sp>
      <p:sp>
        <p:nvSpPr>
          <p:cNvPr id="13" name="Textplatzhalter 3">
            <a:extLst>
              <a:ext uri="{FF2B5EF4-FFF2-40B4-BE49-F238E27FC236}">
                <a16:creationId xmlns:a16="http://schemas.microsoft.com/office/drawing/2014/main" id="{C5378F37-488D-4CF7-8CF4-F001D9A601C5}"/>
              </a:ext>
            </a:extLst>
          </p:cNvPr>
          <p:cNvSpPr>
            <a:spLocks noGrp="1"/>
          </p:cNvSpPr>
          <p:nvPr>
            <p:ph type="body" sz="quarter" idx="22" hasCustomPrompt="1"/>
          </p:nvPr>
        </p:nvSpPr>
        <p:spPr bwMode="gray">
          <a:xfrm>
            <a:off x="418272" y="4875803"/>
            <a:ext cx="5464800" cy="184666"/>
          </a:xfrm>
        </p:spPr>
        <p:txBody>
          <a:bodyPr>
            <a:spAutoFit/>
          </a:bodyPr>
          <a:lstStyle>
            <a:lvl1pPr>
              <a:spcBef>
                <a:spcPts val="0"/>
              </a:spcBef>
              <a:defRPr sz="1200" b="0">
                <a:solidFill>
                  <a:schemeClr val="tx2"/>
                </a:solidFill>
              </a:defRPr>
            </a:lvl1pPr>
          </a:lstStyle>
          <a:p>
            <a:pPr lvl="0"/>
            <a:r>
              <a:rPr lang="de-DE" dirty="0"/>
              <a:t>Vertraulichkeitshinweis durch Klicken bearbeiten</a:t>
            </a:r>
          </a:p>
        </p:txBody>
      </p:sp>
      <p:sp>
        <p:nvSpPr>
          <p:cNvPr id="3" name="Grafik 9">
            <a:extLst>
              <a:ext uri="{FF2B5EF4-FFF2-40B4-BE49-F238E27FC236}">
                <a16:creationId xmlns:a16="http://schemas.microsoft.com/office/drawing/2014/main" id="{9A169E19-5F01-492C-A227-0B32A8118074}"/>
              </a:ext>
            </a:extLst>
          </p:cNvPr>
          <p:cNvSpPr txBox="1">
            <a:spLocks/>
          </p:cNvSpPr>
          <p:nvPr/>
        </p:nvSpPr>
        <p:spPr bwMode="gray">
          <a:xfrm>
            <a:off x="418272" y="6329316"/>
            <a:ext cx="1789200" cy="198000"/>
          </a:xfrm>
          <a:prstGeom prst="rect">
            <a:avLst/>
          </a:prstGeom>
          <a:blipFill>
            <a:blip r:embed="rId3" cstate="email">
              <a:extLst>
                <a:ext uri="{28A0092B-C50C-407E-A947-70E740481C1C}">
                  <a14:useLocalDpi xmlns:a14="http://schemas.microsoft.com/office/drawing/2010/main"/>
                </a:ext>
              </a:extLst>
            </a:blip>
            <a:stretch>
              <a:fillRect/>
            </a:stretch>
          </a:blipFill>
        </p:spPr>
        <p:txBody>
          <a:bodyPr vert="horz" lIns="0" tIns="0" rIns="0" bIns="0" rtlCol="0" anchor="ctr">
            <a:noAutofit/>
          </a:bodyPr>
          <a:lstStyle>
            <a:lvl1pPr marL="0" indent="0" algn="ctr" defTabSz="914400" rtl="0" eaLnBrk="1" latinLnBrk="0" hangingPunct="1">
              <a:spcBef>
                <a:spcPts val="1200"/>
              </a:spcBef>
              <a:buFont typeface="Arial" panose="020B0604020202020204" pitchFamily="34" charset="0"/>
              <a:buNone/>
              <a:defRPr lang="de-DE" sz="1200" b="0" kern="1200" baseline="0" dirty="0">
                <a:solidFill>
                  <a:schemeClr val="tx1"/>
                </a:solidFill>
                <a:latin typeface="+mn-lt"/>
                <a:ea typeface="+mn-ea"/>
                <a:cs typeface="+mn-cs"/>
              </a:defRPr>
            </a:lvl1pPr>
            <a:lvl2pPr marL="0" indent="0" algn="l" defTabSz="914400" rtl="0" eaLnBrk="1" latinLnBrk="0" hangingPunct="1">
              <a:spcBef>
                <a:spcPts val="600"/>
              </a:spcBef>
              <a:buFont typeface="Arial" panose="020B0604020202020204" pitchFamily="34" charset="0"/>
              <a:buNone/>
              <a:defRPr lang="de-DE" sz="1800" kern="1200" dirty="0">
                <a:solidFill>
                  <a:schemeClr val="tx1"/>
                </a:solidFill>
                <a:latin typeface="+mn-lt"/>
                <a:ea typeface="+mn-ea"/>
                <a:cs typeface="+mn-cs"/>
              </a:defRPr>
            </a:lvl2pPr>
            <a:lvl3pPr marL="180000" indent="-180000" algn="l" defTabSz="914400" rtl="0" eaLnBrk="1" latinLnBrk="0" hangingPunct="1">
              <a:spcBef>
                <a:spcPts val="600"/>
              </a:spcBef>
              <a:buClrTx/>
              <a:buFont typeface="Wingdings" panose="05000000000000000000" pitchFamily="2" charset="2"/>
              <a:buChar char=""/>
              <a:defRPr lang="de-DE" sz="1800" kern="1200" dirty="0">
                <a:solidFill>
                  <a:schemeClr val="tx1"/>
                </a:solidFill>
                <a:latin typeface="+mn-lt"/>
                <a:ea typeface="+mn-ea"/>
                <a:cs typeface="+mn-cs"/>
              </a:defRPr>
            </a:lvl3pPr>
            <a:lvl4pPr marL="360000" indent="-180000" algn="l" defTabSz="914400" rtl="0" eaLnBrk="1" latinLnBrk="0" hangingPunct="1">
              <a:spcBef>
                <a:spcPts val="400"/>
              </a:spcBef>
              <a:buClrTx/>
              <a:buFont typeface="Arial" panose="020B0604020202020204" pitchFamily="34" charset="0"/>
              <a:buChar char="•"/>
              <a:defRPr lang="de-DE" sz="1800" kern="1200" dirty="0">
                <a:solidFill>
                  <a:schemeClr val="tx1"/>
                </a:solidFill>
                <a:latin typeface="+mn-lt"/>
                <a:ea typeface="+mn-ea"/>
                <a:cs typeface="+mn-cs"/>
              </a:defRPr>
            </a:lvl4pPr>
            <a:lvl5pPr marL="576000" indent="-216000" algn="l" defTabSz="914400" rtl="0" eaLnBrk="1" latinLnBrk="0" hangingPunct="1">
              <a:spcBef>
                <a:spcPts val="400"/>
              </a:spcBef>
              <a:buFont typeface="Symbol" panose="05050102010706020507" pitchFamily="18" charset="2"/>
              <a:buChar char="-"/>
              <a:defRPr lang="de-DE" sz="1800" kern="1200" dirty="0">
                <a:solidFill>
                  <a:schemeClr val="tx1"/>
                </a:solidFill>
                <a:latin typeface="+mn-lt"/>
                <a:ea typeface="+mn-ea"/>
                <a:cs typeface="+mn-cs"/>
              </a:defRPr>
            </a:lvl5pPr>
            <a:lvl6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6pPr>
            <a:lvl7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7pPr>
            <a:lvl8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8pPr>
            <a:lvl9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9pPr>
          </a:lstStyle>
          <a:p>
            <a:pPr marL="342900" indent="-342900">
              <a:spcBef>
                <a:spcPts val="0"/>
              </a:spcBef>
            </a:pPr>
            <a:r>
              <a:rPr lang="de-DE" dirty="0"/>
              <a:t> </a:t>
            </a:r>
          </a:p>
        </p:txBody>
      </p:sp>
    </p:spTree>
    <p:extLst>
      <p:ext uri="{BB962C8B-B14F-4D97-AF65-F5344CB8AC3E}">
        <p14:creationId xmlns:p14="http://schemas.microsoft.com/office/powerpoint/2010/main" val="3570633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p15="http://schemas.microsoft.com/office/powerpoint/2012/main" xmlns:a14="http://schemas.microsoft.com/office/drawing/2010/main" xmlns:a16="http://schemas.microsoft.com/office/drawing/2014/main">
      <p:transition spd="med">
        <p:fade/>
      </p:transition>
    </mc:Fallback>
  </mc:AlternateContent>
  <p:hf hdr="0"/>
  <p:extLst>
    <p:ext uri="{DCECCB84-F9BA-43D5-87BE-67443E8EF086}">
      <p15:sldGuideLst xmlns:p15="http://schemas.microsoft.com/office/powerpoint/2012/main">
        <p15:guide id="2" pos="3977">
          <p15:clr>
            <a:srgbClr val="FBAE40"/>
          </p15:clr>
        </p15:guide>
        <p15:guide id="3" pos="3705">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Titelfolie mit Bild rechts 02">
    <p:spTree>
      <p:nvGrpSpPr>
        <p:cNvPr id="1" name=""/>
        <p:cNvGrpSpPr/>
        <p:nvPr/>
      </p:nvGrpSpPr>
      <p:grpSpPr>
        <a:xfrm>
          <a:off x="0" y="0"/>
          <a:ext cx="0" cy="0"/>
          <a:chOff x="0" y="0"/>
          <a:chExt cx="0" cy="0"/>
        </a:xfrm>
      </p:grpSpPr>
      <p:sp>
        <p:nvSpPr>
          <p:cNvPr id="16" name="Textplatzhalter 2">
            <a:extLst>
              <a:ext uri="{FF2B5EF4-FFF2-40B4-BE49-F238E27FC236}">
                <a16:creationId xmlns:a16="http://schemas.microsoft.com/office/drawing/2014/main" id="{F4FDA422-946E-4E94-9A2A-DF3A8167EDE2}"/>
              </a:ext>
            </a:extLst>
          </p:cNvPr>
          <p:cNvSpPr>
            <a:spLocks noGrp="1"/>
          </p:cNvSpPr>
          <p:nvPr>
            <p:ph type="body" sz="quarter" idx="15" hasCustomPrompt="1"/>
          </p:nvPr>
        </p:nvSpPr>
        <p:spPr bwMode="gray">
          <a:xfrm>
            <a:off x="418272" y="2873814"/>
            <a:ext cx="5464800" cy="1440000"/>
          </a:xfrm>
          <a:prstGeom prst="rect">
            <a:avLst/>
          </a:prstGeom>
          <a:noFill/>
        </p:spPr>
        <p:txBody>
          <a:bodyPr wrap="square" lIns="0" tIns="0">
            <a:noAutofit/>
          </a:bodyPr>
          <a:lstStyle>
            <a:lvl1pPr marL="0" indent="0">
              <a:spcBef>
                <a:spcPts val="0"/>
              </a:spcBef>
              <a:buFont typeface="Arial" panose="020B0604020202020204" pitchFamily="34" charset="0"/>
              <a:buNone/>
              <a:defRPr sz="3000" b="1">
                <a:solidFill>
                  <a:schemeClr val="accent1"/>
                </a:solidFill>
              </a:defRPr>
            </a:lvl1pPr>
            <a:lvl2pPr marL="0" indent="0">
              <a:spcBef>
                <a:spcPts val="0"/>
              </a:spcBef>
              <a:buFont typeface="Arial" panose="020B0604020202020204" pitchFamily="34" charset="0"/>
              <a:buNone/>
              <a:defRPr sz="3000" b="1">
                <a:solidFill>
                  <a:schemeClr val="bg1"/>
                </a:solidFill>
              </a:defRPr>
            </a:lvl2pPr>
            <a:lvl3pPr marL="0" indent="0">
              <a:spcBef>
                <a:spcPts val="0"/>
              </a:spcBef>
              <a:buNone/>
              <a:defRPr sz="3000" b="1">
                <a:solidFill>
                  <a:schemeClr val="bg1"/>
                </a:solidFill>
              </a:defRPr>
            </a:lvl3pPr>
            <a:lvl4pPr marL="0" indent="0">
              <a:spcBef>
                <a:spcPts val="0"/>
              </a:spcBef>
              <a:buNone/>
              <a:defRPr sz="3000" b="1">
                <a:solidFill>
                  <a:schemeClr val="bg1"/>
                </a:solidFill>
              </a:defRPr>
            </a:lvl4pPr>
            <a:lvl5pPr marL="0" indent="0">
              <a:spcBef>
                <a:spcPts val="0"/>
              </a:spcBef>
              <a:buNone/>
              <a:defRPr sz="3000" b="1">
                <a:solidFill>
                  <a:schemeClr val="bg1"/>
                </a:solidFill>
              </a:defRPr>
            </a:lvl5pPr>
          </a:lstStyle>
          <a:p>
            <a:pPr lvl="0"/>
            <a:r>
              <a:rPr lang="de-DE" dirty="0"/>
              <a:t>Titelfolie (max. 3-zeilig)</a:t>
            </a:r>
          </a:p>
        </p:txBody>
      </p:sp>
      <p:pic>
        <p:nvPicPr>
          <p:cNvPr id="23" name="Grafik 10">
            <a:extLst>
              <a:ext uri="{FF2B5EF4-FFF2-40B4-BE49-F238E27FC236}">
                <a16:creationId xmlns:a16="http://schemas.microsoft.com/office/drawing/2014/main" id="{2F90E044-3115-466D-9C29-E40A066B546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418272" y="409422"/>
            <a:ext cx="2016000" cy="608729"/>
          </a:xfrm>
          <a:prstGeom prst="rect">
            <a:avLst/>
          </a:prstGeom>
        </p:spPr>
      </p:pic>
      <p:sp>
        <p:nvSpPr>
          <p:cNvPr id="11" name="Bildplatzhalter 13">
            <a:extLst>
              <a:ext uri="{FF2B5EF4-FFF2-40B4-BE49-F238E27FC236}">
                <a16:creationId xmlns:a16="http://schemas.microsoft.com/office/drawing/2014/main" id="{056AAA96-AD8F-412D-9611-336F7D59A3B0}"/>
              </a:ext>
            </a:extLst>
          </p:cNvPr>
          <p:cNvSpPr>
            <a:spLocks noGrp="1" noChangeAspect="1"/>
          </p:cNvSpPr>
          <p:nvPr>
            <p:ph type="pic" sz="quarter" idx="27" hasCustomPrompt="1"/>
          </p:nvPr>
        </p:nvSpPr>
        <p:spPr bwMode="gray">
          <a:xfrm>
            <a:off x="6313611" y="407400"/>
            <a:ext cx="5473336" cy="5903281"/>
          </a:xfrm>
          <a:custGeom>
            <a:avLst/>
            <a:gdLst>
              <a:gd name="connsiteX0" fmla="*/ 4676664 w 5473336"/>
              <a:gd name="connsiteY0" fmla="*/ 1449 h 5903281"/>
              <a:gd name="connsiteX1" fmla="*/ 5473336 w 5473336"/>
              <a:gd name="connsiteY1" fmla="*/ 743339 h 5903281"/>
              <a:gd name="connsiteX2" fmla="*/ 5473336 w 5473336"/>
              <a:gd name="connsiteY2" fmla="*/ 2096552 h 5903281"/>
              <a:gd name="connsiteX3" fmla="*/ 5473336 w 5473336"/>
              <a:gd name="connsiteY3" fmla="*/ 3806731 h 5903281"/>
              <a:gd name="connsiteX4" fmla="*/ 5473336 w 5473336"/>
              <a:gd name="connsiteY4" fmla="*/ 4993882 h 5903281"/>
              <a:gd name="connsiteX5" fmla="*/ 966865 w 5473336"/>
              <a:gd name="connsiteY5" fmla="*/ 5882515 h 5903281"/>
              <a:gd name="connsiteX6" fmla="*/ 0 w 5473336"/>
              <a:gd name="connsiteY6" fmla="*/ 5159944 h 5903281"/>
              <a:gd name="connsiteX7" fmla="*/ 0 w 5473336"/>
              <a:gd name="connsiteY7" fmla="*/ 3806731 h 5903281"/>
              <a:gd name="connsiteX8" fmla="*/ 0 w 5473336"/>
              <a:gd name="connsiteY8" fmla="*/ 2096552 h 5903281"/>
              <a:gd name="connsiteX9" fmla="*/ 0 w 5473336"/>
              <a:gd name="connsiteY9" fmla="*/ 909401 h 5903281"/>
              <a:gd name="connsiteX10" fmla="*/ 4506471 w 5473336"/>
              <a:gd name="connsiteY10" fmla="*/ 20768 h 5903281"/>
              <a:gd name="connsiteX11" fmla="*/ 4676664 w 5473336"/>
              <a:gd name="connsiteY11" fmla="*/ 1449 h 5903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73336" h="5903281">
                <a:moveTo>
                  <a:pt x="4676664" y="1449"/>
                </a:moveTo>
                <a:cubicBezTo>
                  <a:pt x="5473336" y="-38045"/>
                  <a:pt x="5473336" y="743339"/>
                  <a:pt x="5473336" y="743339"/>
                </a:cubicBezTo>
                <a:lnTo>
                  <a:pt x="5473336" y="2096552"/>
                </a:lnTo>
                <a:lnTo>
                  <a:pt x="5473336" y="3806731"/>
                </a:lnTo>
                <a:lnTo>
                  <a:pt x="5473336" y="4993882"/>
                </a:lnTo>
                <a:lnTo>
                  <a:pt x="966865" y="5882515"/>
                </a:lnTo>
                <a:cubicBezTo>
                  <a:pt x="0" y="6048985"/>
                  <a:pt x="0" y="5159944"/>
                  <a:pt x="0" y="5159944"/>
                </a:cubicBezTo>
                <a:lnTo>
                  <a:pt x="0" y="3806731"/>
                </a:lnTo>
                <a:lnTo>
                  <a:pt x="0" y="2096552"/>
                </a:lnTo>
                <a:lnTo>
                  <a:pt x="0" y="909401"/>
                </a:lnTo>
                <a:lnTo>
                  <a:pt x="4506471" y="20768"/>
                </a:lnTo>
                <a:cubicBezTo>
                  <a:pt x="4566900" y="10364"/>
                  <a:pt x="4623552" y="4082"/>
                  <a:pt x="4676664" y="1449"/>
                </a:cubicBezTo>
                <a:close/>
              </a:path>
            </a:pathLst>
          </a:custGeom>
          <a:pattFill prst="pct20">
            <a:fgClr>
              <a:schemeClr val="accent3"/>
            </a:fgClr>
            <a:bgClr>
              <a:schemeClr val="bg1"/>
            </a:bgClr>
          </a:pattFill>
        </p:spPr>
        <p:txBody>
          <a:bodyPr vert="horz" wrap="square" lIns="72000" tIns="72000" rIns="72000" bIns="72000" rtlCol="0" anchor="ct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1600" baseline="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600" dirty="0"/>
              <a:t>Um ein Hintergrundbild einzufügen, markieren Sie bitte den Platzhalter und wählen entweder ein Bild aus der </a:t>
            </a:r>
            <a:r>
              <a:rPr lang="de-DE" sz="1600" dirty="0" err="1"/>
              <a:t>empower</a:t>
            </a:r>
            <a:r>
              <a:rPr lang="de-DE" sz="1600" dirty="0"/>
              <a:t> Bibliothek oder über den Reiter „Einfügen“, „Bilder“ aus. </a:t>
            </a:r>
          </a:p>
        </p:txBody>
      </p:sp>
      <p:sp>
        <p:nvSpPr>
          <p:cNvPr id="12" name="Textplatzhalter 3">
            <a:extLst>
              <a:ext uri="{FF2B5EF4-FFF2-40B4-BE49-F238E27FC236}">
                <a16:creationId xmlns:a16="http://schemas.microsoft.com/office/drawing/2014/main" id="{365C24DE-8F23-4E60-BD70-2594DC1790AF}"/>
              </a:ext>
            </a:extLst>
          </p:cNvPr>
          <p:cNvSpPr>
            <a:spLocks noGrp="1"/>
          </p:cNvSpPr>
          <p:nvPr>
            <p:ph type="body" sz="quarter" idx="20" hasCustomPrompt="1"/>
          </p:nvPr>
        </p:nvSpPr>
        <p:spPr bwMode="gray">
          <a:xfrm>
            <a:off x="418272" y="2498083"/>
            <a:ext cx="5464800" cy="246221"/>
          </a:xfrm>
        </p:spPr>
        <p:txBody>
          <a:bodyPr anchor="b" anchorCtr="0">
            <a:spAutoFit/>
          </a:bodyPr>
          <a:lstStyle>
            <a:lvl1pPr>
              <a:spcBef>
                <a:spcPts val="0"/>
              </a:spcBef>
              <a:defRPr sz="1600" b="1">
                <a:solidFill>
                  <a:schemeClr val="accent2"/>
                </a:solidFill>
              </a:defRPr>
            </a:lvl1pPr>
          </a:lstStyle>
          <a:p>
            <a:pPr lvl="0"/>
            <a:r>
              <a:rPr lang="de-DE" dirty="0"/>
              <a:t>Name Kunde / Veranstaltung</a:t>
            </a:r>
          </a:p>
        </p:txBody>
      </p:sp>
      <p:sp>
        <p:nvSpPr>
          <p:cNvPr id="13" name="Textplatzhalter 3">
            <a:extLst>
              <a:ext uri="{FF2B5EF4-FFF2-40B4-BE49-F238E27FC236}">
                <a16:creationId xmlns:a16="http://schemas.microsoft.com/office/drawing/2014/main" id="{F3453D81-6FEF-4159-93AE-FD993D2B9DAF}"/>
              </a:ext>
            </a:extLst>
          </p:cNvPr>
          <p:cNvSpPr>
            <a:spLocks noGrp="1"/>
          </p:cNvSpPr>
          <p:nvPr>
            <p:ph type="body" sz="quarter" idx="21" hasCustomPrompt="1"/>
          </p:nvPr>
        </p:nvSpPr>
        <p:spPr bwMode="gray">
          <a:xfrm>
            <a:off x="418272" y="4522877"/>
            <a:ext cx="5464800" cy="246221"/>
          </a:xfrm>
        </p:spPr>
        <p:txBody>
          <a:bodyPr anchor="b" anchorCtr="0">
            <a:spAutoFit/>
          </a:bodyPr>
          <a:lstStyle>
            <a:lvl1pPr>
              <a:spcBef>
                <a:spcPts val="0"/>
              </a:spcBef>
              <a:defRPr sz="1600" b="0">
                <a:solidFill>
                  <a:schemeClr val="tx2"/>
                </a:solidFill>
              </a:defRPr>
            </a:lvl1pPr>
          </a:lstStyle>
          <a:p>
            <a:pPr lvl="0"/>
            <a:r>
              <a:rPr lang="de-DE" dirty="0"/>
              <a:t>Ort, Datum – Referent Vorname Name</a:t>
            </a:r>
          </a:p>
        </p:txBody>
      </p:sp>
      <p:sp>
        <p:nvSpPr>
          <p:cNvPr id="14" name="Textplatzhalter 3">
            <a:extLst>
              <a:ext uri="{FF2B5EF4-FFF2-40B4-BE49-F238E27FC236}">
                <a16:creationId xmlns:a16="http://schemas.microsoft.com/office/drawing/2014/main" id="{E025037C-4493-467C-8B7B-A012A33B6D21}"/>
              </a:ext>
            </a:extLst>
          </p:cNvPr>
          <p:cNvSpPr>
            <a:spLocks noGrp="1"/>
          </p:cNvSpPr>
          <p:nvPr>
            <p:ph type="body" sz="quarter" idx="22" hasCustomPrompt="1"/>
          </p:nvPr>
        </p:nvSpPr>
        <p:spPr bwMode="gray">
          <a:xfrm>
            <a:off x="418272" y="4875803"/>
            <a:ext cx="5464800" cy="184666"/>
          </a:xfrm>
        </p:spPr>
        <p:txBody>
          <a:bodyPr>
            <a:spAutoFit/>
          </a:bodyPr>
          <a:lstStyle>
            <a:lvl1pPr>
              <a:spcBef>
                <a:spcPts val="0"/>
              </a:spcBef>
              <a:defRPr sz="1200" b="0">
                <a:solidFill>
                  <a:schemeClr val="tx2"/>
                </a:solidFill>
              </a:defRPr>
            </a:lvl1pPr>
          </a:lstStyle>
          <a:p>
            <a:pPr lvl="0"/>
            <a:r>
              <a:rPr lang="de-DE" dirty="0"/>
              <a:t>Vertraulichkeitshinweis durch Klicken bearbeiten</a:t>
            </a:r>
          </a:p>
        </p:txBody>
      </p:sp>
      <p:sp>
        <p:nvSpPr>
          <p:cNvPr id="2" name="Grafik 9">
            <a:extLst>
              <a:ext uri="{FF2B5EF4-FFF2-40B4-BE49-F238E27FC236}">
                <a16:creationId xmlns:a16="http://schemas.microsoft.com/office/drawing/2014/main" id="{454647D9-B36A-4E1A-B318-155B63CE1D3D}"/>
              </a:ext>
            </a:extLst>
          </p:cNvPr>
          <p:cNvSpPr txBox="1">
            <a:spLocks/>
          </p:cNvSpPr>
          <p:nvPr/>
        </p:nvSpPr>
        <p:spPr bwMode="gray">
          <a:xfrm>
            <a:off x="418272" y="6329316"/>
            <a:ext cx="1789200" cy="198000"/>
          </a:xfrm>
          <a:prstGeom prst="rect">
            <a:avLst/>
          </a:prstGeom>
          <a:blipFill>
            <a:blip r:embed="rId3" cstate="email">
              <a:extLst>
                <a:ext uri="{28A0092B-C50C-407E-A947-70E740481C1C}">
                  <a14:useLocalDpi xmlns:a14="http://schemas.microsoft.com/office/drawing/2010/main"/>
                </a:ext>
              </a:extLst>
            </a:blip>
            <a:stretch>
              <a:fillRect/>
            </a:stretch>
          </a:blipFill>
        </p:spPr>
        <p:txBody>
          <a:bodyPr vert="horz" lIns="0" tIns="0" rIns="0" bIns="0" rtlCol="0" anchor="ctr">
            <a:noAutofit/>
          </a:bodyPr>
          <a:lstStyle>
            <a:lvl1pPr marL="0" indent="0" algn="ctr" defTabSz="914400" rtl="0" eaLnBrk="1" latinLnBrk="0" hangingPunct="1">
              <a:spcBef>
                <a:spcPts val="1200"/>
              </a:spcBef>
              <a:buFont typeface="Arial" panose="020B0604020202020204" pitchFamily="34" charset="0"/>
              <a:buNone/>
              <a:defRPr lang="de-DE" sz="1200" b="0" kern="1200" baseline="0" dirty="0">
                <a:solidFill>
                  <a:schemeClr val="tx1"/>
                </a:solidFill>
                <a:latin typeface="+mn-lt"/>
                <a:ea typeface="+mn-ea"/>
                <a:cs typeface="+mn-cs"/>
              </a:defRPr>
            </a:lvl1pPr>
            <a:lvl2pPr marL="0" indent="0" algn="l" defTabSz="914400" rtl="0" eaLnBrk="1" latinLnBrk="0" hangingPunct="1">
              <a:spcBef>
                <a:spcPts val="600"/>
              </a:spcBef>
              <a:buFont typeface="Arial" panose="020B0604020202020204" pitchFamily="34" charset="0"/>
              <a:buNone/>
              <a:defRPr lang="de-DE" sz="1800" kern="1200" dirty="0">
                <a:solidFill>
                  <a:schemeClr val="tx1"/>
                </a:solidFill>
                <a:latin typeface="+mn-lt"/>
                <a:ea typeface="+mn-ea"/>
                <a:cs typeface="+mn-cs"/>
              </a:defRPr>
            </a:lvl2pPr>
            <a:lvl3pPr marL="180000" indent="-180000" algn="l" defTabSz="914400" rtl="0" eaLnBrk="1" latinLnBrk="0" hangingPunct="1">
              <a:spcBef>
                <a:spcPts val="600"/>
              </a:spcBef>
              <a:buClrTx/>
              <a:buFont typeface="Wingdings" panose="05000000000000000000" pitchFamily="2" charset="2"/>
              <a:buChar char=""/>
              <a:defRPr lang="de-DE" sz="1800" kern="1200" dirty="0">
                <a:solidFill>
                  <a:schemeClr val="tx1"/>
                </a:solidFill>
                <a:latin typeface="+mn-lt"/>
                <a:ea typeface="+mn-ea"/>
                <a:cs typeface="+mn-cs"/>
              </a:defRPr>
            </a:lvl3pPr>
            <a:lvl4pPr marL="360000" indent="-180000" algn="l" defTabSz="914400" rtl="0" eaLnBrk="1" latinLnBrk="0" hangingPunct="1">
              <a:spcBef>
                <a:spcPts val="400"/>
              </a:spcBef>
              <a:buClrTx/>
              <a:buFont typeface="Arial" panose="020B0604020202020204" pitchFamily="34" charset="0"/>
              <a:buChar char="•"/>
              <a:defRPr lang="de-DE" sz="1800" kern="1200" dirty="0">
                <a:solidFill>
                  <a:schemeClr val="tx1"/>
                </a:solidFill>
                <a:latin typeface="+mn-lt"/>
                <a:ea typeface="+mn-ea"/>
                <a:cs typeface="+mn-cs"/>
              </a:defRPr>
            </a:lvl4pPr>
            <a:lvl5pPr marL="576000" indent="-216000" algn="l" defTabSz="914400" rtl="0" eaLnBrk="1" latinLnBrk="0" hangingPunct="1">
              <a:spcBef>
                <a:spcPts val="400"/>
              </a:spcBef>
              <a:buFont typeface="Symbol" panose="05050102010706020507" pitchFamily="18" charset="2"/>
              <a:buChar char="-"/>
              <a:defRPr lang="de-DE" sz="1800" kern="1200" dirty="0">
                <a:solidFill>
                  <a:schemeClr val="tx1"/>
                </a:solidFill>
                <a:latin typeface="+mn-lt"/>
                <a:ea typeface="+mn-ea"/>
                <a:cs typeface="+mn-cs"/>
              </a:defRPr>
            </a:lvl5pPr>
            <a:lvl6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6pPr>
            <a:lvl7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7pPr>
            <a:lvl8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8pPr>
            <a:lvl9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9pPr>
          </a:lstStyle>
          <a:p>
            <a:pPr marL="342900" indent="-342900">
              <a:spcBef>
                <a:spcPts val="0"/>
              </a:spcBef>
            </a:pPr>
            <a:r>
              <a:rPr lang="de-DE" dirty="0"/>
              <a:t> </a:t>
            </a:r>
          </a:p>
        </p:txBody>
      </p:sp>
    </p:spTree>
    <p:extLst>
      <p:ext uri="{BB962C8B-B14F-4D97-AF65-F5344CB8AC3E}">
        <p14:creationId xmlns:p14="http://schemas.microsoft.com/office/powerpoint/2010/main" val="4094120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p15="http://schemas.microsoft.com/office/powerpoint/2012/main" xmlns:a14="http://schemas.microsoft.com/office/drawing/2010/main" xmlns:a16="http://schemas.microsoft.com/office/drawing/2014/main">
      <p:transition spd="med">
        <p:fade/>
      </p:transition>
    </mc:Fallback>
  </mc:AlternateContent>
  <p:hf hdr="0"/>
  <p:extLst>
    <p:ext uri="{DCECCB84-F9BA-43D5-87BE-67443E8EF086}">
      <p15:sldGuideLst xmlns:p15="http://schemas.microsoft.com/office/powerpoint/2012/main">
        <p15:guide id="1" pos="3977">
          <p15:clr>
            <a:srgbClr val="FBAE40"/>
          </p15:clr>
        </p15:guide>
        <p15:guide id="2" pos="3705">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Titelfolie mit vollflächigem Bild und positiv Logo">
    <p:spTree>
      <p:nvGrpSpPr>
        <p:cNvPr id="1" name=""/>
        <p:cNvGrpSpPr/>
        <p:nvPr/>
      </p:nvGrpSpPr>
      <p:grpSpPr>
        <a:xfrm>
          <a:off x="0" y="0"/>
          <a:ext cx="0" cy="0"/>
          <a:chOff x="0" y="0"/>
          <a:chExt cx="0" cy="0"/>
        </a:xfrm>
      </p:grpSpPr>
      <p:sp>
        <p:nvSpPr>
          <p:cNvPr id="40" name="Bildplatzhalter 36">
            <a:extLst>
              <a:ext uri="{FF2B5EF4-FFF2-40B4-BE49-F238E27FC236}">
                <a16:creationId xmlns:a16="http://schemas.microsoft.com/office/drawing/2014/main" id="{4870B9C8-84BA-4064-8D52-EB6D8BB2C906}"/>
              </a:ext>
            </a:extLst>
          </p:cNvPr>
          <p:cNvSpPr>
            <a:spLocks noGrp="1"/>
          </p:cNvSpPr>
          <p:nvPr>
            <p:ph type="pic" sz="quarter" idx="14" hasCustomPrompt="1"/>
          </p:nvPr>
        </p:nvSpPr>
        <p:spPr bwMode="gray">
          <a:xfrm>
            <a:off x="0" y="-1"/>
            <a:ext cx="12196763" cy="6858000"/>
          </a:xfrm>
          <a:prstGeom prst="rect">
            <a:avLst/>
          </a:prstGeom>
          <a:pattFill prst="pct20">
            <a:fgClr>
              <a:schemeClr val="accent3"/>
            </a:fgClr>
            <a:bgClr>
              <a:schemeClr val="bg1"/>
            </a:bgClr>
          </a:pattFill>
        </p:spPr>
        <p:txBody>
          <a:bodyPr vert="horz" wrap="square" lIns="2520000" tIns="72000" rIns="72000" bIns="72000" rtlCol="0" anchor="b">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1600" b="0" baseline="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t>Um ein Hintergrundbild einzufügen, markieren Sie bitte den Platzhalter und wählen entweder ein Bild aus der </a:t>
            </a:r>
            <a:r>
              <a:rPr lang="de-DE" dirty="0" err="1"/>
              <a:t>empower</a:t>
            </a:r>
            <a:r>
              <a:rPr lang="de-DE" dirty="0"/>
              <a:t> Bibliothek oder über den Reiter „Einfügen“, „Bilder“ aus. Dieses Layout steht in zwei Varianten zur Verfügung: mit positivem und negativem Partnerlogo. Bitte wählen Sie das Layout aus, welches den bestmöglichen Kontrast zwischen Bild und Logo erzeugt.</a:t>
            </a:r>
          </a:p>
        </p:txBody>
      </p:sp>
      <p:sp>
        <p:nvSpPr>
          <p:cNvPr id="37" name="Textplatzhalter 36">
            <a:extLst>
              <a:ext uri="{FF2B5EF4-FFF2-40B4-BE49-F238E27FC236}">
                <a16:creationId xmlns:a16="http://schemas.microsoft.com/office/drawing/2014/main" id="{DD62A635-A50B-4D06-8242-F16A7C749EF4}"/>
              </a:ext>
            </a:extLst>
          </p:cNvPr>
          <p:cNvSpPr>
            <a:spLocks noGrp="1" noChangeAspect="1"/>
          </p:cNvSpPr>
          <p:nvPr>
            <p:ph type="body" sz="quarter" idx="31" hasCustomPrompt="1"/>
          </p:nvPr>
        </p:nvSpPr>
        <p:spPr bwMode="gray">
          <a:xfrm rot="10800000" flipH="1" flipV="1">
            <a:off x="6105117" y="1016947"/>
            <a:ext cx="5678388" cy="4824104"/>
          </a:xfrm>
          <a:custGeom>
            <a:avLst/>
            <a:gdLst>
              <a:gd name="connsiteX0" fmla="*/ 826519 w 5678388"/>
              <a:gd name="connsiteY0" fmla="*/ 4822598 h 4824104"/>
              <a:gd name="connsiteX1" fmla="*/ 0 w 5678388"/>
              <a:gd name="connsiteY1" fmla="*/ 4050794 h 4824104"/>
              <a:gd name="connsiteX2" fmla="*/ 0 w 5678388"/>
              <a:gd name="connsiteY2" fmla="*/ 3078968 h 4824104"/>
              <a:gd name="connsiteX3" fmla="*/ 0 w 5678388"/>
              <a:gd name="connsiteY3" fmla="*/ 2945586 h 4824104"/>
              <a:gd name="connsiteX4" fmla="*/ 0 w 5678388"/>
              <a:gd name="connsiteY4" fmla="*/ 2938350 h 4824104"/>
              <a:gd name="connsiteX5" fmla="*/ 0 w 5678388"/>
              <a:gd name="connsiteY5" fmla="*/ 2893100 h 4824104"/>
              <a:gd name="connsiteX6" fmla="*/ 0 w 5678388"/>
              <a:gd name="connsiteY6" fmla="*/ 2786888 h 4824104"/>
              <a:gd name="connsiteX7" fmla="*/ 0 w 5678388"/>
              <a:gd name="connsiteY7" fmla="*/ 2732179 h 4824104"/>
              <a:gd name="connsiteX8" fmla="*/ 0 w 5678388"/>
              <a:gd name="connsiteY8" fmla="*/ 2646270 h 4824104"/>
              <a:gd name="connsiteX9" fmla="*/ 0 w 5678388"/>
              <a:gd name="connsiteY9" fmla="*/ 2643017 h 4824104"/>
              <a:gd name="connsiteX10" fmla="*/ 0 w 5678388"/>
              <a:gd name="connsiteY10" fmla="*/ 2607497 h 4824104"/>
              <a:gd name="connsiteX11" fmla="*/ 0 w 5678388"/>
              <a:gd name="connsiteY11" fmla="*/ 2473167 h 4824104"/>
              <a:gd name="connsiteX12" fmla="*/ 0 w 5678388"/>
              <a:gd name="connsiteY12" fmla="*/ 2350937 h 4824104"/>
              <a:gd name="connsiteX13" fmla="*/ 0 w 5678388"/>
              <a:gd name="connsiteY13" fmla="*/ 2216607 h 4824104"/>
              <a:gd name="connsiteX14" fmla="*/ 0 w 5678388"/>
              <a:gd name="connsiteY14" fmla="*/ 2181087 h 4824104"/>
              <a:gd name="connsiteX15" fmla="*/ 0 w 5678388"/>
              <a:gd name="connsiteY15" fmla="*/ 2177834 h 4824104"/>
              <a:gd name="connsiteX16" fmla="*/ 0 w 5678388"/>
              <a:gd name="connsiteY16" fmla="*/ 2103762 h 4824104"/>
              <a:gd name="connsiteX17" fmla="*/ 0 w 5678388"/>
              <a:gd name="connsiteY17" fmla="*/ 2091925 h 4824104"/>
              <a:gd name="connsiteX18" fmla="*/ 0 w 5678388"/>
              <a:gd name="connsiteY18" fmla="*/ 2037216 h 4824104"/>
              <a:gd name="connsiteX19" fmla="*/ 0 w 5678388"/>
              <a:gd name="connsiteY19" fmla="*/ 1885754 h 4824104"/>
              <a:gd name="connsiteX20" fmla="*/ 0 w 5678388"/>
              <a:gd name="connsiteY20" fmla="*/ 1878518 h 4824104"/>
              <a:gd name="connsiteX21" fmla="*/ 0 w 5678388"/>
              <a:gd name="connsiteY21" fmla="*/ 1745136 h 4824104"/>
              <a:gd name="connsiteX22" fmla="*/ 0 w 5678388"/>
              <a:gd name="connsiteY22" fmla="*/ 946068 h 4824104"/>
              <a:gd name="connsiteX23" fmla="*/ 4675300 w 5678388"/>
              <a:gd name="connsiteY23" fmla="*/ 21604 h 4824104"/>
              <a:gd name="connsiteX24" fmla="*/ 5678388 w 5678388"/>
              <a:gd name="connsiteY24" fmla="*/ 773310 h 4824104"/>
              <a:gd name="connsiteX25" fmla="*/ 5678388 w 5678388"/>
              <a:gd name="connsiteY25" fmla="*/ 1745136 h 4824104"/>
              <a:gd name="connsiteX26" fmla="*/ 5678388 w 5678388"/>
              <a:gd name="connsiteY26" fmla="*/ 1878518 h 4824104"/>
              <a:gd name="connsiteX27" fmla="*/ 5678388 w 5678388"/>
              <a:gd name="connsiteY27" fmla="*/ 1885754 h 4824104"/>
              <a:gd name="connsiteX28" fmla="*/ 5678388 w 5678388"/>
              <a:gd name="connsiteY28" fmla="*/ 1931004 h 4824104"/>
              <a:gd name="connsiteX29" fmla="*/ 5678388 w 5678388"/>
              <a:gd name="connsiteY29" fmla="*/ 2037216 h 4824104"/>
              <a:gd name="connsiteX30" fmla="*/ 5678388 w 5678388"/>
              <a:gd name="connsiteY30" fmla="*/ 2091925 h 4824104"/>
              <a:gd name="connsiteX31" fmla="*/ 5678388 w 5678388"/>
              <a:gd name="connsiteY31" fmla="*/ 2177834 h 4824104"/>
              <a:gd name="connsiteX32" fmla="*/ 5678388 w 5678388"/>
              <a:gd name="connsiteY32" fmla="*/ 2181087 h 4824104"/>
              <a:gd name="connsiteX33" fmla="*/ 5678388 w 5678388"/>
              <a:gd name="connsiteY33" fmla="*/ 2216607 h 4824104"/>
              <a:gd name="connsiteX34" fmla="*/ 5678388 w 5678388"/>
              <a:gd name="connsiteY34" fmla="*/ 2350937 h 4824104"/>
              <a:gd name="connsiteX35" fmla="*/ 5678388 w 5678388"/>
              <a:gd name="connsiteY35" fmla="*/ 2473167 h 4824104"/>
              <a:gd name="connsiteX36" fmla="*/ 5678388 w 5678388"/>
              <a:gd name="connsiteY36" fmla="*/ 2607497 h 4824104"/>
              <a:gd name="connsiteX37" fmla="*/ 5678388 w 5678388"/>
              <a:gd name="connsiteY37" fmla="*/ 2643017 h 4824104"/>
              <a:gd name="connsiteX38" fmla="*/ 5678388 w 5678388"/>
              <a:gd name="connsiteY38" fmla="*/ 2646270 h 4824104"/>
              <a:gd name="connsiteX39" fmla="*/ 5678388 w 5678388"/>
              <a:gd name="connsiteY39" fmla="*/ 2720342 h 4824104"/>
              <a:gd name="connsiteX40" fmla="*/ 5678388 w 5678388"/>
              <a:gd name="connsiteY40" fmla="*/ 2732179 h 4824104"/>
              <a:gd name="connsiteX41" fmla="*/ 5678388 w 5678388"/>
              <a:gd name="connsiteY41" fmla="*/ 2786888 h 4824104"/>
              <a:gd name="connsiteX42" fmla="*/ 5678388 w 5678388"/>
              <a:gd name="connsiteY42" fmla="*/ 2938350 h 4824104"/>
              <a:gd name="connsiteX43" fmla="*/ 5678388 w 5678388"/>
              <a:gd name="connsiteY43" fmla="*/ 2945586 h 4824104"/>
              <a:gd name="connsiteX44" fmla="*/ 5678388 w 5678388"/>
              <a:gd name="connsiteY44" fmla="*/ 3078968 h 4824104"/>
              <a:gd name="connsiteX45" fmla="*/ 5678388 w 5678388"/>
              <a:gd name="connsiteY45" fmla="*/ 3878036 h 4824104"/>
              <a:gd name="connsiteX46" fmla="*/ 1003088 w 5678388"/>
              <a:gd name="connsiteY46" fmla="*/ 4802500 h 4824104"/>
              <a:gd name="connsiteX47" fmla="*/ 826519 w 5678388"/>
              <a:gd name="connsiteY47" fmla="*/ 4822598 h 482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678388" h="4824104">
                <a:moveTo>
                  <a:pt x="826519" y="4822598"/>
                </a:moveTo>
                <a:cubicBezTo>
                  <a:pt x="0" y="4863684"/>
                  <a:pt x="0" y="4050794"/>
                  <a:pt x="0" y="4050794"/>
                </a:cubicBezTo>
                <a:lnTo>
                  <a:pt x="0" y="3078968"/>
                </a:lnTo>
                <a:lnTo>
                  <a:pt x="0" y="2945586"/>
                </a:lnTo>
                <a:lnTo>
                  <a:pt x="0" y="2938350"/>
                </a:lnTo>
                <a:lnTo>
                  <a:pt x="0" y="2893100"/>
                </a:lnTo>
                <a:lnTo>
                  <a:pt x="0" y="2786888"/>
                </a:lnTo>
                <a:lnTo>
                  <a:pt x="0" y="2732179"/>
                </a:lnTo>
                <a:lnTo>
                  <a:pt x="0" y="2646270"/>
                </a:lnTo>
                <a:lnTo>
                  <a:pt x="0" y="2643017"/>
                </a:lnTo>
                <a:lnTo>
                  <a:pt x="0" y="2607497"/>
                </a:lnTo>
                <a:lnTo>
                  <a:pt x="0" y="2473167"/>
                </a:lnTo>
                <a:lnTo>
                  <a:pt x="0" y="2350937"/>
                </a:lnTo>
                <a:lnTo>
                  <a:pt x="0" y="2216607"/>
                </a:lnTo>
                <a:lnTo>
                  <a:pt x="0" y="2181087"/>
                </a:lnTo>
                <a:lnTo>
                  <a:pt x="0" y="2177834"/>
                </a:lnTo>
                <a:lnTo>
                  <a:pt x="0" y="2103762"/>
                </a:lnTo>
                <a:lnTo>
                  <a:pt x="0" y="2091925"/>
                </a:lnTo>
                <a:lnTo>
                  <a:pt x="0" y="2037216"/>
                </a:lnTo>
                <a:lnTo>
                  <a:pt x="0" y="1885754"/>
                </a:lnTo>
                <a:lnTo>
                  <a:pt x="0" y="1878518"/>
                </a:lnTo>
                <a:lnTo>
                  <a:pt x="0" y="1745136"/>
                </a:lnTo>
                <a:lnTo>
                  <a:pt x="0" y="946068"/>
                </a:lnTo>
                <a:lnTo>
                  <a:pt x="4675300" y="21604"/>
                </a:lnTo>
                <a:cubicBezTo>
                  <a:pt x="5678388" y="-151578"/>
                  <a:pt x="5678388" y="773310"/>
                  <a:pt x="5678388" y="773310"/>
                </a:cubicBezTo>
                <a:lnTo>
                  <a:pt x="5678388" y="1745136"/>
                </a:lnTo>
                <a:lnTo>
                  <a:pt x="5678388" y="1878518"/>
                </a:lnTo>
                <a:lnTo>
                  <a:pt x="5678388" y="1885754"/>
                </a:lnTo>
                <a:lnTo>
                  <a:pt x="5678388" y="1931004"/>
                </a:lnTo>
                <a:lnTo>
                  <a:pt x="5678388" y="2037216"/>
                </a:lnTo>
                <a:lnTo>
                  <a:pt x="5678388" y="2091925"/>
                </a:lnTo>
                <a:lnTo>
                  <a:pt x="5678388" y="2177834"/>
                </a:lnTo>
                <a:lnTo>
                  <a:pt x="5678388" y="2181087"/>
                </a:lnTo>
                <a:lnTo>
                  <a:pt x="5678388" y="2216607"/>
                </a:lnTo>
                <a:lnTo>
                  <a:pt x="5678388" y="2350937"/>
                </a:lnTo>
                <a:lnTo>
                  <a:pt x="5678388" y="2473167"/>
                </a:lnTo>
                <a:lnTo>
                  <a:pt x="5678388" y="2607497"/>
                </a:lnTo>
                <a:lnTo>
                  <a:pt x="5678388" y="2643017"/>
                </a:lnTo>
                <a:lnTo>
                  <a:pt x="5678388" y="2646270"/>
                </a:lnTo>
                <a:lnTo>
                  <a:pt x="5678388" y="2720342"/>
                </a:lnTo>
                <a:lnTo>
                  <a:pt x="5678388" y="2732179"/>
                </a:lnTo>
                <a:lnTo>
                  <a:pt x="5678388" y="2786888"/>
                </a:lnTo>
                <a:lnTo>
                  <a:pt x="5678388" y="2938350"/>
                </a:lnTo>
                <a:lnTo>
                  <a:pt x="5678388" y="2945586"/>
                </a:lnTo>
                <a:lnTo>
                  <a:pt x="5678388" y="3078968"/>
                </a:lnTo>
                <a:lnTo>
                  <a:pt x="5678388" y="3878036"/>
                </a:lnTo>
                <a:lnTo>
                  <a:pt x="1003088" y="4802500"/>
                </a:lnTo>
                <a:cubicBezTo>
                  <a:pt x="940395" y="4813324"/>
                  <a:pt x="881620" y="4819858"/>
                  <a:pt x="826519" y="4822598"/>
                </a:cubicBezTo>
                <a:close/>
              </a:path>
            </a:pathLst>
          </a:custGeom>
          <a:solidFill>
            <a:srgbClr val="E9E9E9">
              <a:alpha val="89000"/>
            </a:srgbClr>
          </a:solidFill>
        </p:spPr>
        <p:txBody>
          <a:bodyPr wrap="square" lIns="324000" tIns="1548000" rIns="324000">
            <a:noAutofit/>
          </a:bodyPr>
          <a:lstStyle>
            <a:lvl1pPr>
              <a:spcBef>
                <a:spcPts val="0"/>
              </a:spcBef>
              <a:defRPr sz="3000" b="1">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dirty="0"/>
              <a:t>Titelfolie (max. 3-zeilig)</a:t>
            </a:r>
          </a:p>
        </p:txBody>
      </p:sp>
      <p:sp>
        <p:nvSpPr>
          <p:cNvPr id="46" name="Textplatzhalter 45">
            <a:extLst>
              <a:ext uri="{FF2B5EF4-FFF2-40B4-BE49-F238E27FC236}">
                <a16:creationId xmlns:a16="http://schemas.microsoft.com/office/drawing/2014/main" id="{502B336E-2768-432F-A8DB-0FB505A7D87D}"/>
              </a:ext>
            </a:extLst>
          </p:cNvPr>
          <p:cNvSpPr>
            <a:spLocks noGrp="1"/>
          </p:cNvSpPr>
          <p:nvPr>
            <p:ph type="body" sz="quarter" idx="17" hasCustomPrompt="1"/>
          </p:nvPr>
        </p:nvSpPr>
        <p:spPr bwMode="gray">
          <a:xfrm>
            <a:off x="630000" y="409422"/>
            <a:ext cx="2014538" cy="608013"/>
          </a:xfrm>
          <a:blipFill>
            <a:blip r:embed="rId2" cstate="email">
              <a:extLst>
                <a:ext uri="{28A0092B-C50C-407E-A947-70E740481C1C}">
                  <a14:useLocalDpi xmlns:a14="http://schemas.microsoft.com/office/drawing/2010/main"/>
                </a:ext>
              </a:extLst>
            </a:blip>
            <a:stretch>
              <a:fillRect/>
            </a:stretch>
          </a:blipFill>
        </p:spPr>
        <p:txBody>
          <a:bodyPr/>
          <a:lstStyle>
            <a:lvl1pPr marL="0" indent="0">
              <a:spcBef>
                <a:spcPts val="0"/>
              </a:spcBef>
              <a:spcAft>
                <a:spcPts val="0"/>
              </a:spcAft>
              <a:buFont typeface="Arial" panose="020B0604020202020204" pitchFamily="34" charset="0"/>
              <a:buNone/>
              <a:defRPr sz="100">
                <a:noFill/>
              </a:defRPr>
            </a:lvl1pPr>
            <a:lvl2pPr marL="0" indent="0">
              <a:spcBef>
                <a:spcPts val="0"/>
              </a:spcBef>
              <a:spcAft>
                <a:spcPts val="0"/>
              </a:spcAft>
              <a:buFont typeface="Arial" panose="020B0604020202020204" pitchFamily="34" charset="0"/>
              <a:buNone/>
              <a:defRPr sz="100">
                <a:noFill/>
              </a:defRPr>
            </a:lvl2pPr>
            <a:lvl3pPr marL="0" indent="0">
              <a:spcBef>
                <a:spcPts val="0"/>
              </a:spcBef>
              <a:spcAft>
                <a:spcPts val="0"/>
              </a:spcAft>
              <a:buFont typeface="Arial" panose="020B0604020202020204" pitchFamily="34" charset="0"/>
              <a:buNone/>
              <a:defRPr sz="100">
                <a:noFill/>
              </a:defRPr>
            </a:lvl3pPr>
            <a:lvl4pPr marL="0" indent="0">
              <a:spcBef>
                <a:spcPts val="0"/>
              </a:spcBef>
              <a:spcAft>
                <a:spcPts val="0"/>
              </a:spcAft>
              <a:buFont typeface="Arial" panose="020B0604020202020204" pitchFamily="34" charset="0"/>
              <a:buNone/>
              <a:defRPr sz="100">
                <a:noFill/>
              </a:defRPr>
            </a:lvl4pPr>
            <a:lvl5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
                <a:noFill/>
              </a:defRPr>
            </a:lvl5pPr>
            <a:lvl6pPr marL="360000" indent="0">
              <a:spcBef>
                <a:spcPts val="0"/>
              </a:spcBef>
              <a:spcAft>
                <a:spcPts val="0"/>
              </a:spcAft>
              <a:buFontTx/>
              <a:buNone/>
              <a:defRPr/>
            </a:lvl6pPr>
            <a:lvl7pPr marL="0" indent="0">
              <a:spcBef>
                <a:spcPts val="0"/>
              </a:spcBef>
              <a:spcAft>
                <a:spcPts val="0"/>
              </a:spcAft>
              <a:buNone/>
              <a:defRPr/>
            </a:lvl7pPr>
            <a:lvl8pPr marL="0" indent="0">
              <a:spcBef>
                <a:spcPts val="0"/>
              </a:spcBef>
              <a:spcAft>
                <a:spcPts val="0"/>
              </a:spcAft>
              <a:buNone/>
              <a:defRPr/>
            </a:lvl8pPr>
            <a:lvl9pPr marL="0" indent="0">
              <a:spcBef>
                <a:spcPts val="0"/>
              </a:spcBef>
              <a:spcAft>
                <a:spcPts val="0"/>
              </a:spcAft>
              <a:buNone/>
              <a:defRPr/>
            </a:lvl9pPr>
          </a:lstStyle>
          <a:p>
            <a:pPr lvl="0"/>
            <a:r>
              <a:rPr lang="de-DE" dirty="0"/>
              <a:t>x</a:t>
            </a:r>
          </a:p>
        </p:txBody>
      </p:sp>
      <p:sp>
        <p:nvSpPr>
          <p:cNvPr id="11" name="Textplatzhalter 2">
            <a:extLst>
              <a:ext uri="{FF2B5EF4-FFF2-40B4-BE49-F238E27FC236}">
                <a16:creationId xmlns:a16="http://schemas.microsoft.com/office/drawing/2014/main" id="{2E3D8BF4-3D98-4A0E-9022-DEBBAD27982A}"/>
              </a:ext>
            </a:extLst>
          </p:cNvPr>
          <p:cNvSpPr>
            <a:spLocks noGrp="1"/>
          </p:cNvSpPr>
          <p:nvPr>
            <p:ph type="body" sz="quarter" idx="18"/>
          </p:nvPr>
        </p:nvSpPr>
        <p:spPr bwMode="gray">
          <a:xfrm>
            <a:off x="630000" y="6329316"/>
            <a:ext cx="1789200" cy="198000"/>
          </a:xfrm>
          <a:blipFill>
            <a:blip r:embed="rId3" cstate="email">
              <a:extLst>
                <a:ext uri="{28A0092B-C50C-407E-A947-70E740481C1C}">
                  <a14:useLocalDpi xmlns:a14="http://schemas.microsoft.com/office/drawing/2010/main"/>
                </a:ext>
              </a:extLst>
            </a:blip>
            <a:stretch>
              <a:fillRect/>
            </a:stretch>
          </a:blipFill>
        </p:spPr>
        <p:txBody>
          <a:bodyPr/>
          <a:lstStyle>
            <a:lvl1pPr>
              <a:defRPr sz="100">
                <a:noFill/>
              </a:defRPr>
            </a:lvl1pPr>
          </a:lstStyle>
          <a:p>
            <a:pPr lvl="0"/>
            <a:r>
              <a:rPr lang="de-DE"/>
              <a:t>Mastertextformat bearbeiten</a:t>
            </a:r>
          </a:p>
        </p:txBody>
      </p:sp>
      <p:sp>
        <p:nvSpPr>
          <p:cNvPr id="10" name="Textplatzhalter 3">
            <a:extLst>
              <a:ext uri="{FF2B5EF4-FFF2-40B4-BE49-F238E27FC236}">
                <a16:creationId xmlns:a16="http://schemas.microsoft.com/office/drawing/2014/main" id="{B4C54DAF-104E-4D17-9617-35514BC0CF94}"/>
              </a:ext>
            </a:extLst>
          </p:cNvPr>
          <p:cNvSpPr>
            <a:spLocks noGrp="1"/>
          </p:cNvSpPr>
          <p:nvPr>
            <p:ph type="body" sz="quarter" idx="20" hasCustomPrompt="1"/>
          </p:nvPr>
        </p:nvSpPr>
        <p:spPr bwMode="gray">
          <a:xfrm>
            <a:off x="6425504" y="2192887"/>
            <a:ext cx="5148000" cy="246221"/>
          </a:xfrm>
        </p:spPr>
        <p:txBody>
          <a:bodyPr anchor="b" anchorCtr="0">
            <a:spAutoFit/>
          </a:bodyPr>
          <a:lstStyle>
            <a:lvl1pPr>
              <a:spcBef>
                <a:spcPts val="0"/>
              </a:spcBef>
              <a:defRPr sz="1600" b="1">
                <a:solidFill>
                  <a:schemeClr val="accent2"/>
                </a:solidFill>
              </a:defRPr>
            </a:lvl1pPr>
          </a:lstStyle>
          <a:p>
            <a:pPr lvl="0"/>
            <a:r>
              <a:rPr lang="de-DE" dirty="0"/>
              <a:t>Name Kunde / Veranstaltung</a:t>
            </a:r>
          </a:p>
        </p:txBody>
      </p:sp>
      <p:sp>
        <p:nvSpPr>
          <p:cNvPr id="12" name="Textplatzhalter 3">
            <a:extLst>
              <a:ext uri="{FF2B5EF4-FFF2-40B4-BE49-F238E27FC236}">
                <a16:creationId xmlns:a16="http://schemas.microsoft.com/office/drawing/2014/main" id="{08391FC7-524F-4A12-94F6-3C06C638CC1D}"/>
              </a:ext>
            </a:extLst>
          </p:cNvPr>
          <p:cNvSpPr>
            <a:spLocks noGrp="1"/>
          </p:cNvSpPr>
          <p:nvPr>
            <p:ph type="body" sz="quarter" idx="21" hasCustomPrompt="1"/>
          </p:nvPr>
        </p:nvSpPr>
        <p:spPr bwMode="gray">
          <a:xfrm>
            <a:off x="6425504" y="4217681"/>
            <a:ext cx="5148000" cy="246221"/>
          </a:xfrm>
        </p:spPr>
        <p:txBody>
          <a:bodyPr anchor="b" anchorCtr="0">
            <a:spAutoFit/>
          </a:bodyPr>
          <a:lstStyle>
            <a:lvl1pPr>
              <a:spcBef>
                <a:spcPts val="0"/>
              </a:spcBef>
              <a:defRPr sz="1600" b="0">
                <a:solidFill>
                  <a:schemeClr val="tx2"/>
                </a:solidFill>
              </a:defRPr>
            </a:lvl1pPr>
          </a:lstStyle>
          <a:p>
            <a:pPr lvl="0"/>
            <a:r>
              <a:rPr lang="de-DE" dirty="0"/>
              <a:t>Ort, Datum – Referent Vorname Name</a:t>
            </a:r>
          </a:p>
        </p:txBody>
      </p:sp>
      <p:sp>
        <p:nvSpPr>
          <p:cNvPr id="13" name="Textplatzhalter 3">
            <a:extLst>
              <a:ext uri="{FF2B5EF4-FFF2-40B4-BE49-F238E27FC236}">
                <a16:creationId xmlns:a16="http://schemas.microsoft.com/office/drawing/2014/main" id="{93F8EDDD-90E8-4B69-9152-0DB4319AE30C}"/>
              </a:ext>
            </a:extLst>
          </p:cNvPr>
          <p:cNvSpPr>
            <a:spLocks noGrp="1"/>
          </p:cNvSpPr>
          <p:nvPr>
            <p:ph type="body" sz="quarter" idx="22" hasCustomPrompt="1"/>
          </p:nvPr>
        </p:nvSpPr>
        <p:spPr bwMode="gray">
          <a:xfrm>
            <a:off x="6425504" y="4570607"/>
            <a:ext cx="5148000" cy="184666"/>
          </a:xfrm>
        </p:spPr>
        <p:txBody>
          <a:bodyPr>
            <a:spAutoFit/>
          </a:bodyPr>
          <a:lstStyle>
            <a:lvl1pPr>
              <a:spcBef>
                <a:spcPts val="0"/>
              </a:spcBef>
              <a:defRPr sz="1200" b="0">
                <a:solidFill>
                  <a:schemeClr val="tx2"/>
                </a:solidFill>
              </a:defRPr>
            </a:lvl1pPr>
          </a:lstStyle>
          <a:p>
            <a:pPr lvl="0"/>
            <a:r>
              <a:rPr lang="de-DE" dirty="0"/>
              <a:t>Vertraulichkeitshinweis durch Klicken bearbeiten</a:t>
            </a:r>
          </a:p>
        </p:txBody>
      </p:sp>
    </p:spTree>
    <p:extLst>
      <p:ext uri="{BB962C8B-B14F-4D97-AF65-F5344CB8AC3E}">
        <p14:creationId xmlns:p14="http://schemas.microsoft.com/office/powerpoint/2010/main" val="4072722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Titelfolie mit vollflächigem Bild und negativ Logo">
    <p:spTree>
      <p:nvGrpSpPr>
        <p:cNvPr id="1" name=""/>
        <p:cNvGrpSpPr/>
        <p:nvPr/>
      </p:nvGrpSpPr>
      <p:grpSpPr>
        <a:xfrm>
          <a:off x="0" y="0"/>
          <a:ext cx="0" cy="0"/>
          <a:chOff x="0" y="0"/>
          <a:chExt cx="0" cy="0"/>
        </a:xfrm>
      </p:grpSpPr>
      <p:sp>
        <p:nvSpPr>
          <p:cNvPr id="40" name="Bildplatzhalter 36">
            <a:extLst>
              <a:ext uri="{FF2B5EF4-FFF2-40B4-BE49-F238E27FC236}">
                <a16:creationId xmlns:a16="http://schemas.microsoft.com/office/drawing/2014/main" id="{4870B9C8-84BA-4064-8D52-EB6D8BB2C906}"/>
              </a:ext>
            </a:extLst>
          </p:cNvPr>
          <p:cNvSpPr>
            <a:spLocks noGrp="1"/>
          </p:cNvSpPr>
          <p:nvPr>
            <p:ph type="pic" sz="quarter" idx="14" hasCustomPrompt="1"/>
          </p:nvPr>
        </p:nvSpPr>
        <p:spPr bwMode="gray">
          <a:xfrm>
            <a:off x="0" y="-1"/>
            <a:ext cx="12196763" cy="6858000"/>
          </a:xfrm>
          <a:prstGeom prst="rect">
            <a:avLst/>
          </a:prstGeom>
          <a:pattFill prst="pct20">
            <a:fgClr>
              <a:schemeClr val="accent3"/>
            </a:fgClr>
            <a:bgClr>
              <a:schemeClr val="bg1"/>
            </a:bgClr>
          </a:pattFill>
        </p:spPr>
        <p:txBody>
          <a:bodyPr vert="horz" wrap="square" lIns="2520000" tIns="72000" rIns="72000" bIns="72000" rtlCol="0" anchor="b">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1600" b="0" baseline="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t>Um ein Hintergrundbild einzufügen, markieren Sie bitte den Platzhalter und wählen entweder ein Bild aus der </a:t>
            </a:r>
            <a:r>
              <a:rPr lang="de-DE" dirty="0" err="1"/>
              <a:t>empower</a:t>
            </a:r>
            <a:r>
              <a:rPr lang="de-DE" dirty="0"/>
              <a:t> Bibliothek oder über den Reiter „Einfügen“, „Bilder“ aus. Dieses Layout steht in zwei Varianten zur Verfügung: mit positivem und negativem Partnerlogo. Bitte wählen Sie das Layout aus, welches den bestmöglichen Kontrast zwischen Bild und Logo erzeugt.</a:t>
            </a:r>
          </a:p>
        </p:txBody>
      </p:sp>
      <p:sp>
        <p:nvSpPr>
          <p:cNvPr id="46" name="Textplatzhalter 45">
            <a:extLst>
              <a:ext uri="{FF2B5EF4-FFF2-40B4-BE49-F238E27FC236}">
                <a16:creationId xmlns:a16="http://schemas.microsoft.com/office/drawing/2014/main" id="{502B336E-2768-432F-A8DB-0FB505A7D87D}"/>
              </a:ext>
            </a:extLst>
          </p:cNvPr>
          <p:cNvSpPr>
            <a:spLocks noGrp="1"/>
          </p:cNvSpPr>
          <p:nvPr>
            <p:ph type="body" sz="quarter" idx="17" hasCustomPrompt="1"/>
          </p:nvPr>
        </p:nvSpPr>
        <p:spPr bwMode="gray">
          <a:xfrm>
            <a:off x="630000" y="409422"/>
            <a:ext cx="2014538" cy="608013"/>
          </a:xfrm>
          <a:blipFill>
            <a:blip r:embed="rId2" cstate="email">
              <a:extLst>
                <a:ext uri="{28A0092B-C50C-407E-A947-70E740481C1C}">
                  <a14:useLocalDpi xmlns:a14="http://schemas.microsoft.com/office/drawing/2010/main"/>
                </a:ext>
              </a:extLst>
            </a:blip>
            <a:stretch>
              <a:fillRect/>
            </a:stretch>
          </a:blipFill>
        </p:spPr>
        <p:txBody>
          <a:bodyPr/>
          <a:lstStyle>
            <a:lvl1pPr marL="0" indent="0">
              <a:spcBef>
                <a:spcPts val="0"/>
              </a:spcBef>
              <a:spcAft>
                <a:spcPts val="0"/>
              </a:spcAft>
              <a:buFont typeface="Arial" panose="020B0604020202020204" pitchFamily="34" charset="0"/>
              <a:buNone/>
              <a:defRPr sz="100">
                <a:noFill/>
              </a:defRPr>
            </a:lvl1pPr>
            <a:lvl2pPr marL="0" indent="0">
              <a:spcBef>
                <a:spcPts val="0"/>
              </a:spcBef>
              <a:spcAft>
                <a:spcPts val="0"/>
              </a:spcAft>
              <a:buFont typeface="Arial" panose="020B0604020202020204" pitchFamily="34" charset="0"/>
              <a:buNone/>
              <a:defRPr sz="100">
                <a:noFill/>
              </a:defRPr>
            </a:lvl2pPr>
            <a:lvl3pPr marL="0" indent="0">
              <a:spcBef>
                <a:spcPts val="0"/>
              </a:spcBef>
              <a:spcAft>
                <a:spcPts val="0"/>
              </a:spcAft>
              <a:buFont typeface="Arial" panose="020B0604020202020204" pitchFamily="34" charset="0"/>
              <a:buNone/>
              <a:defRPr sz="100">
                <a:noFill/>
              </a:defRPr>
            </a:lvl3pPr>
            <a:lvl4pPr marL="0" indent="0">
              <a:spcBef>
                <a:spcPts val="0"/>
              </a:spcBef>
              <a:spcAft>
                <a:spcPts val="0"/>
              </a:spcAft>
              <a:buFont typeface="Arial" panose="020B0604020202020204" pitchFamily="34" charset="0"/>
              <a:buNone/>
              <a:defRPr sz="100">
                <a:noFill/>
              </a:defRPr>
            </a:lvl4pPr>
            <a:lvl5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
                <a:noFill/>
              </a:defRPr>
            </a:lvl5pPr>
            <a:lvl6pPr marL="360000" indent="0">
              <a:spcBef>
                <a:spcPts val="0"/>
              </a:spcBef>
              <a:spcAft>
                <a:spcPts val="0"/>
              </a:spcAft>
              <a:buFontTx/>
              <a:buNone/>
              <a:defRPr/>
            </a:lvl6pPr>
            <a:lvl7pPr marL="0" indent="0">
              <a:spcBef>
                <a:spcPts val="0"/>
              </a:spcBef>
              <a:spcAft>
                <a:spcPts val="0"/>
              </a:spcAft>
              <a:buNone/>
              <a:defRPr/>
            </a:lvl7pPr>
            <a:lvl8pPr marL="0" indent="0">
              <a:spcBef>
                <a:spcPts val="0"/>
              </a:spcBef>
              <a:spcAft>
                <a:spcPts val="0"/>
              </a:spcAft>
              <a:buNone/>
              <a:defRPr/>
            </a:lvl8pPr>
            <a:lvl9pPr marL="0" indent="0">
              <a:spcBef>
                <a:spcPts val="0"/>
              </a:spcBef>
              <a:spcAft>
                <a:spcPts val="0"/>
              </a:spcAft>
              <a:buNone/>
              <a:defRPr/>
            </a:lvl9pPr>
          </a:lstStyle>
          <a:p>
            <a:pPr lvl="0"/>
            <a:r>
              <a:rPr lang="de-DE" dirty="0"/>
              <a:t>x</a:t>
            </a:r>
          </a:p>
        </p:txBody>
      </p:sp>
      <p:sp>
        <p:nvSpPr>
          <p:cNvPr id="9" name="Textplatzhalter 2">
            <a:extLst>
              <a:ext uri="{FF2B5EF4-FFF2-40B4-BE49-F238E27FC236}">
                <a16:creationId xmlns:a16="http://schemas.microsoft.com/office/drawing/2014/main" id="{81D4B7A0-3950-46BA-B387-3F42017A93A9}"/>
              </a:ext>
            </a:extLst>
          </p:cNvPr>
          <p:cNvSpPr>
            <a:spLocks noGrp="1"/>
          </p:cNvSpPr>
          <p:nvPr>
            <p:ph type="body" sz="quarter" idx="18"/>
          </p:nvPr>
        </p:nvSpPr>
        <p:spPr bwMode="gray">
          <a:xfrm>
            <a:off x="630000" y="6329316"/>
            <a:ext cx="1789200" cy="198000"/>
          </a:xfrm>
          <a:blipFill>
            <a:blip r:embed="rId3" cstate="email">
              <a:extLst>
                <a:ext uri="{28A0092B-C50C-407E-A947-70E740481C1C}">
                  <a14:useLocalDpi xmlns:a14="http://schemas.microsoft.com/office/drawing/2010/main"/>
                </a:ext>
              </a:extLst>
            </a:blip>
            <a:stretch>
              <a:fillRect/>
            </a:stretch>
          </a:blipFill>
        </p:spPr>
        <p:txBody>
          <a:bodyPr/>
          <a:lstStyle>
            <a:lvl1pPr>
              <a:defRPr sz="100">
                <a:noFill/>
              </a:defRPr>
            </a:lvl1pPr>
          </a:lstStyle>
          <a:p>
            <a:pPr lvl="0"/>
            <a:r>
              <a:rPr lang="de-DE"/>
              <a:t>Mastertextformat bearbeiten</a:t>
            </a:r>
          </a:p>
        </p:txBody>
      </p:sp>
      <p:sp>
        <p:nvSpPr>
          <p:cNvPr id="38" name="Textplatzhalter 37">
            <a:extLst>
              <a:ext uri="{FF2B5EF4-FFF2-40B4-BE49-F238E27FC236}">
                <a16:creationId xmlns:a16="http://schemas.microsoft.com/office/drawing/2014/main" id="{D8424B1A-AED2-4D57-A7C4-56820EB3B910}"/>
              </a:ext>
            </a:extLst>
          </p:cNvPr>
          <p:cNvSpPr>
            <a:spLocks noGrp="1" noChangeAspect="1"/>
          </p:cNvSpPr>
          <p:nvPr>
            <p:ph type="body" sz="quarter" idx="31" hasCustomPrompt="1"/>
          </p:nvPr>
        </p:nvSpPr>
        <p:spPr bwMode="gray">
          <a:xfrm rot="10800000" flipH="1" flipV="1">
            <a:off x="6105117" y="1016947"/>
            <a:ext cx="5678388" cy="4824104"/>
          </a:xfrm>
          <a:custGeom>
            <a:avLst/>
            <a:gdLst>
              <a:gd name="connsiteX0" fmla="*/ 826519 w 5678388"/>
              <a:gd name="connsiteY0" fmla="*/ 4822598 h 4824104"/>
              <a:gd name="connsiteX1" fmla="*/ 0 w 5678388"/>
              <a:gd name="connsiteY1" fmla="*/ 4050794 h 4824104"/>
              <a:gd name="connsiteX2" fmla="*/ 0 w 5678388"/>
              <a:gd name="connsiteY2" fmla="*/ 3078968 h 4824104"/>
              <a:gd name="connsiteX3" fmla="*/ 0 w 5678388"/>
              <a:gd name="connsiteY3" fmla="*/ 2945586 h 4824104"/>
              <a:gd name="connsiteX4" fmla="*/ 0 w 5678388"/>
              <a:gd name="connsiteY4" fmla="*/ 2938350 h 4824104"/>
              <a:gd name="connsiteX5" fmla="*/ 0 w 5678388"/>
              <a:gd name="connsiteY5" fmla="*/ 2893100 h 4824104"/>
              <a:gd name="connsiteX6" fmla="*/ 0 w 5678388"/>
              <a:gd name="connsiteY6" fmla="*/ 2786888 h 4824104"/>
              <a:gd name="connsiteX7" fmla="*/ 0 w 5678388"/>
              <a:gd name="connsiteY7" fmla="*/ 2732179 h 4824104"/>
              <a:gd name="connsiteX8" fmla="*/ 0 w 5678388"/>
              <a:gd name="connsiteY8" fmla="*/ 2646270 h 4824104"/>
              <a:gd name="connsiteX9" fmla="*/ 0 w 5678388"/>
              <a:gd name="connsiteY9" fmla="*/ 2643017 h 4824104"/>
              <a:gd name="connsiteX10" fmla="*/ 0 w 5678388"/>
              <a:gd name="connsiteY10" fmla="*/ 2607497 h 4824104"/>
              <a:gd name="connsiteX11" fmla="*/ 0 w 5678388"/>
              <a:gd name="connsiteY11" fmla="*/ 2473167 h 4824104"/>
              <a:gd name="connsiteX12" fmla="*/ 0 w 5678388"/>
              <a:gd name="connsiteY12" fmla="*/ 2350937 h 4824104"/>
              <a:gd name="connsiteX13" fmla="*/ 0 w 5678388"/>
              <a:gd name="connsiteY13" fmla="*/ 2216607 h 4824104"/>
              <a:gd name="connsiteX14" fmla="*/ 0 w 5678388"/>
              <a:gd name="connsiteY14" fmla="*/ 2181087 h 4824104"/>
              <a:gd name="connsiteX15" fmla="*/ 0 w 5678388"/>
              <a:gd name="connsiteY15" fmla="*/ 2177834 h 4824104"/>
              <a:gd name="connsiteX16" fmla="*/ 0 w 5678388"/>
              <a:gd name="connsiteY16" fmla="*/ 2103762 h 4824104"/>
              <a:gd name="connsiteX17" fmla="*/ 0 w 5678388"/>
              <a:gd name="connsiteY17" fmla="*/ 2091925 h 4824104"/>
              <a:gd name="connsiteX18" fmla="*/ 0 w 5678388"/>
              <a:gd name="connsiteY18" fmla="*/ 2037216 h 4824104"/>
              <a:gd name="connsiteX19" fmla="*/ 0 w 5678388"/>
              <a:gd name="connsiteY19" fmla="*/ 1885754 h 4824104"/>
              <a:gd name="connsiteX20" fmla="*/ 0 w 5678388"/>
              <a:gd name="connsiteY20" fmla="*/ 1878518 h 4824104"/>
              <a:gd name="connsiteX21" fmla="*/ 0 w 5678388"/>
              <a:gd name="connsiteY21" fmla="*/ 1745136 h 4824104"/>
              <a:gd name="connsiteX22" fmla="*/ 0 w 5678388"/>
              <a:gd name="connsiteY22" fmla="*/ 946068 h 4824104"/>
              <a:gd name="connsiteX23" fmla="*/ 4675300 w 5678388"/>
              <a:gd name="connsiteY23" fmla="*/ 21604 h 4824104"/>
              <a:gd name="connsiteX24" fmla="*/ 5678388 w 5678388"/>
              <a:gd name="connsiteY24" fmla="*/ 773310 h 4824104"/>
              <a:gd name="connsiteX25" fmla="*/ 5678388 w 5678388"/>
              <a:gd name="connsiteY25" fmla="*/ 1745136 h 4824104"/>
              <a:gd name="connsiteX26" fmla="*/ 5678388 w 5678388"/>
              <a:gd name="connsiteY26" fmla="*/ 1878518 h 4824104"/>
              <a:gd name="connsiteX27" fmla="*/ 5678388 w 5678388"/>
              <a:gd name="connsiteY27" fmla="*/ 1885754 h 4824104"/>
              <a:gd name="connsiteX28" fmla="*/ 5678388 w 5678388"/>
              <a:gd name="connsiteY28" fmla="*/ 1931004 h 4824104"/>
              <a:gd name="connsiteX29" fmla="*/ 5678388 w 5678388"/>
              <a:gd name="connsiteY29" fmla="*/ 2037216 h 4824104"/>
              <a:gd name="connsiteX30" fmla="*/ 5678388 w 5678388"/>
              <a:gd name="connsiteY30" fmla="*/ 2091925 h 4824104"/>
              <a:gd name="connsiteX31" fmla="*/ 5678388 w 5678388"/>
              <a:gd name="connsiteY31" fmla="*/ 2177834 h 4824104"/>
              <a:gd name="connsiteX32" fmla="*/ 5678388 w 5678388"/>
              <a:gd name="connsiteY32" fmla="*/ 2181087 h 4824104"/>
              <a:gd name="connsiteX33" fmla="*/ 5678388 w 5678388"/>
              <a:gd name="connsiteY33" fmla="*/ 2216607 h 4824104"/>
              <a:gd name="connsiteX34" fmla="*/ 5678388 w 5678388"/>
              <a:gd name="connsiteY34" fmla="*/ 2350937 h 4824104"/>
              <a:gd name="connsiteX35" fmla="*/ 5678388 w 5678388"/>
              <a:gd name="connsiteY35" fmla="*/ 2473167 h 4824104"/>
              <a:gd name="connsiteX36" fmla="*/ 5678388 w 5678388"/>
              <a:gd name="connsiteY36" fmla="*/ 2607497 h 4824104"/>
              <a:gd name="connsiteX37" fmla="*/ 5678388 w 5678388"/>
              <a:gd name="connsiteY37" fmla="*/ 2643017 h 4824104"/>
              <a:gd name="connsiteX38" fmla="*/ 5678388 w 5678388"/>
              <a:gd name="connsiteY38" fmla="*/ 2646270 h 4824104"/>
              <a:gd name="connsiteX39" fmla="*/ 5678388 w 5678388"/>
              <a:gd name="connsiteY39" fmla="*/ 2720342 h 4824104"/>
              <a:gd name="connsiteX40" fmla="*/ 5678388 w 5678388"/>
              <a:gd name="connsiteY40" fmla="*/ 2732179 h 4824104"/>
              <a:gd name="connsiteX41" fmla="*/ 5678388 w 5678388"/>
              <a:gd name="connsiteY41" fmla="*/ 2786888 h 4824104"/>
              <a:gd name="connsiteX42" fmla="*/ 5678388 w 5678388"/>
              <a:gd name="connsiteY42" fmla="*/ 2938350 h 4824104"/>
              <a:gd name="connsiteX43" fmla="*/ 5678388 w 5678388"/>
              <a:gd name="connsiteY43" fmla="*/ 2945586 h 4824104"/>
              <a:gd name="connsiteX44" fmla="*/ 5678388 w 5678388"/>
              <a:gd name="connsiteY44" fmla="*/ 3078968 h 4824104"/>
              <a:gd name="connsiteX45" fmla="*/ 5678388 w 5678388"/>
              <a:gd name="connsiteY45" fmla="*/ 3878036 h 4824104"/>
              <a:gd name="connsiteX46" fmla="*/ 1003088 w 5678388"/>
              <a:gd name="connsiteY46" fmla="*/ 4802500 h 4824104"/>
              <a:gd name="connsiteX47" fmla="*/ 826519 w 5678388"/>
              <a:gd name="connsiteY47" fmla="*/ 4822598 h 482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678388" h="4824104">
                <a:moveTo>
                  <a:pt x="826519" y="4822598"/>
                </a:moveTo>
                <a:cubicBezTo>
                  <a:pt x="0" y="4863684"/>
                  <a:pt x="0" y="4050794"/>
                  <a:pt x="0" y="4050794"/>
                </a:cubicBezTo>
                <a:lnTo>
                  <a:pt x="0" y="3078968"/>
                </a:lnTo>
                <a:lnTo>
                  <a:pt x="0" y="2945586"/>
                </a:lnTo>
                <a:lnTo>
                  <a:pt x="0" y="2938350"/>
                </a:lnTo>
                <a:lnTo>
                  <a:pt x="0" y="2893100"/>
                </a:lnTo>
                <a:lnTo>
                  <a:pt x="0" y="2786888"/>
                </a:lnTo>
                <a:lnTo>
                  <a:pt x="0" y="2732179"/>
                </a:lnTo>
                <a:lnTo>
                  <a:pt x="0" y="2646270"/>
                </a:lnTo>
                <a:lnTo>
                  <a:pt x="0" y="2643017"/>
                </a:lnTo>
                <a:lnTo>
                  <a:pt x="0" y="2607497"/>
                </a:lnTo>
                <a:lnTo>
                  <a:pt x="0" y="2473167"/>
                </a:lnTo>
                <a:lnTo>
                  <a:pt x="0" y="2350937"/>
                </a:lnTo>
                <a:lnTo>
                  <a:pt x="0" y="2216607"/>
                </a:lnTo>
                <a:lnTo>
                  <a:pt x="0" y="2181087"/>
                </a:lnTo>
                <a:lnTo>
                  <a:pt x="0" y="2177834"/>
                </a:lnTo>
                <a:lnTo>
                  <a:pt x="0" y="2103762"/>
                </a:lnTo>
                <a:lnTo>
                  <a:pt x="0" y="2091925"/>
                </a:lnTo>
                <a:lnTo>
                  <a:pt x="0" y="2037216"/>
                </a:lnTo>
                <a:lnTo>
                  <a:pt x="0" y="1885754"/>
                </a:lnTo>
                <a:lnTo>
                  <a:pt x="0" y="1878518"/>
                </a:lnTo>
                <a:lnTo>
                  <a:pt x="0" y="1745136"/>
                </a:lnTo>
                <a:lnTo>
                  <a:pt x="0" y="946068"/>
                </a:lnTo>
                <a:lnTo>
                  <a:pt x="4675300" y="21604"/>
                </a:lnTo>
                <a:cubicBezTo>
                  <a:pt x="5678388" y="-151578"/>
                  <a:pt x="5678388" y="773310"/>
                  <a:pt x="5678388" y="773310"/>
                </a:cubicBezTo>
                <a:lnTo>
                  <a:pt x="5678388" y="1745136"/>
                </a:lnTo>
                <a:lnTo>
                  <a:pt x="5678388" y="1878518"/>
                </a:lnTo>
                <a:lnTo>
                  <a:pt x="5678388" y="1885754"/>
                </a:lnTo>
                <a:lnTo>
                  <a:pt x="5678388" y="1931004"/>
                </a:lnTo>
                <a:lnTo>
                  <a:pt x="5678388" y="2037216"/>
                </a:lnTo>
                <a:lnTo>
                  <a:pt x="5678388" y="2091925"/>
                </a:lnTo>
                <a:lnTo>
                  <a:pt x="5678388" y="2177834"/>
                </a:lnTo>
                <a:lnTo>
                  <a:pt x="5678388" y="2181087"/>
                </a:lnTo>
                <a:lnTo>
                  <a:pt x="5678388" y="2216607"/>
                </a:lnTo>
                <a:lnTo>
                  <a:pt x="5678388" y="2350937"/>
                </a:lnTo>
                <a:lnTo>
                  <a:pt x="5678388" y="2473167"/>
                </a:lnTo>
                <a:lnTo>
                  <a:pt x="5678388" y="2607497"/>
                </a:lnTo>
                <a:lnTo>
                  <a:pt x="5678388" y="2643017"/>
                </a:lnTo>
                <a:lnTo>
                  <a:pt x="5678388" y="2646270"/>
                </a:lnTo>
                <a:lnTo>
                  <a:pt x="5678388" y="2720342"/>
                </a:lnTo>
                <a:lnTo>
                  <a:pt x="5678388" y="2732179"/>
                </a:lnTo>
                <a:lnTo>
                  <a:pt x="5678388" y="2786888"/>
                </a:lnTo>
                <a:lnTo>
                  <a:pt x="5678388" y="2938350"/>
                </a:lnTo>
                <a:lnTo>
                  <a:pt x="5678388" y="2945586"/>
                </a:lnTo>
                <a:lnTo>
                  <a:pt x="5678388" y="3078968"/>
                </a:lnTo>
                <a:lnTo>
                  <a:pt x="5678388" y="3878036"/>
                </a:lnTo>
                <a:lnTo>
                  <a:pt x="1003088" y="4802500"/>
                </a:lnTo>
                <a:cubicBezTo>
                  <a:pt x="940395" y="4813324"/>
                  <a:pt x="881620" y="4819858"/>
                  <a:pt x="826519" y="4822598"/>
                </a:cubicBezTo>
                <a:close/>
              </a:path>
            </a:pathLst>
          </a:custGeom>
          <a:solidFill>
            <a:srgbClr val="E9E9E9">
              <a:alpha val="89000"/>
            </a:srgbClr>
          </a:solidFill>
        </p:spPr>
        <p:txBody>
          <a:bodyPr wrap="square" lIns="324000" tIns="1548000" rIns="324000">
            <a:noAutofit/>
          </a:bodyPr>
          <a:lstStyle>
            <a:lvl1pPr>
              <a:spcBef>
                <a:spcPts val="0"/>
              </a:spcBef>
              <a:defRPr sz="3000" b="1">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dirty="0"/>
              <a:t>Titelfolie (max. 3-zeilig)</a:t>
            </a:r>
          </a:p>
        </p:txBody>
      </p:sp>
      <p:sp>
        <p:nvSpPr>
          <p:cNvPr id="10" name="Textplatzhalter 3">
            <a:extLst>
              <a:ext uri="{FF2B5EF4-FFF2-40B4-BE49-F238E27FC236}">
                <a16:creationId xmlns:a16="http://schemas.microsoft.com/office/drawing/2014/main" id="{D8A1C109-9037-4034-9C00-6A16153E6834}"/>
              </a:ext>
            </a:extLst>
          </p:cNvPr>
          <p:cNvSpPr>
            <a:spLocks noGrp="1"/>
          </p:cNvSpPr>
          <p:nvPr>
            <p:ph type="body" sz="quarter" idx="20" hasCustomPrompt="1"/>
          </p:nvPr>
        </p:nvSpPr>
        <p:spPr bwMode="gray">
          <a:xfrm>
            <a:off x="6425504" y="2192887"/>
            <a:ext cx="5148000" cy="246221"/>
          </a:xfrm>
        </p:spPr>
        <p:txBody>
          <a:bodyPr anchor="b" anchorCtr="0">
            <a:spAutoFit/>
          </a:bodyPr>
          <a:lstStyle>
            <a:lvl1pPr>
              <a:spcBef>
                <a:spcPts val="0"/>
              </a:spcBef>
              <a:defRPr sz="1600" b="1">
                <a:solidFill>
                  <a:schemeClr val="accent2"/>
                </a:solidFill>
              </a:defRPr>
            </a:lvl1pPr>
          </a:lstStyle>
          <a:p>
            <a:pPr lvl="0"/>
            <a:r>
              <a:rPr lang="de-DE" dirty="0"/>
              <a:t>Name Kunde / Veranstaltung</a:t>
            </a:r>
          </a:p>
        </p:txBody>
      </p:sp>
      <p:sp>
        <p:nvSpPr>
          <p:cNvPr id="11" name="Textplatzhalter 3">
            <a:extLst>
              <a:ext uri="{FF2B5EF4-FFF2-40B4-BE49-F238E27FC236}">
                <a16:creationId xmlns:a16="http://schemas.microsoft.com/office/drawing/2014/main" id="{A3F31BC7-33D5-49A1-B782-C99EDC77468A}"/>
              </a:ext>
            </a:extLst>
          </p:cNvPr>
          <p:cNvSpPr>
            <a:spLocks noGrp="1"/>
          </p:cNvSpPr>
          <p:nvPr>
            <p:ph type="body" sz="quarter" idx="21" hasCustomPrompt="1"/>
          </p:nvPr>
        </p:nvSpPr>
        <p:spPr bwMode="gray">
          <a:xfrm>
            <a:off x="6425504" y="4217681"/>
            <a:ext cx="5148000" cy="246221"/>
          </a:xfrm>
        </p:spPr>
        <p:txBody>
          <a:bodyPr anchor="b" anchorCtr="0">
            <a:spAutoFit/>
          </a:bodyPr>
          <a:lstStyle>
            <a:lvl1pPr>
              <a:spcBef>
                <a:spcPts val="0"/>
              </a:spcBef>
              <a:defRPr sz="1600" b="0">
                <a:solidFill>
                  <a:schemeClr val="tx2"/>
                </a:solidFill>
              </a:defRPr>
            </a:lvl1pPr>
          </a:lstStyle>
          <a:p>
            <a:pPr lvl="0"/>
            <a:r>
              <a:rPr lang="de-DE" dirty="0"/>
              <a:t>Ort, Datum – Referent Vorname Name</a:t>
            </a:r>
          </a:p>
        </p:txBody>
      </p:sp>
      <p:sp>
        <p:nvSpPr>
          <p:cNvPr id="12" name="Textplatzhalter 3">
            <a:extLst>
              <a:ext uri="{FF2B5EF4-FFF2-40B4-BE49-F238E27FC236}">
                <a16:creationId xmlns:a16="http://schemas.microsoft.com/office/drawing/2014/main" id="{199A5009-2ACA-44C9-AD06-067BCE20ECF0}"/>
              </a:ext>
            </a:extLst>
          </p:cNvPr>
          <p:cNvSpPr>
            <a:spLocks noGrp="1"/>
          </p:cNvSpPr>
          <p:nvPr>
            <p:ph type="body" sz="quarter" idx="22" hasCustomPrompt="1"/>
          </p:nvPr>
        </p:nvSpPr>
        <p:spPr bwMode="gray">
          <a:xfrm>
            <a:off x="6425504" y="4570607"/>
            <a:ext cx="5148000" cy="184666"/>
          </a:xfrm>
        </p:spPr>
        <p:txBody>
          <a:bodyPr>
            <a:spAutoFit/>
          </a:bodyPr>
          <a:lstStyle>
            <a:lvl1pPr>
              <a:spcBef>
                <a:spcPts val="0"/>
              </a:spcBef>
              <a:defRPr sz="1200" b="0">
                <a:solidFill>
                  <a:schemeClr val="tx2"/>
                </a:solidFill>
              </a:defRPr>
            </a:lvl1pPr>
          </a:lstStyle>
          <a:p>
            <a:pPr lvl="0"/>
            <a:r>
              <a:rPr lang="de-DE" dirty="0"/>
              <a:t>Vertraulichkeitshinweis durch Klicken bearbeiten</a:t>
            </a:r>
          </a:p>
        </p:txBody>
      </p:sp>
    </p:spTree>
    <p:extLst>
      <p:ext uri="{BB962C8B-B14F-4D97-AF65-F5344CB8AC3E}">
        <p14:creationId xmlns:p14="http://schemas.microsoft.com/office/powerpoint/2010/main" val="2480106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Agenda mit Vollbild">
    <p:spTree>
      <p:nvGrpSpPr>
        <p:cNvPr id="1" name=""/>
        <p:cNvGrpSpPr/>
        <p:nvPr/>
      </p:nvGrpSpPr>
      <p:grpSpPr>
        <a:xfrm>
          <a:off x="0" y="0"/>
          <a:ext cx="0" cy="0"/>
          <a:chOff x="0" y="0"/>
          <a:chExt cx="0" cy="0"/>
        </a:xfrm>
      </p:grpSpPr>
      <p:sp>
        <p:nvSpPr>
          <p:cNvPr id="6" name="Bildplatzhalter 9">
            <a:extLst>
              <a:ext uri="{FF2B5EF4-FFF2-40B4-BE49-F238E27FC236}">
                <a16:creationId xmlns:a16="http://schemas.microsoft.com/office/drawing/2014/main" id="{61C4EC75-5F5C-47D8-AE19-1DBDC9528730}"/>
              </a:ext>
            </a:extLst>
          </p:cNvPr>
          <p:cNvSpPr>
            <a:spLocks noGrp="1"/>
          </p:cNvSpPr>
          <p:nvPr>
            <p:ph type="pic" sz="quarter" idx="10" hasCustomPrompt="1"/>
          </p:nvPr>
        </p:nvSpPr>
        <p:spPr bwMode="gray">
          <a:xfrm>
            <a:off x="-1" y="0"/>
            <a:ext cx="12195175" cy="6858000"/>
          </a:xfrm>
          <a:prstGeom prst="rect">
            <a:avLst/>
          </a:prstGeom>
          <a:pattFill prst="pct20">
            <a:fgClr>
              <a:schemeClr val="accent3"/>
            </a:fgClr>
            <a:bgClr>
              <a:schemeClr val="bg1"/>
            </a:bgClr>
          </a:pattFill>
        </p:spPr>
        <p:txBody>
          <a:bodyPr vert="horz" wrap="square" lIns="72000" tIns="72000" rIns="72000" bIns="72000" rtlCol="0" anchor="t">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1600" baseline="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600" dirty="0"/>
              <a:t>Um ein Hintergrundbild einzufügen, markieren Sie bitte den </a:t>
            </a:r>
            <a:br>
              <a:rPr lang="de-DE" sz="1600" dirty="0"/>
            </a:br>
            <a:r>
              <a:rPr lang="de-DE" sz="1600" dirty="0"/>
              <a:t>Platzhalter und wählen entweder ein Bild aus der </a:t>
            </a:r>
            <a:r>
              <a:rPr lang="de-DE" sz="1600" dirty="0" err="1"/>
              <a:t>empower</a:t>
            </a:r>
            <a:r>
              <a:rPr lang="de-DE" sz="1600" dirty="0"/>
              <a:t> </a:t>
            </a:r>
            <a:br>
              <a:rPr lang="de-DE" sz="1600" dirty="0"/>
            </a:br>
            <a:r>
              <a:rPr lang="de-DE" sz="1600" dirty="0"/>
              <a:t>Bibliothek oder über den Reiter „Einfügen“, „Bilder“ aus. </a:t>
            </a:r>
          </a:p>
        </p:txBody>
      </p:sp>
      <p:sp>
        <p:nvSpPr>
          <p:cNvPr id="7" name="Textplatzhalter 2">
            <a:extLst>
              <a:ext uri="{FF2B5EF4-FFF2-40B4-BE49-F238E27FC236}">
                <a16:creationId xmlns:a16="http://schemas.microsoft.com/office/drawing/2014/main" id="{93C93B80-10F8-4DC4-AAB2-00F234410632}"/>
              </a:ext>
            </a:extLst>
          </p:cNvPr>
          <p:cNvSpPr>
            <a:spLocks noGrp="1" noChangeAspect="1"/>
          </p:cNvSpPr>
          <p:nvPr>
            <p:ph type="body" sz="quarter" idx="15" hasCustomPrompt="1"/>
          </p:nvPr>
        </p:nvSpPr>
        <p:spPr bwMode="gray">
          <a:xfrm>
            <a:off x="6103895" y="-1"/>
            <a:ext cx="6091280" cy="6310680"/>
          </a:xfrm>
          <a:custGeom>
            <a:avLst/>
            <a:gdLst>
              <a:gd name="connsiteX0" fmla="*/ 0 w 6091280"/>
              <a:gd name="connsiteY0" fmla="*/ 0 h 6310680"/>
              <a:gd name="connsiteX1" fmla="*/ 6091280 w 6091280"/>
              <a:gd name="connsiteY1" fmla="*/ 0 h 6310680"/>
              <a:gd name="connsiteX2" fmla="*/ 6091280 w 6091280"/>
              <a:gd name="connsiteY2" fmla="*/ 5279428 h 6310680"/>
              <a:gd name="connsiteX3" fmla="*/ 966865 w 6091280"/>
              <a:gd name="connsiteY3" fmla="*/ 6289914 h 6310680"/>
              <a:gd name="connsiteX4" fmla="*/ 0 w 6091280"/>
              <a:gd name="connsiteY4" fmla="*/ 5567343 h 6310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1280" h="6310680">
                <a:moveTo>
                  <a:pt x="0" y="0"/>
                </a:moveTo>
                <a:lnTo>
                  <a:pt x="6091280" y="0"/>
                </a:lnTo>
                <a:lnTo>
                  <a:pt x="6091280" y="5279428"/>
                </a:lnTo>
                <a:lnTo>
                  <a:pt x="966865" y="6289914"/>
                </a:lnTo>
                <a:cubicBezTo>
                  <a:pt x="0" y="6456384"/>
                  <a:pt x="0" y="5567343"/>
                  <a:pt x="0" y="5567343"/>
                </a:cubicBezTo>
                <a:close/>
              </a:path>
            </a:pathLst>
          </a:custGeom>
          <a:solidFill>
            <a:srgbClr val="E9E9E9">
              <a:alpha val="89000"/>
            </a:srgbClr>
          </a:solidFill>
        </p:spPr>
        <p:txBody>
          <a:bodyPr wrap="square" lIns="439200" tIns="403200" rIns="414000">
            <a:noAutofit/>
          </a:bodyPr>
          <a:lstStyle>
            <a:lvl1pPr marL="0" indent="0">
              <a:spcBef>
                <a:spcPts val="0"/>
              </a:spcBef>
              <a:buFont typeface="Arial" panose="020B0604020202020204" pitchFamily="34" charset="0"/>
              <a:buNone/>
              <a:defRPr sz="2600" b="1">
                <a:solidFill>
                  <a:schemeClr val="tx2"/>
                </a:solidFill>
              </a:defRPr>
            </a:lvl1pPr>
            <a:lvl2pPr marL="0" indent="0">
              <a:spcBef>
                <a:spcPts val="0"/>
              </a:spcBef>
              <a:buFont typeface="Arial" panose="020B0604020202020204" pitchFamily="34" charset="0"/>
              <a:buNone/>
              <a:defRPr sz="3000" b="1">
                <a:solidFill>
                  <a:schemeClr val="bg1"/>
                </a:solidFill>
              </a:defRPr>
            </a:lvl2pPr>
            <a:lvl3pPr marL="0" indent="0">
              <a:spcBef>
                <a:spcPts val="0"/>
              </a:spcBef>
              <a:buNone/>
              <a:defRPr sz="3000" b="1">
                <a:solidFill>
                  <a:schemeClr val="bg1"/>
                </a:solidFill>
              </a:defRPr>
            </a:lvl3pPr>
            <a:lvl4pPr marL="0" indent="0">
              <a:spcBef>
                <a:spcPts val="0"/>
              </a:spcBef>
              <a:buNone/>
              <a:defRPr sz="3000" b="1">
                <a:solidFill>
                  <a:schemeClr val="bg1"/>
                </a:solidFill>
              </a:defRPr>
            </a:lvl4pPr>
            <a:lvl5pPr marL="0" indent="0">
              <a:spcBef>
                <a:spcPts val="0"/>
              </a:spcBef>
              <a:buNone/>
              <a:defRPr sz="3000" b="1">
                <a:solidFill>
                  <a:schemeClr val="bg1"/>
                </a:solidFill>
              </a:defRPr>
            </a:lvl5pPr>
          </a:lstStyle>
          <a:p>
            <a:pPr lvl="0"/>
            <a:r>
              <a:rPr lang="de-DE" dirty="0"/>
              <a:t>Agenda durch Klicken bearbeiten</a:t>
            </a:r>
          </a:p>
        </p:txBody>
      </p:sp>
      <p:sp>
        <p:nvSpPr>
          <p:cNvPr id="2" name="Datumsplatzhalter 1" hidden="1">
            <a:extLst>
              <a:ext uri="{FF2B5EF4-FFF2-40B4-BE49-F238E27FC236}">
                <a16:creationId xmlns:a16="http://schemas.microsoft.com/office/drawing/2014/main" id="{1BB383ED-A0FD-4954-850C-072EFB776AD2}"/>
              </a:ext>
            </a:extLst>
          </p:cNvPr>
          <p:cNvSpPr>
            <a:spLocks noGrp="1"/>
          </p:cNvSpPr>
          <p:nvPr>
            <p:ph type="dt" sz="half" idx="16"/>
          </p:nvPr>
        </p:nvSpPr>
        <p:spPr>
          <a:xfrm>
            <a:off x="10709631" y="151200"/>
            <a:ext cx="748800" cy="180000"/>
          </a:xfrm>
          <a:prstGeom prst="rect">
            <a:avLst/>
          </a:prstGeom>
        </p:spPr>
        <p:txBody>
          <a:bodyPr/>
          <a:lstStyle>
            <a:lvl1pPr>
              <a:defRPr>
                <a:noFill/>
              </a:defRPr>
            </a:lvl1pPr>
          </a:lstStyle>
          <a:p>
            <a:r>
              <a:rPr lang="de-DE"/>
              <a:t>XX.XX.2021</a:t>
            </a:r>
            <a:endParaRPr lang="de-DE" dirty="0"/>
          </a:p>
        </p:txBody>
      </p:sp>
      <p:sp>
        <p:nvSpPr>
          <p:cNvPr id="3" name="Fußzeilenplatzhalter 2" hidden="1">
            <a:extLst>
              <a:ext uri="{FF2B5EF4-FFF2-40B4-BE49-F238E27FC236}">
                <a16:creationId xmlns:a16="http://schemas.microsoft.com/office/drawing/2014/main" id="{478398C6-A877-4B44-95FB-39C3928E5BC5}"/>
              </a:ext>
            </a:extLst>
          </p:cNvPr>
          <p:cNvSpPr>
            <a:spLocks noGrp="1"/>
          </p:cNvSpPr>
          <p:nvPr>
            <p:ph type="ftr" sz="quarter" idx="17"/>
          </p:nvPr>
        </p:nvSpPr>
        <p:spPr>
          <a:xfrm>
            <a:off x="6313488" y="151200"/>
            <a:ext cx="4393761" cy="180000"/>
          </a:xfrm>
          <a:prstGeom prst="rect">
            <a:avLst/>
          </a:prstGeom>
        </p:spPr>
        <p:txBody>
          <a:bodyPr/>
          <a:lstStyle>
            <a:lvl1pPr>
              <a:defRPr>
                <a:noFill/>
              </a:defRPr>
            </a:lvl1pPr>
          </a:lstStyle>
          <a:p>
            <a:r>
              <a:rPr lang="de-DE"/>
              <a:t>Kürzel  |  CX  |</a:t>
            </a:r>
            <a:endParaRPr lang="de-DE" dirty="0"/>
          </a:p>
        </p:txBody>
      </p:sp>
      <p:sp>
        <p:nvSpPr>
          <p:cNvPr id="4" name="Foliennummernplatzhalter 3" hidden="1">
            <a:extLst>
              <a:ext uri="{FF2B5EF4-FFF2-40B4-BE49-F238E27FC236}">
                <a16:creationId xmlns:a16="http://schemas.microsoft.com/office/drawing/2014/main" id="{EC481EA9-EE5D-4728-BDA0-C1698C6C30E0}"/>
              </a:ext>
            </a:extLst>
          </p:cNvPr>
          <p:cNvSpPr>
            <a:spLocks noGrp="1"/>
          </p:cNvSpPr>
          <p:nvPr>
            <p:ph type="sldNum" sz="quarter" idx="18"/>
          </p:nvPr>
        </p:nvSpPr>
        <p:spPr>
          <a:xfrm>
            <a:off x="11504750" y="151200"/>
            <a:ext cx="280800" cy="180000"/>
          </a:xfrm>
          <a:prstGeom prst="rect">
            <a:avLst/>
          </a:prstGeom>
        </p:spPr>
        <p:txBody>
          <a:bodyPr/>
          <a:lstStyle>
            <a:lvl1pPr>
              <a:defRPr>
                <a:noFill/>
              </a:defRPr>
            </a:lvl1pPr>
          </a:lstStyle>
          <a:p>
            <a:fld id="{9C89B081-1F44-4440-BC7B-989C90F97B77}" type="slidenum">
              <a:rPr lang="de-DE"/>
              <a:pPr/>
              <a:t>‹Nr.›</a:t>
            </a:fld>
            <a:endParaRPr lang="de-DE" dirty="0"/>
          </a:p>
        </p:txBody>
      </p:sp>
    </p:spTree>
    <p:extLst>
      <p:ext uri="{BB962C8B-B14F-4D97-AF65-F5344CB8AC3E}">
        <p14:creationId xmlns:p14="http://schemas.microsoft.com/office/powerpoint/2010/main" val="2666166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Agenda mit Bild">
    <p:spTree>
      <p:nvGrpSpPr>
        <p:cNvPr id="1" name=""/>
        <p:cNvGrpSpPr/>
        <p:nvPr/>
      </p:nvGrpSpPr>
      <p:grpSpPr>
        <a:xfrm>
          <a:off x="0" y="0"/>
          <a:ext cx="0" cy="0"/>
          <a:chOff x="0" y="0"/>
          <a:chExt cx="0" cy="0"/>
        </a:xfrm>
      </p:grpSpPr>
      <p:sp>
        <p:nvSpPr>
          <p:cNvPr id="11" name="Bildplatzhalter 9">
            <a:extLst>
              <a:ext uri="{FF2B5EF4-FFF2-40B4-BE49-F238E27FC236}">
                <a16:creationId xmlns:a16="http://schemas.microsoft.com/office/drawing/2014/main" id="{D798E5B9-D541-43DA-A3E7-65B072595C5B}"/>
              </a:ext>
            </a:extLst>
          </p:cNvPr>
          <p:cNvSpPr>
            <a:spLocks noGrp="1" noChangeAspect="1"/>
          </p:cNvSpPr>
          <p:nvPr>
            <p:ph type="pic" sz="quarter" idx="10" hasCustomPrompt="1"/>
          </p:nvPr>
        </p:nvSpPr>
        <p:spPr bwMode="gray">
          <a:xfrm>
            <a:off x="6103895" y="0"/>
            <a:ext cx="6091280" cy="6310680"/>
          </a:xfrm>
          <a:custGeom>
            <a:avLst/>
            <a:gdLst>
              <a:gd name="connsiteX0" fmla="*/ 0 w 6091280"/>
              <a:gd name="connsiteY0" fmla="*/ 0 h 6310680"/>
              <a:gd name="connsiteX1" fmla="*/ 6091280 w 6091280"/>
              <a:gd name="connsiteY1" fmla="*/ 0 h 6310680"/>
              <a:gd name="connsiteX2" fmla="*/ 6091280 w 6091280"/>
              <a:gd name="connsiteY2" fmla="*/ 5279428 h 6310680"/>
              <a:gd name="connsiteX3" fmla="*/ 966865 w 6091280"/>
              <a:gd name="connsiteY3" fmla="*/ 6289914 h 6310680"/>
              <a:gd name="connsiteX4" fmla="*/ 0 w 6091280"/>
              <a:gd name="connsiteY4" fmla="*/ 5567343 h 6310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1280" h="6310680">
                <a:moveTo>
                  <a:pt x="0" y="0"/>
                </a:moveTo>
                <a:lnTo>
                  <a:pt x="6091280" y="0"/>
                </a:lnTo>
                <a:lnTo>
                  <a:pt x="6091280" y="5279428"/>
                </a:lnTo>
                <a:lnTo>
                  <a:pt x="966865" y="6289914"/>
                </a:lnTo>
                <a:cubicBezTo>
                  <a:pt x="0" y="6456384"/>
                  <a:pt x="0" y="5567343"/>
                  <a:pt x="0" y="5567343"/>
                </a:cubicBezTo>
                <a:close/>
              </a:path>
            </a:pathLst>
          </a:custGeom>
          <a:pattFill prst="pct20">
            <a:fgClr>
              <a:schemeClr val="accent3"/>
            </a:fgClr>
            <a:bgClr>
              <a:schemeClr val="bg1"/>
            </a:bgClr>
          </a:pattFill>
        </p:spPr>
        <p:txBody>
          <a:bodyPr vert="horz" wrap="square" lIns="72000" tIns="72000" rIns="72000" bIns="72000" rtlCol="0" anchor="t">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1600" baseline="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600" dirty="0"/>
              <a:t>Um ein Hintergrundbild einzufügen, markieren Sie bitte den </a:t>
            </a:r>
            <a:br>
              <a:rPr lang="de-DE" sz="1600" dirty="0"/>
            </a:br>
            <a:r>
              <a:rPr lang="de-DE" sz="1600" dirty="0"/>
              <a:t>Platzhalter und wählen entweder ein Bild aus der </a:t>
            </a:r>
            <a:r>
              <a:rPr lang="de-DE" sz="1600" dirty="0" err="1"/>
              <a:t>empower</a:t>
            </a:r>
            <a:r>
              <a:rPr lang="de-DE" sz="1600" dirty="0"/>
              <a:t> </a:t>
            </a:r>
            <a:br>
              <a:rPr lang="de-DE" sz="1600" dirty="0"/>
            </a:br>
            <a:r>
              <a:rPr lang="de-DE" sz="1600" dirty="0"/>
              <a:t>Bibliothek oder über den Reiter „Einfügen“, „Bilder“ aus. </a:t>
            </a:r>
          </a:p>
        </p:txBody>
      </p:sp>
      <p:sp>
        <p:nvSpPr>
          <p:cNvPr id="4" name="Titel 3">
            <a:extLst>
              <a:ext uri="{FF2B5EF4-FFF2-40B4-BE49-F238E27FC236}">
                <a16:creationId xmlns:a16="http://schemas.microsoft.com/office/drawing/2014/main" id="{E67C7171-BD46-47C8-B444-7F23BB8F8942}"/>
              </a:ext>
            </a:extLst>
          </p:cNvPr>
          <p:cNvSpPr>
            <a:spLocks noGrp="1"/>
          </p:cNvSpPr>
          <p:nvPr>
            <p:ph type="title" hasCustomPrompt="1"/>
          </p:nvPr>
        </p:nvSpPr>
        <p:spPr bwMode="gray">
          <a:xfrm>
            <a:off x="409575" y="404664"/>
            <a:ext cx="5472113" cy="720000"/>
          </a:xfrm>
        </p:spPr>
        <p:txBody>
          <a:bodyPr/>
          <a:lstStyle>
            <a:lvl1pPr marL="0" indent="0" algn="l" defTabSz="914400" rtl="0" eaLnBrk="1" latinLnBrk="0" hangingPunct="1">
              <a:lnSpc>
                <a:spcPct val="100000"/>
              </a:lnSpc>
              <a:spcBef>
                <a:spcPct val="0"/>
              </a:spcBef>
              <a:buClr>
                <a:schemeClr val="accent1"/>
              </a:buClr>
              <a:buFont typeface="Arial" panose="020B0604020202020204" pitchFamily="34" charset="0"/>
              <a:buNone/>
              <a:defRPr/>
            </a:lvl1pPr>
          </a:lstStyle>
          <a:p>
            <a:pPr marL="0" indent="0" algn="l" defTabSz="914400" rtl="0" eaLnBrk="1" latinLnBrk="0" hangingPunct="1">
              <a:lnSpc>
                <a:spcPct val="100000"/>
              </a:lnSpc>
              <a:spcBef>
                <a:spcPct val="0"/>
              </a:spcBef>
              <a:buClr>
                <a:schemeClr val="accent1"/>
              </a:buClr>
              <a:buFont typeface="Arial" panose="020B0604020202020204" pitchFamily="34" charset="0"/>
              <a:buNone/>
            </a:pPr>
            <a:r>
              <a:rPr lang="de-DE" sz="2600" b="1" kern="1200" dirty="0">
                <a:solidFill>
                  <a:schemeClr val="tx2"/>
                </a:solidFill>
                <a:latin typeface="+mj-lt"/>
                <a:ea typeface="+mj-ea"/>
                <a:cs typeface="+mj-cs"/>
              </a:rPr>
              <a:t>Agenda durch Klicken bearbeiten</a:t>
            </a:r>
          </a:p>
        </p:txBody>
      </p:sp>
      <p:sp>
        <p:nvSpPr>
          <p:cNvPr id="5" name="Textfeld 4">
            <a:extLst>
              <a:ext uri="{FF2B5EF4-FFF2-40B4-BE49-F238E27FC236}">
                <a16:creationId xmlns:a16="http://schemas.microsoft.com/office/drawing/2014/main" id="{30199B8B-ECD0-4F50-8D46-7B6751A7E0A5}"/>
              </a:ext>
            </a:extLst>
          </p:cNvPr>
          <p:cNvSpPr txBox="1"/>
          <p:nvPr userDrawn="1"/>
        </p:nvSpPr>
        <p:spPr bwMode="gray">
          <a:xfrm>
            <a:off x="409575" y="6516000"/>
            <a:ext cx="11376000" cy="144000"/>
          </a:xfrm>
          <a:prstGeom prst="rect">
            <a:avLst/>
          </a:prstGeom>
          <a:noFill/>
        </p:spPr>
        <p:txBody>
          <a:bodyPr wrap="square" lIns="0" tIns="0" rIns="0" bIns="0" rtlCol="0" anchor="t">
            <a:noAutofit/>
          </a:bodyPr>
          <a:lstStyle/>
          <a:p>
            <a:pPr marL="0" marR="0" lvl="0" indent="0" algn="l" defTabSz="914400" eaLnBrk="1" fontAlgn="auto" latinLnBrk="0" hangingPunct="1">
              <a:lnSpc>
                <a:spcPct val="100000"/>
              </a:lnSpc>
              <a:spcBef>
                <a:spcPts val="600"/>
              </a:spcBef>
              <a:spcAft>
                <a:spcPts val="0"/>
              </a:spcAft>
              <a:buClr>
                <a:srgbClr val="003F74"/>
              </a:buClr>
              <a:buSzTx/>
              <a:buFontTx/>
              <a:buNone/>
              <a:tabLst/>
              <a:defRPr/>
            </a:pPr>
            <a:r>
              <a:rPr kumimoji="0" lang="de-DE" sz="1000" b="0" i="0" u="none" strike="noStrike" kern="0" cap="none" spc="0" normalizeH="0" baseline="0" noProof="0" dirty="0">
                <a:ln>
                  <a:noFill/>
                </a:ln>
                <a:solidFill>
                  <a:schemeClr val="tx2"/>
                </a:solidFill>
                <a:effectLst/>
                <a:uLnTx/>
                <a:uFillTx/>
              </a:rPr>
              <a:t>Union Investment  </a:t>
            </a:r>
            <a:r>
              <a:rPr kumimoji="0" lang="de-DE" sz="1000" b="0" i="0" u="none" strike="noStrike" kern="0" cap="none" spc="0" normalizeH="0" baseline="0" noProof="0" dirty="0">
                <a:ln>
                  <a:noFill/>
                </a:ln>
                <a:solidFill>
                  <a:srgbClr val="888888"/>
                </a:solidFill>
                <a:effectLst/>
                <a:uLnTx/>
                <a:uFillTx/>
              </a:rPr>
              <a:t>|  In Kooperation mit VOLKSBANK					Beachten Sie den rechtlichen Hinweis am Ende der Präsentation</a:t>
            </a:r>
          </a:p>
        </p:txBody>
      </p:sp>
      <p:sp>
        <p:nvSpPr>
          <p:cNvPr id="2" name="Datumsplatzhalter 1" hidden="1">
            <a:extLst>
              <a:ext uri="{FF2B5EF4-FFF2-40B4-BE49-F238E27FC236}">
                <a16:creationId xmlns:a16="http://schemas.microsoft.com/office/drawing/2014/main" id="{00409173-C04A-4417-A50D-99ED9A1E7FEB}"/>
              </a:ext>
            </a:extLst>
          </p:cNvPr>
          <p:cNvSpPr>
            <a:spLocks noGrp="1"/>
          </p:cNvSpPr>
          <p:nvPr>
            <p:ph type="dt" sz="half" idx="11"/>
          </p:nvPr>
        </p:nvSpPr>
        <p:spPr>
          <a:xfrm>
            <a:off x="10709631" y="151200"/>
            <a:ext cx="748800" cy="180000"/>
          </a:xfrm>
          <a:prstGeom prst="rect">
            <a:avLst/>
          </a:prstGeom>
        </p:spPr>
        <p:txBody>
          <a:bodyPr/>
          <a:lstStyle>
            <a:lvl1pPr>
              <a:defRPr>
                <a:noFill/>
              </a:defRPr>
            </a:lvl1pPr>
          </a:lstStyle>
          <a:p>
            <a:r>
              <a:rPr lang="de-DE"/>
              <a:t>XX.XX.2021</a:t>
            </a:r>
            <a:endParaRPr lang="de-DE" dirty="0"/>
          </a:p>
        </p:txBody>
      </p:sp>
      <p:sp>
        <p:nvSpPr>
          <p:cNvPr id="3" name="Fußzeilenplatzhalter 2" hidden="1">
            <a:extLst>
              <a:ext uri="{FF2B5EF4-FFF2-40B4-BE49-F238E27FC236}">
                <a16:creationId xmlns:a16="http://schemas.microsoft.com/office/drawing/2014/main" id="{DDD2400C-9CD1-40F8-8C5C-311482818F96}"/>
              </a:ext>
            </a:extLst>
          </p:cNvPr>
          <p:cNvSpPr>
            <a:spLocks noGrp="1"/>
          </p:cNvSpPr>
          <p:nvPr>
            <p:ph type="ftr" sz="quarter" idx="12"/>
          </p:nvPr>
        </p:nvSpPr>
        <p:spPr>
          <a:xfrm>
            <a:off x="6313488" y="151200"/>
            <a:ext cx="4393761" cy="180000"/>
          </a:xfrm>
          <a:prstGeom prst="rect">
            <a:avLst/>
          </a:prstGeom>
        </p:spPr>
        <p:txBody>
          <a:bodyPr/>
          <a:lstStyle>
            <a:lvl1pPr>
              <a:defRPr>
                <a:noFill/>
              </a:defRPr>
            </a:lvl1pPr>
          </a:lstStyle>
          <a:p>
            <a:r>
              <a:rPr lang="de-DE"/>
              <a:t>Kürzel  |  CX  |</a:t>
            </a:r>
            <a:endParaRPr lang="de-DE" dirty="0"/>
          </a:p>
        </p:txBody>
      </p:sp>
      <p:sp>
        <p:nvSpPr>
          <p:cNvPr id="6" name="Foliennummernplatzhalter 5" hidden="1">
            <a:extLst>
              <a:ext uri="{FF2B5EF4-FFF2-40B4-BE49-F238E27FC236}">
                <a16:creationId xmlns:a16="http://schemas.microsoft.com/office/drawing/2014/main" id="{1B179B87-6033-4F04-9A6A-36C0829C02EE}"/>
              </a:ext>
            </a:extLst>
          </p:cNvPr>
          <p:cNvSpPr>
            <a:spLocks noGrp="1"/>
          </p:cNvSpPr>
          <p:nvPr>
            <p:ph type="sldNum" sz="quarter" idx="13"/>
          </p:nvPr>
        </p:nvSpPr>
        <p:spPr>
          <a:xfrm>
            <a:off x="11504750" y="151200"/>
            <a:ext cx="280800" cy="180000"/>
          </a:xfrm>
          <a:prstGeom prst="rect">
            <a:avLst/>
          </a:prstGeom>
        </p:spPr>
        <p:txBody>
          <a:bodyPr/>
          <a:lstStyle>
            <a:lvl1pPr>
              <a:defRPr>
                <a:noFill/>
              </a:defRPr>
            </a:lvl1pPr>
          </a:lstStyle>
          <a:p>
            <a:fld id="{9C89B081-1F44-4440-BC7B-989C90F97B77}" type="slidenum">
              <a:rPr lang="de-DE"/>
              <a:pPr/>
              <a:t>‹Nr.›</a:t>
            </a:fld>
            <a:endParaRPr lang="de-DE" dirty="0"/>
          </a:p>
        </p:txBody>
      </p:sp>
    </p:spTree>
    <p:extLst>
      <p:ext uri="{BB962C8B-B14F-4D97-AF65-F5344CB8AC3E}">
        <p14:creationId xmlns:p14="http://schemas.microsoft.com/office/powerpoint/2010/main" val="1725163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p15="http://schemas.microsoft.com/office/powerpoint/2012/main" xmlns:a16="http://schemas.microsoft.com/office/drawing/2014/main">
      <p:transition spd="med">
        <p:fade/>
      </p:transition>
    </mc:Fallback>
  </mc:AlternateContent>
  <p:extLst>
    <p:ext uri="{DCECCB84-F9BA-43D5-87BE-67443E8EF086}">
      <p15:sldGuideLst xmlns:p15="http://schemas.microsoft.com/office/powerpoint/2012/main">
        <p15:guide id="1" pos="3977">
          <p15:clr>
            <a:srgbClr val="F26B43"/>
          </p15:clr>
        </p15:guide>
        <p15:guide id="2" pos="3705">
          <p15:clr>
            <a:srgbClr val="F26B43"/>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Agenda ohne Bild">
    <p:spTree>
      <p:nvGrpSpPr>
        <p:cNvPr id="1" name=""/>
        <p:cNvGrpSpPr/>
        <p:nvPr/>
      </p:nvGrpSpPr>
      <p:grpSpPr>
        <a:xfrm>
          <a:off x="0" y="0"/>
          <a:ext cx="0" cy="0"/>
          <a:chOff x="0" y="0"/>
          <a:chExt cx="0" cy="0"/>
        </a:xfrm>
      </p:grpSpPr>
      <p:sp>
        <p:nvSpPr>
          <p:cNvPr id="18" name="Titel 2">
            <a:extLst>
              <a:ext uri="{FF2B5EF4-FFF2-40B4-BE49-F238E27FC236}">
                <a16:creationId xmlns:a16="http://schemas.microsoft.com/office/drawing/2014/main" id="{48006391-F196-4C49-B1CF-51EA1F4C4287}"/>
              </a:ext>
            </a:extLst>
          </p:cNvPr>
          <p:cNvSpPr>
            <a:spLocks noGrp="1" noChangeAspect="1"/>
          </p:cNvSpPr>
          <p:nvPr>
            <p:ph type="body" sz="quarter" idx="15" hasCustomPrompt="1"/>
          </p:nvPr>
        </p:nvSpPr>
        <p:spPr bwMode="gray">
          <a:xfrm>
            <a:off x="630000" y="1"/>
            <a:ext cx="9545412" cy="1722335"/>
          </a:xfrm>
          <a:custGeom>
            <a:avLst/>
            <a:gdLst>
              <a:gd name="connsiteX0" fmla="*/ 0 w 9545412"/>
              <a:gd name="connsiteY0" fmla="*/ 0 h 1722335"/>
              <a:gd name="connsiteX1" fmla="*/ 9545412 w 9545412"/>
              <a:gd name="connsiteY1" fmla="*/ 0 h 1722335"/>
              <a:gd name="connsiteX2" fmla="*/ 910255 w 9545412"/>
              <a:gd name="connsiteY2" fmla="*/ 1702784 h 1722335"/>
              <a:gd name="connsiteX3" fmla="*/ 0 w 9545412"/>
              <a:gd name="connsiteY3" fmla="*/ 1022515 h 1722335"/>
            </a:gdLst>
            <a:ahLst/>
            <a:cxnLst>
              <a:cxn ang="0">
                <a:pos x="connsiteX0" y="connsiteY0"/>
              </a:cxn>
              <a:cxn ang="0">
                <a:pos x="connsiteX1" y="connsiteY1"/>
              </a:cxn>
              <a:cxn ang="0">
                <a:pos x="connsiteX2" y="connsiteY2"/>
              </a:cxn>
              <a:cxn ang="0">
                <a:pos x="connsiteX3" y="connsiteY3"/>
              </a:cxn>
            </a:cxnLst>
            <a:rect l="l" t="t" r="r" b="b"/>
            <a:pathLst>
              <a:path w="9545412" h="1722335">
                <a:moveTo>
                  <a:pt x="0" y="0"/>
                </a:moveTo>
                <a:lnTo>
                  <a:pt x="9545412" y="0"/>
                </a:lnTo>
                <a:lnTo>
                  <a:pt x="910255" y="1702784"/>
                </a:lnTo>
                <a:cubicBezTo>
                  <a:pt x="0" y="1859508"/>
                  <a:pt x="0" y="1022515"/>
                  <a:pt x="0" y="1022515"/>
                </a:cubicBezTo>
                <a:close/>
              </a:path>
            </a:pathLst>
          </a:custGeom>
          <a:solidFill>
            <a:srgbClr val="E9E9E9"/>
          </a:solidFill>
        </p:spPr>
        <p:txBody>
          <a:bodyPr wrap="square" lIns="439200" tIns="403200" rIns="5760000">
            <a:noAutofit/>
          </a:bodyPr>
          <a:lstStyle>
            <a:lvl1pPr marL="0" indent="0">
              <a:spcBef>
                <a:spcPts val="0"/>
              </a:spcBef>
              <a:buFont typeface="Arial" panose="020B0604020202020204" pitchFamily="34" charset="0"/>
              <a:buNone/>
              <a:defRPr sz="2600" b="1">
                <a:solidFill>
                  <a:schemeClr val="tx2"/>
                </a:solidFill>
              </a:defRPr>
            </a:lvl1pPr>
            <a:lvl2pPr marL="0" indent="0">
              <a:spcBef>
                <a:spcPts val="0"/>
              </a:spcBef>
              <a:buFont typeface="Arial" panose="020B0604020202020204" pitchFamily="34" charset="0"/>
              <a:buNone/>
              <a:defRPr sz="3000" b="1">
                <a:solidFill>
                  <a:schemeClr val="bg1"/>
                </a:solidFill>
              </a:defRPr>
            </a:lvl2pPr>
            <a:lvl3pPr marL="0" indent="0">
              <a:spcBef>
                <a:spcPts val="0"/>
              </a:spcBef>
              <a:buNone/>
              <a:defRPr sz="3000" b="1">
                <a:solidFill>
                  <a:schemeClr val="bg1"/>
                </a:solidFill>
              </a:defRPr>
            </a:lvl3pPr>
            <a:lvl4pPr marL="0" indent="0">
              <a:spcBef>
                <a:spcPts val="0"/>
              </a:spcBef>
              <a:buNone/>
              <a:defRPr sz="3000" b="1">
                <a:solidFill>
                  <a:schemeClr val="bg1"/>
                </a:solidFill>
              </a:defRPr>
            </a:lvl4pPr>
            <a:lvl5pPr marL="0" indent="0">
              <a:spcBef>
                <a:spcPts val="0"/>
              </a:spcBef>
              <a:buNone/>
              <a:defRPr sz="3000" b="1">
                <a:solidFill>
                  <a:schemeClr val="bg1"/>
                </a:solidFill>
              </a:defRPr>
            </a:lvl5pPr>
          </a:lstStyle>
          <a:p>
            <a:pPr lvl="0"/>
            <a:r>
              <a:rPr lang="de-DE" dirty="0"/>
              <a:t>Agenda durch Klicken bearbeiten</a:t>
            </a:r>
          </a:p>
        </p:txBody>
      </p:sp>
      <p:sp>
        <p:nvSpPr>
          <p:cNvPr id="4" name="Textfeld 3">
            <a:extLst>
              <a:ext uri="{FF2B5EF4-FFF2-40B4-BE49-F238E27FC236}">
                <a16:creationId xmlns:a16="http://schemas.microsoft.com/office/drawing/2014/main" id="{A445E29F-38B6-4BAF-B30A-3C6592680EA8}"/>
              </a:ext>
            </a:extLst>
          </p:cNvPr>
          <p:cNvSpPr txBox="1"/>
          <p:nvPr/>
        </p:nvSpPr>
        <p:spPr bwMode="gray">
          <a:xfrm>
            <a:off x="409575" y="6516000"/>
            <a:ext cx="11376000" cy="144000"/>
          </a:xfrm>
          <a:prstGeom prst="rect">
            <a:avLst/>
          </a:prstGeom>
          <a:noFill/>
        </p:spPr>
        <p:txBody>
          <a:bodyPr wrap="square" lIns="0" tIns="0" rIns="0" bIns="0" rtlCol="0" anchor="t">
            <a:noAutofit/>
          </a:bodyPr>
          <a:lstStyle/>
          <a:p>
            <a:pPr marL="0" marR="0" lvl="0" indent="0" defTabSz="914400" eaLnBrk="1" fontAlgn="auto" latinLnBrk="0" hangingPunct="1">
              <a:lnSpc>
                <a:spcPct val="100000"/>
              </a:lnSpc>
              <a:spcBef>
                <a:spcPts val="0"/>
              </a:spcBef>
              <a:spcAft>
                <a:spcPts val="0"/>
              </a:spcAft>
              <a:buClr>
                <a:srgbClr val="003F74"/>
              </a:buClr>
              <a:buSzTx/>
              <a:buFontTx/>
              <a:buNone/>
              <a:tabLst/>
              <a:defRPr/>
            </a:pPr>
            <a:r>
              <a:rPr kumimoji="0" lang="de-DE" sz="1000" b="0" i="0" u="none" strike="noStrike" kern="0" cap="none" spc="0" normalizeH="0" baseline="0" noProof="0" dirty="0">
                <a:ln>
                  <a:noFill/>
                </a:ln>
                <a:solidFill>
                  <a:schemeClr val="tx2"/>
                </a:solidFill>
                <a:effectLst/>
                <a:uLnTx/>
                <a:uFillTx/>
              </a:rPr>
              <a:t>Union Investment  </a:t>
            </a:r>
            <a:r>
              <a:rPr kumimoji="0" lang="de-DE" sz="1000" b="0" i="0" u="none" strike="noStrike" kern="0" cap="none" spc="0" normalizeH="0" baseline="0" noProof="0" dirty="0">
                <a:ln>
                  <a:noFill/>
                </a:ln>
                <a:solidFill>
                  <a:srgbClr val="888888"/>
                </a:solidFill>
                <a:effectLst/>
                <a:uLnTx/>
                <a:uFillTx/>
              </a:rPr>
              <a:t>|  Genossenschaftliche FinanzGruppe Volksbanken Raiffeisenbanken</a:t>
            </a:r>
          </a:p>
        </p:txBody>
      </p:sp>
      <p:sp>
        <p:nvSpPr>
          <p:cNvPr id="2" name="Datumsplatzhalter 1" hidden="1">
            <a:extLst>
              <a:ext uri="{FF2B5EF4-FFF2-40B4-BE49-F238E27FC236}">
                <a16:creationId xmlns:a16="http://schemas.microsoft.com/office/drawing/2014/main" id="{AEC41FBF-BBD2-4694-8BFD-7693D2856315}"/>
              </a:ext>
            </a:extLst>
          </p:cNvPr>
          <p:cNvSpPr>
            <a:spLocks noGrp="1"/>
          </p:cNvSpPr>
          <p:nvPr>
            <p:ph type="dt" sz="half" idx="16"/>
          </p:nvPr>
        </p:nvSpPr>
        <p:spPr>
          <a:xfrm>
            <a:off x="10709631" y="151200"/>
            <a:ext cx="748800" cy="180000"/>
          </a:xfrm>
          <a:prstGeom prst="rect">
            <a:avLst/>
          </a:prstGeom>
        </p:spPr>
        <p:txBody>
          <a:bodyPr/>
          <a:lstStyle>
            <a:lvl1pPr>
              <a:defRPr>
                <a:noFill/>
              </a:defRPr>
            </a:lvl1pPr>
          </a:lstStyle>
          <a:p>
            <a:r>
              <a:rPr lang="de-DE"/>
              <a:t>XX.XX.2021</a:t>
            </a:r>
            <a:endParaRPr lang="de-DE" dirty="0"/>
          </a:p>
        </p:txBody>
      </p:sp>
      <p:sp>
        <p:nvSpPr>
          <p:cNvPr id="3" name="Fußzeilenplatzhalter 2" hidden="1">
            <a:extLst>
              <a:ext uri="{FF2B5EF4-FFF2-40B4-BE49-F238E27FC236}">
                <a16:creationId xmlns:a16="http://schemas.microsoft.com/office/drawing/2014/main" id="{DEAAFD79-128F-4FEE-887D-835E2FB1F681}"/>
              </a:ext>
            </a:extLst>
          </p:cNvPr>
          <p:cNvSpPr>
            <a:spLocks noGrp="1"/>
          </p:cNvSpPr>
          <p:nvPr>
            <p:ph type="ftr" sz="quarter" idx="17"/>
          </p:nvPr>
        </p:nvSpPr>
        <p:spPr>
          <a:xfrm>
            <a:off x="6313488" y="151200"/>
            <a:ext cx="4393761" cy="180000"/>
          </a:xfrm>
          <a:prstGeom prst="rect">
            <a:avLst/>
          </a:prstGeom>
        </p:spPr>
        <p:txBody>
          <a:bodyPr/>
          <a:lstStyle>
            <a:lvl1pPr>
              <a:defRPr>
                <a:noFill/>
              </a:defRPr>
            </a:lvl1pPr>
          </a:lstStyle>
          <a:p>
            <a:r>
              <a:rPr lang="de-DE"/>
              <a:t>Kürzel  |  CX  |</a:t>
            </a:r>
            <a:endParaRPr lang="de-DE" dirty="0"/>
          </a:p>
        </p:txBody>
      </p:sp>
      <p:sp>
        <p:nvSpPr>
          <p:cNvPr id="5" name="Foliennummernplatzhalter 4" hidden="1">
            <a:extLst>
              <a:ext uri="{FF2B5EF4-FFF2-40B4-BE49-F238E27FC236}">
                <a16:creationId xmlns:a16="http://schemas.microsoft.com/office/drawing/2014/main" id="{74417BC1-7661-4571-9C7E-1EC7D7D71D72}"/>
              </a:ext>
            </a:extLst>
          </p:cNvPr>
          <p:cNvSpPr>
            <a:spLocks noGrp="1"/>
          </p:cNvSpPr>
          <p:nvPr>
            <p:ph type="sldNum" sz="quarter" idx="18"/>
          </p:nvPr>
        </p:nvSpPr>
        <p:spPr>
          <a:xfrm>
            <a:off x="11504750" y="151200"/>
            <a:ext cx="280800" cy="180000"/>
          </a:xfrm>
          <a:prstGeom prst="rect">
            <a:avLst/>
          </a:prstGeom>
        </p:spPr>
        <p:txBody>
          <a:bodyPr/>
          <a:lstStyle>
            <a:lvl1pPr>
              <a:defRPr>
                <a:noFill/>
              </a:defRPr>
            </a:lvl1pPr>
          </a:lstStyle>
          <a:p>
            <a:fld id="{9C89B081-1F44-4440-BC7B-989C90F97B77}" type="slidenum">
              <a:rPr lang="de-DE"/>
              <a:pPr/>
              <a:t>‹Nr.›</a:t>
            </a:fld>
            <a:endParaRPr lang="de-DE" dirty="0"/>
          </a:p>
        </p:txBody>
      </p:sp>
    </p:spTree>
    <p:extLst>
      <p:ext uri="{BB962C8B-B14F-4D97-AF65-F5344CB8AC3E}">
        <p14:creationId xmlns:p14="http://schemas.microsoft.com/office/powerpoint/2010/main" val="3605049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p15="http://schemas.microsoft.com/office/powerpoint/2012/main" xmlns:a16="http://schemas.microsoft.com/office/drawing/2014/main">
      <p:transition spd="med">
        <p:fade/>
      </p:transition>
    </mc:Fallback>
  </mc:AlternateContent>
  <p:extLst>
    <p:ext uri="{DCECCB84-F9BA-43D5-87BE-67443E8EF086}">
      <p15:sldGuideLst xmlns:p15="http://schemas.microsoft.com/office/powerpoint/2012/main">
        <p15:guide id="1" pos="3977">
          <p15:clr>
            <a:srgbClr val="FBAE40"/>
          </p15:clr>
        </p15:guide>
        <p15:guide id="2" pos="370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elfolie mit Bild unten und negativ Logo">
    <p:spTree>
      <p:nvGrpSpPr>
        <p:cNvPr id="1" name=""/>
        <p:cNvGrpSpPr/>
        <p:nvPr/>
      </p:nvGrpSpPr>
      <p:grpSpPr>
        <a:xfrm>
          <a:off x="0" y="0"/>
          <a:ext cx="0" cy="0"/>
          <a:chOff x="0" y="0"/>
          <a:chExt cx="0" cy="0"/>
        </a:xfrm>
      </p:grpSpPr>
      <p:sp>
        <p:nvSpPr>
          <p:cNvPr id="15" name="Bildplatzhalter 39">
            <a:extLst>
              <a:ext uri="{FF2B5EF4-FFF2-40B4-BE49-F238E27FC236}">
                <a16:creationId xmlns:a16="http://schemas.microsoft.com/office/drawing/2014/main" id="{659E978D-933F-488C-82EE-39A95991D2B8}"/>
              </a:ext>
            </a:extLst>
          </p:cNvPr>
          <p:cNvSpPr>
            <a:spLocks noGrp="1" noChangeAspect="1"/>
          </p:cNvSpPr>
          <p:nvPr>
            <p:ph type="pic" sz="quarter" idx="14" hasCustomPrompt="1"/>
          </p:nvPr>
        </p:nvSpPr>
        <p:spPr bwMode="gray">
          <a:xfrm>
            <a:off x="2" y="2348738"/>
            <a:ext cx="11575073" cy="4509262"/>
          </a:xfrm>
          <a:custGeom>
            <a:avLst/>
            <a:gdLst>
              <a:gd name="connsiteX0" fmla="*/ 10825046 w 11575073"/>
              <a:gd name="connsiteY0" fmla="*/ 1364 h 4509262"/>
              <a:gd name="connsiteX1" fmla="*/ 11575073 w 11575073"/>
              <a:gd name="connsiteY1" fmla="*/ 699815 h 4509262"/>
              <a:gd name="connsiteX2" fmla="*/ 11575073 w 11575073"/>
              <a:gd name="connsiteY2" fmla="*/ 4509262 h 4509262"/>
              <a:gd name="connsiteX3" fmla="*/ 0 w 11575073"/>
              <a:gd name="connsiteY3" fmla="*/ 4509262 h 4509262"/>
              <a:gd name="connsiteX4" fmla="*/ 0 w 11575073"/>
              <a:gd name="connsiteY4" fmla="*/ 2122554 h 4509262"/>
              <a:gd name="connsiteX5" fmla="*/ 10664818 w 11575073"/>
              <a:gd name="connsiteY5" fmla="*/ 19551 h 4509262"/>
              <a:gd name="connsiteX6" fmla="*/ 10825046 w 11575073"/>
              <a:gd name="connsiteY6" fmla="*/ 1364 h 4509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75073" h="4509262">
                <a:moveTo>
                  <a:pt x="10825046" y="1364"/>
                </a:moveTo>
                <a:cubicBezTo>
                  <a:pt x="11575073" y="-35818"/>
                  <a:pt x="11575073" y="699815"/>
                  <a:pt x="11575073" y="699815"/>
                </a:cubicBezTo>
                <a:lnTo>
                  <a:pt x="11575073" y="4509262"/>
                </a:lnTo>
                <a:lnTo>
                  <a:pt x="0" y="4509262"/>
                </a:lnTo>
                <a:lnTo>
                  <a:pt x="0" y="2122554"/>
                </a:lnTo>
                <a:lnTo>
                  <a:pt x="10664818" y="19551"/>
                </a:lnTo>
                <a:cubicBezTo>
                  <a:pt x="10721709" y="9756"/>
                  <a:pt x="10775044" y="3843"/>
                  <a:pt x="10825046" y="1364"/>
                </a:cubicBezTo>
                <a:close/>
              </a:path>
            </a:pathLst>
          </a:custGeom>
          <a:pattFill prst="pct20">
            <a:fgClr>
              <a:schemeClr val="accent3"/>
            </a:fgClr>
            <a:bgClr>
              <a:schemeClr val="bg1"/>
            </a:bgClr>
          </a:pattFill>
        </p:spPr>
        <p:txBody>
          <a:bodyPr vert="horz" wrap="square" lIns="2520000" tIns="72000" rIns="72000" bIns="72000" rtlCol="0" anchor="b">
            <a:noAutofit/>
          </a:bodyPr>
          <a:lstStyle>
            <a:lvl1pPr>
              <a:defRPr lang="de-DE" sz="1600" baseline="0" dirty="0">
                <a:solidFill>
                  <a:schemeClr val="tx1"/>
                </a:solidFill>
              </a:defRPr>
            </a:lvl1pPr>
          </a:lstStyle>
          <a:p>
            <a:pPr marR="0" lvl="0" fontAlgn="auto">
              <a:lnSpc>
                <a:spcPct val="100000"/>
              </a:lnSpc>
              <a:spcBef>
                <a:spcPts val="0"/>
              </a:spcBef>
              <a:spcAft>
                <a:spcPts val="0"/>
              </a:spcAft>
              <a:buClrTx/>
              <a:buSzTx/>
              <a:tabLst/>
            </a:pPr>
            <a:r>
              <a:rPr lang="de-DE"/>
              <a:t>Um ein Hintergrundbild einzufügen, markieren Sie bitte den Platzhalter und wählen entweder ein Bild aus der </a:t>
            </a:r>
            <a:r>
              <a:rPr lang="de-DE" err="1"/>
              <a:t>empower</a:t>
            </a:r>
            <a:r>
              <a:rPr lang="de-DE"/>
              <a:t> Bibliothek oder über den Reiter „Einfügen“, „Bilder“ aus. Dieses Layout steht in zwei Varianten zur Verfügung: mit positivem und negativem Partnerlogo. Bitte wählen Sie das Layout aus, welches den bestmöglichen Kontrast zwischen Bild und Logo erzeugt.</a:t>
            </a:r>
          </a:p>
        </p:txBody>
      </p:sp>
      <p:pic>
        <p:nvPicPr>
          <p:cNvPr id="23" name="Grafik 10">
            <a:extLst>
              <a:ext uri="{FF2B5EF4-FFF2-40B4-BE49-F238E27FC236}">
                <a16:creationId xmlns:a16="http://schemas.microsoft.com/office/drawing/2014/main" id="{2F90E044-3115-466D-9C29-E40A066B546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9563898" y="409422"/>
            <a:ext cx="2016000" cy="608729"/>
          </a:xfrm>
          <a:prstGeom prst="rect">
            <a:avLst/>
          </a:prstGeom>
        </p:spPr>
      </p:pic>
      <p:sp>
        <p:nvSpPr>
          <p:cNvPr id="9" name="Textplatzhalter 2">
            <a:extLst>
              <a:ext uri="{FF2B5EF4-FFF2-40B4-BE49-F238E27FC236}">
                <a16:creationId xmlns:a16="http://schemas.microsoft.com/office/drawing/2014/main" id="{4EC0FAF0-A1D6-4E9D-BCC5-5FE9781849D2}"/>
              </a:ext>
            </a:extLst>
          </p:cNvPr>
          <p:cNvSpPr>
            <a:spLocks noGrp="1"/>
          </p:cNvSpPr>
          <p:nvPr>
            <p:ph type="body" sz="quarter" idx="18"/>
          </p:nvPr>
        </p:nvSpPr>
        <p:spPr bwMode="gray">
          <a:xfrm>
            <a:off x="630000" y="6329316"/>
            <a:ext cx="1789200" cy="198000"/>
          </a:xfrm>
          <a:blipFill>
            <a:blip r:embed="rId3"/>
            <a:stretch>
              <a:fillRect/>
            </a:stretch>
          </a:blipFill>
        </p:spPr>
        <p:txBody>
          <a:bodyPr/>
          <a:lstStyle>
            <a:lvl1pPr>
              <a:defRPr sz="100">
                <a:noFill/>
              </a:defRPr>
            </a:lvl1pPr>
          </a:lstStyle>
          <a:p>
            <a:pPr lvl="0"/>
            <a:r>
              <a:rPr lang="de-DE"/>
              <a:t>Mastertextformat bearbeiten</a:t>
            </a:r>
          </a:p>
        </p:txBody>
      </p:sp>
      <p:sp>
        <p:nvSpPr>
          <p:cNvPr id="14" name="Textplatzhalter 2">
            <a:extLst>
              <a:ext uri="{FF2B5EF4-FFF2-40B4-BE49-F238E27FC236}">
                <a16:creationId xmlns:a16="http://schemas.microsoft.com/office/drawing/2014/main" id="{514BC479-07EC-42DB-ABF9-357BB1B8D150}"/>
              </a:ext>
            </a:extLst>
          </p:cNvPr>
          <p:cNvSpPr>
            <a:spLocks noGrp="1"/>
          </p:cNvSpPr>
          <p:nvPr>
            <p:ph type="body" sz="quarter" idx="15" hasCustomPrompt="1"/>
          </p:nvPr>
        </p:nvSpPr>
        <p:spPr bwMode="gray">
          <a:xfrm>
            <a:off x="630000" y="1327148"/>
            <a:ext cx="10080000" cy="923330"/>
          </a:xfrm>
          <a:prstGeom prst="rect">
            <a:avLst/>
          </a:prstGeom>
          <a:noFill/>
        </p:spPr>
        <p:txBody>
          <a:bodyPr wrap="square" lIns="0" tIns="0">
            <a:noAutofit/>
          </a:bodyPr>
          <a:lstStyle>
            <a:lvl1pPr marL="0" indent="0">
              <a:spcBef>
                <a:spcPts val="0"/>
              </a:spcBef>
              <a:buFont typeface="Arial" panose="020B0604020202020204" pitchFamily="34" charset="0"/>
              <a:buNone/>
              <a:defRPr sz="3000" b="1">
                <a:solidFill>
                  <a:schemeClr val="accent1"/>
                </a:solidFill>
              </a:defRPr>
            </a:lvl1pPr>
            <a:lvl2pPr marL="0" indent="0">
              <a:spcBef>
                <a:spcPts val="0"/>
              </a:spcBef>
              <a:buFont typeface="Arial" panose="020B0604020202020204" pitchFamily="34" charset="0"/>
              <a:buNone/>
              <a:defRPr sz="3000" b="1">
                <a:solidFill>
                  <a:schemeClr val="bg1"/>
                </a:solidFill>
              </a:defRPr>
            </a:lvl2pPr>
            <a:lvl3pPr marL="0" indent="0">
              <a:spcBef>
                <a:spcPts val="0"/>
              </a:spcBef>
              <a:buNone/>
              <a:defRPr sz="3000" b="1">
                <a:solidFill>
                  <a:schemeClr val="bg1"/>
                </a:solidFill>
              </a:defRPr>
            </a:lvl3pPr>
            <a:lvl4pPr marL="0" indent="0">
              <a:spcBef>
                <a:spcPts val="0"/>
              </a:spcBef>
              <a:buNone/>
              <a:defRPr sz="3000" b="1">
                <a:solidFill>
                  <a:schemeClr val="bg1"/>
                </a:solidFill>
              </a:defRPr>
            </a:lvl4pPr>
            <a:lvl5pPr marL="0" indent="0">
              <a:spcBef>
                <a:spcPts val="0"/>
              </a:spcBef>
              <a:buNone/>
              <a:defRPr sz="3000" b="1">
                <a:solidFill>
                  <a:schemeClr val="bg1"/>
                </a:solidFill>
              </a:defRPr>
            </a:lvl5pPr>
          </a:lstStyle>
          <a:p>
            <a:pPr lvl="0"/>
            <a:r>
              <a:rPr lang="de-DE"/>
              <a:t>Titelfolie (max. 2-zeilig)</a:t>
            </a:r>
          </a:p>
        </p:txBody>
      </p:sp>
      <p:sp>
        <p:nvSpPr>
          <p:cNvPr id="16" name="Textplatzhalter 3">
            <a:extLst>
              <a:ext uri="{FF2B5EF4-FFF2-40B4-BE49-F238E27FC236}">
                <a16:creationId xmlns:a16="http://schemas.microsoft.com/office/drawing/2014/main" id="{CCB26A21-6BFA-43D2-89A0-93F36FE1456D}"/>
              </a:ext>
            </a:extLst>
          </p:cNvPr>
          <p:cNvSpPr>
            <a:spLocks noGrp="1"/>
          </p:cNvSpPr>
          <p:nvPr>
            <p:ph type="body" sz="quarter" idx="19" hasCustomPrompt="1"/>
          </p:nvPr>
        </p:nvSpPr>
        <p:spPr bwMode="gray">
          <a:xfrm>
            <a:off x="630000" y="951417"/>
            <a:ext cx="7560000" cy="246221"/>
          </a:xfrm>
        </p:spPr>
        <p:txBody>
          <a:bodyPr anchor="b" anchorCtr="0">
            <a:spAutoFit/>
          </a:bodyPr>
          <a:lstStyle>
            <a:lvl1pPr>
              <a:spcBef>
                <a:spcPts val="0"/>
              </a:spcBef>
              <a:defRPr sz="1600" b="1">
                <a:solidFill>
                  <a:schemeClr val="accent2"/>
                </a:solidFill>
              </a:defRPr>
            </a:lvl1pPr>
          </a:lstStyle>
          <a:p>
            <a:pPr lvl="0"/>
            <a:r>
              <a:rPr lang="de-DE"/>
              <a:t>Name Kunde / Veranstaltung</a:t>
            </a:r>
          </a:p>
        </p:txBody>
      </p:sp>
      <p:sp>
        <p:nvSpPr>
          <p:cNvPr id="17" name="Textplatzhalter 3">
            <a:extLst>
              <a:ext uri="{FF2B5EF4-FFF2-40B4-BE49-F238E27FC236}">
                <a16:creationId xmlns:a16="http://schemas.microsoft.com/office/drawing/2014/main" id="{4FECC35D-B1E8-4D3D-893F-E4B9747B4390}"/>
              </a:ext>
            </a:extLst>
          </p:cNvPr>
          <p:cNvSpPr>
            <a:spLocks noGrp="1"/>
          </p:cNvSpPr>
          <p:nvPr>
            <p:ph type="body" sz="quarter" idx="20" hasCustomPrompt="1"/>
          </p:nvPr>
        </p:nvSpPr>
        <p:spPr bwMode="gray">
          <a:xfrm>
            <a:off x="630000" y="2453983"/>
            <a:ext cx="7560000" cy="246221"/>
          </a:xfrm>
        </p:spPr>
        <p:txBody>
          <a:bodyPr anchor="b" anchorCtr="0">
            <a:spAutoFit/>
          </a:bodyPr>
          <a:lstStyle>
            <a:lvl1pPr>
              <a:spcBef>
                <a:spcPts val="0"/>
              </a:spcBef>
              <a:defRPr sz="1600" b="0">
                <a:solidFill>
                  <a:schemeClr val="tx2"/>
                </a:solidFill>
              </a:defRPr>
            </a:lvl1pPr>
          </a:lstStyle>
          <a:p>
            <a:pPr lvl="0"/>
            <a:r>
              <a:rPr lang="de-DE"/>
              <a:t>Ort, Datum – Referent Vorname Name</a:t>
            </a:r>
          </a:p>
        </p:txBody>
      </p:sp>
      <p:sp>
        <p:nvSpPr>
          <p:cNvPr id="18" name="Textplatzhalter 3">
            <a:extLst>
              <a:ext uri="{FF2B5EF4-FFF2-40B4-BE49-F238E27FC236}">
                <a16:creationId xmlns:a16="http://schemas.microsoft.com/office/drawing/2014/main" id="{F189B50E-3F80-429D-933C-029109AD7863}"/>
              </a:ext>
            </a:extLst>
          </p:cNvPr>
          <p:cNvSpPr>
            <a:spLocks noGrp="1"/>
          </p:cNvSpPr>
          <p:nvPr>
            <p:ph type="body" sz="quarter" idx="21" hasCustomPrompt="1"/>
          </p:nvPr>
        </p:nvSpPr>
        <p:spPr bwMode="gray">
          <a:xfrm>
            <a:off x="630000" y="2816643"/>
            <a:ext cx="6264000" cy="184666"/>
          </a:xfrm>
        </p:spPr>
        <p:txBody>
          <a:bodyPr>
            <a:spAutoFit/>
          </a:bodyPr>
          <a:lstStyle>
            <a:lvl1pPr>
              <a:spcBef>
                <a:spcPts val="0"/>
              </a:spcBef>
              <a:defRPr sz="1200" b="0">
                <a:solidFill>
                  <a:schemeClr val="tx2"/>
                </a:solidFill>
              </a:defRPr>
            </a:lvl1pPr>
          </a:lstStyle>
          <a:p>
            <a:pPr lvl="0"/>
            <a:r>
              <a:rPr lang="de-DE"/>
              <a:t>Vertraulichkeitshinweis durch Klicken bearbeiten</a:t>
            </a:r>
          </a:p>
        </p:txBody>
      </p:sp>
    </p:spTree>
    <p:extLst>
      <p:ext uri="{BB962C8B-B14F-4D97-AF65-F5344CB8AC3E}">
        <p14:creationId xmlns:p14="http://schemas.microsoft.com/office/powerpoint/2010/main" val="1547572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Trennseite mit vollflächigem Bild 01">
    <p:spTree>
      <p:nvGrpSpPr>
        <p:cNvPr id="1" name=""/>
        <p:cNvGrpSpPr/>
        <p:nvPr/>
      </p:nvGrpSpPr>
      <p:grpSpPr>
        <a:xfrm>
          <a:off x="0" y="0"/>
          <a:ext cx="0" cy="0"/>
          <a:chOff x="0" y="0"/>
          <a:chExt cx="0" cy="0"/>
        </a:xfrm>
      </p:grpSpPr>
      <p:sp>
        <p:nvSpPr>
          <p:cNvPr id="6" name="Bildplatzhalter 9">
            <a:extLst>
              <a:ext uri="{FF2B5EF4-FFF2-40B4-BE49-F238E27FC236}">
                <a16:creationId xmlns:a16="http://schemas.microsoft.com/office/drawing/2014/main" id="{61C4EC75-5F5C-47D8-AE19-1DBDC9528730}"/>
              </a:ext>
            </a:extLst>
          </p:cNvPr>
          <p:cNvSpPr>
            <a:spLocks noGrp="1"/>
          </p:cNvSpPr>
          <p:nvPr>
            <p:ph type="pic" sz="quarter" idx="10" hasCustomPrompt="1"/>
          </p:nvPr>
        </p:nvSpPr>
        <p:spPr bwMode="gray">
          <a:xfrm>
            <a:off x="-1" y="0"/>
            <a:ext cx="12195175" cy="6858000"/>
          </a:xfrm>
          <a:prstGeom prst="rect">
            <a:avLst/>
          </a:prstGeom>
          <a:pattFill prst="pct20">
            <a:fgClr>
              <a:schemeClr val="accent3"/>
            </a:fgClr>
            <a:bgClr>
              <a:schemeClr val="bg1"/>
            </a:bgClr>
          </a:pattFill>
        </p:spPr>
        <p:txBody>
          <a:bodyPr vert="horz" wrap="square" lIns="72000" tIns="72000" rIns="72000" bIns="72000" rtlCol="0" anchor="t">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1600" baseline="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600" dirty="0"/>
              <a:t>Um ein Hintergrundbild einzufügen, markieren Sie bitte den </a:t>
            </a:r>
            <a:br>
              <a:rPr lang="de-DE" sz="1600" dirty="0"/>
            </a:br>
            <a:r>
              <a:rPr lang="de-DE" sz="1600" dirty="0"/>
              <a:t>Platzhalter und wählen entweder ein Bild aus der </a:t>
            </a:r>
            <a:r>
              <a:rPr lang="de-DE" sz="1600" dirty="0" err="1"/>
              <a:t>empower</a:t>
            </a:r>
            <a:r>
              <a:rPr lang="de-DE" sz="1600" dirty="0"/>
              <a:t> </a:t>
            </a:r>
            <a:br>
              <a:rPr lang="de-DE" sz="1600" dirty="0"/>
            </a:br>
            <a:r>
              <a:rPr lang="de-DE" sz="1600" dirty="0"/>
              <a:t>Bibliothek oder über den Reiter „Einfügen“, „Bilder“ aus. </a:t>
            </a:r>
          </a:p>
        </p:txBody>
      </p:sp>
      <p:sp>
        <p:nvSpPr>
          <p:cNvPr id="7" name="Textplatzhalter 9">
            <a:extLst>
              <a:ext uri="{FF2B5EF4-FFF2-40B4-BE49-F238E27FC236}">
                <a16:creationId xmlns:a16="http://schemas.microsoft.com/office/drawing/2014/main" id="{93C93B80-10F8-4DC4-AAB2-00F234410632}"/>
              </a:ext>
            </a:extLst>
          </p:cNvPr>
          <p:cNvSpPr>
            <a:spLocks noGrp="1" noChangeAspect="1"/>
          </p:cNvSpPr>
          <p:nvPr>
            <p:ph type="body" sz="quarter" idx="15" hasCustomPrompt="1"/>
          </p:nvPr>
        </p:nvSpPr>
        <p:spPr bwMode="gray">
          <a:xfrm>
            <a:off x="6103895" y="-1"/>
            <a:ext cx="6091280" cy="6310680"/>
          </a:xfrm>
          <a:custGeom>
            <a:avLst/>
            <a:gdLst>
              <a:gd name="connsiteX0" fmla="*/ 0 w 6091280"/>
              <a:gd name="connsiteY0" fmla="*/ 0 h 6310680"/>
              <a:gd name="connsiteX1" fmla="*/ 6091280 w 6091280"/>
              <a:gd name="connsiteY1" fmla="*/ 0 h 6310680"/>
              <a:gd name="connsiteX2" fmla="*/ 6091280 w 6091280"/>
              <a:gd name="connsiteY2" fmla="*/ 5279428 h 6310680"/>
              <a:gd name="connsiteX3" fmla="*/ 966865 w 6091280"/>
              <a:gd name="connsiteY3" fmla="*/ 6289914 h 6310680"/>
              <a:gd name="connsiteX4" fmla="*/ 0 w 6091280"/>
              <a:gd name="connsiteY4" fmla="*/ 5567343 h 6310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1280" h="6310680">
                <a:moveTo>
                  <a:pt x="0" y="0"/>
                </a:moveTo>
                <a:lnTo>
                  <a:pt x="6091280" y="0"/>
                </a:lnTo>
                <a:lnTo>
                  <a:pt x="6091280" y="5279428"/>
                </a:lnTo>
                <a:lnTo>
                  <a:pt x="966865" y="6289914"/>
                </a:lnTo>
                <a:cubicBezTo>
                  <a:pt x="0" y="6456384"/>
                  <a:pt x="0" y="5567343"/>
                  <a:pt x="0" y="5567343"/>
                </a:cubicBezTo>
                <a:close/>
              </a:path>
            </a:pathLst>
          </a:custGeom>
          <a:solidFill>
            <a:srgbClr val="E9E9E9">
              <a:alpha val="89000"/>
            </a:srgbClr>
          </a:solidFill>
        </p:spPr>
        <p:txBody>
          <a:bodyPr wrap="square" lIns="435600" tIns="0" rIns="414000" bIns="3542400" anchor="b">
            <a:noAutofit/>
          </a:bodyPr>
          <a:lstStyle>
            <a:lvl1pPr marL="0" indent="0">
              <a:spcBef>
                <a:spcPts val="0"/>
              </a:spcBef>
              <a:buFont typeface="Arial" panose="020B0604020202020204" pitchFamily="34" charset="0"/>
              <a:buNone/>
              <a:defRPr sz="2600" b="1">
                <a:solidFill>
                  <a:schemeClr val="tx2"/>
                </a:solidFill>
              </a:defRPr>
            </a:lvl1pPr>
            <a:lvl2pPr marL="0" indent="0">
              <a:spcBef>
                <a:spcPts val="0"/>
              </a:spcBef>
              <a:buFont typeface="Arial" panose="020B0604020202020204" pitchFamily="34" charset="0"/>
              <a:buNone/>
              <a:defRPr sz="3000" b="1">
                <a:solidFill>
                  <a:schemeClr val="bg1"/>
                </a:solidFill>
              </a:defRPr>
            </a:lvl2pPr>
            <a:lvl3pPr marL="0" indent="0">
              <a:spcBef>
                <a:spcPts val="0"/>
              </a:spcBef>
              <a:buNone/>
              <a:defRPr sz="3000" b="1">
                <a:solidFill>
                  <a:schemeClr val="bg1"/>
                </a:solidFill>
              </a:defRPr>
            </a:lvl3pPr>
            <a:lvl4pPr marL="0" indent="0">
              <a:spcBef>
                <a:spcPts val="0"/>
              </a:spcBef>
              <a:buNone/>
              <a:defRPr sz="3000" b="1">
                <a:solidFill>
                  <a:schemeClr val="bg1"/>
                </a:solidFill>
              </a:defRPr>
            </a:lvl4pPr>
            <a:lvl5pPr marL="0" indent="0">
              <a:spcBef>
                <a:spcPts val="0"/>
              </a:spcBef>
              <a:buNone/>
              <a:defRPr sz="3000" b="1">
                <a:solidFill>
                  <a:schemeClr val="bg1"/>
                </a:solidFill>
              </a:defRPr>
            </a:lvl5pPr>
          </a:lstStyle>
          <a:p>
            <a:pPr lvl="0"/>
            <a:r>
              <a:rPr lang="de-DE" dirty="0"/>
              <a:t>Kapiteltrennseite (max. 2-zeilig)</a:t>
            </a:r>
          </a:p>
        </p:txBody>
      </p:sp>
      <p:sp>
        <p:nvSpPr>
          <p:cNvPr id="12" name="Textplatzhalter 11">
            <a:extLst>
              <a:ext uri="{FF2B5EF4-FFF2-40B4-BE49-F238E27FC236}">
                <a16:creationId xmlns:a16="http://schemas.microsoft.com/office/drawing/2014/main" id="{22AE4F05-50A3-4DCB-B5C1-E163C13DE46A}"/>
              </a:ext>
            </a:extLst>
          </p:cNvPr>
          <p:cNvSpPr>
            <a:spLocks noGrp="1"/>
          </p:cNvSpPr>
          <p:nvPr>
            <p:ph type="body" sz="quarter" idx="12" hasCustomPrompt="1"/>
          </p:nvPr>
        </p:nvSpPr>
        <p:spPr bwMode="gray">
          <a:xfrm>
            <a:off x="6538613" y="403200"/>
            <a:ext cx="461665" cy="830997"/>
          </a:xfrm>
          <a:prstGeom prst="rect">
            <a:avLst/>
          </a:prstGeom>
        </p:spPr>
        <p:txBody>
          <a:bodyPr wrap="none" anchor="ctr">
            <a:spAutoFit/>
          </a:bodyPr>
          <a:lstStyle>
            <a:lvl1pPr marL="0" indent="0">
              <a:spcBef>
                <a:spcPts val="0"/>
              </a:spcBef>
              <a:buNone/>
              <a:defRPr sz="5400" b="0">
                <a:solidFill>
                  <a:schemeClr val="accent2"/>
                </a:solidFill>
              </a:defRPr>
            </a:lvl1pPr>
            <a:lvl2pPr>
              <a:defRPr sz="4500"/>
            </a:lvl2pPr>
            <a:lvl3pPr>
              <a:defRPr sz="4500"/>
            </a:lvl3pPr>
            <a:lvl4pPr>
              <a:defRPr sz="4500"/>
            </a:lvl4pPr>
            <a:lvl5pPr>
              <a:defRPr sz="4500"/>
            </a:lvl5pPr>
          </a:lstStyle>
          <a:p>
            <a:pPr lvl="0"/>
            <a:r>
              <a:rPr lang="de-DE" noProof="0" dirty="0"/>
              <a:t>X</a:t>
            </a:r>
          </a:p>
        </p:txBody>
      </p:sp>
      <p:sp>
        <p:nvSpPr>
          <p:cNvPr id="13" name="Textplatzhalter 2">
            <a:extLst>
              <a:ext uri="{FF2B5EF4-FFF2-40B4-BE49-F238E27FC236}">
                <a16:creationId xmlns:a16="http://schemas.microsoft.com/office/drawing/2014/main" id="{82FE2016-08F1-473F-A608-61DC01DB69ED}"/>
              </a:ext>
            </a:extLst>
          </p:cNvPr>
          <p:cNvSpPr>
            <a:spLocks noGrp="1"/>
          </p:cNvSpPr>
          <p:nvPr>
            <p:ph type="body" sz="quarter" idx="13" hasCustomPrompt="1"/>
          </p:nvPr>
        </p:nvSpPr>
        <p:spPr bwMode="gray">
          <a:xfrm>
            <a:off x="6538613" y="2934424"/>
            <a:ext cx="5242907" cy="2016000"/>
          </a:xfrm>
        </p:spPr>
        <p:txBody>
          <a:bodyPr/>
          <a:lstStyle>
            <a:lvl1pPr marL="180000" indent="-180000">
              <a:spcBef>
                <a:spcPts val="600"/>
              </a:spcBef>
              <a:buClrTx/>
              <a:buFont typeface="Wingdings" panose="05000000000000000000" pitchFamily="2" charset="2"/>
              <a:buChar char=""/>
              <a:defRPr b="0">
                <a:solidFill>
                  <a:schemeClr val="tx2"/>
                </a:solidFill>
              </a:defRPr>
            </a:lvl1pPr>
          </a:lstStyle>
          <a:p>
            <a:pPr lvl="0"/>
            <a:r>
              <a:rPr lang="de-DE" noProof="0" dirty="0"/>
              <a:t>Erstes Unterthema</a:t>
            </a:r>
          </a:p>
          <a:p>
            <a:pPr lvl="0"/>
            <a:r>
              <a:rPr lang="de-DE" noProof="0" dirty="0"/>
              <a:t>Zweites Unterthema</a:t>
            </a:r>
          </a:p>
          <a:p>
            <a:pPr lvl="0"/>
            <a:endParaRPr lang="de-DE" noProof="0" dirty="0"/>
          </a:p>
          <a:p>
            <a:pPr lvl="0"/>
            <a:endParaRPr lang="de-DE" noProof="0" dirty="0"/>
          </a:p>
        </p:txBody>
      </p:sp>
      <p:sp>
        <p:nvSpPr>
          <p:cNvPr id="2" name="Datumsplatzhalter 1" hidden="1">
            <a:extLst>
              <a:ext uri="{FF2B5EF4-FFF2-40B4-BE49-F238E27FC236}">
                <a16:creationId xmlns:a16="http://schemas.microsoft.com/office/drawing/2014/main" id="{D31E90FE-4C0F-46DC-BB23-CFE8EF067FA0}"/>
              </a:ext>
            </a:extLst>
          </p:cNvPr>
          <p:cNvSpPr>
            <a:spLocks noGrp="1"/>
          </p:cNvSpPr>
          <p:nvPr>
            <p:ph type="dt" sz="half" idx="16"/>
          </p:nvPr>
        </p:nvSpPr>
        <p:spPr>
          <a:xfrm>
            <a:off x="10709631" y="151200"/>
            <a:ext cx="748800" cy="180000"/>
          </a:xfrm>
          <a:prstGeom prst="rect">
            <a:avLst/>
          </a:prstGeom>
        </p:spPr>
        <p:txBody>
          <a:bodyPr/>
          <a:lstStyle>
            <a:lvl1pPr>
              <a:defRPr>
                <a:noFill/>
              </a:defRPr>
            </a:lvl1pPr>
          </a:lstStyle>
          <a:p>
            <a:r>
              <a:rPr lang="de-DE"/>
              <a:t>XX.XX.2021</a:t>
            </a:r>
            <a:endParaRPr lang="de-DE" dirty="0"/>
          </a:p>
        </p:txBody>
      </p:sp>
      <p:sp>
        <p:nvSpPr>
          <p:cNvPr id="3" name="Fußzeilenplatzhalter 2" hidden="1">
            <a:extLst>
              <a:ext uri="{FF2B5EF4-FFF2-40B4-BE49-F238E27FC236}">
                <a16:creationId xmlns:a16="http://schemas.microsoft.com/office/drawing/2014/main" id="{7FE96BE8-4D7F-4167-BF57-0839A28E751D}"/>
              </a:ext>
            </a:extLst>
          </p:cNvPr>
          <p:cNvSpPr>
            <a:spLocks noGrp="1"/>
          </p:cNvSpPr>
          <p:nvPr>
            <p:ph type="ftr" sz="quarter" idx="17"/>
          </p:nvPr>
        </p:nvSpPr>
        <p:spPr>
          <a:xfrm>
            <a:off x="6313488" y="151200"/>
            <a:ext cx="4393761" cy="180000"/>
          </a:xfrm>
          <a:prstGeom prst="rect">
            <a:avLst/>
          </a:prstGeom>
        </p:spPr>
        <p:txBody>
          <a:bodyPr/>
          <a:lstStyle>
            <a:lvl1pPr>
              <a:defRPr>
                <a:noFill/>
              </a:defRPr>
            </a:lvl1pPr>
          </a:lstStyle>
          <a:p>
            <a:r>
              <a:rPr lang="de-DE"/>
              <a:t>Kürzel  |  CX  |</a:t>
            </a:r>
            <a:endParaRPr lang="de-DE" dirty="0"/>
          </a:p>
        </p:txBody>
      </p:sp>
      <p:sp>
        <p:nvSpPr>
          <p:cNvPr id="4" name="Foliennummernplatzhalter 3" hidden="1">
            <a:extLst>
              <a:ext uri="{FF2B5EF4-FFF2-40B4-BE49-F238E27FC236}">
                <a16:creationId xmlns:a16="http://schemas.microsoft.com/office/drawing/2014/main" id="{3ED20BDB-0617-4D87-972C-813895C0EE1A}"/>
              </a:ext>
            </a:extLst>
          </p:cNvPr>
          <p:cNvSpPr>
            <a:spLocks noGrp="1"/>
          </p:cNvSpPr>
          <p:nvPr>
            <p:ph type="sldNum" sz="quarter" idx="18"/>
          </p:nvPr>
        </p:nvSpPr>
        <p:spPr>
          <a:xfrm>
            <a:off x="11504750" y="151200"/>
            <a:ext cx="280800" cy="180000"/>
          </a:xfrm>
          <a:prstGeom prst="rect">
            <a:avLst/>
          </a:prstGeom>
        </p:spPr>
        <p:txBody>
          <a:bodyPr/>
          <a:lstStyle>
            <a:lvl1pPr>
              <a:defRPr>
                <a:noFill/>
              </a:defRPr>
            </a:lvl1pPr>
          </a:lstStyle>
          <a:p>
            <a:fld id="{9C89B081-1F44-4440-BC7B-989C90F97B77}" type="slidenum">
              <a:rPr lang="de-DE"/>
              <a:pPr/>
              <a:t>‹Nr.›</a:t>
            </a:fld>
            <a:endParaRPr lang="de-DE" dirty="0"/>
          </a:p>
        </p:txBody>
      </p:sp>
    </p:spTree>
    <p:extLst>
      <p:ext uri="{BB962C8B-B14F-4D97-AF65-F5344CB8AC3E}">
        <p14:creationId xmlns:p14="http://schemas.microsoft.com/office/powerpoint/2010/main" val="865997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Trennseite mit vollflächigem Bild 02">
    <p:spTree>
      <p:nvGrpSpPr>
        <p:cNvPr id="1" name=""/>
        <p:cNvGrpSpPr/>
        <p:nvPr/>
      </p:nvGrpSpPr>
      <p:grpSpPr>
        <a:xfrm>
          <a:off x="0" y="0"/>
          <a:ext cx="0" cy="0"/>
          <a:chOff x="0" y="0"/>
          <a:chExt cx="0" cy="0"/>
        </a:xfrm>
      </p:grpSpPr>
      <p:sp>
        <p:nvSpPr>
          <p:cNvPr id="6" name="Bildplatzhalter 9">
            <a:extLst>
              <a:ext uri="{FF2B5EF4-FFF2-40B4-BE49-F238E27FC236}">
                <a16:creationId xmlns:a16="http://schemas.microsoft.com/office/drawing/2014/main" id="{61C4EC75-5F5C-47D8-AE19-1DBDC9528730}"/>
              </a:ext>
            </a:extLst>
          </p:cNvPr>
          <p:cNvSpPr>
            <a:spLocks noGrp="1"/>
          </p:cNvSpPr>
          <p:nvPr>
            <p:ph type="pic" sz="quarter" idx="10" hasCustomPrompt="1"/>
          </p:nvPr>
        </p:nvSpPr>
        <p:spPr bwMode="gray">
          <a:xfrm>
            <a:off x="-1" y="0"/>
            <a:ext cx="12195175" cy="6858000"/>
          </a:xfrm>
          <a:prstGeom prst="rect">
            <a:avLst/>
          </a:prstGeom>
          <a:pattFill prst="pct20">
            <a:fgClr>
              <a:schemeClr val="accent3"/>
            </a:fgClr>
            <a:bgClr>
              <a:schemeClr val="bg1"/>
            </a:bgClr>
          </a:pattFill>
        </p:spPr>
        <p:txBody>
          <a:bodyPr vert="horz" wrap="square" lIns="72000" tIns="72000" rIns="72000" bIns="72000" rtlCol="0" anchor="t">
            <a:noAutofit/>
          </a:bodyPr>
          <a:lstStyle>
            <a:lvl1pPr>
              <a:defRPr lang="de-DE" sz="1600" baseline="0" dirty="0">
                <a:solidFill>
                  <a:schemeClr val="tx1"/>
                </a:solidFill>
              </a:defRPr>
            </a:lvl1pPr>
          </a:lstStyle>
          <a:p>
            <a:pPr marR="0" lvl="0" fontAlgn="auto">
              <a:lnSpc>
                <a:spcPct val="100000"/>
              </a:lnSpc>
              <a:spcBef>
                <a:spcPts val="0"/>
              </a:spcBef>
              <a:spcAft>
                <a:spcPts val="0"/>
              </a:spcAft>
              <a:buClrTx/>
              <a:buSzTx/>
              <a:tabLst/>
            </a:pPr>
            <a:r>
              <a:rPr lang="de-DE" sz="1600" dirty="0"/>
              <a:t>Um ein Hintergrundbild einzufügen, markieren Sie bitte den Platzhalter und wählen entweder ein Bild aus der </a:t>
            </a:r>
            <a:r>
              <a:rPr lang="de-DE" sz="1600" dirty="0" err="1"/>
              <a:t>empower</a:t>
            </a:r>
            <a:r>
              <a:rPr lang="de-DE" sz="1600" dirty="0"/>
              <a:t> Bibliothek oder über den Reiter „Einfügen“, „Bilder“ aus. </a:t>
            </a:r>
          </a:p>
        </p:txBody>
      </p:sp>
      <p:sp>
        <p:nvSpPr>
          <p:cNvPr id="9" name="Textplatzhalter 9">
            <a:extLst>
              <a:ext uri="{FF2B5EF4-FFF2-40B4-BE49-F238E27FC236}">
                <a16:creationId xmlns:a16="http://schemas.microsoft.com/office/drawing/2014/main" id="{736F61B6-AA72-44FD-A2CD-3CEF9E01724E}"/>
              </a:ext>
            </a:extLst>
          </p:cNvPr>
          <p:cNvSpPr>
            <a:spLocks noGrp="1" noChangeAspect="1"/>
          </p:cNvSpPr>
          <p:nvPr>
            <p:ph type="body" sz="quarter" idx="15" hasCustomPrompt="1"/>
          </p:nvPr>
        </p:nvSpPr>
        <p:spPr bwMode="gray">
          <a:xfrm>
            <a:off x="0" y="547319"/>
            <a:ext cx="6091280" cy="6310681"/>
          </a:xfrm>
          <a:custGeom>
            <a:avLst/>
            <a:gdLst>
              <a:gd name="connsiteX0" fmla="*/ 5294608 w 6091280"/>
              <a:gd name="connsiteY0" fmla="*/ 1449 h 6310681"/>
              <a:gd name="connsiteX1" fmla="*/ 6091280 w 6091280"/>
              <a:gd name="connsiteY1" fmla="*/ 743338 h 6310681"/>
              <a:gd name="connsiteX2" fmla="*/ 6091280 w 6091280"/>
              <a:gd name="connsiteY2" fmla="*/ 6310681 h 6310681"/>
              <a:gd name="connsiteX3" fmla="*/ 0 w 6091280"/>
              <a:gd name="connsiteY3" fmla="*/ 6310681 h 6310681"/>
              <a:gd name="connsiteX4" fmla="*/ 0 w 6091280"/>
              <a:gd name="connsiteY4" fmla="*/ 1031253 h 6310681"/>
              <a:gd name="connsiteX5" fmla="*/ 5124415 w 6091280"/>
              <a:gd name="connsiteY5" fmla="*/ 20767 h 6310681"/>
              <a:gd name="connsiteX6" fmla="*/ 5294608 w 6091280"/>
              <a:gd name="connsiteY6" fmla="*/ 1449 h 6310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1280" h="6310681">
                <a:moveTo>
                  <a:pt x="5294608" y="1449"/>
                </a:moveTo>
                <a:cubicBezTo>
                  <a:pt x="6091280" y="-38046"/>
                  <a:pt x="6091280" y="743338"/>
                  <a:pt x="6091280" y="743338"/>
                </a:cubicBezTo>
                <a:lnTo>
                  <a:pt x="6091280" y="6310681"/>
                </a:lnTo>
                <a:lnTo>
                  <a:pt x="0" y="6310681"/>
                </a:lnTo>
                <a:lnTo>
                  <a:pt x="0" y="1031253"/>
                </a:lnTo>
                <a:lnTo>
                  <a:pt x="5124415" y="20767"/>
                </a:lnTo>
                <a:cubicBezTo>
                  <a:pt x="5184844" y="10363"/>
                  <a:pt x="5241497" y="4081"/>
                  <a:pt x="5294608" y="1449"/>
                </a:cubicBezTo>
                <a:close/>
              </a:path>
            </a:pathLst>
          </a:custGeom>
          <a:solidFill>
            <a:srgbClr val="E9E9E9">
              <a:alpha val="89000"/>
            </a:srgbClr>
          </a:solidFill>
        </p:spPr>
        <p:txBody>
          <a:bodyPr wrap="square" lIns="640800" tIns="0" rIns="414000" bIns="2419200" anchor="b">
            <a:noAutofit/>
          </a:bodyPr>
          <a:lstStyle>
            <a:lvl1pPr marL="0" indent="0">
              <a:spcBef>
                <a:spcPts val="0"/>
              </a:spcBef>
              <a:buFont typeface="Arial" panose="020B0604020202020204" pitchFamily="34" charset="0"/>
              <a:buNone/>
              <a:defRPr sz="2600" b="1">
                <a:solidFill>
                  <a:schemeClr val="tx2"/>
                </a:solidFill>
              </a:defRPr>
            </a:lvl1pPr>
            <a:lvl2pPr marL="0" indent="0">
              <a:spcBef>
                <a:spcPts val="0"/>
              </a:spcBef>
              <a:buFont typeface="Arial" panose="020B0604020202020204" pitchFamily="34" charset="0"/>
              <a:buNone/>
              <a:defRPr sz="3000" b="1">
                <a:solidFill>
                  <a:schemeClr val="bg1"/>
                </a:solidFill>
              </a:defRPr>
            </a:lvl2pPr>
            <a:lvl3pPr marL="0" indent="0">
              <a:spcBef>
                <a:spcPts val="0"/>
              </a:spcBef>
              <a:buNone/>
              <a:defRPr sz="3000" b="1">
                <a:solidFill>
                  <a:schemeClr val="bg1"/>
                </a:solidFill>
              </a:defRPr>
            </a:lvl3pPr>
            <a:lvl4pPr marL="0" indent="0">
              <a:spcBef>
                <a:spcPts val="0"/>
              </a:spcBef>
              <a:buNone/>
              <a:defRPr sz="3000" b="1">
                <a:solidFill>
                  <a:schemeClr val="bg1"/>
                </a:solidFill>
              </a:defRPr>
            </a:lvl4pPr>
            <a:lvl5pPr marL="0" indent="0">
              <a:spcBef>
                <a:spcPts val="0"/>
              </a:spcBef>
              <a:buNone/>
              <a:defRPr sz="3000" b="1">
                <a:solidFill>
                  <a:schemeClr val="bg1"/>
                </a:solidFill>
              </a:defRPr>
            </a:lvl5pPr>
          </a:lstStyle>
          <a:p>
            <a:pPr lvl="0"/>
            <a:r>
              <a:rPr lang="de-DE" dirty="0"/>
              <a:t>Kapiteltrennseite (max. 2-zeilig)</a:t>
            </a:r>
          </a:p>
        </p:txBody>
      </p:sp>
      <p:sp>
        <p:nvSpPr>
          <p:cNvPr id="12" name="Textplatzhalter 11">
            <a:extLst>
              <a:ext uri="{FF2B5EF4-FFF2-40B4-BE49-F238E27FC236}">
                <a16:creationId xmlns:a16="http://schemas.microsoft.com/office/drawing/2014/main" id="{22AE4F05-50A3-4DCB-B5C1-E163C13DE46A}"/>
              </a:ext>
            </a:extLst>
          </p:cNvPr>
          <p:cNvSpPr>
            <a:spLocks noGrp="1"/>
          </p:cNvSpPr>
          <p:nvPr>
            <p:ph type="body" sz="quarter" idx="12" hasCustomPrompt="1"/>
          </p:nvPr>
        </p:nvSpPr>
        <p:spPr bwMode="gray">
          <a:xfrm>
            <a:off x="638782" y="2073548"/>
            <a:ext cx="461665" cy="830997"/>
          </a:xfrm>
          <a:prstGeom prst="rect">
            <a:avLst/>
          </a:prstGeom>
        </p:spPr>
        <p:txBody>
          <a:bodyPr wrap="none" anchor="ctr">
            <a:spAutoFit/>
          </a:bodyPr>
          <a:lstStyle>
            <a:lvl1pPr marL="0" indent="0">
              <a:spcBef>
                <a:spcPts val="0"/>
              </a:spcBef>
              <a:buNone/>
              <a:defRPr sz="5400" b="0">
                <a:solidFill>
                  <a:schemeClr val="accent2"/>
                </a:solidFill>
              </a:defRPr>
            </a:lvl1pPr>
            <a:lvl2pPr>
              <a:defRPr sz="4500"/>
            </a:lvl2pPr>
            <a:lvl3pPr>
              <a:defRPr sz="4500"/>
            </a:lvl3pPr>
            <a:lvl4pPr>
              <a:defRPr sz="4500"/>
            </a:lvl4pPr>
            <a:lvl5pPr>
              <a:defRPr sz="4500"/>
            </a:lvl5pPr>
          </a:lstStyle>
          <a:p>
            <a:pPr lvl="0"/>
            <a:r>
              <a:rPr lang="de-DE" noProof="0" dirty="0"/>
              <a:t>X</a:t>
            </a:r>
          </a:p>
        </p:txBody>
      </p:sp>
      <p:sp>
        <p:nvSpPr>
          <p:cNvPr id="13" name="Textplatzhalter 2">
            <a:extLst>
              <a:ext uri="{FF2B5EF4-FFF2-40B4-BE49-F238E27FC236}">
                <a16:creationId xmlns:a16="http://schemas.microsoft.com/office/drawing/2014/main" id="{82FE2016-08F1-473F-A608-61DC01DB69ED}"/>
              </a:ext>
            </a:extLst>
          </p:cNvPr>
          <p:cNvSpPr>
            <a:spLocks noGrp="1"/>
          </p:cNvSpPr>
          <p:nvPr>
            <p:ph type="body" sz="quarter" idx="13" hasCustomPrompt="1"/>
          </p:nvPr>
        </p:nvSpPr>
        <p:spPr bwMode="gray">
          <a:xfrm>
            <a:off x="638782" y="4604772"/>
            <a:ext cx="5242907" cy="1703953"/>
          </a:xfrm>
        </p:spPr>
        <p:txBody>
          <a:bodyPr/>
          <a:lstStyle>
            <a:lvl1pPr marL="180000" indent="-180000">
              <a:spcBef>
                <a:spcPts val="600"/>
              </a:spcBef>
              <a:buClrTx/>
              <a:buFont typeface="Wingdings" panose="05000000000000000000" pitchFamily="2" charset="2"/>
              <a:buChar char=""/>
              <a:defRPr b="0">
                <a:solidFill>
                  <a:schemeClr val="tx2"/>
                </a:solidFill>
              </a:defRPr>
            </a:lvl1pPr>
          </a:lstStyle>
          <a:p>
            <a:pPr lvl="0"/>
            <a:r>
              <a:rPr lang="de-DE" noProof="0" dirty="0"/>
              <a:t>Erstes Unterthema</a:t>
            </a:r>
          </a:p>
          <a:p>
            <a:pPr lvl="0"/>
            <a:r>
              <a:rPr lang="de-DE" noProof="0" dirty="0"/>
              <a:t>Zweites Unterthema</a:t>
            </a:r>
          </a:p>
          <a:p>
            <a:pPr lvl="0"/>
            <a:endParaRPr lang="de-DE" noProof="0" dirty="0"/>
          </a:p>
          <a:p>
            <a:pPr lvl="0"/>
            <a:endParaRPr lang="de-DE" noProof="0" dirty="0"/>
          </a:p>
        </p:txBody>
      </p:sp>
      <p:sp>
        <p:nvSpPr>
          <p:cNvPr id="2" name="Datumsplatzhalter 1" hidden="1">
            <a:extLst>
              <a:ext uri="{FF2B5EF4-FFF2-40B4-BE49-F238E27FC236}">
                <a16:creationId xmlns:a16="http://schemas.microsoft.com/office/drawing/2014/main" id="{B51C3C61-46B6-4C12-A96C-6E15209A5650}"/>
              </a:ext>
            </a:extLst>
          </p:cNvPr>
          <p:cNvSpPr>
            <a:spLocks noGrp="1"/>
          </p:cNvSpPr>
          <p:nvPr>
            <p:ph type="dt" sz="half" idx="16"/>
          </p:nvPr>
        </p:nvSpPr>
        <p:spPr>
          <a:xfrm>
            <a:off x="10709631" y="151200"/>
            <a:ext cx="748800" cy="180000"/>
          </a:xfrm>
          <a:prstGeom prst="rect">
            <a:avLst/>
          </a:prstGeom>
        </p:spPr>
        <p:txBody>
          <a:bodyPr/>
          <a:lstStyle>
            <a:lvl1pPr>
              <a:defRPr>
                <a:noFill/>
              </a:defRPr>
            </a:lvl1pPr>
          </a:lstStyle>
          <a:p>
            <a:r>
              <a:rPr lang="de-DE"/>
              <a:t>XX.XX.2021</a:t>
            </a:r>
            <a:endParaRPr lang="de-DE" dirty="0"/>
          </a:p>
        </p:txBody>
      </p:sp>
      <p:sp>
        <p:nvSpPr>
          <p:cNvPr id="3" name="Fußzeilenplatzhalter 2" hidden="1">
            <a:extLst>
              <a:ext uri="{FF2B5EF4-FFF2-40B4-BE49-F238E27FC236}">
                <a16:creationId xmlns:a16="http://schemas.microsoft.com/office/drawing/2014/main" id="{0BC7319A-E469-4F6B-82A6-E147FCCCCC20}"/>
              </a:ext>
            </a:extLst>
          </p:cNvPr>
          <p:cNvSpPr>
            <a:spLocks noGrp="1"/>
          </p:cNvSpPr>
          <p:nvPr>
            <p:ph type="ftr" sz="quarter" idx="17"/>
          </p:nvPr>
        </p:nvSpPr>
        <p:spPr>
          <a:xfrm>
            <a:off x="6313488" y="151200"/>
            <a:ext cx="4393761" cy="180000"/>
          </a:xfrm>
          <a:prstGeom prst="rect">
            <a:avLst/>
          </a:prstGeom>
        </p:spPr>
        <p:txBody>
          <a:bodyPr/>
          <a:lstStyle>
            <a:lvl1pPr>
              <a:defRPr>
                <a:noFill/>
              </a:defRPr>
            </a:lvl1pPr>
          </a:lstStyle>
          <a:p>
            <a:r>
              <a:rPr lang="de-DE"/>
              <a:t>Kürzel  |  CX  |</a:t>
            </a:r>
            <a:endParaRPr lang="de-DE" dirty="0"/>
          </a:p>
        </p:txBody>
      </p:sp>
      <p:sp>
        <p:nvSpPr>
          <p:cNvPr id="4" name="Foliennummernplatzhalter 3" hidden="1">
            <a:extLst>
              <a:ext uri="{FF2B5EF4-FFF2-40B4-BE49-F238E27FC236}">
                <a16:creationId xmlns:a16="http://schemas.microsoft.com/office/drawing/2014/main" id="{D9CE1915-9E92-4B06-885F-E32D44658DB5}"/>
              </a:ext>
            </a:extLst>
          </p:cNvPr>
          <p:cNvSpPr>
            <a:spLocks noGrp="1"/>
          </p:cNvSpPr>
          <p:nvPr>
            <p:ph type="sldNum" sz="quarter" idx="18"/>
          </p:nvPr>
        </p:nvSpPr>
        <p:spPr>
          <a:xfrm>
            <a:off x="11504750" y="151200"/>
            <a:ext cx="280800" cy="180000"/>
          </a:xfrm>
          <a:prstGeom prst="rect">
            <a:avLst/>
          </a:prstGeom>
        </p:spPr>
        <p:txBody>
          <a:bodyPr/>
          <a:lstStyle>
            <a:lvl1pPr>
              <a:defRPr>
                <a:noFill/>
              </a:defRPr>
            </a:lvl1pPr>
          </a:lstStyle>
          <a:p>
            <a:fld id="{9C89B081-1F44-4440-BC7B-989C90F97B77}" type="slidenum">
              <a:rPr lang="de-DE"/>
              <a:pPr/>
              <a:t>‹Nr.›</a:t>
            </a:fld>
            <a:endParaRPr lang="de-DE" dirty="0"/>
          </a:p>
        </p:txBody>
      </p:sp>
    </p:spTree>
    <p:extLst>
      <p:ext uri="{BB962C8B-B14F-4D97-AF65-F5344CB8AC3E}">
        <p14:creationId xmlns:p14="http://schemas.microsoft.com/office/powerpoint/2010/main" val="1858689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Trennseite mit Bild">
    <p:spTree>
      <p:nvGrpSpPr>
        <p:cNvPr id="1" name=""/>
        <p:cNvGrpSpPr/>
        <p:nvPr/>
      </p:nvGrpSpPr>
      <p:grpSpPr>
        <a:xfrm>
          <a:off x="0" y="0"/>
          <a:ext cx="0" cy="0"/>
          <a:chOff x="0" y="0"/>
          <a:chExt cx="0" cy="0"/>
        </a:xfrm>
      </p:grpSpPr>
      <p:sp>
        <p:nvSpPr>
          <p:cNvPr id="8" name="Bildplatzhalter 9">
            <a:extLst>
              <a:ext uri="{FF2B5EF4-FFF2-40B4-BE49-F238E27FC236}">
                <a16:creationId xmlns:a16="http://schemas.microsoft.com/office/drawing/2014/main" id="{416ECB76-69DA-4DC8-828F-074046CA47F4}"/>
              </a:ext>
            </a:extLst>
          </p:cNvPr>
          <p:cNvSpPr>
            <a:spLocks noGrp="1" noChangeAspect="1"/>
          </p:cNvSpPr>
          <p:nvPr>
            <p:ph type="pic" sz="quarter" idx="10" hasCustomPrompt="1"/>
          </p:nvPr>
        </p:nvSpPr>
        <p:spPr bwMode="gray">
          <a:xfrm>
            <a:off x="6103895" y="0"/>
            <a:ext cx="6091280" cy="6310680"/>
          </a:xfrm>
          <a:custGeom>
            <a:avLst/>
            <a:gdLst>
              <a:gd name="connsiteX0" fmla="*/ 0 w 6091280"/>
              <a:gd name="connsiteY0" fmla="*/ 0 h 6310680"/>
              <a:gd name="connsiteX1" fmla="*/ 6091280 w 6091280"/>
              <a:gd name="connsiteY1" fmla="*/ 0 h 6310680"/>
              <a:gd name="connsiteX2" fmla="*/ 6091280 w 6091280"/>
              <a:gd name="connsiteY2" fmla="*/ 5279428 h 6310680"/>
              <a:gd name="connsiteX3" fmla="*/ 966865 w 6091280"/>
              <a:gd name="connsiteY3" fmla="*/ 6289914 h 6310680"/>
              <a:gd name="connsiteX4" fmla="*/ 0 w 6091280"/>
              <a:gd name="connsiteY4" fmla="*/ 5567343 h 6310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1280" h="6310680">
                <a:moveTo>
                  <a:pt x="0" y="0"/>
                </a:moveTo>
                <a:lnTo>
                  <a:pt x="6091280" y="0"/>
                </a:lnTo>
                <a:lnTo>
                  <a:pt x="6091280" y="5279428"/>
                </a:lnTo>
                <a:lnTo>
                  <a:pt x="966865" y="6289914"/>
                </a:lnTo>
                <a:cubicBezTo>
                  <a:pt x="0" y="6456384"/>
                  <a:pt x="0" y="5567343"/>
                  <a:pt x="0" y="5567343"/>
                </a:cubicBezTo>
                <a:close/>
              </a:path>
            </a:pathLst>
          </a:custGeom>
          <a:pattFill prst="pct20">
            <a:fgClr>
              <a:schemeClr val="accent3"/>
            </a:fgClr>
            <a:bgClr>
              <a:schemeClr val="bg1"/>
            </a:bgClr>
          </a:pattFill>
        </p:spPr>
        <p:txBody>
          <a:bodyPr vert="horz" wrap="square" lIns="72000" tIns="72000" rIns="72000" bIns="72000" rtlCol="0" anchor="t">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1600" baseline="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600" dirty="0"/>
              <a:t>Um ein Hintergrundbild einzufügen, markieren Sie bitte den </a:t>
            </a:r>
            <a:br>
              <a:rPr lang="de-DE" sz="1600" dirty="0"/>
            </a:br>
            <a:r>
              <a:rPr lang="de-DE" sz="1600" dirty="0"/>
              <a:t>Platzhalter und wählen entweder ein Bild aus der </a:t>
            </a:r>
            <a:r>
              <a:rPr lang="de-DE" sz="1600" dirty="0" err="1"/>
              <a:t>empower</a:t>
            </a:r>
            <a:r>
              <a:rPr lang="de-DE" sz="1600" dirty="0"/>
              <a:t> </a:t>
            </a:r>
            <a:br>
              <a:rPr lang="de-DE" sz="1600" dirty="0"/>
            </a:br>
            <a:r>
              <a:rPr lang="de-DE" sz="1600" dirty="0"/>
              <a:t>Bibliothek oder über den Reiter „Einfügen“, „Bilder“ aus. </a:t>
            </a:r>
          </a:p>
        </p:txBody>
      </p:sp>
      <p:sp>
        <p:nvSpPr>
          <p:cNvPr id="13" name="Textplatzhalter 9"/>
          <p:cNvSpPr>
            <a:spLocks noGrp="1"/>
          </p:cNvSpPr>
          <p:nvPr>
            <p:ph type="body" sz="quarter" idx="11" hasCustomPrompt="1"/>
          </p:nvPr>
        </p:nvSpPr>
        <p:spPr bwMode="gray">
          <a:xfrm>
            <a:off x="409575" y="3351256"/>
            <a:ext cx="5472112" cy="400110"/>
          </a:xfrm>
          <a:prstGeom prst="rect">
            <a:avLst/>
          </a:prstGeom>
        </p:spPr>
        <p:txBody>
          <a:bodyPr wrap="square" anchor="b">
            <a:spAutoFit/>
          </a:bodyPr>
          <a:lstStyle>
            <a:lvl1pPr marL="0" indent="0" algn="l" defTabSz="914400" rtl="0" eaLnBrk="1" latinLnBrk="0" hangingPunct="1">
              <a:lnSpc>
                <a:spcPct val="100000"/>
              </a:lnSpc>
              <a:spcBef>
                <a:spcPts val="0"/>
              </a:spcBef>
              <a:buFont typeface="Arial" panose="020B0604020202020204" pitchFamily="34" charset="0"/>
              <a:buNone/>
              <a:defRPr lang="de-DE" sz="2600" b="1" kern="1200" dirty="0">
                <a:solidFill>
                  <a:schemeClr val="tx2"/>
                </a:solidFill>
                <a:latin typeface="+mn-lt"/>
                <a:ea typeface="+mn-ea"/>
                <a:cs typeface="+mn-cs"/>
              </a:defRPr>
            </a:lvl1pPr>
            <a:lvl2pPr>
              <a:defRPr sz="2600"/>
            </a:lvl2pPr>
            <a:lvl3pPr>
              <a:defRPr sz="2600"/>
            </a:lvl3pPr>
            <a:lvl4pPr>
              <a:defRPr sz="2600"/>
            </a:lvl4pPr>
            <a:lvl5pPr>
              <a:defRPr sz="2600"/>
            </a:lvl5pPr>
          </a:lstStyle>
          <a:p>
            <a:pPr lvl="0"/>
            <a:r>
              <a:rPr lang="de-DE" sz="2600" kern="0" noProof="0" dirty="0"/>
              <a:t>Kapiteltrennseite (max. 2-zeilig)</a:t>
            </a:r>
          </a:p>
        </p:txBody>
      </p:sp>
      <p:sp>
        <p:nvSpPr>
          <p:cNvPr id="14" name="Textplatzhalter 11"/>
          <p:cNvSpPr>
            <a:spLocks noGrp="1"/>
          </p:cNvSpPr>
          <p:nvPr>
            <p:ph type="body" sz="quarter" idx="12" hasCustomPrompt="1"/>
          </p:nvPr>
        </p:nvSpPr>
        <p:spPr bwMode="gray">
          <a:xfrm>
            <a:off x="409575" y="1389472"/>
            <a:ext cx="461665" cy="830997"/>
          </a:xfrm>
          <a:prstGeom prst="rect">
            <a:avLst/>
          </a:prstGeom>
        </p:spPr>
        <p:txBody>
          <a:bodyPr wrap="none" anchor="ctr">
            <a:spAutoFit/>
          </a:bodyPr>
          <a:lstStyle>
            <a:lvl1pPr marL="0" indent="0">
              <a:spcBef>
                <a:spcPts val="0"/>
              </a:spcBef>
              <a:buNone/>
              <a:defRPr sz="5400" b="0">
                <a:solidFill>
                  <a:schemeClr val="accent2"/>
                </a:solidFill>
              </a:defRPr>
            </a:lvl1pPr>
            <a:lvl2pPr>
              <a:defRPr sz="4500"/>
            </a:lvl2pPr>
            <a:lvl3pPr>
              <a:defRPr sz="4500"/>
            </a:lvl3pPr>
            <a:lvl4pPr>
              <a:defRPr sz="4500"/>
            </a:lvl4pPr>
            <a:lvl5pPr>
              <a:defRPr sz="4500"/>
            </a:lvl5pPr>
          </a:lstStyle>
          <a:p>
            <a:pPr lvl="0"/>
            <a:r>
              <a:rPr lang="de-DE" noProof="0" dirty="0"/>
              <a:t>X</a:t>
            </a:r>
          </a:p>
        </p:txBody>
      </p:sp>
      <p:sp>
        <p:nvSpPr>
          <p:cNvPr id="3" name="Textplatzhalter 2"/>
          <p:cNvSpPr>
            <a:spLocks noGrp="1"/>
          </p:cNvSpPr>
          <p:nvPr>
            <p:ph type="body" sz="quarter" idx="13" hasCustomPrompt="1"/>
          </p:nvPr>
        </p:nvSpPr>
        <p:spPr bwMode="gray">
          <a:xfrm>
            <a:off x="409575" y="3920696"/>
            <a:ext cx="5472113" cy="2389984"/>
          </a:xfrm>
        </p:spPr>
        <p:txBody>
          <a:bodyPr/>
          <a:lstStyle>
            <a:lvl1pPr marL="180000" indent="-180000">
              <a:spcBef>
                <a:spcPts val="600"/>
              </a:spcBef>
              <a:buClrTx/>
              <a:buFont typeface="Wingdings" panose="05000000000000000000" pitchFamily="2" charset="2"/>
              <a:buChar char=""/>
              <a:defRPr b="0"/>
            </a:lvl1pPr>
          </a:lstStyle>
          <a:p>
            <a:pPr lvl="0"/>
            <a:r>
              <a:rPr lang="de-DE" noProof="0" dirty="0"/>
              <a:t>Erstes Unterthema</a:t>
            </a:r>
          </a:p>
          <a:p>
            <a:pPr lvl="0"/>
            <a:r>
              <a:rPr lang="de-DE" noProof="0" dirty="0"/>
              <a:t>Zweites Unterthema</a:t>
            </a:r>
          </a:p>
          <a:p>
            <a:pPr lvl="0"/>
            <a:endParaRPr lang="de-DE" noProof="0" dirty="0"/>
          </a:p>
          <a:p>
            <a:pPr lvl="0"/>
            <a:endParaRPr lang="de-DE" noProof="0" dirty="0"/>
          </a:p>
        </p:txBody>
      </p:sp>
      <p:sp>
        <p:nvSpPr>
          <p:cNvPr id="9" name="Textfeld 8">
            <a:extLst>
              <a:ext uri="{FF2B5EF4-FFF2-40B4-BE49-F238E27FC236}">
                <a16:creationId xmlns:a16="http://schemas.microsoft.com/office/drawing/2014/main" id="{D81266AE-6E9D-4E5B-A1C1-1AB193785CCB}"/>
              </a:ext>
            </a:extLst>
          </p:cNvPr>
          <p:cNvSpPr txBox="1"/>
          <p:nvPr/>
        </p:nvSpPr>
        <p:spPr bwMode="gray">
          <a:xfrm>
            <a:off x="409575" y="6516000"/>
            <a:ext cx="11376000" cy="144000"/>
          </a:xfrm>
          <a:prstGeom prst="rect">
            <a:avLst/>
          </a:prstGeom>
          <a:noFill/>
        </p:spPr>
        <p:txBody>
          <a:bodyPr wrap="square" lIns="0" tIns="0" rIns="0" bIns="0" rtlCol="0" anchor="t">
            <a:noAutofit/>
          </a:bodyPr>
          <a:lstStyle/>
          <a:p>
            <a:pPr marL="0" marR="0" lvl="0" indent="0" defTabSz="914400" eaLnBrk="1" fontAlgn="auto" latinLnBrk="0" hangingPunct="1">
              <a:lnSpc>
                <a:spcPct val="100000"/>
              </a:lnSpc>
              <a:spcBef>
                <a:spcPts val="0"/>
              </a:spcBef>
              <a:spcAft>
                <a:spcPts val="0"/>
              </a:spcAft>
              <a:buClr>
                <a:srgbClr val="003F74"/>
              </a:buClr>
              <a:buSzTx/>
              <a:buFontTx/>
              <a:buNone/>
              <a:tabLst/>
              <a:defRPr/>
            </a:pPr>
            <a:r>
              <a:rPr kumimoji="0" lang="de-DE" sz="1000" b="0" i="0" u="none" strike="noStrike" kern="0" cap="none" spc="0" normalizeH="0" baseline="0" noProof="0" dirty="0">
                <a:ln>
                  <a:noFill/>
                </a:ln>
                <a:solidFill>
                  <a:schemeClr val="tx2"/>
                </a:solidFill>
                <a:effectLst/>
                <a:uLnTx/>
                <a:uFillTx/>
              </a:rPr>
              <a:t>Union Investment  </a:t>
            </a:r>
            <a:r>
              <a:rPr kumimoji="0" lang="de-DE" sz="1000" b="0" i="0" u="none" strike="noStrike" kern="0" cap="none" spc="0" normalizeH="0" baseline="0" noProof="0" dirty="0">
                <a:ln>
                  <a:noFill/>
                </a:ln>
                <a:solidFill>
                  <a:srgbClr val="888888"/>
                </a:solidFill>
                <a:effectLst/>
                <a:uLnTx/>
                <a:uFillTx/>
              </a:rPr>
              <a:t>|  Genossenschaftliche FinanzGruppe Volksbanken Raiffeisenbanken</a:t>
            </a:r>
          </a:p>
        </p:txBody>
      </p:sp>
      <p:sp>
        <p:nvSpPr>
          <p:cNvPr id="2" name="Datumsplatzhalter 1" hidden="1">
            <a:extLst>
              <a:ext uri="{FF2B5EF4-FFF2-40B4-BE49-F238E27FC236}">
                <a16:creationId xmlns:a16="http://schemas.microsoft.com/office/drawing/2014/main" id="{3B6472E5-0A63-477D-8DFA-339821C3C5DE}"/>
              </a:ext>
            </a:extLst>
          </p:cNvPr>
          <p:cNvSpPr>
            <a:spLocks noGrp="1"/>
          </p:cNvSpPr>
          <p:nvPr>
            <p:ph type="dt" sz="half" idx="14"/>
          </p:nvPr>
        </p:nvSpPr>
        <p:spPr>
          <a:xfrm>
            <a:off x="10709631" y="151200"/>
            <a:ext cx="748800" cy="180000"/>
          </a:xfrm>
          <a:prstGeom prst="rect">
            <a:avLst/>
          </a:prstGeom>
        </p:spPr>
        <p:txBody>
          <a:bodyPr/>
          <a:lstStyle>
            <a:lvl1pPr>
              <a:defRPr>
                <a:noFill/>
              </a:defRPr>
            </a:lvl1pPr>
          </a:lstStyle>
          <a:p>
            <a:r>
              <a:rPr lang="de-DE"/>
              <a:t>XX.XX.2021</a:t>
            </a:r>
            <a:endParaRPr lang="de-DE" dirty="0"/>
          </a:p>
        </p:txBody>
      </p:sp>
      <p:sp>
        <p:nvSpPr>
          <p:cNvPr id="4" name="Fußzeilenplatzhalter 3" hidden="1">
            <a:extLst>
              <a:ext uri="{FF2B5EF4-FFF2-40B4-BE49-F238E27FC236}">
                <a16:creationId xmlns:a16="http://schemas.microsoft.com/office/drawing/2014/main" id="{9D435B6E-46AD-4CD3-921C-A8C4A5A6E678}"/>
              </a:ext>
            </a:extLst>
          </p:cNvPr>
          <p:cNvSpPr>
            <a:spLocks noGrp="1"/>
          </p:cNvSpPr>
          <p:nvPr>
            <p:ph type="ftr" sz="quarter" idx="15"/>
          </p:nvPr>
        </p:nvSpPr>
        <p:spPr>
          <a:xfrm>
            <a:off x="6313488" y="151200"/>
            <a:ext cx="4393761" cy="180000"/>
          </a:xfrm>
          <a:prstGeom prst="rect">
            <a:avLst/>
          </a:prstGeom>
        </p:spPr>
        <p:txBody>
          <a:bodyPr/>
          <a:lstStyle>
            <a:lvl1pPr>
              <a:defRPr>
                <a:noFill/>
              </a:defRPr>
            </a:lvl1pPr>
          </a:lstStyle>
          <a:p>
            <a:r>
              <a:rPr lang="de-DE"/>
              <a:t>Kürzel  |  CX  |</a:t>
            </a:r>
            <a:endParaRPr lang="de-DE" dirty="0"/>
          </a:p>
        </p:txBody>
      </p:sp>
      <p:sp>
        <p:nvSpPr>
          <p:cNvPr id="5" name="Foliennummernplatzhalter 4" hidden="1">
            <a:extLst>
              <a:ext uri="{FF2B5EF4-FFF2-40B4-BE49-F238E27FC236}">
                <a16:creationId xmlns:a16="http://schemas.microsoft.com/office/drawing/2014/main" id="{1DE2A707-2701-4F3F-8CBF-9B4B71338A35}"/>
              </a:ext>
            </a:extLst>
          </p:cNvPr>
          <p:cNvSpPr>
            <a:spLocks noGrp="1"/>
          </p:cNvSpPr>
          <p:nvPr>
            <p:ph type="sldNum" sz="quarter" idx="16"/>
          </p:nvPr>
        </p:nvSpPr>
        <p:spPr>
          <a:xfrm>
            <a:off x="11504750" y="151200"/>
            <a:ext cx="280800" cy="180000"/>
          </a:xfrm>
          <a:prstGeom prst="rect">
            <a:avLst/>
          </a:prstGeom>
        </p:spPr>
        <p:txBody>
          <a:bodyPr/>
          <a:lstStyle>
            <a:lvl1pPr>
              <a:defRPr>
                <a:noFill/>
              </a:defRPr>
            </a:lvl1pPr>
          </a:lstStyle>
          <a:p>
            <a:fld id="{9C89B081-1F44-4440-BC7B-989C90F97B77}" type="slidenum">
              <a:rPr lang="de-DE"/>
              <a:pPr/>
              <a:t>‹Nr.›</a:t>
            </a:fld>
            <a:endParaRPr lang="de-DE" dirty="0"/>
          </a:p>
        </p:txBody>
      </p:sp>
    </p:spTree>
    <p:extLst>
      <p:ext uri="{BB962C8B-B14F-4D97-AF65-F5344CB8AC3E}">
        <p14:creationId xmlns:p14="http://schemas.microsoft.com/office/powerpoint/2010/main" val="1543593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p15="http://schemas.microsoft.com/office/powerpoint/2012/main" xmlns:a16="http://schemas.microsoft.com/office/drawing/2014/main">
      <p:transition spd="med">
        <p:fade/>
      </p:transition>
    </mc:Fallback>
  </mc:AlternateContent>
  <p:extLst>
    <p:ext uri="{DCECCB84-F9BA-43D5-87BE-67443E8EF086}">
      <p15:sldGuideLst xmlns:p15="http://schemas.microsoft.com/office/powerpoint/2012/main">
        <p15:guide id="1" pos="3705">
          <p15:clr>
            <a:srgbClr val="F26B43"/>
          </p15:clr>
        </p15:guide>
        <p15:guide id="2" pos="3977">
          <p15:clr>
            <a:srgbClr val="F26B43"/>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Trennseite ohne Bild">
    <p:spTree>
      <p:nvGrpSpPr>
        <p:cNvPr id="1" name=""/>
        <p:cNvGrpSpPr/>
        <p:nvPr/>
      </p:nvGrpSpPr>
      <p:grpSpPr>
        <a:xfrm>
          <a:off x="0" y="0"/>
          <a:ext cx="0" cy="0"/>
          <a:chOff x="0" y="0"/>
          <a:chExt cx="0" cy="0"/>
        </a:xfrm>
      </p:grpSpPr>
      <p:sp>
        <p:nvSpPr>
          <p:cNvPr id="6" name="Textplatzhalter 9"/>
          <p:cNvSpPr>
            <a:spLocks noGrp="1"/>
          </p:cNvSpPr>
          <p:nvPr>
            <p:ph type="body" sz="quarter" idx="13" hasCustomPrompt="1"/>
          </p:nvPr>
        </p:nvSpPr>
        <p:spPr bwMode="gray">
          <a:xfrm>
            <a:off x="1030048" y="3588191"/>
            <a:ext cx="10755551" cy="400110"/>
          </a:xfrm>
          <a:prstGeom prst="rect">
            <a:avLst/>
          </a:prstGeom>
        </p:spPr>
        <p:txBody>
          <a:bodyPr wrap="square" anchor="b">
            <a:spAutoFit/>
          </a:bodyPr>
          <a:lstStyle>
            <a:lvl1pPr marL="0" indent="0" algn="l" defTabSz="914400" rtl="0" eaLnBrk="1" latinLnBrk="0" hangingPunct="1">
              <a:lnSpc>
                <a:spcPct val="100000"/>
              </a:lnSpc>
              <a:spcBef>
                <a:spcPts val="0"/>
              </a:spcBef>
              <a:buFont typeface="Arial" panose="020B0604020202020204" pitchFamily="34" charset="0"/>
              <a:buNone/>
              <a:defRPr lang="de-DE" sz="2600" b="1" kern="1200" dirty="0">
                <a:solidFill>
                  <a:schemeClr val="tx2"/>
                </a:solidFill>
                <a:latin typeface="+mn-lt"/>
                <a:ea typeface="+mn-ea"/>
                <a:cs typeface="+mn-cs"/>
              </a:defRPr>
            </a:lvl1pPr>
            <a:lvl2pPr>
              <a:defRPr sz="2600"/>
            </a:lvl2pPr>
            <a:lvl3pPr>
              <a:defRPr sz="2600"/>
            </a:lvl3pPr>
            <a:lvl4pPr>
              <a:defRPr sz="2600"/>
            </a:lvl4pPr>
            <a:lvl5pPr>
              <a:defRPr sz="2600"/>
            </a:lvl5pPr>
          </a:lstStyle>
          <a:p>
            <a:pPr>
              <a:spcBef>
                <a:spcPts val="600"/>
              </a:spcBef>
              <a:buClr>
                <a:schemeClr val="accent1"/>
              </a:buClr>
            </a:pPr>
            <a:r>
              <a:rPr lang="de-DE" sz="2600" b="1" noProof="0" dirty="0">
                <a:solidFill>
                  <a:srgbClr val="00358E"/>
                </a:solidFill>
              </a:rPr>
              <a:t>Kapiteltrennseite (max. 2-zeilig)</a:t>
            </a:r>
          </a:p>
        </p:txBody>
      </p:sp>
      <p:sp>
        <p:nvSpPr>
          <p:cNvPr id="8" name="Textplatzhalter 11">
            <a:extLst>
              <a:ext uri="{FF2B5EF4-FFF2-40B4-BE49-F238E27FC236}">
                <a16:creationId xmlns:a16="http://schemas.microsoft.com/office/drawing/2014/main" id="{FF5CDA3A-768F-4B1D-A104-C4CE0260977F}"/>
              </a:ext>
            </a:extLst>
          </p:cNvPr>
          <p:cNvSpPr>
            <a:spLocks noGrp="1" noChangeAspect="1"/>
          </p:cNvSpPr>
          <p:nvPr>
            <p:ph type="body" sz="quarter" idx="16" hasCustomPrompt="1"/>
          </p:nvPr>
        </p:nvSpPr>
        <p:spPr bwMode="gray">
          <a:xfrm>
            <a:off x="630000" y="1"/>
            <a:ext cx="9545412" cy="1722335"/>
          </a:xfrm>
          <a:custGeom>
            <a:avLst/>
            <a:gdLst>
              <a:gd name="connsiteX0" fmla="*/ 0 w 9545412"/>
              <a:gd name="connsiteY0" fmla="*/ 0 h 1722335"/>
              <a:gd name="connsiteX1" fmla="*/ 9545412 w 9545412"/>
              <a:gd name="connsiteY1" fmla="*/ 0 h 1722335"/>
              <a:gd name="connsiteX2" fmla="*/ 910255 w 9545412"/>
              <a:gd name="connsiteY2" fmla="*/ 1702784 h 1722335"/>
              <a:gd name="connsiteX3" fmla="*/ 0 w 9545412"/>
              <a:gd name="connsiteY3" fmla="*/ 1022515 h 1722335"/>
            </a:gdLst>
            <a:ahLst/>
            <a:cxnLst>
              <a:cxn ang="0">
                <a:pos x="connsiteX0" y="connsiteY0"/>
              </a:cxn>
              <a:cxn ang="0">
                <a:pos x="connsiteX1" y="connsiteY1"/>
              </a:cxn>
              <a:cxn ang="0">
                <a:pos x="connsiteX2" y="connsiteY2"/>
              </a:cxn>
              <a:cxn ang="0">
                <a:pos x="connsiteX3" y="connsiteY3"/>
              </a:cxn>
            </a:cxnLst>
            <a:rect l="l" t="t" r="r" b="b"/>
            <a:pathLst>
              <a:path w="9545412" h="1722335">
                <a:moveTo>
                  <a:pt x="0" y="0"/>
                </a:moveTo>
                <a:lnTo>
                  <a:pt x="9545412" y="0"/>
                </a:lnTo>
                <a:lnTo>
                  <a:pt x="910255" y="1702784"/>
                </a:lnTo>
                <a:cubicBezTo>
                  <a:pt x="0" y="1859508"/>
                  <a:pt x="0" y="1022515"/>
                  <a:pt x="0" y="1022515"/>
                </a:cubicBezTo>
                <a:close/>
              </a:path>
            </a:pathLst>
          </a:custGeom>
          <a:solidFill>
            <a:srgbClr val="E9E9E9"/>
          </a:solidFill>
        </p:spPr>
        <p:txBody>
          <a:bodyPr wrap="square" lIns="399600" tIns="403200" rIns="5760000">
            <a:noAutofit/>
          </a:bodyPr>
          <a:lstStyle>
            <a:lvl1pPr marL="0" indent="0">
              <a:spcBef>
                <a:spcPts val="0"/>
              </a:spcBef>
              <a:buFont typeface="Arial" panose="020B0604020202020204" pitchFamily="34" charset="0"/>
              <a:buNone/>
              <a:defRPr sz="5400" b="0">
                <a:solidFill>
                  <a:schemeClr val="accent2"/>
                </a:solidFill>
              </a:defRPr>
            </a:lvl1pPr>
            <a:lvl2pPr marL="0" indent="0">
              <a:spcBef>
                <a:spcPts val="0"/>
              </a:spcBef>
              <a:buFont typeface="Arial" panose="020B0604020202020204" pitchFamily="34" charset="0"/>
              <a:buNone/>
              <a:defRPr sz="3000" b="1">
                <a:solidFill>
                  <a:schemeClr val="bg1"/>
                </a:solidFill>
              </a:defRPr>
            </a:lvl2pPr>
            <a:lvl3pPr marL="0" indent="0">
              <a:spcBef>
                <a:spcPts val="0"/>
              </a:spcBef>
              <a:buNone/>
              <a:defRPr sz="3000" b="1">
                <a:solidFill>
                  <a:schemeClr val="bg1"/>
                </a:solidFill>
              </a:defRPr>
            </a:lvl3pPr>
            <a:lvl4pPr marL="0" indent="0">
              <a:spcBef>
                <a:spcPts val="0"/>
              </a:spcBef>
              <a:buNone/>
              <a:defRPr sz="3000" b="1">
                <a:solidFill>
                  <a:schemeClr val="bg1"/>
                </a:solidFill>
              </a:defRPr>
            </a:lvl4pPr>
            <a:lvl5pPr marL="0" indent="0">
              <a:spcBef>
                <a:spcPts val="0"/>
              </a:spcBef>
              <a:buNone/>
              <a:defRPr sz="3000" b="1">
                <a:solidFill>
                  <a:schemeClr val="bg1"/>
                </a:solidFill>
              </a:defRPr>
            </a:lvl5pPr>
          </a:lstStyle>
          <a:p>
            <a:pPr lvl="0"/>
            <a:r>
              <a:rPr lang="de-DE" dirty="0"/>
              <a:t>X</a:t>
            </a:r>
          </a:p>
        </p:txBody>
      </p:sp>
      <p:sp>
        <p:nvSpPr>
          <p:cNvPr id="3" name="Textplatzhalter 2"/>
          <p:cNvSpPr>
            <a:spLocks noGrp="1"/>
          </p:cNvSpPr>
          <p:nvPr>
            <p:ph type="body" sz="quarter" idx="15" hasCustomPrompt="1"/>
          </p:nvPr>
        </p:nvSpPr>
        <p:spPr bwMode="gray">
          <a:xfrm>
            <a:off x="1030048" y="4154658"/>
            <a:ext cx="10755552" cy="2154067"/>
          </a:xfrm>
        </p:spPr>
        <p:txBody>
          <a:bodyPr/>
          <a:lstStyle>
            <a:lvl1pPr marL="180000" indent="-180000">
              <a:spcBef>
                <a:spcPts val="600"/>
              </a:spcBef>
              <a:buClrTx/>
              <a:buFont typeface="Wingdings" panose="05000000000000000000" pitchFamily="2" charset="2"/>
              <a:buChar char=""/>
              <a:defRPr b="0"/>
            </a:lvl1pPr>
          </a:lstStyle>
          <a:p>
            <a:pPr lvl="0"/>
            <a:r>
              <a:rPr lang="de-DE" noProof="0" dirty="0"/>
              <a:t>Erstes Unterthema</a:t>
            </a:r>
          </a:p>
          <a:p>
            <a:pPr lvl="0"/>
            <a:r>
              <a:rPr lang="de-DE" noProof="0" dirty="0"/>
              <a:t>Zweites Unterthema</a:t>
            </a:r>
          </a:p>
          <a:p>
            <a:pPr lvl="0"/>
            <a:endParaRPr lang="de-DE" noProof="0" dirty="0"/>
          </a:p>
          <a:p>
            <a:pPr lvl="0"/>
            <a:endParaRPr lang="de-DE" noProof="0" dirty="0"/>
          </a:p>
        </p:txBody>
      </p:sp>
      <p:sp>
        <p:nvSpPr>
          <p:cNvPr id="2" name="Datumsplatzhalter 1" hidden="1">
            <a:extLst>
              <a:ext uri="{FF2B5EF4-FFF2-40B4-BE49-F238E27FC236}">
                <a16:creationId xmlns:a16="http://schemas.microsoft.com/office/drawing/2014/main" id="{457F5F2C-8505-420A-B99D-B577E24DCF2D}"/>
              </a:ext>
            </a:extLst>
          </p:cNvPr>
          <p:cNvSpPr>
            <a:spLocks noGrp="1"/>
          </p:cNvSpPr>
          <p:nvPr>
            <p:ph type="dt" sz="half" idx="17"/>
          </p:nvPr>
        </p:nvSpPr>
        <p:spPr>
          <a:xfrm>
            <a:off x="10709631" y="151200"/>
            <a:ext cx="748800" cy="180000"/>
          </a:xfrm>
          <a:prstGeom prst="rect">
            <a:avLst/>
          </a:prstGeom>
        </p:spPr>
        <p:txBody>
          <a:bodyPr/>
          <a:lstStyle>
            <a:lvl1pPr>
              <a:defRPr>
                <a:noFill/>
              </a:defRPr>
            </a:lvl1pPr>
          </a:lstStyle>
          <a:p>
            <a:r>
              <a:rPr lang="de-DE"/>
              <a:t>XX.XX.2021</a:t>
            </a:r>
            <a:endParaRPr lang="de-DE" dirty="0"/>
          </a:p>
        </p:txBody>
      </p:sp>
      <p:sp>
        <p:nvSpPr>
          <p:cNvPr id="4" name="Fußzeilenplatzhalter 3" hidden="1">
            <a:extLst>
              <a:ext uri="{FF2B5EF4-FFF2-40B4-BE49-F238E27FC236}">
                <a16:creationId xmlns:a16="http://schemas.microsoft.com/office/drawing/2014/main" id="{FE2A117C-4F9D-4297-8E39-1844B3F9A0BA}"/>
              </a:ext>
            </a:extLst>
          </p:cNvPr>
          <p:cNvSpPr>
            <a:spLocks noGrp="1"/>
          </p:cNvSpPr>
          <p:nvPr>
            <p:ph type="ftr" sz="quarter" idx="18"/>
          </p:nvPr>
        </p:nvSpPr>
        <p:spPr>
          <a:xfrm>
            <a:off x="6313488" y="151200"/>
            <a:ext cx="4393761" cy="180000"/>
          </a:xfrm>
          <a:prstGeom prst="rect">
            <a:avLst/>
          </a:prstGeom>
        </p:spPr>
        <p:txBody>
          <a:bodyPr/>
          <a:lstStyle>
            <a:lvl1pPr>
              <a:defRPr>
                <a:noFill/>
              </a:defRPr>
            </a:lvl1pPr>
          </a:lstStyle>
          <a:p>
            <a:r>
              <a:rPr lang="de-DE"/>
              <a:t>Kürzel  |  CX  |</a:t>
            </a:r>
            <a:endParaRPr lang="de-DE" dirty="0"/>
          </a:p>
        </p:txBody>
      </p:sp>
      <p:sp>
        <p:nvSpPr>
          <p:cNvPr id="5" name="Foliennummernplatzhalter 4" hidden="1">
            <a:extLst>
              <a:ext uri="{FF2B5EF4-FFF2-40B4-BE49-F238E27FC236}">
                <a16:creationId xmlns:a16="http://schemas.microsoft.com/office/drawing/2014/main" id="{2E7E3FCB-9B10-41D2-BC38-37380ED8D769}"/>
              </a:ext>
            </a:extLst>
          </p:cNvPr>
          <p:cNvSpPr>
            <a:spLocks noGrp="1"/>
          </p:cNvSpPr>
          <p:nvPr>
            <p:ph type="sldNum" sz="quarter" idx="19"/>
          </p:nvPr>
        </p:nvSpPr>
        <p:spPr>
          <a:xfrm>
            <a:off x="11504750" y="151200"/>
            <a:ext cx="280800" cy="180000"/>
          </a:xfrm>
          <a:prstGeom prst="rect">
            <a:avLst/>
          </a:prstGeom>
        </p:spPr>
        <p:txBody>
          <a:bodyPr/>
          <a:lstStyle>
            <a:lvl1pPr>
              <a:defRPr>
                <a:noFill/>
              </a:defRPr>
            </a:lvl1pPr>
          </a:lstStyle>
          <a:p>
            <a:fld id="{9C89B081-1F44-4440-BC7B-989C90F97B77}" type="slidenum">
              <a:rPr lang="de-DE"/>
              <a:pPr/>
              <a:t>‹Nr.›</a:t>
            </a:fld>
            <a:endParaRPr lang="de-DE" dirty="0"/>
          </a:p>
        </p:txBody>
      </p:sp>
      <p:sp>
        <p:nvSpPr>
          <p:cNvPr id="10" name="Textfeld 9">
            <a:extLst>
              <a:ext uri="{FF2B5EF4-FFF2-40B4-BE49-F238E27FC236}">
                <a16:creationId xmlns:a16="http://schemas.microsoft.com/office/drawing/2014/main" id="{15D590B0-5AB5-43D1-AE8C-440593DB3D54}"/>
              </a:ext>
            </a:extLst>
          </p:cNvPr>
          <p:cNvSpPr txBox="1"/>
          <p:nvPr userDrawn="1"/>
        </p:nvSpPr>
        <p:spPr bwMode="gray">
          <a:xfrm>
            <a:off x="409575" y="6516000"/>
            <a:ext cx="11376000" cy="144000"/>
          </a:xfrm>
          <a:prstGeom prst="rect">
            <a:avLst/>
          </a:prstGeom>
          <a:noFill/>
        </p:spPr>
        <p:txBody>
          <a:bodyPr wrap="square" lIns="0" tIns="0" rIns="0" bIns="0" rtlCol="0" anchor="t">
            <a:noAutofit/>
          </a:bodyPr>
          <a:lstStyle/>
          <a:p>
            <a:pPr marL="0" marR="0" lvl="0" indent="0" algn="l" defTabSz="914400" eaLnBrk="1" fontAlgn="auto" latinLnBrk="0" hangingPunct="1">
              <a:lnSpc>
                <a:spcPct val="100000"/>
              </a:lnSpc>
              <a:spcBef>
                <a:spcPts val="600"/>
              </a:spcBef>
              <a:spcAft>
                <a:spcPts val="0"/>
              </a:spcAft>
              <a:buClr>
                <a:srgbClr val="003F74"/>
              </a:buClr>
              <a:buSzTx/>
              <a:buFontTx/>
              <a:buNone/>
              <a:tabLst/>
              <a:defRPr/>
            </a:pPr>
            <a:r>
              <a:rPr kumimoji="0" lang="de-DE" sz="1000" b="0" i="0" u="none" strike="noStrike" kern="0" cap="none" spc="0" normalizeH="0" baseline="0" noProof="0" dirty="0">
                <a:ln>
                  <a:noFill/>
                </a:ln>
                <a:solidFill>
                  <a:schemeClr val="tx2"/>
                </a:solidFill>
                <a:effectLst/>
                <a:uLnTx/>
                <a:uFillTx/>
              </a:rPr>
              <a:t>Union Investment  </a:t>
            </a:r>
            <a:r>
              <a:rPr kumimoji="0" lang="de-DE" sz="1000" b="0" i="0" u="none" strike="noStrike" kern="0" cap="none" spc="0" normalizeH="0" baseline="0" noProof="0" dirty="0">
                <a:ln>
                  <a:noFill/>
                </a:ln>
                <a:solidFill>
                  <a:srgbClr val="888888"/>
                </a:solidFill>
                <a:effectLst/>
                <a:uLnTx/>
                <a:uFillTx/>
              </a:rPr>
              <a:t>|  In Kooperation mit VOLKSBANK					Beachten Sie den rechtlichen Hinweis am Ende der Präsentation</a:t>
            </a:r>
          </a:p>
        </p:txBody>
      </p:sp>
    </p:spTree>
    <p:extLst>
      <p:ext uri="{BB962C8B-B14F-4D97-AF65-F5344CB8AC3E}">
        <p14:creationId xmlns:p14="http://schemas.microsoft.com/office/powerpoint/2010/main" val="2407626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Einspaltig mit Quelle">
    <p:spTree>
      <p:nvGrpSpPr>
        <p:cNvPr id="1" name=""/>
        <p:cNvGrpSpPr/>
        <p:nvPr/>
      </p:nvGrpSpPr>
      <p:grpSpPr>
        <a:xfrm>
          <a:off x="0" y="0"/>
          <a:ext cx="0" cy="0"/>
          <a:chOff x="0" y="0"/>
          <a:chExt cx="0" cy="0"/>
        </a:xfrm>
      </p:grpSpPr>
      <p:sp>
        <p:nvSpPr>
          <p:cNvPr id="11" name="Inhaltsplatzhalter 2"/>
          <p:cNvSpPr>
            <a:spLocks noGrp="1"/>
          </p:cNvSpPr>
          <p:nvPr>
            <p:ph sz="quarter" idx="14" hasCustomPrompt="1"/>
          </p:nvPr>
        </p:nvSpPr>
        <p:spPr bwMode="gray">
          <a:xfrm>
            <a:off x="409575" y="1412776"/>
            <a:ext cx="11376025" cy="4895852"/>
          </a:xfrm>
          <a:noFill/>
        </p:spPr>
        <p:txBody>
          <a:bodyPr/>
          <a:lstStyle/>
          <a:p>
            <a:pPr lvl="0"/>
            <a:r>
              <a:rPr lang="de-DE" dirty="0"/>
              <a:t>Text hinzufüg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7" name="Textplatzhalter 3"/>
          <p:cNvSpPr>
            <a:spLocks noGrp="1"/>
          </p:cNvSpPr>
          <p:nvPr>
            <p:ph type="body" sz="quarter" idx="23" hasCustomPrompt="1"/>
          </p:nvPr>
        </p:nvSpPr>
        <p:spPr bwMode="gray">
          <a:xfrm>
            <a:off x="409575" y="6001543"/>
            <a:ext cx="11376025"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dirty="0"/>
              <a:t>Quelle:</a:t>
            </a:r>
          </a:p>
        </p:txBody>
      </p:sp>
      <p:sp>
        <p:nvSpPr>
          <p:cNvPr id="5" name="Titel 4">
            <a:extLst>
              <a:ext uri="{FF2B5EF4-FFF2-40B4-BE49-F238E27FC236}">
                <a16:creationId xmlns:a16="http://schemas.microsoft.com/office/drawing/2014/main" id="{405D4415-C263-412A-998C-C17487DF1D0D}"/>
              </a:ext>
            </a:extLst>
          </p:cNvPr>
          <p:cNvSpPr>
            <a:spLocks noGrp="1"/>
          </p:cNvSpPr>
          <p:nvPr>
            <p:ph type="title" hasCustomPrompt="1"/>
          </p:nvPr>
        </p:nvSpPr>
        <p:spPr bwMode="gray"/>
        <p:txBody>
          <a:bodyPr/>
          <a:lstStyle/>
          <a:p>
            <a:r>
              <a:rPr lang="de-DE" dirty="0"/>
              <a:t>Titel durch Klicken bearbeiten</a:t>
            </a:r>
          </a:p>
        </p:txBody>
      </p:sp>
      <p:sp>
        <p:nvSpPr>
          <p:cNvPr id="2" name="Datumsplatzhalter 1">
            <a:extLst>
              <a:ext uri="{FF2B5EF4-FFF2-40B4-BE49-F238E27FC236}">
                <a16:creationId xmlns:a16="http://schemas.microsoft.com/office/drawing/2014/main" id="{CCE438C2-C56B-467E-8638-23A1B7F54228}"/>
              </a:ext>
            </a:extLst>
          </p:cNvPr>
          <p:cNvSpPr>
            <a:spLocks noGrp="1"/>
          </p:cNvSpPr>
          <p:nvPr>
            <p:ph type="dt" sz="half" idx="24"/>
          </p:nvPr>
        </p:nvSpPr>
        <p:spPr bwMode="gray">
          <a:xfrm>
            <a:off x="10709631" y="151200"/>
            <a:ext cx="748800" cy="180000"/>
          </a:xfrm>
          <a:prstGeom prst="rect">
            <a:avLst/>
          </a:prstGeom>
        </p:spPr>
        <p:txBody>
          <a:bodyPr/>
          <a:lstStyle/>
          <a:p>
            <a:r>
              <a:rPr lang="de-DE"/>
              <a:t>XX.XX.2020</a:t>
            </a:r>
            <a:endParaRPr lang="de-DE" sz="1600" kern="0" dirty="0"/>
          </a:p>
        </p:txBody>
      </p:sp>
      <p:sp>
        <p:nvSpPr>
          <p:cNvPr id="3" name="Fußzeilenplatzhalter 2">
            <a:extLst>
              <a:ext uri="{FF2B5EF4-FFF2-40B4-BE49-F238E27FC236}">
                <a16:creationId xmlns:a16="http://schemas.microsoft.com/office/drawing/2014/main" id="{733EB7E9-49EE-4B34-B6A9-3B63D299D3DA}"/>
              </a:ext>
            </a:extLst>
          </p:cNvPr>
          <p:cNvSpPr>
            <a:spLocks noGrp="1"/>
          </p:cNvSpPr>
          <p:nvPr>
            <p:ph type="ftr" sz="quarter" idx="25"/>
          </p:nvPr>
        </p:nvSpPr>
        <p:spPr bwMode="gray">
          <a:xfrm>
            <a:off x="6313488" y="151200"/>
            <a:ext cx="4393761" cy="180000"/>
          </a:xfrm>
          <a:prstGeom prst="rect">
            <a:avLst/>
          </a:prstGeom>
        </p:spPr>
        <p:txBody>
          <a:bodyPr/>
          <a:lstStyle/>
          <a:p>
            <a:r>
              <a:rPr lang="de-DE"/>
              <a:t>Kürzel  |  CX  |</a:t>
            </a:r>
            <a:endParaRPr lang="de-DE" dirty="0"/>
          </a:p>
        </p:txBody>
      </p:sp>
      <p:sp>
        <p:nvSpPr>
          <p:cNvPr id="8" name="Foliennummernplatzhalter 7">
            <a:extLst>
              <a:ext uri="{FF2B5EF4-FFF2-40B4-BE49-F238E27FC236}">
                <a16:creationId xmlns:a16="http://schemas.microsoft.com/office/drawing/2014/main" id="{ACCEEA2B-6678-48D3-BAA7-B6E6832EF7D2}"/>
              </a:ext>
            </a:extLst>
          </p:cNvPr>
          <p:cNvSpPr>
            <a:spLocks noGrp="1"/>
          </p:cNvSpPr>
          <p:nvPr>
            <p:ph type="sldNum" sz="quarter" idx="26"/>
          </p:nvPr>
        </p:nvSpPr>
        <p:spPr bwMode="gray">
          <a:xfrm>
            <a:off x="11504750" y="151200"/>
            <a:ext cx="280800" cy="180000"/>
          </a:xfrm>
          <a:prstGeom prst="rect">
            <a:avLst/>
          </a:prstGeom>
        </p:spPr>
        <p:txBody>
          <a:bodyPr/>
          <a:lstStyle/>
          <a:p>
            <a:fld id="{9C89B081-1F44-4440-BC7B-989C90F97B77}" type="slidenum">
              <a:rPr lang="de-DE" smtClean="0"/>
              <a:pPr/>
              <a:t>‹Nr.›</a:t>
            </a:fld>
            <a:endParaRPr lang="de-DE" dirty="0"/>
          </a:p>
        </p:txBody>
      </p:sp>
    </p:spTree>
    <p:extLst>
      <p:ext uri="{BB962C8B-B14F-4D97-AF65-F5344CB8AC3E}">
        <p14:creationId xmlns:p14="http://schemas.microsoft.com/office/powerpoint/2010/main" val="2225640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Einspaltig mit Untertitel und Quelle">
    <p:spTree>
      <p:nvGrpSpPr>
        <p:cNvPr id="1" name=""/>
        <p:cNvGrpSpPr/>
        <p:nvPr/>
      </p:nvGrpSpPr>
      <p:grpSpPr>
        <a:xfrm>
          <a:off x="0" y="0"/>
          <a:ext cx="0" cy="0"/>
          <a:chOff x="0" y="0"/>
          <a:chExt cx="0" cy="0"/>
        </a:xfrm>
      </p:grpSpPr>
      <p:sp>
        <p:nvSpPr>
          <p:cNvPr id="11" name="Inhaltsplatzhalter 2"/>
          <p:cNvSpPr>
            <a:spLocks noGrp="1"/>
          </p:cNvSpPr>
          <p:nvPr>
            <p:ph sz="quarter" idx="14" hasCustomPrompt="1"/>
          </p:nvPr>
        </p:nvSpPr>
        <p:spPr bwMode="gray">
          <a:xfrm>
            <a:off x="409575" y="2060848"/>
            <a:ext cx="11375975" cy="4248745"/>
          </a:xfrm>
          <a:noFill/>
        </p:spPr>
        <p:txBody>
          <a:bodyPr/>
          <a:lstStyle/>
          <a:p>
            <a:pPr lvl="0"/>
            <a:r>
              <a:rPr lang="de-DE" dirty="0"/>
              <a:t>Text hinzufüg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3" name="Textplatzhalter 11"/>
          <p:cNvSpPr>
            <a:spLocks noGrp="1"/>
          </p:cNvSpPr>
          <p:nvPr>
            <p:ph type="body" sz="quarter" idx="19" hasCustomPrompt="1"/>
          </p:nvPr>
        </p:nvSpPr>
        <p:spPr bwMode="gray">
          <a:xfrm>
            <a:off x="409575" y="1412776"/>
            <a:ext cx="11375975" cy="276999"/>
          </a:xfrm>
          <a:prstGeom prst="rect">
            <a:avLst/>
          </a:prstGeom>
        </p:spPr>
        <p:txBody>
          <a:bodyPr vert="horz" lIns="0" tIns="0" rIns="0" bIns="0" rtlCol="0">
            <a:noAutofit/>
          </a:bodyPr>
          <a:lstStyle>
            <a:lvl1pPr marL="0" indent="0">
              <a:lnSpc>
                <a:spcPct val="100000"/>
              </a:lnSpc>
              <a:spcBef>
                <a:spcPts val="0"/>
              </a:spcBef>
              <a:buNone/>
              <a:defRPr lang="de-DE" dirty="0">
                <a:solidFill>
                  <a:schemeClr val="accent2"/>
                </a:solidFill>
              </a:defRPr>
            </a:lvl1pPr>
          </a:lstStyle>
          <a:p>
            <a:pPr marL="0" lvl="0" indent="0">
              <a:lnSpc>
                <a:spcPct val="100000"/>
              </a:lnSpc>
              <a:spcBef>
                <a:spcPts val="0"/>
              </a:spcBef>
              <a:buNone/>
            </a:pPr>
            <a:r>
              <a:rPr lang="de-DE" dirty="0"/>
              <a:t>Untertitel 1</a:t>
            </a:r>
          </a:p>
        </p:txBody>
      </p:sp>
      <p:sp>
        <p:nvSpPr>
          <p:cNvPr id="14" name="Textplatzhalter 3"/>
          <p:cNvSpPr>
            <a:spLocks noGrp="1"/>
          </p:cNvSpPr>
          <p:nvPr>
            <p:ph type="body" sz="quarter" idx="21" hasCustomPrompt="1"/>
          </p:nvPr>
        </p:nvSpPr>
        <p:spPr bwMode="gray">
          <a:xfrm>
            <a:off x="409575" y="1700708"/>
            <a:ext cx="11375975" cy="215444"/>
          </a:xfrm>
          <a:prstGeom prst="rect">
            <a:avLst/>
          </a:prstGeom>
        </p:spPr>
        <p:txBody>
          <a:bodyPr vert="horz" lIns="0" tIns="0" rIns="0" bIns="0" rtlCol="0">
            <a:noAutofit/>
          </a:bodyPr>
          <a:lstStyle>
            <a:lvl1pPr>
              <a:spcBef>
                <a:spcPts val="0"/>
              </a:spcBef>
              <a:defRPr lang="de-DE" sz="1400" b="0" dirty="0"/>
            </a:lvl1pPr>
          </a:lstStyle>
          <a:p>
            <a:r>
              <a:rPr lang="de-DE" sz="1400" b="0" dirty="0"/>
              <a:t>Untertitel 2</a:t>
            </a:r>
            <a:endParaRPr lang="de-DE" b="0" dirty="0"/>
          </a:p>
        </p:txBody>
      </p:sp>
      <p:sp>
        <p:nvSpPr>
          <p:cNvPr id="7" name="Textplatzhalter 3"/>
          <p:cNvSpPr>
            <a:spLocks noGrp="1"/>
          </p:cNvSpPr>
          <p:nvPr>
            <p:ph type="body" sz="quarter" idx="23" hasCustomPrompt="1"/>
          </p:nvPr>
        </p:nvSpPr>
        <p:spPr bwMode="gray">
          <a:xfrm>
            <a:off x="409575" y="6001543"/>
            <a:ext cx="11375975"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dirty="0"/>
              <a:t>Quelle:</a:t>
            </a:r>
          </a:p>
        </p:txBody>
      </p:sp>
      <p:sp>
        <p:nvSpPr>
          <p:cNvPr id="4" name="Titel 3">
            <a:extLst>
              <a:ext uri="{FF2B5EF4-FFF2-40B4-BE49-F238E27FC236}">
                <a16:creationId xmlns:a16="http://schemas.microsoft.com/office/drawing/2014/main" id="{A4E7D873-772C-4013-B401-AF4DA0BD5173}"/>
              </a:ext>
            </a:extLst>
          </p:cNvPr>
          <p:cNvSpPr>
            <a:spLocks noGrp="1"/>
          </p:cNvSpPr>
          <p:nvPr>
            <p:ph type="title" hasCustomPrompt="1"/>
          </p:nvPr>
        </p:nvSpPr>
        <p:spPr bwMode="gray"/>
        <p:txBody>
          <a:bodyPr/>
          <a:lstStyle>
            <a:lvl1pPr>
              <a:defRPr/>
            </a:lvl1pPr>
          </a:lstStyle>
          <a:p>
            <a:r>
              <a:rPr lang="de-DE" dirty="0"/>
              <a:t>Titel durch Klicken bearbeiten</a:t>
            </a:r>
          </a:p>
        </p:txBody>
      </p:sp>
      <p:sp>
        <p:nvSpPr>
          <p:cNvPr id="2" name="Datumsplatzhalter 1">
            <a:extLst>
              <a:ext uri="{FF2B5EF4-FFF2-40B4-BE49-F238E27FC236}">
                <a16:creationId xmlns:a16="http://schemas.microsoft.com/office/drawing/2014/main" id="{E5B84E82-D5E4-43FA-9771-2F8E94792037}"/>
              </a:ext>
            </a:extLst>
          </p:cNvPr>
          <p:cNvSpPr>
            <a:spLocks noGrp="1"/>
          </p:cNvSpPr>
          <p:nvPr>
            <p:ph type="dt" sz="half" idx="24"/>
          </p:nvPr>
        </p:nvSpPr>
        <p:spPr bwMode="gray">
          <a:xfrm>
            <a:off x="10709631" y="151200"/>
            <a:ext cx="748800" cy="180000"/>
          </a:xfrm>
          <a:prstGeom prst="rect">
            <a:avLst/>
          </a:prstGeom>
        </p:spPr>
        <p:txBody>
          <a:bodyPr/>
          <a:lstStyle/>
          <a:p>
            <a:r>
              <a:rPr lang="de-DE"/>
              <a:t>XX.XX.2020</a:t>
            </a:r>
            <a:endParaRPr lang="de-DE" sz="1600" kern="0" dirty="0"/>
          </a:p>
        </p:txBody>
      </p:sp>
      <p:sp>
        <p:nvSpPr>
          <p:cNvPr id="3" name="Fußzeilenplatzhalter 2">
            <a:extLst>
              <a:ext uri="{FF2B5EF4-FFF2-40B4-BE49-F238E27FC236}">
                <a16:creationId xmlns:a16="http://schemas.microsoft.com/office/drawing/2014/main" id="{78D1C485-5C84-4892-BB20-6FB861EC83ED}"/>
              </a:ext>
            </a:extLst>
          </p:cNvPr>
          <p:cNvSpPr>
            <a:spLocks noGrp="1"/>
          </p:cNvSpPr>
          <p:nvPr>
            <p:ph type="ftr" sz="quarter" idx="25"/>
          </p:nvPr>
        </p:nvSpPr>
        <p:spPr bwMode="gray">
          <a:xfrm>
            <a:off x="6313488" y="151200"/>
            <a:ext cx="4393761" cy="180000"/>
          </a:xfrm>
          <a:prstGeom prst="rect">
            <a:avLst/>
          </a:prstGeom>
        </p:spPr>
        <p:txBody>
          <a:bodyPr/>
          <a:lstStyle/>
          <a:p>
            <a:r>
              <a:rPr lang="de-DE"/>
              <a:t>Kürzel  |  CX  |</a:t>
            </a:r>
            <a:endParaRPr lang="de-DE" dirty="0"/>
          </a:p>
        </p:txBody>
      </p:sp>
      <p:sp>
        <p:nvSpPr>
          <p:cNvPr id="8" name="Foliennummernplatzhalter 7">
            <a:extLst>
              <a:ext uri="{FF2B5EF4-FFF2-40B4-BE49-F238E27FC236}">
                <a16:creationId xmlns:a16="http://schemas.microsoft.com/office/drawing/2014/main" id="{247D4368-4934-4508-81B8-7FFD4AA8496D}"/>
              </a:ext>
            </a:extLst>
          </p:cNvPr>
          <p:cNvSpPr>
            <a:spLocks noGrp="1"/>
          </p:cNvSpPr>
          <p:nvPr>
            <p:ph type="sldNum" sz="quarter" idx="26"/>
          </p:nvPr>
        </p:nvSpPr>
        <p:spPr bwMode="gray">
          <a:xfrm>
            <a:off x="11504750" y="151200"/>
            <a:ext cx="280800" cy="180000"/>
          </a:xfrm>
          <a:prstGeom prst="rect">
            <a:avLst/>
          </a:prstGeom>
        </p:spPr>
        <p:txBody>
          <a:bodyPr/>
          <a:lstStyle/>
          <a:p>
            <a:fld id="{9C89B081-1F44-4440-BC7B-989C90F97B77}" type="slidenum">
              <a:rPr lang="de-DE" smtClean="0"/>
              <a:pPr/>
              <a:t>‹Nr.›</a:t>
            </a:fld>
            <a:endParaRPr lang="de-DE" dirty="0"/>
          </a:p>
        </p:txBody>
      </p:sp>
    </p:spTree>
    <p:extLst>
      <p:ext uri="{BB962C8B-B14F-4D97-AF65-F5344CB8AC3E}">
        <p14:creationId xmlns:p14="http://schemas.microsoft.com/office/powerpoint/2010/main" val="2027148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p15="http://schemas.microsoft.com/office/powerpoint/2012/main" xmlns:a16="http://schemas.microsoft.com/office/drawing/2014/main">
      <p:transition spd="med">
        <p:fade/>
      </p:transition>
    </mc:Fallback>
  </mc:AlternateContent>
  <p:extLst>
    <p:ext uri="{DCECCB84-F9BA-43D5-87BE-67443E8EF086}">
      <p15:sldGuideLst xmlns:p15="http://schemas.microsoft.com/office/powerpoint/2012/main">
        <p15:guide id="1" orient="horz" pos="1298">
          <p15:clr>
            <a:srgbClr val="C35E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Zweispaltig mit Quelle">
    <p:spTree>
      <p:nvGrpSpPr>
        <p:cNvPr id="1" name=""/>
        <p:cNvGrpSpPr/>
        <p:nvPr/>
      </p:nvGrpSpPr>
      <p:grpSpPr>
        <a:xfrm>
          <a:off x="0" y="0"/>
          <a:ext cx="0" cy="0"/>
          <a:chOff x="0" y="0"/>
          <a:chExt cx="0" cy="0"/>
        </a:xfrm>
      </p:grpSpPr>
      <p:sp>
        <p:nvSpPr>
          <p:cNvPr id="16" name="Inhaltsplatzhalter 2"/>
          <p:cNvSpPr>
            <a:spLocks noGrp="1"/>
          </p:cNvSpPr>
          <p:nvPr>
            <p:ph sz="quarter" idx="24" hasCustomPrompt="1"/>
          </p:nvPr>
        </p:nvSpPr>
        <p:spPr bwMode="gray">
          <a:xfrm>
            <a:off x="409575" y="1412776"/>
            <a:ext cx="5471380" cy="4896445"/>
          </a:xfrm>
          <a:noFill/>
        </p:spPr>
        <p:txBody>
          <a:bodyPr/>
          <a:lstStyle/>
          <a:p>
            <a:pPr lvl="0"/>
            <a:r>
              <a:rPr lang="de-DE" dirty="0"/>
              <a:t>Text hinzufüg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8" name="Inhaltsplatzhalter 2"/>
          <p:cNvSpPr>
            <a:spLocks noGrp="1"/>
          </p:cNvSpPr>
          <p:nvPr>
            <p:ph sz="quarter" idx="26" hasCustomPrompt="1"/>
          </p:nvPr>
        </p:nvSpPr>
        <p:spPr bwMode="gray">
          <a:xfrm>
            <a:off x="6313611" y="1412776"/>
            <a:ext cx="5471344" cy="4896445"/>
          </a:xfrm>
          <a:noFill/>
        </p:spPr>
        <p:txBody>
          <a:bodyPr/>
          <a:lstStyle/>
          <a:p>
            <a:pPr lvl="0"/>
            <a:r>
              <a:rPr lang="de-DE" dirty="0"/>
              <a:t>Text hinzufüg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5" name="Textplatzhalter 3"/>
          <p:cNvSpPr>
            <a:spLocks noGrp="1"/>
          </p:cNvSpPr>
          <p:nvPr>
            <p:ph type="body" sz="quarter" idx="23" hasCustomPrompt="1"/>
          </p:nvPr>
        </p:nvSpPr>
        <p:spPr bwMode="gray">
          <a:xfrm>
            <a:off x="409575" y="6001543"/>
            <a:ext cx="11375380"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dirty="0"/>
              <a:t>Quelle:</a:t>
            </a:r>
          </a:p>
        </p:txBody>
      </p:sp>
      <p:sp>
        <p:nvSpPr>
          <p:cNvPr id="4" name="Titel 3">
            <a:extLst>
              <a:ext uri="{FF2B5EF4-FFF2-40B4-BE49-F238E27FC236}">
                <a16:creationId xmlns:a16="http://schemas.microsoft.com/office/drawing/2014/main" id="{0EE3A4A6-59E1-4B7B-B514-3F752F280AB3}"/>
              </a:ext>
            </a:extLst>
          </p:cNvPr>
          <p:cNvSpPr>
            <a:spLocks noGrp="1"/>
          </p:cNvSpPr>
          <p:nvPr>
            <p:ph type="title" hasCustomPrompt="1"/>
          </p:nvPr>
        </p:nvSpPr>
        <p:spPr bwMode="gray"/>
        <p:txBody>
          <a:bodyPr/>
          <a:lstStyle>
            <a:lvl1pPr>
              <a:defRPr/>
            </a:lvl1pPr>
          </a:lstStyle>
          <a:p>
            <a:r>
              <a:rPr lang="de-DE" dirty="0"/>
              <a:t>Titel durch Klicken bearbeiten</a:t>
            </a:r>
          </a:p>
        </p:txBody>
      </p:sp>
      <p:sp>
        <p:nvSpPr>
          <p:cNvPr id="2" name="Datumsplatzhalter 1">
            <a:extLst>
              <a:ext uri="{FF2B5EF4-FFF2-40B4-BE49-F238E27FC236}">
                <a16:creationId xmlns:a16="http://schemas.microsoft.com/office/drawing/2014/main" id="{8386EEF1-AC41-4778-BBD7-116FAEF6D28C}"/>
              </a:ext>
            </a:extLst>
          </p:cNvPr>
          <p:cNvSpPr>
            <a:spLocks noGrp="1"/>
          </p:cNvSpPr>
          <p:nvPr>
            <p:ph type="dt" sz="half" idx="27"/>
          </p:nvPr>
        </p:nvSpPr>
        <p:spPr bwMode="gray">
          <a:xfrm>
            <a:off x="10709631" y="151200"/>
            <a:ext cx="748800" cy="180000"/>
          </a:xfrm>
          <a:prstGeom prst="rect">
            <a:avLst/>
          </a:prstGeom>
        </p:spPr>
        <p:txBody>
          <a:bodyPr/>
          <a:lstStyle/>
          <a:p>
            <a:r>
              <a:rPr lang="de-DE"/>
              <a:t>XX.XX.2020</a:t>
            </a:r>
            <a:endParaRPr lang="de-DE" sz="1600" kern="0" dirty="0"/>
          </a:p>
        </p:txBody>
      </p:sp>
      <p:sp>
        <p:nvSpPr>
          <p:cNvPr id="3" name="Fußzeilenplatzhalter 2">
            <a:extLst>
              <a:ext uri="{FF2B5EF4-FFF2-40B4-BE49-F238E27FC236}">
                <a16:creationId xmlns:a16="http://schemas.microsoft.com/office/drawing/2014/main" id="{6E61E87C-49DB-4099-8EEC-CCD9F0C4915F}"/>
              </a:ext>
            </a:extLst>
          </p:cNvPr>
          <p:cNvSpPr>
            <a:spLocks noGrp="1"/>
          </p:cNvSpPr>
          <p:nvPr>
            <p:ph type="ftr" sz="quarter" idx="28"/>
          </p:nvPr>
        </p:nvSpPr>
        <p:spPr bwMode="gray">
          <a:xfrm>
            <a:off x="6313488" y="151200"/>
            <a:ext cx="4393761" cy="180000"/>
          </a:xfrm>
          <a:prstGeom prst="rect">
            <a:avLst/>
          </a:prstGeom>
        </p:spPr>
        <p:txBody>
          <a:bodyPr/>
          <a:lstStyle/>
          <a:p>
            <a:r>
              <a:rPr lang="de-DE"/>
              <a:t>Kürzel  |  CX  |</a:t>
            </a:r>
            <a:endParaRPr lang="de-DE" dirty="0"/>
          </a:p>
        </p:txBody>
      </p:sp>
      <p:sp>
        <p:nvSpPr>
          <p:cNvPr id="7" name="Foliennummernplatzhalter 6">
            <a:extLst>
              <a:ext uri="{FF2B5EF4-FFF2-40B4-BE49-F238E27FC236}">
                <a16:creationId xmlns:a16="http://schemas.microsoft.com/office/drawing/2014/main" id="{17E7BD72-3FB4-4983-8305-EFB8CE80CD76}"/>
              </a:ext>
            </a:extLst>
          </p:cNvPr>
          <p:cNvSpPr>
            <a:spLocks noGrp="1"/>
          </p:cNvSpPr>
          <p:nvPr>
            <p:ph type="sldNum" sz="quarter" idx="29"/>
          </p:nvPr>
        </p:nvSpPr>
        <p:spPr bwMode="gray">
          <a:xfrm>
            <a:off x="11504750" y="151200"/>
            <a:ext cx="280800" cy="180000"/>
          </a:xfrm>
          <a:prstGeom prst="rect">
            <a:avLst/>
          </a:prstGeom>
        </p:spPr>
        <p:txBody>
          <a:bodyPr/>
          <a:lstStyle/>
          <a:p>
            <a:fld id="{9C89B081-1F44-4440-BC7B-989C90F97B77}" type="slidenum">
              <a:rPr lang="de-DE" smtClean="0"/>
              <a:pPr/>
              <a:t>‹Nr.›</a:t>
            </a:fld>
            <a:endParaRPr lang="de-DE" dirty="0"/>
          </a:p>
        </p:txBody>
      </p:sp>
    </p:spTree>
    <p:extLst>
      <p:ext uri="{BB962C8B-B14F-4D97-AF65-F5344CB8AC3E}">
        <p14:creationId xmlns:p14="http://schemas.microsoft.com/office/powerpoint/2010/main" val="3893851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p15="http://schemas.microsoft.com/office/powerpoint/2012/main" xmlns:a16="http://schemas.microsoft.com/office/drawing/2014/main">
      <p:transition spd="med">
        <p:fade/>
      </p:transition>
    </mc:Fallback>
  </mc:AlternateContent>
  <p:extLst>
    <p:ext uri="{DCECCB84-F9BA-43D5-87BE-67443E8EF086}">
      <p15:sldGuideLst xmlns:p15="http://schemas.microsoft.com/office/powerpoint/2012/main">
        <p15:guide id="2" pos="257">
          <p15:clr>
            <a:srgbClr val="F26B43"/>
          </p15:clr>
        </p15:guide>
        <p15:guide id="3" orient="horz" pos="255">
          <p15:clr>
            <a:srgbClr val="F26B43"/>
          </p15:clr>
        </p15:guide>
        <p15:guide id="6" orient="horz" pos="890">
          <p15:clr>
            <a:srgbClr val="F26B43"/>
          </p15:clr>
        </p15:guide>
        <p15:guide id="9" pos="3977">
          <p15:clr>
            <a:srgbClr val="F26B43"/>
          </p15:clr>
        </p15:guide>
        <p15:guide id="10" pos="3705">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Zweispaltig mit Untertitel und Quelle">
    <p:spTree>
      <p:nvGrpSpPr>
        <p:cNvPr id="1" name=""/>
        <p:cNvGrpSpPr/>
        <p:nvPr/>
      </p:nvGrpSpPr>
      <p:grpSpPr>
        <a:xfrm>
          <a:off x="0" y="0"/>
          <a:ext cx="0" cy="0"/>
          <a:chOff x="0" y="0"/>
          <a:chExt cx="0" cy="0"/>
        </a:xfrm>
      </p:grpSpPr>
      <p:sp>
        <p:nvSpPr>
          <p:cNvPr id="16" name="Inhaltsplatzhalter 2"/>
          <p:cNvSpPr>
            <a:spLocks noGrp="1"/>
          </p:cNvSpPr>
          <p:nvPr>
            <p:ph sz="quarter" idx="24" hasCustomPrompt="1"/>
          </p:nvPr>
        </p:nvSpPr>
        <p:spPr bwMode="gray">
          <a:xfrm>
            <a:off x="409575" y="2060848"/>
            <a:ext cx="5471380" cy="4248745"/>
          </a:xfrm>
          <a:noFill/>
        </p:spPr>
        <p:txBody>
          <a:bodyPr/>
          <a:lstStyle/>
          <a:p>
            <a:pPr lvl="0"/>
            <a:r>
              <a:rPr lang="de-DE" dirty="0"/>
              <a:t>Text hinzufüg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8" name="Inhaltsplatzhalter 2"/>
          <p:cNvSpPr>
            <a:spLocks noGrp="1"/>
          </p:cNvSpPr>
          <p:nvPr>
            <p:ph sz="quarter" idx="26" hasCustomPrompt="1"/>
          </p:nvPr>
        </p:nvSpPr>
        <p:spPr bwMode="gray">
          <a:xfrm>
            <a:off x="6313611" y="2060848"/>
            <a:ext cx="5472000" cy="4248745"/>
          </a:xfrm>
          <a:noFill/>
        </p:spPr>
        <p:txBody>
          <a:bodyPr/>
          <a:lstStyle/>
          <a:p>
            <a:pPr lvl="0"/>
            <a:r>
              <a:rPr lang="de-DE" dirty="0"/>
              <a:t>Text hinzufüg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0" name="Textplatzhalter 11"/>
          <p:cNvSpPr>
            <a:spLocks noGrp="1"/>
          </p:cNvSpPr>
          <p:nvPr>
            <p:ph type="body" sz="quarter" idx="19" hasCustomPrompt="1"/>
          </p:nvPr>
        </p:nvSpPr>
        <p:spPr bwMode="gray">
          <a:xfrm>
            <a:off x="409575" y="1412776"/>
            <a:ext cx="5471380" cy="276999"/>
          </a:xfrm>
          <a:prstGeom prst="rect">
            <a:avLst/>
          </a:prstGeom>
        </p:spPr>
        <p:txBody>
          <a:bodyPr vert="horz" lIns="0" tIns="0" rIns="0" bIns="0" rtlCol="0">
            <a:noAutofit/>
          </a:bodyPr>
          <a:lstStyle>
            <a:lvl1pPr marL="0" indent="0">
              <a:lnSpc>
                <a:spcPct val="100000"/>
              </a:lnSpc>
              <a:spcBef>
                <a:spcPts val="0"/>
              </a:spcBef>
              <a:buNone/>
              <a:defRPr lang="de-DE" dirty="0">
                <a:solidFill>
                  <a:schemeClr val="accent2"/>
                </a:solidFill>
              </a:defRPr>
            </a:lvl1pPr>
          </a:lstStyle>
          <a:p>
            <a:pPr marL="0" lvl="0" indent="0">
              <a:lnSpc>
                <a:spcPct val="100000"/>
              </a:lnSpc>
              <a:spcBef>
                <a:spcPts val="0"/>
              </a:spcBef>
              <a:buNone/>
            </a:pPr>
            <a:r>
              <a:rPr lang="de-DE" dirty="0"/>
              <a:t>Untertitel 1</a:t>
            </a:r>
          </a:p>
        </p:txBody>
      </p:sp>
      <p:sp>
        <p:nvSpPr>
          <p:cNvPr id="11" name="Textplatzhalter 3"/>
          <p:cNvSpPr>
            <a:spLocks noGrp="1"/>
          </p:cNvSpPr>
          <p:nvPr>
            <p:ph type="body" sz="quarter" idx="21" hasCustomPrompt="1"/>
          </p:nvPr>
        </p:nvSpPr>
        <p:spPr bwMode="gray">
          <a:xfrm>
            <a:off x="409575" y="1700708"/>
            <a:ext cx="5471380" cy="215444"/>
          </a:xfrm>
          <a:prstGeom prst="rect">
            <a:avLst/>
          </a:prstGeom>
        </p:spPr>
        <p:txBody>
          <a:bodyPr vert="horz" lIns="0" tIns="0" rIns="0" bIns="0" rtlCol="0">
            <a:noAutofit/>
          </a:bodyPr>
          <a:lstStyle>
            <a:lvl1pPr>
              <a:spcBef>
                <a:spcPts val="0"/>
              </a:spcBef>
              <a:defRPr lang="de-DE" sz="1400" b="0" dirty="0"/>
            </a:lvl1pPr>
          </a:lstStyle>
          <a:p>
            <a:r>
              <a:rPr lang="de-DE" sz="1400" b="0" dirty="0"/>
              <a:t>Untertitel 2</a:t>
            </a:r>
            <a:endParaRPr lang="de-DE" b="0" dirty="0"/>
          </a:p>
        </p:txBody>
      </p:sp>
      <p:sp>
        <p:nvSpPr>
          <p:cNvPr id="13" name="Textplatzhalter 11"/>
          <p:cNvSpPr>
            <a:spLocks noGrp="1"/>
          </p:cNvSpPr>
          <p:nvPr>
            <p:ph type="body" sz="quarter" idx="27" hasCustomPrompt="1"/>
          </p:nvPr>
        </p:nvSpPr>
        <p:spPr bwMode="gray">
          <a:xfrm>
            <a:off x="6313611" y="1412776"/>
            <a:ext cx="5472000" cy="276999"/>
          </a:xfrm>
          <a:prstGeom prst="rect">
            <a:avLst/>
          </a:prstGeom>
        </p:spPr>
        <p:txBody>
          <a:bodyPr vert="horz" lIns="0" tIns="0" rIns="0" bIns="0" rtlCol="0">
            <a:noAutofit/>
          </a:bodyPr>
          <a:lstStyle>
            <a:lvl1pPr marL="0" indent="0">
              <a:lnSpc>
                <a:spcPct val="100000"/>
              </a:lnSpc>
              <a:spcBef>
                <a:spcPts val="0"/>
              </a:spcBef>
              <a:buNone/>
              <a:defRPr lang="de-DE" dirty="0">
                <a:solidFill>
                  <a:schemeClr val="accent2"/>
                </a:solidFill>
              </a:defRPr>
            </a:lvl1pPr>
          </a:lstStyle>
          <a:p>
            <a:pPr marL="0" lvl="0" indent="0">
              <a:lnSpc>
                <a:spcPct val="100000"/>
              </a:lnSpc>
              <a:spcBef>
                <a:spcPts val="0"/>
              </a:spcBef>
              <a:buNone/>
            </a:pPr>
            <a:r>
              <a:rPr lang="de-DE" dirty="0"/>
              <a:t>Untertitel 1</a:t>
            </a:r>
          </a:p>
        </p:txBody>
      </p:sp>
      <p:sp>
        <p:nvSpPr>
          <p:cNvPr id="14" name="Textplatzhalter 3"/>
          <p:cNvSpPr>
            <a:spLocks noGrp="1"/>
          </p:cNvSpPr>
          <p:nvPr>
            <p:ph type="body" sz="quarter" idx="28" hasCustomPrompt="1"/>
          </p:nvPr>
        </p:nvSpPr>
        <p:spPr bwMode="gray">
          <a:xfrm>
            <a:off x="6313611" y="1700708"/>
            <a:ext cx="5472000" cy="215444"/>
          </a:xfrm>
          <a:prstGeom prst="rect">
            <a:avLst/>
          </a:prstGeom>
        </p:spPr>
        <p:txBody>
          <a:bodyPr vert="horz" lIns="0" tIns="0" rIns="0" bIns="0" rtlCol="0">
            <a:noAutofit/>
          </a:bodyPr>
          <a:lstStyle>
            <a:lvl1pPr>
              <a:spcBef>
                <a:spcPts val="0"/>
              </a:spcBef>
              <a:defRPr lang="de-DE" sz="1400" b="0" dirty="0"/>
            </a:lvl1pPr>
          </a:lstStyle>
          <a:p>
            <a:r>
              <a:rPr lang="de-DE" sz="1400" b="0" dirty="0"/>
              <a:t>Untertitel 2</a:t>
            </a:r>
            <a:endParaRPr lang="de-DE" b="0" dirty="0"/>
          </a:p>
        </p:txBody>
      </p:sp>
      <p:sp>
        <p:nvSpPr>
          <p:cNvPr id="15" name="Textplatzhalter 3"/>
          <p:cNvSpPr>
            <a:spLocks noGrp="1"/>
          </p:cNvSpPr>
          <p:nvPr>
            <p:ph type="body" sz="quarter" idx="23" hasCustomPrompt="1"/>
          </p:nvPr>
        </p:nvSpPr>
        <p:spPr bwMode="gray">
          <a:xfrm>
            <a:off x="409575" y="6001543"/>
            <a:ext cx="11374438"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dirty="0"/>
              <a:t>Quelle:</a:t>
            </a:r>
          </a:p>
        </p:txBody>
      </p:sp>
      <p:sp>
        <p:nvSpPr>
          <p:cNvPr id="4" name="Titel 3">
            <a:extLst>
              <a:ext uri="{FF2B5EF4-FFF2-40B4-BE49-F238E27FC236}">
                <a16:creationId xmlns:a16="http://schemas.microsoft.com/office/drawing/2014/main" id="{BC8ED0AC-12B9-494D-AF0D-9DA5C00CE04A}"/>
              </a:ext>
            </a:extLst>
          </p:cNvPr>
          <p:cNvSpPr>
            <a:spLocks noGrp="1"/>
          </p:cNvSpPr>
          <p:nvPr>
            <p:ph type="title" hasCustomPrompt="1"/>
          </p:nvPr>
        </p:nvSpPr>
        <p:spPr bwMode="gray"/>
        <p:txBody>
          <a:bodyPr/>
          <a:lstStyle>
            <a:lvl1pPr>
              <a:defRPr/>
            </a:lvl1pPr>
          </a:lstStyle>
          <a:p>
            <a:r>
              <a:rPr lang="de-DE" dirty="0"/>
              <a:t>Titel durch Klicken bearbeiten</a:t>
            </a:r>
          </a:p>
        </p:txBody>
      </p:sp>
    </p:spTree>
    <p:extLst>
      <p:ext uri="{BB962C8B-B14F-4D97-AF65-F5344CB8AC3E}">
        <p14:creationId xmlns:p14="http://schemas.microsoft.com/office/powerpoint/2010/main" val="2693081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p15="http://schemas.microsoft.com/office/powerpoint/2012/main" xmlns:a16="http://schemas.microsoft.com/office/drawing/2014/main">
      <p:transition spd="med">
        <p:fade/>
      </p:transition>
    </mc:Fallback>
  </mc:AlternateContent>
  <p:extLst>
    <p:ext uri="{DCECCB84-F9BA-43D5-87BE-67443E8EF086}">
      <p15:sldGuideLst xmlns:p15="http://schemas.microsoft.com/office/powerpoint/2012/main">
        <p15:guide id="2" pos="257">
          <p15:clr>
            <a:srgbClr val="F26B43"/>
          </p15:clr>
        </p15:guide>
        <p15:guide id="3" orient="horz" pos="255">
          <p15:clr>
            <a:srgbClr val="F26B43"/>
          </p15:clr>
        </p15:guide>
        <p15:guide id="6" orient="horz" pos="890">
          <p15:clr>
            <a:srgbClr val="F26B43"/>
          </p15:clr>
        </p15:guide>
        <p15:guide id="9" pos="3977">
          <p15:clr>
            <a:srgbClr val="F26B43"/>
          </p15:clr>
        </p15:guide>
        <p15:guide id="10" pos="3705">
          <p15:clr>
            <a:srgbClr val="F26B43"/>
          </p15:clr>
        </p15:guide>
        <p15:guide id="11" orient="horz" pos="1298">
          <p15:clr>
            <a:srgbClr val="C35E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reispaltig mit Quelle">
    <p:spTree>
      <p:nvGrpSpPr>
        <p:cNvPr id="1" name=""/>
        <p:cNvGrpSpPr/>
        <p:nvPr/>
      </p:nvGrpSpPr>
      <p:grpSpPr>
        <a:xfrm>
          <a:off x="0" y="0"/>
          <a:ext cx="0" cy="0"/>
          <a:chOff x="0" y="0"/>
          <a:chExt cx="0" cy="0"/>
        </a:xfrm>
      </p:grpSpPr>
      <p:sp>
        <p:nvSpPr>
          <p:cNvPr id="14" name="Inhaltsplatzhalter 2"/>
          <p:cNvSpPr>
            <a:spLocks noGrp="1"/>
          </p:cNvSpPr>
          <p:nvPr>
            <p:ph sz="quarter" idx="26" hasCustomPrompt="1"/>
          </p:nvPr>
        </p:nvSpPr>
        <p:spPr bwMode="gray">
          <a:xfrm>
            <a:off x="409575" y="1412776"/>
            <a:ext cx="3527379" cy="4895851"/>
          </a:xfrm>
          <a:noFill/>
        </p:spPr>
        <p:txBody>
          <a:bodyPr/>
          <a:lstStyle/>
          <a:p>
            <a:pPr lvl="0"/>
            <a:r>
              <a:rPr lang="de-DE" dirty="0"/>
              <a:t>Text hinzufüg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5" name="Inhaltsplatzhalter 2"/>
          <p:cNvSpPr>
            <a:spLocks noGrp="1"/>
          </p:cNvSpPr>
          <p:nvPr>
            <p:ph sz="quarter" idx="27" hasCustomPrompt="1"/>
          </p:nvPr>
        </p:nvSpPr>
        <p:spPr bwMode="gray">
          <a:xfrm>
            <a:off x="8258175" y="1412776"/>
            <a:ext cx="3527375" cy="4895851"/>
          </a:xfrm>
          <a:noFill/>
        </p:spPr>
        <p:txBody>
          <a:bodyPr/>
          <a:lstStyle/>
          <a:p>
            <a:pPr lvl="0"/>
            <a:r>
              <a:rPr lang="de-DE" dirty="0"/>
              <a:t>Text hinzufüg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8" name="Inhaltsplatzhalter 2"/>
          <p:cNvSpPr>
            <a:spLocks noGrp="1"/>
          </p:cNvSpPr>
          <p:nvPr>
            <p:ph sz="quarter" idx="28" hasCustomPrompt="1"/>
          </p:nvPr>
        </p:nvSpPr>
        <p:spPr bwMode="gray">
          <a:xfrm>
            <a:off x="4333875" y="1412776"/>
            <a:ext cx="3527379" cy="4895851"/>
          </a:xfrm>
          <a:noFill/>
        </p:spPr>
        <p:txBody>
          <a:bodyPr/>
          <a:lstStyle/>
          <a:p>
            <a:pPr lvl="0"/>
            <a:r>
              <a:rPr lang="de-DE" dirty="0"/>
              <a:t>Text hinzufüg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1" name="Textplatzhalter 3"/>
          <p:cNvSpPr>
            <a:spLocks noGrp="1"/>
          </p:cNvSpPr>
          <p:nvPr>
            <p:ph type="body" sz="quarter" idx="25" hasCustomPrompt="1"/>
          </p:nvPr>
        </p:nvSpPr>
        <p:spPr bwMode="gray">
          <a:xfrm>
            <a:off x="409575" y="6001543"/>
            <a:ext cx="11375354"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dirty="0"/>
              <a:t>Quelle:</a:t>
            </a:r>
          </a:p>
        </p:txBody>
      </p:sp>
      <p:sp>
        <p:nvSpPr>
          <p:cNvPr id="4" name="Titel 3">
            <a:extLst>
              <a:ext uri="{FF2B5EF4-FFF2-40B4-BE49-F238E27FC236}">
                <a16:creationId xmlns:a16="http://schemas.microsoft.com/office/drawing/2014/main" id="{75BE83B1-2458-4EF8-968B-9C0334204552}"/>
              </a:ext>
            </a:extLst>
          </p:cNvPr>
          <p:cNvSpPr>
            <a:spLocks noGrp="1"/>
          </p:cNvSpPr>
          <p:nvPr>
            <p:ph type="title" hasCustomPrompt="1"/>
          </p:nvPr>
        </p:nvSpPr>
        <p:spPr bwMode="gray"/>
        <p:txBody>
          <a:bodyPr/>
          <a:lstStyle/>
          <a:p>
            <a:r>
              <a:rPr lang="de-DE" dirty="0"/>
              <a:t>Titel durch Klicken bearbeiten</a:t>
            </a:r>
          </a:p>
        </p:txBody>
      </p:sp>
      <p:sp>
        <p:nvSpPr>
          <p:cNvPr id="2" name="Datumsplatzhalter 1">
            <a:extLst>
              <a:ext uri="{FF2B5EF4-FFF2-40B4-BE49-F238E27FC236}">
                <a16:creationId xmlns:a16="http://schemas.microsoft.com/office/drawing/2014/main" id="{5A59AB60-4B38-4E95-AB8B-146BCCEA63E2}"/>
              </a:ext>
            </a:extLst>
          </p:cNvPr>
          <p:cNvSpPr>
            <a:spLocks noGrp="1"/>
          </p:cNvSpPr>
          <p:nvPr>
            <p:ph type="dt" sz="half" idx="29"/>
          </p:nvPr>
        </p:nvSpPr>
        <p:spPr bwMode="gray">
          <a:xfrm>
            <a:off x="10709631" y="151200"/>
            <a:ext cx="748800" cy="180000"/>
          </a:xfrm>
          <a:prstGeom prst="rect">
            <a:avLst/>
          </a:prstGeom>
        </p:spPr>
        <p:txBody>
          <a:bodyPr/>
          <a:lstStyle/>
          <a:p>
            <a:r>
              <a:rPr lang="de-DE"/>
              <a:t>XX.XX.2020</a:t>
            </a:r>
            <a:endParaRPr lang="de-DE" sz="1600" kern="0" dirty="0"/>
          </a:p>
        </p:txBody>
      </p:sp>
      <p:sp>
        <p:nvSpPr>
          <p:cNvPr id="3" name="Fußzeilenplatzhalter 2">
            <a:extLst>
              <a:ext uri="{FF2B5EF4-FFF2-40B4-BE49-F238E27FC236}">
                <a16:creationId xmlns:a16="http://schemas.microsoft.com/office/drawing/2014/main" id="{CBD139B5-09CB-41FF-8C16-41101AD606DF}"/>
              </a:ext>
            </a:extLst>
          </p:cNvPr>
          <p:cNvSpPr>
            <a:spLocks noGrp="1"/>
          </p:cNvSpPr>
          <p:nvPr>
            <p:ph type="ftr" sz="quarter" idx="30"/>
          </p:nvPr>
        </p:nvSpPr>
        <p:spPr bwMode="gray">
          <a:xfrm>
            <a:off x="6313488" y="151200"/>
            <a:ext cx="4393761" cy="180000"/>
          </a:xfrm>
          <a:prstGeom prst="rect">
            <a:avLst/>
          </a:prstGeom>
        </p:spPr>
        <p:txBody>
          <a:bodyPr/>
          <a:lstStyle/>
          <a:p>
            <a:r>
              <a:rPr lang="de-DE"/>
              <a:t>Kürzel  |  CX  |</a:t>
            </a:r>
            <a:endParaRPr lang="de-DE" dirty="0"/>
          </a:p>
        </p:txBody>
      </p:sp>
      <p:sp>
        <p:nvSpPr>
          <p:cNvPr id="7" name="Foliennummernplatzhalter 6">
            <a:extLst>
              <a:ext uri="{FF2B5EF4-FFF2-40B4-BE49-F238E27FC236}">
                <a16:creationId xmlns:a16="http://schemas.microsoft.com/office/drawing/2014/main" id="{3FF18CCE-78BF-4E21-93E0-6ED91C0B9130}"/>
              </a:ext>
            </a:extLst>
          </p:cNvPr>
          <p:cNvSpPr>
            <a:spLocks noGrp="1"/>
          </p:cNvSpPr>
          <p:nvPr>
            <p:ph type="sldNum" sz="quarter" idx="31"/>
          </p:nvPr>
        </p:nvSpPr>
        <p:spPr bwMode="gray">
          <a:xfrm>
            <a:off x="11504750" y="151200"/>
            <a:ext cx="280800" cy="180000"/>
          </a:xfrm>
          <a:prstGeom prst="rect">
            <a:avLst/>
          </a:prstGeom>
        </p:spPr>
        <p:txBody>
          <a:bodyPr/>
          <a:lstStyle/>
          <a:p>
            <a:fld id="{9C89B081-1F44-4440-BC7B-989C90F97B77}" type="slidenum">
              <a:rPr lang="de-DE" smtClean="0"/>
              <a:pPr/>
              <a:t>‹Nr.›</a:t>
            </a:fld>
            <a:endParaRPr lang="de-DE" dirty="0"/>
          </a:p>
        </p:txBody>
      </p:sp>
    </p:spTree>
    <p:extLst>
      <p:ext uri="{BB962C8B-B14F-4D97-AF65-F5344CB8AC3E}">
        <p14:creationId xmlns:p14="http://schemas.microsoft.com/office/powerpoint/2010/main" val="3138096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80">
          <p15:clr>
            <a:srgbClr val="F26B43"/>
          </p15:clr>
        </p15:guide>
        <p15:guide id="2" pos="2730">
          <p15:clr>
            <a:srgbClr val="F26B43"/>
          </p15:clr>
        </p15:guide>
        <p15:guide id="3" pos="4952">
          <p15:clr>
            <a:srgbClr val="F26B43"/>
          </p15:clr>
        </p15:guide>
        <p15:guide id="4" pos="5202">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reispaltig mit Untertitel und Quelle">
    <p:spTree>
      <p:nvGrpSpPr>
        <p:cNvPr id="1" name=""/>
        <p:cNvGrpSpPr/>
        <p:nvPr/>
      </p:nvGrpSpPr>
      <p:grpSpPr>
        <a:xfrm>
          <a:off x="0" y="0"/>
          <a:ext cx="0" cy="0"/>
          <a:chOff x="0" y="0"/>
          <a:chExt cx="0" cy="0"/>
        </a:xfrm>
      </p:grpSpPr>
      <p:sp>
        <p:nvSpPr>
          <p:cNvPr id="14" name="Inhaltsplatzhalter 2"/>
          <p:cNvSpPr>
            <a:spLocks noGrp="1"/>
          </p:cNvSpPr>
          <p:nvPr>
            <p:ph sz="quarter" idx="26" hasCustomPrompt="1"/>
          </p:nvPr>
        </p:nvSpPr>
        <p:spPr bwMode="gray">
          <a:xfrm>
            <a:off x="409575" y="2060848"/>
            <a:ext cx="3527379" cy="4248151"/>
          </a:xfrm>
          <a:noFill/>
        </p:spPr>
        <p:txBody>
          <a:bodyPr/>
          <a:lstStyle/>
          <a:p>
            <a:pPr lvl="0"/>
            <a:r>
              <a:rPr lang="de-DE" dirty="0"/>
              <a:t>Text hinzufüg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5" name="Inhaltsplatzhalter 2"/>
          <p:cNvSpPr>
            <a:spLocks noGrp="1"/>
          </p:cNvSpPr>
          <p:nvPr>
            <p:ph sz="quarter" idx="27" hasCustomPrompt="1"/>
          </p:nvPr>
        </p:nvSpPr>
        <p:spPr bwMode="gray">
          <a:xfrm>
            <a:off x="8258175" y="2060848"/>
            <a:ext cx="3527375" cy="4248151"/>
          </a:xfrm>
          <a:noFill/>
        </p:spPr>
        <p:txBody>
          <a:bodyPr/>
          <a:lstStyle/>
          <a:p>
            <a:pPr lvl="0"/>
            <a:r>
              <a:rPr lang="de-DE" dirty="0"/>
              <a:t>Text hinzufüg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8" name="Inhaltsplatzhalter 2"/>
          <p:cNvSpPr>
            <a:spLocks noGrp="1"/>
          </p:cNvSpPr>
          <p:nvPr>
            <p:ph sz="quarter" idx="28" hasCustomPrompt="1"/>
          </p:nvPr>
        </p:nvSpPr>
        <p:spPr bwMode="gray">
          <a:xfrm>
            <a:off x="4333875" y="2060848"/>
            <a:ext cx="3527379" cy="4248151"/>
          </a:xfrm>
          <a:noFill/>
        </p:spPr>
        <p:txBody>
          <a:bodyPr/>
          <a:lstStyle/>
          <a:p>
            <a:pPr lvl="0"/>
            <a:r>
              <a:rPr lang="de-DE" dirty="0"/>
              <a:t>Text hinzufüg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6" name="Textplatzhalter 11"/>
          <p:cNvSpPr>
            <a:spLocks noGrp="1"/>
          </p:cNvSpPr>
          <p:nvPr>
            <p:ph type="body" sz="quarter" idx="19" hasCustomPrompt="1"/>
          </p:nvPr>
        </p:nvSpPr>
        <p:spPr bwMode="gray">
          <a:xfrm>
            <a:off x="409575" y="1412776"/>
            <a:ext cx="3527379" cy="276999"/>
          </a:xfrm>
          <a:prstGeom prst="rect">
            <a:avLst/>
          </a:prstGeom>
        </p:spPr>
        <p:txBody>
          <a:bodyPr vert="horz" lIns="0" tIns="0" rIns="0" bIns="0" rtlCol="0">
            <a:noAutofit/>
          </a:bodyPr>
          <a:lstStyle>
            <a:lvl1pPr marL="0" indent="0">
              <a:lnSpc>
                <a:spcPct val="100000"/>
              </a:lnSpc>
              <a:spcBef>
                <a:spcPts val="0"/>
              </a:spcBef>
              <a:buNone/>
              <a:defRPr lang="de-DE" dirty="0">
                <a:solidFill>
                  <a:schemeClr val="accent2"/>
                </a:solidFill>
              </a:defRPr>
            </a:lvl1pPr>
          </a:lstStyle>
          <a:p>
            <a:pPr marL="0" lvl="0" indent="0">
              <a:lnSpc>
                <a:spcPct val="100000"/>
              </a:lnSpc>
              <a:spcBef>
                <a:spcPts val="0"/>
              </a:spcBef>
              <a:buNone/>
            </a:pPr>
            <a:r>
              <a:rPr lang="de-DE" dirty="0"/>
              <a:t>Untertitel 1</a:t>
            </a:r>
          </a:p>
        </p:txBody>
      </p:sp>
      <p:sp>
        <p:nvSpPr>
          <p:cNvPr id="17" name="Textplatzhalter 3"/>
          <p:cNvSpPr>
            <a:spLocks noGrp="1"/>
          </p:cNvSpPr>
          <p:nvPr>
            <p:ph type="body" sz="quarter" idx="21" hasCustomPrompt="1"/>
          </p:nvPr>
        </p:nvSpPr>
        <p:spPr bwMode="gray">
          <a:xfrm>
            <a:off x="409575" y="1700708"/>
            <a:ext cx="3527379" cy="215444"/>
          </a:xfrm>
          <a:prstGeom prst="rect">
            <a:avLst/>
          </a:prstGeom>
        </p:spPr>
        <p:txBody>
          <a:bodyPr vert="horz" lIns="0" tIns="0" rIns="0" bIns="0" rtlCol="0">
            <a:noAutofit/>
          </a:bodyPr>
          <a:lstStyle>
            <a:lvl1pPr>
              <a:spcBef>
                <a:spcPts val="0"/>
              </a:spcBef>
              <a:defRPr lang="de-DE" sz="1400" b="0" dirty="0"/>
            </a:lvl1pPr>
          </a:lstStyle>
          <a:p>
            <a:r>
              <a:rPr lang="de-DE" sz="1400" b="0" dirty="0"/>
              <a:t>Untertitel 2</a:t>
            </a:r>
            <a:endParaRPr lang="de-DE" b="0" dirty="0"/>
          </a:p>
        </p:txBody>
      </p:sp>
      <p:sp>
        <p:nvSpPr>
          <p:cNvPr id="20" name="Textplatzhalter 11"/>
          <p:cNvSpPr>
            <a:spLocks noGrp="1"/>
          </p:cNvSpPr>
          <p:nvPr>
            <p:ph type="body" sz="quarter" idx="31" hasCustomPrompt="1"/>
          </p:nvPr>
        </p:nvSpPr>
        <p:spPr bwMode="gray">
          <a:xfrm>
            <a:off x="4333875" y="1412776"/>
            <a:ext cx="3527379" cy="276999"/>
          </a:xfrm>
          <a:prstGeom prst="rect">
            <a:avLst/>
          </a:prstGeom>
        </p:spPr>
        <p:txBody>
          <a:bodyPr vert="horz" lIns="0" tIns="0" rIns="0" bIns="0" rtlCol="0">
            <a:noAutofit/>
          </a:bodyPr>
          <a:lstStyle>
            <a:lvl1pPr marL="0" indent="0">
              <a:lnSpc>
                <a:spcPct val="100000"/>
              </a:lnSpc>
              <a:spcBef>
                <a:spcPts val="0"/>
              </a:spcBef>
              <a:buNone/>
              <a:defRPr lang="de-DE" dirty="0">
                <a:solidFill>
                  <a:schemeClr val="accent2"/>
                </a:solidFill>
              </a:defRPr>
            </a:lvl1pPr>
          </a:lstStyle>
          <a:p>
            <a:pPr marL="0" lvl="0" indent="0">
              <a:lnSpc>
                <a:spcPct val="100000"/>
              </a:lnSpc>
              <a:spcBef>
                <a:spcPts val="0"/>
              </a:spcBef>
              <a:buNone/>
            </a:pPr>
            <a:r>
              <a:rPr lang="de-DE" dirty="0"/>
              <a:t>Untertitel 1</a:t>
            </a:r>
          </a:p>
        </p:txBody>
      </p:sp>
      <p:sp>
        <p:nvSpPr>
          <p:cNvPr id="21" name="Textplatzhalter 3"/>
          <p:cNvSpPr>
            <a:spLocks noGrp="1"/>
          </p:cNvSpPr>
          <p:nvPr>
            <p:ph type="body" sz="quarter" idx="32" hasCustomPrompt="1"/>
          </p:nvPr>
        </p:nvSpPr>
        <p:spPr bwMode="gray">
          <a:xfrm>
            <a:off x="4333875" y="1700708"/>
            <a:ext cx="3527379" cy="215444"/>
          </a:xfrm>
          <a:prstGeom prst="rect">
            <a:avLst/>
          </a:prstGeom>
        </p:spPr>
        <p:txBody>
          <a:bodyPr vert="horz" lIns="0" tIns="0" rIns="0" bIns="0" rtlCol="0">
            <a:noAutofit/>
          </a:bodyPr>
          <a:lstStyle>
            <a:lvl1pPr>
              <a:spcBef>
                <a:spcPts val="0"/>
              </a:spcBef>
              <a:defRPr lang="de-DE" sz="1400" b="0" dirty="0"/>
            </a:lvl1pPr>
          </a:lstStyle>
          <a:p>
            <a:r>
              <a:rPr lang="de-DE" sz="1400" b="0" dirty="0"/>
              <a:t>Untertitel 2</a:t>
            </a:r>
            <a:endParaRPr lang="de-DE" b="0" dirty="0"/>
          </a:p>
        </p:txBody>
      </p:sp>
      <p:sp>
        <p:nvSpPr>
          <p:cNvPr id="22" name="Textplatzhalter 11"/>
          <p:cNvSpPr>
            <a:spLocks noGrp="1"/>
          </p:cNvSpPr>
          <p:nvPr>
            <p:ph type="body" sz="quarter" idx="33" hasCustomPrompt="1"/>
          </p:nvPr>
        </p:nvSpPr>
        <p:spPr bwMode="gray">
          <a:xfrm>
            <a:off x="8258175" y="1412776"/>
            <a:ext cx="3527375" cy="276999"/>
          </a:xfrm>
          <a:prstGeom prst="rect">
            <a:avLst/>
          </a:prstGeom>
        </p:spPr>
        <p:txBody>
          <a:bodyPr vert="horz" lIns="0" tIns="0" rIns="0" bIns="0" rtlCol="0">
            <a:noAutofit/>
          </a:bodyPr>
          <a:lstStyle>
            <a:lvl1pPr marL="0" indent="0">
              <a:lnSpc>
                <a:spcPct val="100000"/>
              </a:lnSpc>
              <a:spcBef>
                <a:spcPts val="0"/>
              </a:spcBef>
              <a:buNone/>
              <a:defRPr lang="de-DE" dirty="0">
                <a:solidFill>
                  <a:schemeClr val="accent2"/>
                </a:solidFill>
              </a:defRPr>
            </a:lvl1pPr>
          </a:lstStyle>
          <a:p>
            <a:pPr marL="0" lvl="0" indent="0">
              <a:lnSpc>
                <a:spcPct val="100000"/>
              </a:lnSpc>
              <a:spcBef>
                <a:spcPts val="0"/>
              </a:spcBef>
              <a:buNone/>
            </a:pPr>
            <a:r>
              <a:rPr lang="de-DE" dirty="0"/>
              <a:t>Untertitel 1</a:t>
            </a:r>
          </a:p>
        </p:txBody>
      </p:sp>
      <p:sp>
        <p:nvSpPr>
          <p:cNvPr id="23" name="Textplatzhalter 3"/>
          <p:cNvSpPr>
            <a:spLocks noGrp="1"/>
          </p:cNvSpPr>
          <p:nvPr>
            <p:ph type="body" sz="quarter" idx="34" hasCustomPrompt="1"/>
          </p:nvPr>
        </p:nvSpPr>
        <p:spPr bwMode="gray">
          <a:xfrm>
            <a:off x="8258175" y="1700708"/>
            <a:ext cx="3527375" cy="215444"/>
          </a:xfrm>
          <a:prstGeom prst="rect">
            <a:avLst/>
          </a:prstGeom>
        </p:spPr>
        <p:txBody>
          <a:bodyPr vert="horz" lIns="0" tIns="0" rIns="0" bIns="0" rtlCol="0">
            <a:noAutofit/>
          </a:bodyPr>
          <a:lstStyle>
            <a:lvl1pPr>
              <a:spcBef>
                <a:spcPts val="0"/>
              </a:spcBef>
              <a:defRPr lang="de-DE" sz="1400" b="0" dirty="0"/>
            </a:lvl1pPr>
          </a:lstStyle>
          <a:p>
            <a:r>
              <a:rPr lang="de-DE" sz="1400" b="0" dirty="0"/>
              <a:t>Untertitel 2</a:t>
            </a:r>
            <a:endParaRPr lang="de-DE" b="0" dirty="0"/>
          </a:p>
        </p:txBody>
      </p:sp>
      <p:sp>
        <p:nvSpPr>
          <p:cNvPr id="11" name="Textplatzhalter 3"/>
          <p:cNvSpPr>
            <a:spLocks noGrp="1"/>
          </p:cNvSpPr>
          <p:nvPr>
            <p:ph type="body" sz="quarter" idx="25" hasCustomPrompt="1"/>
          </p:nvPr>
        </p:nvSpPr>
        <p:spPr bwMode="gray">
          <a:xfrm>
            <a:off x="409576" y="6001543"/>
            <a:ext cx="11375974"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dirty="0"/>
              <a:t>Quelle:</a:t>
            </a:r>
          </a:p>
        </p:txBody>
      </p:sp>
      <p:sp>
        <p:nvSpPr>
          <p:cNvPr id="4" name="Titel 3">
            <a:extLst>
              <a:ext uri="{FF2B5EF4-FFF2-40B4-BE49-F238E27FC236}">
                <a16:creationId xmlns:a16="http://schemas.microsoft.com/office/drawing/2014/main" id="{EFF755ED-A961-4AB8-BBDA-1948B43FBB19}"/>
              </a:ext>
            </a:extLst>
          </p:cNvPr>
          <p:cNvSpPr>
            <a:spLocks noGrp="1"/>
          </p:cNvSpPr>
          <p:nvPr>
            <p:ph type="title" hasCustomPrompt="1"/>
          </p:nvPr>
        </p:nvSpPr>
        <p:spPr bwMode="gray"/>
        <p:txBody>
          <a:bodyPr/>
          <a:lstStyle/>
          <a:p>
            <a:r>
              <a:rPr lang="de-DE" dirty="0"/>
              <a:t>Titel durch Klicken bearbeiten</a:t>
            </a:r>
          </a:p>
        </p:txBody>
      </p:sp>
      <p:sp>
        <p:nvSpPr>
          <p:cNvPr id="2" name="Datumsplatzhalter 1">
            <a:extLst>
              <a:ext uri="{FF2B5EF4-FFF2-40B4-BE49-F238E27FC236}">
                <a16:creationId xmlns:a16="http://schemas.microsoft.com/office/drawing/2014/main" id="{FE964BE4-B4EF-4A95-8010-A1A2C84EFB2F}"/>
              </a:ext>
            </a:extLst>
          </p:cNvPr>
          <p:cNvSpPr>
            <a:spLocks noGrp="1"/>
          </p:cNvSpPr>
          <p:nvPr>
            <p:ph type="dt" sz="half" idx="35"/>
          </p:nvPr>
        </p:nvSpPr>
        <p:spPr bwMode="gray">
          <a:xfrm>
            <a:off x="10709631" y="151200"/>
            <a:ext cx="748800" cy="180000"/>
          </a:xfrm>
          <a:prstGeom prst="rect">
            <a:avLst/>
          </a:prstGeom>
        </p:spPr>
        <p:txBody>
          <a:bodyPr/>
          <a:lstStyle/>
          <a:p>
            <a:r>
              <a:rPr lang="de-DE"/>
              <a:t>XX.XX.2020</a:t>
            </a:r>
            <a:endParaRPr lang="de-DE" sz="1600" kern="0" dirty="0"/>
          </a:p>
        </p:txBody>
      </p:sp>
      <p:sp>
        <p:nvSpPr>
          <p:cNvPr id="3" name="Fußzeilenplatzhalter 2">
            <a:extLst>
              <a:ext uri="{FF2B5EF4-FFF2-40B4-BE49-F238E27FC236}">
                <a16:creationId xmlns:a16="http://schemas.microsoft.com/office/drawing/2014/main" id="{DFE17E14-7C08-4315-870F-013D72D2017C}"/>
              </a:ext>
            </a:extLst>
          </p:cNvPr>
          <p:cNvSpPr>
            <a:spLocks noGrp="1"/>
          </p:cNvSpPr>
          <p:nvPr>
            <p:ph type="ftr" sz="quarter" idx="36"/>
          </p:nvPr>
        </p:nvSpPr>
        <p:spPr bwMode="gray">
          <a:xfrm>
            <a:off x="6313488" y="151200"/>
            <a:ext cx="4393761" cy="180000"/>
          </a:xfrm>
          <a:prstGeom prst="rect">
            <a:avLst/>
          </a:prstGeom>
        </p:spPr>
        <p:txBody>
          <a:bodyPr/>
          <a:lstStyle/>
          <a:p>
            <a:r>
              <a:rPr lang="de-DE"/>
              <a:t>Kürzel  |  CX  |</a:t>
            </a:r>
            <a:endParaRPr lang="de-DE" dirty="0"/>
          </a:p>
        </p:txBody>
      </p:sp>
      <p:sp>
        <p:nvSpPr>
          <p:cNvPr id="7" name="Foliennummernplatzhalter 6">
            <a:extLst>
              <a:ext uri="{FF2B5EF4-FFF2-40B4-BE49-F238E27FC236}">
                <a16:creationId xmlns:a16="http://schemas.microsoft.com/office/drawing/2014/main" id="{2297D823-4BEC-41E9-A01D-353176FC0484}"/>
              </a:ext>
            </a:extLst>
          </p:cNvPr>
          <p:cNvSpPr>
            <a:spLocks noGrp="1"/>
          </p:cNvSpPr>
          <p:nvPr>
            <p:ph type="sldNum" sz="quarter" idx="37"/>
          </p:nvPr>
        </p:nvSpPr>
        <p:spPr bwMode="gray">
          <a:xfrm>
            <a:off x="11504750" y="151200"/>
            <a:ext cx="280800" cy="180000"/>
          </a:xfrm>
          <a:prstGeom prst="rect">
            <a:avLst/>
          </a:prstGeom>
        </p:spPr>
        <p:txBody>
          <a:bodyPr/>
          <a:lstStyle/>
          <a:p>
            <a:fld id="{9C89B081-1F44-4440-BC7B-989C90F97B77}" type="slidenum">
              <a:rPr lang="de-DE" smtClean="0"/>
              <a:pPr/>
              <a:t>‹Nr.›</a:t>
            </a:fld>
            <a:endParaRPr lang="de-DE" dirty="0"/>
          </a:p>
        </p:txBody>
      </p:sp>
    </p:spTree>
    <p:extLst>
      <p:ext uri="{BB962C8B-B14F-4D97-AF65-F5344CB8AC3E}">
        <p14:creationId xmlns:p14="http://schemas.microsoft.com/office/powerpoint/2010/main" val="274661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80">
          <p15:clr>
            <a:srgbClr val="F26B43"/>
          </p15:clr>
        </p15:guide>
        <p15:guide id="3" pos="4952">
          <p15:clr>
            <a:srgbClr val="F26B43"/>
          </p15:clr>
        </p15:guide>
        <p15:guide id="4" pos="5202">
          <p15:clr>
            <a:srgbClr val="F26B43"/>
          </p15:clr>
        </p15:guide>
        <p15:guide id="5" orient="horz" pos="1298">
          <p15:clr>
            <a:srgbClr val="C35EA4"/>
          </p15:clr>
        </p15:guide>
        <p15:guide id="6" pos="273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elfolie ohne Bild">
    <p:spTree>
      <p:nvGrpSpPr>
        <p:cNvPr id="1" name=""/>
        <p:cNvGrpSpPr/>
        <p:nvPr/>
      </p:nvGrpSpPr>
      <p:grpSpPr>
        <a:xfrm>
          <a:off x="0" y="0"/>
          <a:ext cx="0" cy="0"/>
          <a:chOff x="0" y="0"/>
          <a:chExt cx="0" cy="0"/>
        </a:xfrm>
      </p:grpSpPr>
      <p:sp>
        <p:nvSpPr>
          <p:cNvPr id="15" name="Textplatzhalter 13">
            <a:extLst>
              <a:ext uri="{FF2B5EF4-FFF2-40B4-BE49-F238E27FC236}">
                <a16:creationId xmlns:a16="http://schemas.microsoft.com/office/drawing/2014/main" id="{E0C68517-A305-4B55-B379-C2D052B1CFD3}"/>
              </a:ext>
            </a:extLst>
          </p:cNvPr>
          <p:cNvSpPr>
            <a:spLocks noGrp="1" noChangeAspect="1"/>
          </p:cNvSpPr>
          <p:nvPr>
            <p:ph type="body" sz="quarter" idx="15" hasCustomPrompt="1"/>
          </p:nvPr>
        </p:nvSpPr>
        <p:spPr bwMode="gray">
          <a:xfrm>
            <a:off x="629999" y="1"/>
            <a:ext cx="11565176" cy="4222561"/>
          </a:xfrm>
          <a:custGeom>
            <a:avLst/>
            <a:gdLst>
              <a:gd name="connsiteX0" fmla="*/ 0 w 11565176"/>
              <a:gd name="connsiteY0" fmla="*/ 0 h 4222561"/>
              <a:gd name="connsiteX1" fmla="*/ 11565176 w 11565176"/>
              <a:gd name="connsiteY1" fmla="*/ 0 h 4222561"/>
              <a:gd name="connsiteX2" fmla="*/ 11565176 w 11565176"/>
              <a:gd name="connsiteY2" fmla="*/ 2101962 h 4222561"/>
              <a:gd name="connsiteX3" fmla="*/ 910254 w 11565176"/>
              <a:gd name="connsiteY3" fmla="*/ 4203011 h 4222561"/>
              <a:gd name="connsiteX4" fmla="*/ 0 w 11565176"/>
              <a:gd name="connsiteY4" fmla="*/ 3522747 h 4222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65176" h="4222561">
                <a:moveTo>
                  <a:pt x="0" y="0"/>
                </a:moveTo>
                <a:lnTo>
                  <a:pt x="11565176" y="0"/>
                </a:lnTo>
                <a:lnTo>
                  <a:pt x="11565176" y="2101962"/>
                </a:lnTo>
                <a:lnTo>
                  <a:pt x="910254" y="4203011"/>
                </a:lnTo>
                <a:cubicBezTo>
                  <a:pt x="0" y="4359734"/>
                  <a:pt x="0" y="3522747"/>
                  <a:pt x="0" y="3522747"/>
                </a:cubicBezTo>
                <a:close/>
              </a:path>
            </a:pathLst>
          </a:custGeom>
          <a:solidFill>
            <a:schemeClr val="tx2"/>
          </a:solidFill>
        </p:spPr>
        <p:txBody>
          <a:bodyPr wrap="square" lIns="399600" tIns="1407600" rIns="3240000">
            <a:noAutofit/>
          </a:bodyPr>
          <a:lstStyle>
            <a:lvl1pPr marL="0" indent="0">
              <a:spcBef>
                <a:spcPts val="0"/>
              </a:spcBef>
              <a:buFont typeface="Arial" panose="020B0604020202020204" pitchFamily="34" charset="0"/>
              <a:buNone/>
              <a:defRPr sz="3000" b="1">
                <a:solidFill>
                  <a:schemeClr val="bg1"/>
                </a:solidFill>
              </a:defRPr>
            </a:lvl1pPr>
            <a:lvl2pPr marL="0" indent="0">
              <a:spcBef>
                <a:spcPts val="0"/>
              </a:spcBef>
              <a:buFont typeface="Arial" panose="020B0604020202020204" pitchFamily="34" charset="0"/>
              <a:buNone/>
              <a:defRPr sz="3000" b="1">
                <a:solidFill>
                  <a:schemeClr val="bg1"/>
                </a:solidFill>
              </a:defRPr>
            </a:lvl2pPr>
            <a:lvl3pPr marL="0" indent="0">
              <a:spcBef>
                <a:spcPts val="0"/>
              </a:spcBef>
              <a:buNone/>
              <a:defRPr sz="3000" b="1">
                <a:solidFill>
                  <a:schemeClr val="bg1"/>
                </a:solidFill>
              </a:defRPr>
            </a:lvl3pPr>
            <a:lvl4pPr marL="0" indent="0">
              <a:spcBef>
                <a:spcPts val="0"/>
              </a:spcBef>
              <a:buNone/>
              <a:defRPr sz="3000" b="1">
                <a:solidFill>
                  <a:schemeClr val="bg1"/>
                </a:solidFill>
              </a:defRPr>
            </a:lvl4pPr>
            <a:lvl5pPr marL="0" indent="0">
              <a:spcBef>
                <a:spcPts val="0"/>
              </a:spcBef>
              <a:buNone/>
              <a:defRPr sz="3000" b="1">
                <a:solidFill>
                  <a:schemeClr val="bg1"/>
                </a:solidFill>
              </a:defRPr>
            </a:lvl5pPr>
          </a:lstStyle>
          <a:p>
            <a:pPr lvl="0"/>
            <a:r>
              <a:rPr lang="de-DE"/>
              <a:t>Titelfolie (max. 2-zeilig)</a:t>
            </a:r>
          </a:p>
        </p:txBody>
      </p:sp>
      <p:sp>
        <p:nvSpPr>
          <p:cNvPr id="17" name="Textplatzhalter 45">
            <a:extLst>
              <a:ext uri="{FF2B5EF4-FFF2-40B4-BE49-F238E27FC236}">
                <a16:creationId xmlns:a16="http://schemas.microsoft.com/office/drawing/2014/main" id="{A6623FAC-412C-411C-A9E9-5909FBEB3435}"/>
              </a:ext>
            </a:extLst>
          </p:cNvPr>
          <p:cNvSpPr>
            <a:spLocks noGrp="1"/>
          </p:cNvSpPr>
          <p:nvPr>
            <p:ph type="body" sz="quarter" idx="17" hasCustomPrompt="1"/>
          </p:nvPr>
        </p:nvSpPr>
        <p:spPr bwMode="gray">
          <a:xfrm>
            <a:off x="9563898" y="409422"/>
            <a:ext cx="2014538" cy="608013"/>
          </a:xfrm>
          <a:blipFill>
            <a:blip r:embed="rId2" cstate="screen">
              <a:extLst>
                <a:ext uri="{28A0092B-C50C-407E-A947-70E740481C1C}">
                  <a14:useLocalDpi xmlns:a14="http://schemas.microsoft.com/office/drawing/2010/main"/>
                </a:ext>
              </a:extLst>
            </a:blip>
            <a:stretch>
              <a:fillRect/>
            </a:stretch>
          </a:blipFill>
        </p:spPr>
        <p:txBody>
          <a:bodyPr/>
          <a:lstStyle>
            <a:lvl1pPr marL="0" indent="0">
              <a:spcBef>
                <a:spcPts val="0"/>
              </a:spcBef>
              <a:spcAft>
                <a:spcPts val="0"/>
              </a:spcAft>
              <a:buFont typeface="Arial" panose="020B0604020202020204" pitchFamily="34" charset="0"/>
              <a:buNone/>
              <a:defRPr sz="100">
                <a:noFill/>
              </a:defRPr>
            </a:lvl1pPr>
            <a:lvl2pPr marL="0" indent="0">
              <a:spcBef>
                <a:spcPts val="0"/>
              </a:spcBef>
              <a:spcAft>
                <a:spcPts val="0"/>
              </a:spcAft>
              <a:buFont typeface="Arial" panose="020B0604020202020204" pitchFamily="34" charset="0"/>
              <a:buNone/>
              <a:defRPr sz="100">
                <a:noFill/>
              </a:defRPr>
            </a:lvl2pPr>
            <a:lvl3pPr marL="0" indent="0">
              <a:spcBef>
                <a:spcPts val="0"/>
              </a:spcBef>
              <a:spcAft>
                <a:spcPts val="0"/>
              </a:spcAft>
              <a:buFont typeface="Arial" panose="020B0604020202020204" pitchFamily="34" charset="0"/>
              <a:buNone/>
              <a:defRPr sz="100">
                <a:noFill/>
              </a:defRPr>
            </a:lvl3pPr>
            <a:lvl4pPr marL="0" indent="0">
              <a:spcBef>
                <a:spcPts val="0"/>
              </a:spcBef>
              <a:spcAft>
                <a:spcPts val="0"/>
              </a:spcAft>
              <a:buFont typeface="Arial" panose="020B0604020202020204" pitchFamily="34" charset="0"/>
              <a:buNone/>
              <a:defRPr sz="100">
                <a:noFill/>
              </a:defRPr>
            </a:lvl4pPr>
            <a:lvl5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
                <a:noFill/>
              </a:defRPr>
            </a:lvl5pPr>
            <a:lvl6pPr marL="360000" indent="0">
              <a:spcBef>
                <a:spcPts val="0"/>
              </a:spcBef>
              <a:spcAft>
                <a:spcPts val="0"/>
              </a:spcAft>
              <a:buFontTx/>
              <a:buNone/>
              <a:defRPr/>
            </a:lvl6pPr>
            <a:lvl7pPr marL="0" indent="0">
              <a:spcBef>
                <a:spcPts val="0"/>
              </a:spcBef>
              <a:spcAft>
                <a:spcPts val="0"/>
              </a:spcAft>
              <a:buNone/>
              <a:defRPr/>
            </a:lvl7pPr>
            <a:lvl8pPr marL="0" indent="0">
              <a:spcBef>
                <a:spcPts val="0"/>
              </a:spcBef>
              <a:spcAft>
                <a:spcPts val="0"/>
              </a:spcAft>
              <a:buNone/>
              <a:defRPr/>
            </a:lvl8pPr>
            <a:lvl9pPr marL="0" indent="0">
              <a:spcBef>
                <a:spcPts val="0"/>
              </a:spcBef>
              <a:spcAft>
                <a:spcPts val="0"/>
              </a:spcAft>
              <a:buNone/>
              <a:defRPr/>
            </a:lvl9pPr>
          </a:lstStyle>
          <a:p>
            <a:pPr lvl="0"/>
            <a:r>
              <a:rPr lang="de-DE"/>
              <a:t>x</a:t>
            </a:r>
          </a:p>
        </p:txBody>
      </p:sp>
      <p:sp>
        <p:nvSpPr>
          <p:cNvPr id="22" name="Grafik 9">
            <a:extLst>
              <a:ext uri="{FF2B5EF4-FFF2-40B4-BE49-F238E27FC236}">
                <a16:creationId xmlns:a16="http://schemas.microsoft.com/office/drawing/2014/main" id="{7D2E2297-447D-4A5B-A68B-EE05793D8FAD}"/>
              </a:ext>
            </a:extLst>
          </p:cNvPr>
          <p:cNvSpPr txBox="1">
            <a:spLocks/>
          </p:cNvSpPr>
          <p:nvPr/>
        </p:nvSpPr>
        <p:spPr bwMode="gray">
          <a:xfrm>
            <a:off x="630000" y="6329316"/>
            <a:ext cx="1789200" cy="1980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vert="horz" lIns="0" tIns="0" rIns="0" bIns="0" rtlCol="0" anchor="ctr">
            <a:noAutofit/>
          </a:bodyPr>
          <a:lstStyle>
            <a:lvl1pPr marL="0" indent="0" algn="ctr" defTabSz="914400" rtl="0" eaLnBrk="1" latinLnBrk="0" hangingPunct="1">
              <a:spcBef>
                <a:spcPts val="1200"/>
              </a:spcBef>
              <a:buFont typeface="Arial" panose="020B0604020202020204" pitchFamily="34" charset="0"/>
              <a:buNone/>
              <a:defRPr lang="de-DE" sz="1200" b="0" kern="1200" baseline="0" dirty="0">
                <a:solidFill>
                  <a:schemeClr val="tx1"/>
                </a:solidFill>
                <a:latin typeface="+mn-lt"/>
                <a:ea typeface="+mn-ea"/>
                <a:cs typeface="+mn-cs"/>
              </a:defRPr>
            </a:lvl1pPr>
            <a:lvl2pPr marL="0" indent="0" algn="l" defTabSz="914400" rtl="0" eaLnBrk="1" latinLnBrk="0" hangingPunct="1">
              <a:spcBef>
                <a:spcPts val="600"/>
              </a:spcBef>
              <a:buFont typeface="Arial" panose="020B0604020202020204" pitchFamily="34" charset="0"/>
              <a:buNone/>
              <a:defRPr lang="de-DE" sz="1800" kern="1200" dirty="0">
                <a:solidFill>
                  <a:schemeClr val="tx1"/>
                </a:solidFill>
                <a:latin typeface="+mn-lt"/>
                <a:ea typeface="+mn-ea"/>
                <a:cs typeface="+mn-cs"/>
              </a:defRPr>
            </a:lvl2pPr>
            <a:lvl3pPr marL="180000" indent="-180000" algn="l" defTabSz="914400" rtl="0" eaLnBrk="1" latinLnBrk="0" hangingPunct="1">
              <a:spcBef>
                <a:spcPts val="600"/>
              </a:spcBef>
              <a:buClrTx/>
              <a:buFont typeface="Wingdings" panose="05000000000000000000" pitchFamily="2" charset="2"/>
              <a:buChar char=""/>
              <a:defRPr lang="de-DE" sz="1800" kern="1200" dirty="0">
                <a:solidFill>
                  <a:schemeClr val="tx1"/>
                </a:solidFill>
                <a:latin typeface="+mn-lt"/>
                <a:ea typeface="+mn-ea"/>
                <a:cs typeface="+mn-cs"/>
              </a:defRPr>
            </a:lvl3pPr>
            <a:lvl4pPr marL="360000" indent="-180000" algn="l" defTabSz="914400" rtl="0" eaLnBrk="1" latinLnBrk="0" hangingPunct="1">
              <a:spcBef>
                <a:spcPts val="400"/>
              </a:spcBef>
              <a:buClrTx/>
              <a:buFont typeface="Arial" panose="020B0604020202020204" pitchFamily="34" charset="0"/>
              <a:buChar char="•"/>
              <a:defRPr lang="de-DE" sz="1800" kern="1200" dirty="0">
                <a:solidFill>
                  <a:schemeClr val="tx1"/>
                </a:solidFill>
                <a:latin typeface="+mn-lt"/>
                <a:ea typeface="+mn-ea"/>
                <a:cs typeface="+mn-cs"/>
              </a:defRPr>
            </a:lvl4pPr>
            <a:lvl5pPr marL="576000" indent="-216000" algn="l" defTabSz="914400" rtl="0" eaLnBrk="1" latinLnBrk="0" hangingPunct="1">
              <a:spcBef>
                <a:spcPts val="400"/>
              </a:spcBef>
              <a:buFont typeface="Symbol" panose="05050102010706020507" pitchFamily="18" charset="2"/>
              <a:buChar char="-"/>
              <a:defRPr lang="de-DE" sz="1800" kern="1200" dirty="0">
                <a:solidFill>
                  <a:schemeClr val="tx1"/>
                </a:solidFill>
                <a:latin typeface="+mn-lt"/>
                <a:ea typeface="+mn-ea"/>
                <a:cs typeface="+mn-cs"/>
              </a:defRPr>
            </a:lvl5pPr>
            <a:lvl6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6pPr>
            <a:lvl7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7pPr>
            <a:lvl8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8pPr>
            <a:lvl9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9pPr>
          </a:lstStyle>
          <a:p>
            <a:pPr marL="342900" indent="-342900">
              <a:spcBef>
                <a:spcPts val="0"/>
              </a:spcBef>
            </a:pPr>
            <a:r>
              <a:rPr lang="de-DE"/>
              <a:t> </a:t>
            </a:r>
          </a:p>
        </p:txBody>
      </p:sp>
      <p:sp>
        <p:nvSpPr>
          <p:cNvPr id="8" name="Textplatzhalter 3">
            <a:extLst>
              <a:ext uri="{FF2B5EF4-FFF2-40B4-BE49-F238E27FC236}">
                <a16:creationId xmlns:a16="http://schemas.microsoft.com/office/drawing/2014/main" id="{D5E6013F-1162-401F-BF4F-843707295C35}"/>
              </a:ext>
            </a:extLst>
          </p:cNvPr>
          <p:cNvSpPr>
            <a:spLocks noGrp="1"/>
          </p:cNvSpPr>
          <p:nvPr>
            <p:ph type="body" sz="quarter" idx="19" hasCustomPrompt="1"/>
          </p:nvPr>
        </p:nvSpPr>
        <p:spPr bwMode="gray">
          <a:xfrm>
            <a:off x="1030048" y="984854"/>
            <a:ext cx="6481588" cy="246221"/>
          </a:xfrm>
        </p:spPr>
        <p:txBody>
          <a:bodyPr anchor="b" anchorCtr="0">
            <a:spAutoFit/>
          </a:bodyPr>
          <a:lstStyle>
            <a:lvl1pPr>
              <a:spcBef>
                <a:spcPts val="0"/>
              </a:spcBef>
              <a:defRPr sz="1600" b="1">
                <a:solidFill>
                  <a:schemeClr val="accent2"/>
                </a:solidFill>
              </a:defRPr>
            </a:lvl1pPr>
          </a:lstStyle>
          <a:p>
            <a:pPr lvl="0"/>
            <a:r>
              <a:rPr lang="de-DE"/>
              <a:t>Name Kunde / Veranstaltung</a:t>
            </a:r>
          </a:p>
        </p:txBody>
      </p:sp>
      <p:sp>
        <p:nvSpPr>
          <p:cNvPr id="9" name="Textplatzhalter 3">
            <a:extLst>
              <a:ext uri="{FF2B5EF4-FFF2-40B4-BE49-F238E27FC236}">
                <a16:creationId xmlns:a16="http://schemas.microsoft.com/office/drawing/2014/main" id="{850ADE13-7C6F-4597-A3C6-29F3D36F673D}"/>
              </a:ext>
            </a:extLst>
          </p:cNvPr>
          <p:cNvSpPr>
            <a:spLocks noGrp="1"/>
          </p:cNvSpPr>
          <p:nvPr>
            <p:ph type="body" sz="quarter" idx="20" hasCustomPrompt="1"/>
          </p:nvPr>
        </p:nvSpPr>
        <p:spPr bwMode="gray">
          <a:xfrm>
            <a:off x="1030048" y="2500031"/>
            <a:ext cx="6481588" cy="246221"/>
          </a:xfrm>
        </p:spPr>
        <p:txBody>
          <a:bodyPr anchor="b" anchorCtr="0">
            <a:spAutoFit/>
          </a:bodyPr>
          <a:lstStyle>
            <a:lvl1pPr>
              <a:spcBef>
                <a:spcPts val="0"/>
              </a:spcBef>
              <a:defRPr sz="1600" b="0">
                <a:solidFill>
                  <a:schemeClr val="bg1"/>
                </a:solidFill>
              </a:defRPr>
            </a:lvl1pPr>
          </a:lstStyle>
          <a:p>
            <a:pPr lvl="0"/>
            <a:r>
              <a:rPr lang="de-DE"/>
              <a:t>Ort, Datum – Referent Vorname Name</a:t>
            </a:r>
          </a:p>
        </p:txBody>
      </p:sp>
      <p:sp>
        <p:nvSpPr>
          <p:cNvPr id="10" name="Textplatzhalter 3">
            <a:extLst>
              <a:ext uri="{FF2B5EF4-FFF2-40B4-BE49-F238E27FC236}">
                <a16:creationId xmlns:a16="http://schemas.microsoft.com/office/drawing/2014/main" id="{52CE6598-11D4-4C02-AADE-7D8C1E1C609D}"/>
              </a:ext>
            </a:extLst>
          </p:cNvPr>
          <p:cNvSpPr>
            <a:spLocks noGrp="1"/>
          </p:cNvSpPr>
          <p:nvPr>
            <p:ph type="body" sz="quarter" idx="21" hasCustomPrompt="1"/>
          </p:nvPr>
        </p:nvSpPr>
        <p:spPr bwMode="gray">
          <a:xfrm>
            <a:off x="1030048" y="2852957"/>
            <a:ext cx="5760000" cy="184666"/>
          </a:xfrm>
        </p:spPr>
        <p:txBody>
          <a:bodyPr>
            <a:spAutoFit/>
          </a:bodyPr>
          <a:lstStyle>
            <a:lvl1pPr>
              <a:spcBef>
                <a:spcPts val="0"/>
              </a:spcBef>
              <a:defRPr sz="1200" b="0">
                <a:solidFill>
                  <a:schemeClr val="bg1"/>
                </a:solidFill>
              </a:defRPr>
            </a:lvl1pPr>
          </a:lstStyle>
          <a:p>
            <a:pPr lvl="0"/>
            <a:r>
              <a:rPr lang="de-DE"/>
              <a:t>Vertraulichkeitshinweis durch Klicken bearbeiten</a:t>
            </a:r>
          </a:p>
        </p:txBody>
      </p:sp>
    </p:spTree>
    <p:extLst>
      <p:ext uri="{BB962C8B-B14F-4D97-AF65-F5344CB8AC3E}">
        <p14:creationId xmlns:p14="http://schemas.microsoft.com/office/powerpoint/2010/main" val="1032059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Vierspaltig mit Quelle">
    <p:spTree>
      <p:nvGrpSpPr>
        <p:cNvPr id="1" name=""/>
        <p:cNvGrpSpPr/>
        <p:nvPr/>
      </p:nvGrpSpPr>
      <p:grpSpPr>
        <a:xfrm>
          <a:off x="0" y="0"/>
          <a:ext cx="0" cy="0"/>
          <a:chOff x="0" y="0"/>
          <a:chExt cx="0" cy="0"/>
        </a:xfrm>
      </p:grpSpPr>
      <p:sp>
        <p:nvSpPr>
          <p:cNvPr id="21" name="Inhaltsplatzhalter 2"/>
          <p:cNvSpPr>
            <a:spLocks noGrp="1"/>
          </p:cNvSpPr>
          <p:nvPr>
            <p:ph sz="quarter" idx="27" hasCustomPrompt="1"/>
          </p:nvPr>
        </p:nvSpPr>
        <p:spPr bwMode="gray">
          <a:xfrm>
            <a:off x="409576" y="1412874"/>
            <a:ext cx="2519362" cy="4896446"/>
          </a:xfrm>
          <a:noFill/>
        </p:spPr>
        <p:txBody>
          <a:bodyPr/>
          <a:lstStyle/>
          <a:p>
            <a:pPr lvl="0"/>
            <a:r>
              <a:rPr lang="de-DE" dirty="0"/>
              <a:t>Text hinzufüg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22" name="Inhaltsplatzhalter 2"/>
          <p:cNvSpPr>
            <a:spLocks noGrp="1"/>
          </p:cNvSpPr>
          <p:nvPr>
            <p:ph sz="quarter" idx="28" hasCustomPrompt="1"/>
          </p:nvPr>
        </p:nvSpPr>
        <p:spPr bwMode="gray">
          <a:xfrm>
            <a:off x="3360738" y="1412874"/>
            <a:ext cx="2520950" cy="4896446"/>
          </a:xfrm>
          <a:noFill/>
        </p:spPr>
        <p:txBody>
          <a:bodyPr/>
          <a:lstStyle/>
          <a:p>
            <a:pPr lvl="0"/>
            <a:r>
              <a:rPr lang="de-DE" dirty="0"/>
              <a:t>Text hinzufüg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23" name="Inhaltsplatzhalter 2"/>
          <p:cNvSpPr>
            <a:spLocks noGrp="1"/>
          </p:cNvSpPr>
          <p:nvPr>
            <p:ph sz="quarter" idx="29" hasCustomPrompt="1"/>
          </p:nvPr>
        </p:nvSpPr>
        <p:spPr bwMode="gray">
          <a:xfrm>
            <a:off x="6313488" y="1412874"/>
            <a:ext cx="2520951" cy="4896446"/>
          </a:xfrm>
          <a:noFill/>
        </p:spPr>
        <p:txBody>
          <a:bodyPr/>
          <a:lstStyle/>
          <a:p>
            <a:pPr lvl="0"/>
            <a:r>
              <a:rPr lang="de-DE" dirty="0"/>
              <a:t>Text hinzufüg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24" name="Inhaltsplatzhalter 2"/>
          <p:cNvSpPr>
            <a:spLocks noGrp="1"/>
          </p:cNvSpPr>
          <p:nvPr>
            <p:ph sz="quarter" idx="30" hasCustomPrompt="1"/>
          </p:nvPr>
        </p:nvSpPr>
        <p:spPr bwMode="gray">
          <a:xfrm>
            <a:off x="9266238" y="1412874"/>
            <a:ext cx="2519981" cy="4896446"/>
          </a:xfrm>
          <a:noFill/>
        </p:spPr>
        <p:txBody>
          <a:bodyPr/>
          <a:lstStyle/>
          <a:p>
            <a:pPr lvl="0"/>
            <a:r>
              <a:rPr lang="de-DE" dirty="0"/>
              <a:t>Text hinzufüg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1" name="Textplatzhalter 3"/>
          <p:cNvSpPr>
            <a:spLocks noGrp="1"/>
          </p:cNvSpPr>
          <p:nvPr>
            <p:ph type="body" sz="quarter" idx="25" hasCustomPrompt="1"/>
          </p:nvPr>
        </p:nvSpPr>
        <p:spPr bwMode="gray">
          <a:xfrm>
            <a:off x="409575" y="6001543"/>
            <a:ext cx="11375379"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dirty="0"/>
              <a:t>Quelle:</a:t>
            </a:r>
          </a:p>
        </p:txBody>
      </p:sp>
      <p:sp>
        <p:nvSpPr>
          <p:cNvPr id="4" name="Titel 3">
            <a:extLst>
              <a:ext uri="{FF2B5EF4-FFF2-40B4-BE49-F238E27FC236}">
                <a16:creationId xmlns:a16="http://schemas.microsoft.com/office/drawing/2014/main" id="{46D73C63-4341-4690-BD8A-273D37E8DD06}"/>
              </a:ext>
            </a:extLst>
          </p:cNvPr>
          <p:cNvSpPr>
            <a:spLocks noGrp="1"/>
          </p:cNvSpPr>
          <p:nvPr>
            <p:ph type="title" hasCustomPrompt="1"/>
          </p:nvPr>
        </p:nvSpPr>
        <p:spPr bwMode="gray"/>
        <p:txBody>
          <a:bodyPr/>
          <a:lstStyle/>
          <a:p>
            <a:r>
              <a:rPr lang="de-DE" dirty="0"/>
              <a:t>Titel durch Klicken bearbeiten</a:t>
            </a:r>
          </a:p>
        </p:txBody>
      </p:sp>
      <p:sp>
        <p:nvSpPr>
          <p:cNvPr id="2" name="Datumsplatzhalter 1">
            <a:extLst>
              <a:ext uri="{FF2B5EF4-FFF2-40B4-BE49-F238E27FC236}">
                <a16:creationId xmlns:a16="http://schemas.microsoft.com/office/drawing/2014/main" id="{3A3DEEEA-F19F-4C71-AA1F-5F25917455A4}"/>
              </a:ext>
            </a:extLst>
          </p:cNvPr>
          <p:cNvSpPr>
            <a:spLocks noGrp="1"/>
          </p:cNvSpPr>
          <p:nvPr>
            <p:ph type="dt" sz="half" idx="31"/>
          </p:nvPr>
        </p:nvSpPr>
        <p:spPr bwMode="gray">
          <a:xfrm>
            <a:off x="10709631" y="151200"/>
            <a:ext cx="748800" cy="180000"/>
          </a:xfrm>
          <a:prstGeom prst="rect">
            <a:avLst/>
          </a:prstGeom>
        </p:spPr>
        <p:txBody>
          <a:bodyPr/>
          <a:lstStyle/>
          <a:p>
            <a:r>
              <a:rPr lang="de-DE"/>
              <a:t>XX.XX.2020</a:t>
            </a:r>
            <a:endParaRPr lang="de-DE" sz="1600" kern="0" dirty="0"/>
          </a:p>
        </p:txBody>
      </p:sp>
      <p:sp>
        <p:nvSpPr>
          <p:cNvPr id="3" name="Fußzeilenplatzhalter 2">
            <a:extLst>
              <a:ext uri="{FF2B5EF4-FFF2-40B4-BE49-F238E27FC236}">
                <a16:creationId xmlns:a16="http://schemas.microsoft.com/office/drawing/2014/main" id="{3045F34B-6618-449D-A8FE-B88511BF55E0}"/>
              </a:ext>
            </a:extLst>
          </p:cNvPr>
          <p:cNvSpPr>
            <a:spLocks noGrp="1"/>
          </p:cNvSpPr>
          <p:nvPr>
            <p:ph type="ftr" sz="quarter" idx="32"/>
          </p:nvPr>
        </p:nvSpPr>
        <p:spPr bwMode="gray">
          <a:xfrm>
            <a:off x="6313488" y="151200"/>
            <a:ext cx="4393761" cy="180000"/>
          </a:xfrm>
          <a:prstGeom prst="rect">
            <a:avLst/>
          </a:prstGeom>
        </p:spPr>
        <p:txBody>
          <a:bodyPr/>
          <a:lstStyle/>
          <a:p>
            <a:r>
              <a:rPr lang="de-DE"/>
              <a:t>Kürzel  |  CX  |</a:t>
            </a:r>
            <a:endParaRPr lang="de-DE" dirty="0"/>
          </a:p>
        </p:txBody>
      </p:sp>
      <p:sp>
        <p:nvSpPr>
          <p:cNvPr id="7" name="Foliennummernplatzhalter 6">
            <a:extLst>
              <a:ext uri="{FF2B5EF4-FFF2-40B4-BE49-F238E27FC236}">
                <a16:creationId xmlns:a16="http://schemas.microsoft.com/office/drawing/2014/main" id="{0682081D-6BAC-4259-A25C-0CB149D9F31B}"/>
              </a:ext>
            </a:extLst>
          </p:cNvPr>
          <p:cNvSpPr>
            <a:spLocks noGrp="1"/>
          </p:cNvSpPr>
          <p:nvPr>
            <p:ph type="sldNum" sz="quarter" idx="33"/>
          </p:nvPr>
        </p:nvSpPr>
        <p:spPr bwMode="gray">
          <a:xfrm>
            <a:off x="11504750" y="151200"/>
            <a:ext cx="280800" cy="180000"/>
          </a:xfrm>
          <a:prstGeom prst="rect">
            <a:avLst/>
          </a:prstGeom>
        </p:spPr>
        <p:txBody>
          <a:bodyPr/>
          <a:lstStyle/>
          <a:p>
            <a:fld id="{9C89B081-1F44-4440-BC7B-989C90F97B77}" type="slidenum">
              <a:rPr lang="de-DE" smtClean="0"/>
              <a:pPr/>
              <a:t>‹Nr.›</a:t>
            </a:fld>
            <a:endParaRPr lang="de-DE" dirty="0"/>
          </a:p>
        </p:txBody>
      </p:sp>
    </p:spTree>
    <p:extLst>
      <p:ext uri="{BB962C8B-B14F-4D97-AF65-F5344CB8AC3E}">
        <p14:creationId xmlns:p14="http://schemas.microsoft.com/office/powerpoint/2010/main" val="2194250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45">
          <p15:clr>
            <a:srgbClr val="F26B43"/>
          </p15:clr>
        </p15:guide>
        <p15:guide id="2" pos="2117">
          <p15:clr>
            <a:srgbClr val="F26B43"/>
          </p15:clr>
        </p15:guide>
        <p15:guide id="3" pos="3705">
          <p15:clr>
            <a:srgbClr val="F26B43"/>
          </p15:clr>
        </p15:guide>
        <p15:guide id="4" pos="3977">
          <p15:clr>
            <a:srgbClr val="F26B43"/>
          </p15:clr>
        </p15:guide>
        <p15:guide id="5" pos="5565">
          <p15:clr>
            <a:srgbClr val="F26B43"/>
          </p15:clr>
        </p15:guide>
        <p15:guide id="6" pos="5837">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Einspaltig mit Bild 01">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EEBE60E-DB8D-49DD-AD9C-2421D3EC2228}"/>
              </a:ext>
            </a:extLst>
          </p:cNvPr>
          <p:cNvSpPr>
            <a:spLocks noGrp="1"/>
          </p:cNvSpPr>
          <p:nvPr>
            <p:ph type="title" hasCustomPrompt="1"/>
          </p:nvPr>
        </p:nvSpPr>
        <p:spPr bwMode="gray"/>
        <p:txBody>
          <a:bodyPr/>
          <a:lstStyle/>
          <a:p>
            <a:r>
              <a:rPr lang="de-DE" dirty="0"/>
              <a:t>Titel durch Klicken bearbeiten</a:t>
            </a:r>
          </a:p>
        </p:txBody>
      </p:sp>
      <p:sp>
        <p:nvSpPr>
          <p:cNvPr id="16" name="Inhaltsplatzhalter 2"/>
          <p:cNvSpPr>
            <a:spLocks noGrp="1"/>
          </p:cNvSpPr>
          <p:nvPr>
            <p:ph sz="quarter" idx="24" hasCustomPrompt="1"/>
          </p:nvPr>
        </p:nvSpPr>
        <p:spPr bwMode="gray">
          <a:xfrm>
            <a:off x="409575" y="1412776"/>
            <a:ext cx="5471491" cy="4896445"/>
          </a:xfrm>
          <a:noFill/>
        </p:spPr>
        <p:txBody>
          <a:bodyPr/>
          <a:lstStyle/>
          <a:p>
            <a:pPr lvl="0"/>
            <a:r>
              <a:rPr lang="de-DE" dirty="0"/>
              <a:t>Text hinzufüg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4" name="Bildplatzhalter 13">
            <a:extLst>
              <a:ext uri="{FF2B5EF4-FFF2-40B4-BE49-F238E27FC236}">
                <a16:creationId xmlns:a16="http://schemas.microsoft.com/office/drawing/2014/main" id="{EB12C414-E7AF-455D-922A-9CBEC695DDA8}"/>
              </a:ext>
            </a:extLst>
          </p:cNvPr>
          <p:cNvSpPr>
            <a:spLocks noGrp="1" noChangeAspect="1"/>
          </p:cNvSpPr>
          <p:nvPr>
            <p:ph type="pic" sz="quarter" idx="27" hasCustomPrompt="1"/>
          </p:nvPr>
        </p:nvSpPr>
        <p:spPr bwMode="gray">
          <a:xfrm>
            <a:off x="6313611" y="407400"/>
            <a:ext cx="5473336" cy="5903281"/>
          </a:xfrm>
          <a:custGeom>
            <a:avLst/>
            <a:gdLst>
              <a:gd name="connsiteX0" fmla="*/ 4676664 w 5473336"/>
              <a:gd name="connsiteY0" fmla="*/ 1449 h 5903281"/>
              <a:gd name="connsiteX1" fmla="*/ 5473336 w 5473336"/>
              <a:gd name="connsiteY1" fmla="*/ 743339 h 5903281"/>
              <a:gd name="connsiteX2" fmla="*/ 5473336 w 5473336"/>
              <a:gd name="connsiteY2" fmla="*/ 2096552 h 5903281"/>
              <a:gd name="connsiteX3" fmla="*/ 5473336 w 5473336"/>
              <a:gd name="connsiteY3" fmla="*/ 3806731 h 5903281"/>
              <a:gd name="connsiteX4" fmla="*/ 5473336 w 5473336"/>
              <a:gd name="connsiteY4" fmla="*/ 4993882 h 5903281"/>
              <a:gd name="connsiteX5" fmla="*/ 966865 w 5473336"/>
              <a:gd name="connsiteY5" fmla="*/ 5882515 h 5903281"/>
              <a:gd name="connsiteX6" fmla="*/ 0 w 5473336"/>
              <a:gd name="connsiteY6" fmla="*/ 5159944 h 5903281"/>
              <a:gd name="connsiteX7" fmla="*/ 0 w 5473336"/>
              <a:gd name="connsiteY7" fmla="*/ 3806731 h 5903281"/>
              <a:gd name="connsiteX8" fmla="*/ 0 w 5473336"/>
              <a:gd name="connsiteY8" fmla="*/ 2096552 h 5903281"/>
              <a:gd name="connsiteX9" fmla="*/ 0 w 5473336"/>
              <a:gd name="connsiteY9" fmla="*/ 909401 h 5903281"/>
              <a:gd name="connsiteX10" fmla="*/ 4506471 w 5473336"/>
              <a:gd name="connsiteY10" fmla="*/ 20768 h 5903281"/>
              <a:gd name="connsiteX11" fmla="*/ 4676664 w 5473336"/>
              <a:gd name="connsiteY11" fmla="*/ 1449 h 5903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73336" h="5903281">
                <a:moveTo>
                  <a:pt x="4676664" y="1449"/>
                </a:moveTo>
                <a:cubicBezTo>
                  <a:pt x="5473336" y="-38045"/>
                  <a:pt x="5473336" y="743339"/>
                  <a:pt x="5473336" y="743339"/>
                </a:cubicBezTo>
                <a:lnTo>
                  <a:pt x="5473336" y="2096552"/>
                </a:lnTo>
                <a:lnTo>
                  <a:pt x="5473336" y="3806731"/>
                </a:lnTo>
                <a:lnTo>
                  <a:pt x="5473336" y="4993882"/>
                </a:lnTo>
                <a:lnTo>
                  <a:pt x="966865" y="5882515"/>
                </a:lnTo>
                <a:cubicBezTo>
                  <a:pt x="0" y="6048985"/>
                  <a:pt x="0" y="5159944"/>
                  <a:pt x="0" y="5159944"/>
                </a:cubicBezTo>
                <a:lnTo>
                  <a:pt x="0" y="3806731"/>
                </a:lnTo>
                <a:lnTo>
                  <a:pt x="0" y="2096552"/>
                </a:lnTo>
                <a:lnTo>
                  <a:pt x="0" y="909401"/>
                </a:lnTo>
                <a:lnTo>
                  <a:pt x="4506471" y="20768"/>
                </a:lnTo>
                <a:cubicBezTo>
                  <a:pt x="4566900" y="10364"/>
                  <a:pt x="4623552" y="4082"/>
                  <a:pt x="4676664" y="1449"/>
                </a:cubicBezTo>
                <a:close/>
              </a:path>
            </a:pathLst>
          </a:custGeom>
          <a:pattFill prst="pct20">
            <a:fgClr>
              <a:schemeClr val="accent3"/>
            </a:fgClr>
            <a:bgClr>
              <a:schemeClr val="bg1"/>
            </a:bgClr>
          </a:pattFill>
        </p:spPr>
        <p:txBody>
          <a:bodyPr vert="horz" wrap="square" lIns="72000" tIns="72000" rIns="72000" bIns="72000" rtlCol="0" anchor="ct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1600" baseline="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600" dirty="0"/>
              <a:t>Um ein Hintergrundbild einzufügen, markieren Sie bitte den </a:t>
            </a:r>
            <a:br>
              <a:rPr lang="de-DE" sz="1600" dirty="0"/>
            </a:br>
            <a:r>
              <a:rPr lang="de-DE" sz="1600" dirty="0"/>
              <a:t>Platzhalter und wählen entweder ein Bild aus der </a:t>
            </a:r>
            <a:r>
              <a:rPr lang="de-DE" sz="1600" dirty="0" err="1"/>
              <a:t>empower</a:t>
            </a:r>
            <a:r>
              <a:rPr lang="de-DE" sz="1600" dirty="0"/>
              <a:t> </a:t>
            </a:r>
            <a:br>
              <a:rPr lang="de-DE" sz="1600" dirty="0"/>
            </a:br>
            <a:r>
              <a:rPr lang="de-DE" sz="1600" dirty="0"/>
              <a:t>Bibliothek oder über den Reiter „Einfügen“, „Bilder“ aus. </a:t>
            </a:r>
          </a:p>
        </p:txBody>
      </p:sp>
      <p:sp>
        <p:nvSpPr>
          <p:cNvPr id="15" name="Textplatzhalter 3"/>
          <p:cNvSpPr>
            <a:spLocks noGrp="1"/>
          </p:cNvSpPr>
          <p:nvPr>
            <p:ph type="body" sz="quarter" idx="23" hasCustomPrompt="1"/>
          </p:nvPr>
        </p:nvSpPr>
        <p:spPr bwMode="gray">
          <a:xfrm>
            <a:off x="409575" y="6001543"/>
            <a:ext cx="5472112"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dirty="0"/>
              <a:t>Quelle:</a:t>
            </a:r>
          </a:p>
        </p:txBody>
      </p:sp>
      <p:sp>
        <p:nvSpPr>
          <p:cNvPr id="2" name="Datumsplatzhalter 1">
            <a:extLst>
              <a:ext uri="{FF2B5EF4-FFF2-40B4-BE49-F238E27FC236}">
                <a16:creationId xmlns:a16="http://schemas.microsoft.com/office/drawing/2014/main" id="{C5205EA1-1639-4F30-AF68-7B22600A88EF}"/>
              </a:ext>
            </a:extLst>
          </p:cNvPr>
          <p:cNvSpPr>
            <a:spLocks noGrp="1"/>
          </p:cNvSpPr>
          <p:nvPr>
            <p:ph type="dt" sz="half" idx="28"/>
          </p:nvPr>
        </p:nvSpPr>
        <p:spPr bwMode="gray">
          <a:xfrm>
            <a:off x="10709631" y="151200"/>
            <a:ext cx="748800" cy="180000"/>
          </a:xfrm>
          <a:prstGeom prst="rect">
            <a:avLst/>
          </a:prstGeom>
        </p:spPr>
        <p:txBody>
          <a:bodyPr/>
          <a:lstStyle/>
          <a:p>
            <a:r>
              <a:rPr lang="de-DE"/>
              <a:t>XX.XX.2020</a:t>
            </a:r>
            <a:endParaRPr lang="de-DE" sz="1600" kern="0" dirty="0"/>
          </a:p>
        </p:txBody>
      </p:sp>
      <p:sp>
        <p:nvSpPr>
          <p:cNvPr id="3" name="Fußzeilenplatzhalter 2">
            <a:extLst>
              <a:ext uri="{FF2B5EF4-FFF2-40B4-BE49-F238E27FC236}">
                <a16:creationId xmlns:a16="http://schemas.microsoft.com/office/drawing/2014/main" id="{B26FFBD5-254C-4569-AEC0-62518BE0B146}"/>
              </a:ext>
            </a:extLst>
          </p:cNvPr>
          <p:cNvSpPr>
            <a:spLocks noGrp="1"/>
          </p:cNvSpPr>
          <p:nvPr>
            <p:ph type="ftr" sz="quarter" idx="29"/>
          </p:nvPr>
        </p:nvSpPr>
        <p:spPr bwMode="gray">
          <a:xfrm>
            <a:off x="6313488" y="151200"/>
            <a:ext cx="4393761" cy="180000"/>
          </a:xfrm>
          <a:prstGeom prst="rect">
            <a:avLst/>
          </a:prstGeom>
        </p:spPr>
        <p:txBody>
          <a:bodyPr/>
          <a:lstStyle/>
          <a:p>
            <a:r>
              <a:rPr lang="de-DE"/>
              <a:t>Kürzel  |  CX  |</a:t>
            </a:r>
            <a:endParaRPr lang="de-DE" dirty="0"/>
          </a:p>
        </p:txBody>
      </p:sp>
      <p:sp>
        <p:nvSpPr>
          <p:cNvPr id="7" name="Foliennummernplatzhalter 6">
            <a:extLst>
              <a:ext uri="{FF2B5EF4-FFF2-40B4-BE49-F238E27FC236}">
                <a16:creationId xmlns:a16="http://schemas.microsoft.com/office/drawing/2014/main" id="{891DA30A-614F-471D-ADA9-5B8FA487254A}"/>
              </a:ext>
            </a:extLst>
          </p:cNvPr>
          <p:cNvSpPr>
            <a:spLocks noGrp="1"/>
          </p:cNvSpPr>
          <p:nvPr>
            <p:ph type="sldNum" sz="quarter" idx="30"/>
          </p:nvPr>
        </p:nvSpPr>
        <p:spPr bwMode="gray">
          <a:xfrm>
            <a:off x="11504750" y="151200"/>
            <a:ext cx="280800" cy="180000"/>
          </a:xfrm>
          <a:prstGeom prst="rect">
            <a:avLst/>
          </a:prstGeom>
        </p:spPr>
        <p:txBody>
          <a:bodyPr/>
          <a:lstStyle/>
          <a:p>
            <a:fld id="{9C89B081-1F44-4440-BC7B-989C90F97B77}" type="slidenum">
              <a:rPr lang="de-DE" smtClean="0"/>
              <a:pPr/>
              <a:t>‹Nr.›</a:t>
            </a:fld>
            <a:endParaRPr lang="de-DE" dirty="0"/>
          </a:p>
        </p:txBody>
      </p:sp>
    </p:spTree>
    <p:extLst>
      <p:ext uri="{BB962C8B-B14F-4D97-AF65-F5344CB8AC3E}">
        <p14:creationId xmlns:p14="http://schemas.microsoft.com/office/powerpoint/2010/main" val="587543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p15="http://schemas.microsoft.com/office/powerpoint/2012/main" xmlns:a16="http://schemas.microsoft.com/office/drawing/2014/main">
      <p:transition spd="med">
        <p:fade/>
      </p:transition>
    </mc:Fallback>
  </mc:AlternateContent>
  <p:extLst>
    <p:ext uri="{DCECCB84-F9BA-43D5-87BE-67443E8EF086}">
      <p15:sldGuideLst xmlns:p15="http://schemas.microsoft.com/office/powerpoint/2012/main">
        <p15:guide id="2" pos="257">
          <p15:clr>
            <a:srgbClr val="F26B43"/>
          </p15:clr>
        </p15:guide>
        <p15:guide id="3" orient="horz" pos="255">
          <p15:clr>
            <a:srgbClr val="F26B43"/>
          </p15:clr>
        </p15:guide>
        <p15:guide id="6" orient="horz" pos="890">
          <p15:clr>
            <a:srgbClr val="F26B43"/>
          </p15:clr>
        </p15:guide>
        <p15:guide id="9" pos="3977">
          <p15:clr>
            <a:srgbClr val="F26B43"/>
          </p15:clr>
        </p15:guide>
        <p15:guide id="10" pos="3705">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Einspaltig mit Bild 02">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850631F5-C5A4-4332-ADBE-F5BC82829315}"/>
              </a:ext>
            </a:extLst>
          </p:cNvPr>
          <p:cNvSpPr>
            <a:spLocks noGrp="1" noChangeAspect="1"/>
          </p:cNvSpPr>
          <p:nvPr>
            <p:ph type="pic" sz="quarter" idx="27" hasCustomPrompt="1"/>
          </p:nvPr>
        </p:nvSpPr>
        <p:spPr bwMode="gray">
          <a:xfrm>
            <a:off x="6103895" y="-1"/>
            <a:ext cx="6091280" cy="6310680"/>
          </a:xfrm>
          <a:custGeom>
            <a:avLst/>
            <a:gdLst>
              <a:gd name="connsiteX0" fmla="*/ 0 w 6091280"/>
              <a:gd name="connsiteY0" fmla="*/ 0 h 6310680"/>
              <a:gd name="connsiteX1" fmla="*/ 6091280 w 6091280"/>
              <a:gd name="connsiteY1" fmla="*/ 0 h 6310680"/>
              <a:gd name="connsiteX2" fmla="*/ 6091280 w 6091280"/>
              <a:gd name="connsiteY2" fmla="*/ 5279428 h 6310680"/>
              <a:gd name="connsiteX3" fmla="*/ 966865 w 6091280"/>
              <a:gd name="connsiteY3" fmla="*/ 6289914 h 6310680"/>
              <a:gd name="connsiteX4" fmla="*/ 0 w 6091280"/>
              <a:gd name="connsiteY4" fmla="*/ 5567343 h 6310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1280" h="6310680">
                <a:moveTo>
                  <a:pt x="0" y="0"/>
                </a:moveTo>
                <a:lnTo>
                  <a:pt x="6091280" y="0"/>
                </a:lnTo>
                <a:lnTo>
                  <a:pt x="6091280" y="5279428"/>
                </a:lnTo>
                <a:lnTo>
                  <a:pt x="966865" y="6289914"/>
                </a:lnTo>
                <a:cubicBezTo>
                  <a:pt x="0" y="6456384"/>
                  <a:pt x="0" y="5567343"/>
                  <a:pt x="0" y="5567343"/>
                </a:cubicBezTo>
                <a:close/>
              </a:path>
            </a:pathLst>
          </a:custGeom>
          <a:pattFill prst="pct20">
            <a:fgClr>
              <a:schemeClr val="accent3"/>
            </a:fgClr>
            <a:bgClr>
              <a:schemeClr val="bg1"/>
            </a:bgClr>
          </a:pattFill>
        </p:spPr>
        <p:txBody>
          <a:bodyPr vert="horz" wrap="square" lIns="72000" tIns="72000" rIns="72000" bIns="72000" rtlCol="0" anchor="t">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1600" baseline="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600" dirty="0"/>
              <a:t>Um ein Hintergrundbild einzufügen, markieren Sie bitte den </a:t>
            </a:r>
            <a:br>
              <a:rPr lang="de-DE" sz="1600" dirty="0"/>
            </a:br>
            <a:r>
              <a:rPr lang="de-DE" sz="1600" dirty="0"/>
              <a:t>Platzhalter und wählen entweder ein Bild aus der </a:t>
            </a:r>
            <a:r>
              <a:rPr lang="de-DE" sz="1600" dirty="0" err="1"/>
              <a:t>empower</a:t>
            </a:r>
            <a:r>
              <a:rPr lang="de-DE" sz="1600" dirty="0"/>
              <a:t> </a:t>
            </a:r>
            <a:br>
              <a:rPr lang="de-DE" sz="1600" dirty="0"/>
            </a:br>
            <a:r>
              <a:rPr lang="de-DE" sz="1600" dirty="0"/>
              <a:t>Bibliothek oder über den Reiter „Einfügen“, „Bilder“ aus. </a:t>
            </a:r>
          </a:p>
        </p:txBody>
      </p:sp>
      <p:sp>
        <p:nvSpPr>
          <p:cNvPr id="16" name="Inhaltsplatzhalter 2"/>
          <p:cNvSpPr>
            <a:spLocks noGrp="1"/>
          </p:cNvSpPr>
          <p:nvPr>
            <p:ph sz="quarter" idx="24" hasCustomPrompt="1"/>
          </p:nvPr>
        </p:nvSpPr>
        <p:spPr bwMode="gray">
          <a:xfrm>
            <a:off x="409575" y="1412776"/>
            <a:ext cx="5472113" cy="4896445"/>
          </a:xfrm>
          <a:noFill/>
        </p:spPr>
        <p:txBody>
          <a:bodyPr/>
          <a:lstStyle/>
          <a:p>
            <a:pPr lvl="0"/>
            <a:r>
              <a:rPr lang="de-DE" dirty="0"/>
              <a:t>Text hinzufüg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5" name="Textplatzhalter 3"/>
          <p:cNvSpPr>
            <a:spLocks noGrp="1"/>
          </p:cNvSpPr>
          <p:nvPr>
            <p:ph type="body" sz="quarter" idx="23" hasCustomPrompt="1"/>
          </p:nvPr>
        </p:nvSpPr>
        <p:spPr bwMode="gray">
          <a:xfrm>
            <a:off x="409576" y="6001543"/>
            <a:ext cx="5472112"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dirty="0"/>
              <a:t>Quelle:</a:t>
            </a:r>
          </a:p>
        </p:txBody>
      </p:sp>
      <p:sp>
        <p:nvSpPr>
          <p:cNvPr id="4" name="Titel 3">
            <a:extLst>
              <a:ext uri="{FF2B5EF4-FFF2-40B4-BE49-F238E27FC236}">
                <a16:creationId xmlns:a16="http://schemas.microsoft.com/office/drawing/2014/main" id="{459DFFE7-845B-4F17-9659-3E651A67BF87}"/>
              </a:ext>
            </a:extLst>
          </p:cNvPr>
          <p:cNvSpPr>
            <a:spLocks noGrp="1"/>
          </p:cNvSpPr>
          <p:nvPr>
            <p:ph type="title" hasCustomPrompt="1"/>
          </p:nvPr>
        </p:nvSpPr>
        <p:spPr bwMode="gray">
          <a:xfrm>
            <a:off x="409575" y="404664"/>
            <a:ext cx="5472113" cy="720000"/>
          </a:xfrm>
        </p:spPr>
        <p:txBody>
          <a:bodyPr/>
          <a:lstStyle/>
          <a:p>
            <a:r>
              <a:rPr lang="de-DE" dirty="0"/>
              <a:t>Titel durch Klicken bearbeiten</a:t>
            </a:r>
          </a:p>
        </p:txBody>
      </p:sp>
      <p:sp>
        <p:nvSpPr>
          <p:cNvPr id="6" name="Textfeld 5">
            <a:extLst>
              <a:ext uri="{FF2B5EF4-FFF2-40B4-BE49-F238E27FC236}">
                <a16:creationId xmlns:a16="http://schemas.microsoft.com/office/drawing/2014/main" id="{9FB54E90-CCB7-490E-B8FF-0FA3327750EE}"/>
              </a:ext>
            </a:extLst>
          </p:cNvPr>
          <p:cNvSpPr txBox="1"/>
          <p:nvPr/>
        </p:nvSpPr>
        <p:spPr bwMode="gray">
          <a:xfrm>
            <a:off x="409575" y="6516000"/>
            <a:ext cx="11376000" cy="144000"/>
          </a:xfrm>
          <a:prstGeom prst="rect">
            <a:avLst/>
          </a:prstGeom>
          <a:noFill/>
        </p:spPr>
        <p:txBody>
          <a:bodyPr wrap="square" lIns="0" tIns="0" rIns="0" bIns="0" rtlCol="0" anchor="t">
            <a:noAutofit/>
          </a:bodyPr>
          <a:lstStyle/>
          <a:p>
            <a:pPr marL="0" marR="0" lvl="0" indent="0" defTabSz="914400" eaLnBrk="1" fontAlgn="auto" latinLnBrk="0" hangingPunct="1">
              <a:lnSpc>
                <a:spcPct val="100000"/>
              </a:lnSpc>
              <a:spcBef>
                <a:spcPts val="0"/>
              </a:spcBef>
              <a:spcAft>
                <a:spcPts val="0"/>
              </a:spcAft>
              <a:buClr>
                <a:srgbClr val="003F74"/>
              </a:buClr>
              <a:buSzTx/>
              <a:buFontTx/>
              <a:buNone/>
              <a:tabLst/>
              <a:defRPr/>
            </a:pPr>
            <a:r>
              <a:rPr kumimoji="0" lang="de-DE" sz="1000" b="0" i="0" u="none" strike="noStrike" kern="0" cap="none" spc="0" normalizeH="0" baseline="0" noProof="0" dirty="0">
                <a:ln>
                  <a:noFill/>
                </a:ln>
                <a:solidFill>
                  <a:schemeClr val="tx2"/>
                </a:solidFill>
                <a:effectLst/>
                <a:uLnTx/>
                <a:uFillTx/>
              </a:rPr>
              <a:t>Union Investment  </a:t>
            </a:r>
            <a:r>
              <a:rPr kumimoji="0" lang="de-DE" sz="1000" b="0" i="0" u="none" strike="noStrike" kern="0" cap="none" spc="0" normalizeH="0" baseline="0" noProof="0" dirty="0">
                <a:ln>
                  <a:noFill/>
                </a:ln>
                <a:solidFill>
                  <a:srgbClr val="888888"/>
                </a:solidFill>
                <a:effectLst/>
                <a:uLnTx/>
                <a:uFillTx/>
              </a:rPr>
              <a:t>|  Genossenschaftliche FinanzGruppe Volksbanken Raiffeisenbanken</a:t>
            </a:r>
          </a:p>
        </p:txBody>
      </p:sp>
    </p:spTree>
    <p:extLst>
      <p:ext uri="{BB962C8B-B14F-4D97-AF65-F5344CB8AC3E}">
        <p14:creationId xmlns:p14="http://schemas.microsoft.com/office/powerpoint/2010/main" val="2360609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p15="http://schemas.microsoft.com/office/powerpoint/2012/main" xmlns:a16="http://schemas.microsoft.com/office/drawing/2014/main">
      <p:transition spd="med">
        <p:fade/>
      </p:transition>
    </mc:Fallback>
  </mc:AlternateContent>
  <p:extLst>
    <p:ext uri="{DCECCB84-F9BA-43D5-87BE-67443E8EF086}">
      <p15:sldGuideLst xmlns:p15="http://schemas.microsoft.com/office/powerpoint/2012/main">
        <p15:guide id="2" pos="257">
          <p15:clr>
            <a:srgbClr val="F26B43"/>
          </p15:clr>
        </p15:guide>
        <p15:guide id="3" orient="horz" pos="255">
          <p15:clr>
            <a:srgbClr val="F26B43"/>
          </p15:clr>
        </p15:guide>
        <p15:guide id="6" orient="horz" pos="890">
          <p15:clr>
            <a:srgbClr val="F26B43"/>
          </p15:clr>
        </p15:guide>
        <p15:guide id="9" pos="3977">
          <p15:clr>
            <a:srgbClr val="F26B43"/>
          </p15:clr>
        </p15:guide>
        <p15:guide id="10" pos="3705">
          <p15:clr>
            <a:srgbClr val="F26B43"/>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Zweispaltig mit Markenform rechts 01">
    <p:spTree>
      <p:nvGrpSpPr>
        <p:cNvPr id="1" name=""/>
        <p:cNvGrpSpPr/>
        <p:nvPr/>
      </p:nvGrpSpPr>
      <p:grpSpPr>
        <a:xfrm>
          <a:off x="0" y="0"/>
          <a:ext cx="0" cy="0"/>
          <a:chOff x="0" y="0"/>
          <a:chExt cx="0" cy="0"/>
        </a:xfrm>
      </p:grpSpPr>
      <p:sp>
        <p:nvSpPr>
          <p:cNvPr id="16" name="Inhaltsplatzhalter 2"/>
          <p:cNvSpPr>
            <a:spLocks noGrp="1"/>
          </p:cNvSpPr>
          <p:nvPr>
            <p:ph sz="quarter" idx="24" hasCustomPrompt="1"/>
          </p:nvPr>
        </p:nvSpPr>
        <p:spPr bwMode="gray">
          <a:xfrm>
            <a:off x="409575" y="1412776"/>
            <a:ext cx="5472113" cy="4896445"/>
          </a:xfrm>
          <a:noFill/>
        </p:spPr>
        <p:txBody>
          <a:bodyPr/>
          <a:lstStyle/>
          <a:p>
            <a:pPr lvl="0"/>
            <a:r>
              <a:rPr lang="de-DE" dirty="0"/>
              <a:t>Text hinzufüg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5" name="Textplatzhalter 3"/>
          <p:cNvSpPr>
            <a:spLocks noGrp="1"/>
          </p:cNvSpPr>
          <p:nvPr>
            <p:ph type="body" sz="quarter" idx="23" hasCustomPrompt="1"/>
          </p:nvPr>
        </p:nvSpPr>
        <p:spPr bwMode="gray">
          <a:xfrm>
            <a:off x="409575" y="6001543"/>
            <a:ext cx="5472112"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dirty="0"/>
              <a:t>Quelle:</a:t>
            </a:r>
          </a:p>
        </p:txBody>
      </p:sp>
      <p:sp>
        <p:nvSpPr>
          <p:cNvPr id="4" name="Titel 3">
            <a:extLst>
              <a:ext uri="{FF2B5EF4-FFF2-40B4-BE49-F238E27FC236}">
                <a16:creationId xmlns:a16="http://schemas.microsoft.com/office/drawing/2014/main" id="{EF550B05-BBDA-4484-9C99-1A5177950AB4}"/>
              </a:ext>
            </a:extLst>
          </p:cNvPr>
          <p:cNvSpPr>
            <a:spLocks noGrp="1"/>
          </p:cNvSpPr>
          <p:nvPr>
            <p:ph type="title" hasCustomPrompt="1"/>
          </p:nvPr>
        </p:nvSpPr>
        <p:spPr bwMode="gray">
          <a:xfrm>
            <a:off x="409575" y="404664"/>
            <a:ext cx="5472113" cy="720000"/>
          </a:xfrm>
        </p:spPr>
        <p:txBody>
          <a:bodyPr/>
          <a:lstStyle>
            <a:lvl1pPr>
              <a:defRPr/>
            </a:lvl1pPr>
          </a:lstStyle>
          <a:p>
            <a:r>
              <a:rPr lang="de-DE" dirty="0"/>
              <a:t>Titel durch Klicken bearbeiten</a:t>
            </a:r>
          </a:p>
        </p:txBody>
      </p:sp>
      <p:sp>
        <p:nvSpPr>
          <p:cNvPr id="6" name="Textplatzhalter 13">
            <a:extLst>
              <a:ext uri="{FF2B5EF4-FFF2-40B4-BE49-F238E27FC236}">
                <a16:creationId xmlns:a16="http://schemas.microsoft.com/office/drawing/2014/main" id="{6C491B61-7B90-413A-9B73-E31BC9BBE58A}"/>
              </a:ext>
            </a:extLst>
          </p:cNvPr>
          <p:cNvSpPr>
            <a:spLocks noGrp="1" noChangeAspect="1"/>
          </p:cNvSpPr>
          <p:nvPr>
            <p:ph type="body" sz="quarter" idx="28" hasCustomPrompt="1"/>
          </p:nvPr>
        </p:nvSpPr>
        <p:spPr bwMode="gray">
          <a:xfrm>
            <a:off x="6103895" y="-1"/>
            <a:ext cx="6091280" cy="6310680"/>
          </a:xfrm>
          <a:custGeom>
            <a:avLst/>
            <a:gdLst>
              <a:gd name="connsiteX0" fmla="*/ 0 w 6091280"/>
              <a:gd name="connsiteY0" fmla="*/ 0 h 6310680"/>
              <a:gd name="connsiteX1" fmla="*/ 6091280 w 6091280"/>
              <a:gd name="connsiteY1" fmla="*/ 0 h 6310680"/>
              <a:gd name="connsiteX2" fmla="*/ 6091280 w 6091280"/>
              <a:gd name="connsiteY2" fmla="*/ 5279428 h 6310680"/>
              <a:gd name="connsiteX3" fmla="*/ 966865 w 6091280"/>
              <a:gd name="connsiteY3" fmla="*/ 6289914 h 6310680"/>
              <a:gd name="connsiteX4" fmla="*/ 0 w 6091280"/>
              <a:gd name="connsiteY4" fmla="*/ 5567343 h 6310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1280" h="6310680">
                <a:moveTo>
                  <a:pt x="0" y="0"/>
                </a:moveTo>
                <a:lnTo>
                  <a:pt x="6091280" y="0"/>
                </a:lnTo>
                <a:lnTo>
                  <a:pt x="6091280" y="5279428"/>
                </a:lnTo>
                <a:lnTo>
                  <a:pt x="966865" y="6289914"/>
                </a:lnTo>
                <a:cubicBezTo>
                  <a:pt x="0" y="6456384"/>
                  <a:pt x="0" y="5567343"/>
                  <a:pt x="0" y="5567343"/>
                </a:cubicBezTo>
                <a:close/>
              </a:path>
            </a:pathLst>
          </a:custGeom>
          <a:solidFill>
            <a:srgbClr val="E9E9E9"/>
          </a:solidFill>
        </p:spPr>
        <p:txBody>
          <a:bodyPr wrap="square" lIns="568800" tIns="1411200" rIns="396000">
            <a:noAutofit/>
          </a:bodyPr>
          <a:lstStyle>
            <a:lvl1pPr marL="0" marR="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solidFill>
                  <a:schemeClr val="tx2"/>
                </a:solidFill>
              </a:defRPr>
            </a:lvl1pPr>
            <a:lvl2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tx1"/>
                </a:solidFill>
              </a:defRPr>
            </a:lvl2pPr>
            <a:lvl3pPr marL="180000" marR="0" indent="-18000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solidFill>
                  <a:schemeClr val="tx1"/>
                </a:solidFill>
              </a:defRPr>
            </a:lvl3pPr>
            <a:lvl4pPr marL="360000" marR="0" indent="-18000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solidFill>
                  <a:schemeClr val="tx1"/>
                </a:solidFill>
              </a:defRPr>
            </a:lvl4pPr>
            <a:lvl5pPr marL="576000" marR="0" indent="-216000" algn="l" defTabSz="914400" rtl="0" eaLnBrk="1" fontAlgn="auto" latinLnBrk="0" hangingPunct="1">
              <a:lnSpc>
                <a:spcPct val="100000"/>
              </a:lnSpc>
              <a:spcBef>
                <a:spcPts val="400"/>
              </a:spcBef>
              <a:spcAft>
                <a:spcPts val="0"/>
              </a:spcAft>
              <a:buClrTx/>
              <a:buSzTx/>
              <a:buFont typeface="Symbol" panose="05050102010706020507" pitchFamily="18" charset="2"/>
              <a:buChar char="-"/>
              <a:tabLst/>
              <a:defRPr>
                <a:solidFill>
                  <a:schemeClr val="tx1"/>
                </a:solidFill>
              </a:defRPr>
            </a:lvl5pPr>
            <a:lvl6pPr marL="576000" marR="0" indent="-216000" algn="l" defTabSz="914400" rtl="0" eaLnBrk="1" fontAlgn="auto" latinLnBrk="0" hangingPunct="1">
              <a:lnSpc>
                <a:spcPct val="100000"/>
              </a:lnSpc>
              <a:spcBef>
                <a:spcPts val="400"/>
              </a:spcBef>
              <a:spcAft>
                <a:spcPts val="0"/>
              </a:spcAft>
              <a:buClrTx/>
              <a:buSzTx/>
              <a:buFont typeface="Symbol" panose="05050102010706020507" pitchFamily="18" charset="2"/>
              <a:buChar char="-"/>
              <a:tabLst/>
              <a:defRPr>
                <a:solidFill>
                  <a:schemeClr val="tx1"/>
                </a:solidFill>
              </a:defRPr>
            </a:lvl6pPr>
            <a:lvl7pPr marL="576000" marR="0" indent="-216000" algn="l" defTabSz="914400" rtl="0" eaLnBrk="1" fontAlgn="auto" latinLnBrk="0" hangingPunct="1">
              <a:lnSpc>
                <a:spcPct val="100000"/>
              </a:lnSpc>
              <a:spcBef>
                <a:spcPts val="400"/>
              </a:spcBef>
              <a:spcAft>
                <a:spcPts val="0"/>
              </a:spcAft>
              <a:buClrTx/>
              <a:buSzTx/>
              <a:buFont typeface="Symbol" panose="05050102010706020507" pitchFamily="18" charset="2"/>
              <a:buChar char="-"/>
              <a:tabLst/>
              <a:defRPr>
                <a:solidFill>
                  <a:schemeClr val="tx1"/>
                </a:solidFill>
              </a:defRPr>
            </a:lvl7pPr>
            <a:lvl8pPr marL="576000" marR="0" indent="-216000" algn="l" defTabSz="914400" rtl="0" eaLnBrk="1" fontAlgn="auto" latinLnBrk="0" hangingPunct="1">
              <a:lnSpc>
                <a:spcPct val="100000"/>
              </a:lnSpc>
              <a:spcBef>
                <a:spcPts val="400"/>
              </a:spcBef>
              <a:spcAft>
                <a:spcPts val="0"/>
              </a:spcAft>
              <a:buClrTx/>
              <a:buSzTx/>
              <a:buFont typeface="Symbol" panose="05050102010706020507" pitchFamily="18" charset="2"/>
              <a:buChar char="-"/>
              <a:tabLst/>
              <a:defRPr>
                <a:solidFill>
                  <a:schemeClr val="tx1"/>
                </a:solidFill>
              </a:defRPr>
            </a:lvl8pPr>
            <a:lvl9pPr marL="576000" marR="0" indent="-216000" algn="l" defTabSz="914400" rtl="0" eaLnBrk="1" fontAlgn="auto" latinLnBrk="0" hangingPunct="1">
              <a:lnSpc>
                <a:spcPct val="100000"/>
              </a:lnSpc>
              <a:spcBef>
                <a:spcPts val="400"/>
              </a:spcBef>
              <a:spcAft>
                <a:spcPts val="0"/>
              </a:spcAft>
              <a:buClrTx/>
              <a:buSzTx/>
              <a:buFont typeface="Symbol" panose="05050102010706020507" pitchFamily="18" charset="2"/>
              <a:buChar char="-"/>
              <a:tabLst/>
              <a:defRPr>
                <a:solidFill>
                  <a:schemeClr val="tx1"/>
                </a:solidFill>
              </a:defRPr>
            </a:lvl9pPr>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de-DE" sz="1800" b="0" i="0" u="none" strike="noStrike" kern="1200" cap="none" spc="0" normalizeH="0" baseline="0" noProof="0" dirty="0">
                <a:ln>
                  <a:noFill/>
                </a:ln>
                <a:solidFill>
                  <a:srgbClr val="00358E"/>
                </a:solidFill>
                <a:effectLst/>
                <a:uLnTx/>
                <a:uFillTx/>
                <a:latin typeface="+mn-lt"/>
                <a:ea typeface="+mn-ea"/>
                <a:cs typeface="+mn-cs"/>
              </a:rPr>
              <a:t>Text hinzufügen</a:t>
            </a:r>
          </a:p>
          <a:p>
            <a:pPr marL="0" marR="0" lvl="1"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1800" b="0" i="0" u="none" strike="noStrike" kern="1200" cap="none" spc="0" normalizeH="0" baseline="0" noProof="0" dirty="0">
                <a:ln>
                  <a:noFill/>
                </a:ln>
                <a:solidFill>
                  <a:prstClr val="black"/>
                </a:solidFill>
                <a:effectLst/>
                <a:uLnTx/>
                <a:uFillTx/>
                <a:latin typeface="+mn-lt"/>
                <a:ea typeface="+mn-ea"/>
                <a:cs typeface="+mn-cs"/>
              </a:rPr>
              <a:t>Zweite Ebene</a:t>
            </a:r>
          </a:p>
          <a:p>
            <a:pPr marL="180000" marR="0" lvl="2" indent="-18000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de-DE" sz="1800" b="0" i="0" u="none" strike="noStrike" kern="1200" cap="none" spc="0" normalizeH="0" baseline="0" noProof="0" dirty="0">
                <a:ln>
                  <a:noFill/>
                </a:ln>
                <a:solidFill>
                  <a:prstClr val="black"/>
                </a:solidFill>
                <a:effectLst/>
                <a:uLnTx/>
                <a:uFillTx/>
                <a:latin typeface="+mn-lt"/>
                <a:ea typeface="+mn-ea"/>
                <a:cs typeface="+mn-cs"/>
              </a:rPr>
              <a:t>Dritte Ebene</a:t>
            </a:r>
          </a:p>
          <a:p>
            <a:pPr marL="360000" marR="0" lvl="3" indent="-18000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de-DE" sz="1800" b="0" i="0" u="none" strike="noStrike" kern="1200" cap="none" spc="0" normalizeH="0" baseline="0" noProof="0" dirty="0">
                <a:ln>
                  <a:noFill/>
                </a:ln>
                <a:solidFill>
                  <a:prstClr val="black"/>
                </a:solidFill>
                <a:effectLst/>
                <a:uLnTx/>
                <a:uFillTx/>
                <a:latin typeface="+mn-lt"/>
                <a:ea typeface="+mn-ea"/>
                <a:cs typeface="+mn-cs"/>
              </a:rPr>
              <a:t>Vierte Ebene</a:t>
            </a:r>
          </a:p>
          <a:p>
            <a:pPr marL="576000" marR="0" lvl="4" indent="-216000" algn="l" defTabSz="914400" rtl="0" eaLnBrk="1" fontAlgn="auto" latinLnBrk="0" hangingPunct="1">
              <a:lnSpc>
                <a:spcPct val="100000"/>
              </a:lnSpc>
              <a:spcBef>
                <a:spcPts val="400"/>
              </a:spcBef>
              <a:spcAft>
                <a:spcPts val="0"/>
              </a:spcAft>
              <a:buClrTx/>
              <a:buSzTx/>
              <a:buFont typeface="Symbol" panose="05050102010706020507" pitchFamily="18" charset="2"/>
              <a:buChar char="-"/>
              <a:tabLst/>
              <a:defRPr/>
            </a:pPr>
            <a:r>
              <a:rPr kumimoji="0" lang="de-DE" sz="1800" b="0" i="0" u="none" strike="noStrike" kern="1200" cap="none" spc="0" normalizeH="0" baseline="0" noProof="0" dirty="0">
                <a:ln>
                  <a:noFill/>
                </a:ln>
                <a:solidFill>
                  <a:prstClr val="black"/>
                </a:solidFill>
                <a:effectLst/>
                <a:uLnTx/>
                <a:uFillTx/>
                <a:latin typeface="+mn-lt"/>
                <a:ea typeface="+mn-ea"/>
                <a:cs typeface="+mn-cs"/>
              </a:rPr>
              <a:t>Fünfte Ebene</a:t>
            </a:r>
          </a:p>
          <a:p>
            <a:pPr marL="576000" marR="0" lvl="5" indent="-216000" algn="l" defTabSz="914400" rtl="0" eaLnBrk="1" fontAlgn="auto" latinLnBrk="0" hangingPunct="1">
              <a:lnSpc>
                <a:spcPct val="100000"/>
              </a:lnSpc>
              <a:spcBef>
                <a:spcPts val="400"/>
              </a:spcBef>
              <a:spcAft>
                <a:spcPts val="0"/>
              </a:spcAft>
              <a:buClrTx/>
              <a:buSzTx/>
              <a:buFont typeface="Symbol" panose="05050102010706020507" pitchFamily="18" charset="2"/>
              <a:buChar char="-"/>
              <a:tabLst/>
              <a:defRPr/>
            </a:pPr>
            <a:r>
              <a:rPr kumimoji="0" lang="de-DE" sz="1800" b="0" i="0" u="none" strike="noStrike" kern="1200" cap="none" spc="0" normalizeH="0" baseline="0" noProof="0" dirty="0">
                <a:ln>
                  <a:noFill/>
                </a:ln>
                <a:solidFill>
                  <a:prstClr val="black"/>
                </a:solidFill>
                <a:effectLst/>
                <a:uLnTx/>
                <a:uFillTx/>
                <a:latin typeface="+mn-lt"/>
                <a:ea typeface="+mn-ea"/>
                <a:cs typeface="+mn-cs"/>
              </a:rPr>
              <a:t>Sechste Ebene</a:t>
            </a:r>
          </a:p>
          <a:p>
            <a:pPr marL="576000" marR="0" lvl="6" indent="-216000" algn="l" defTabSz="914400" rtl="0" eaLnBrk="1" fontAlgn="auto" latinLnBrk="0" hangingPunct="1">
              <a:lnSpc>
                <a:spcPct val="100000"/>
              </a:lnSpc>
              <a:spcBef>
                <a:spcPts val="400"/>
              </a:spcBef>
              <a:spcAft>
                <a:spcPts val="0"/>
              </a:spcAft>
              <a:buClrTx/>
              <a:buSzTx/>
              <a:buFont typeface="Symbol" panose="05050102010706020507" pitchFamily="18" charset="2"/>
              <a:buChar char="-"/>
              <a:tabLst/>
              <a:defRPr/>
            </a:pPr>
            <a:r>
              <a:rPr kumimoji="0" lang="de-DE" sz="1800" b="0" i="0" u="none" strike="noStrike" kern="1200" cap="none" spc="0" normalizeH="0" baseline="0" noProof="0" dirty="0">
                <a:ln>
                  <a:noFill/>
                </a:ln>
                <a:solidFill>
                  <a:prstClr val="black"/>
                </a:solidFill>
                <a:effectLst/>
                <a:uLnTx/>
                <a:uFillTx/>
                <a:latin typeface="+mn-lt"/>
                <a:ea typeface="+mn-ea"/>
                <a:cs typeface="+mn-cs"/>
              </a:rPr>
              <a:t>Siebte Ebene</a:t>
            </a:r>
          </a:p>
          <a:p>
            <a:pPr marL="576000" marR="0" lvl="7" indent="-216000" algn="l" defTabSz="914400" rtl="0" eaLnBrk="1" fontAlgn="auto" latinLnBrk="0" hangingPunct="1">
              <a:lnSpc>
                <a:spcPct val="100000"/>
              </a:lnSpc>
              <a:spcBef>
                <a:spcPts val="400"/>
              </a:spcBef>
              <a:spcAft>
                <a:spcPts val="0"/>
              </a:spcAft>
              <a:buClrTx/>
              <a:buSzTx/>
              <a:buFont typeface="Symbol" panose="05050102010706020507" pitchFamily="18" charset="2"/>
              <a:buChar char="-"/>
              <a:tabLst/>
              <a:defRPr/>
            </a:pPr>
            <a:r>
              <a:rPr kumimoji="0" lang="de-DE" sz="1800" b="0" i="0" u="none" strike="noStrike" kern="1200" cap="none" spc="0" normalizeH="0" baseline="0" noProof="0" dirty="0">
                <a:ln>
                  <a:noFill/>
                </a:ln>
                <a:solidFill>
                  <a:prstClr val="black"/>
                </a:solidFill>
                <a:effectLst/>
                <a:uLnTx/>
                <a:uFillTx/>
                <a:latin typeface="+mn-lt"/>
                <a:ea typeface="+mn-ea"/>
                <a:cs typeface="+mn-cs"/>
              </a:rPr>
              <a:t>Achte Ebene</a:t>
            </a:r>
          </a:p>
          <a:p>
            <a:pPr marL="576000" marR="0" lvl="8" indent="-216000" algn="l" defTabSz="914400" rtl="0" eaLnBrk="1" fontAlgn="auto" latinLnBrk="0" hangingPunct="1">
              <a:lnSpc>
                <a:spcPct val="100000"/>
              </a:lnSpc>
              <a:spcBef>
                <a:spcPts val="400"/>
              </a:spcBef>
              <a:spcAft>
                <a:spcPts val="0"/>
              </a:spcAft>
              <a:buClrTx/>
              <a:buSzTx/>
              <a:buFont typeface="Symbol" panose="05050102010706020507" pitchFamily="18" charset="2"/>
              <a:buChar char="-"/>
              <a:tabLst/>
              <a:defRPr/>
            </a:pPr>
            <a:r>
              <a:rPr kumimoji="0" lang="de-DE" sz="1800" b="0" i="0" u="none" strike="noStrike" kern="1200" cap="none" spc="0" normalizeH="0" baseline="0" noProof="0" dirty="0">
                <a:ln>
                  <a:noFill/>
                </a:ln>
                <a:solidFill>
                  <a:prstClr val="black"/>
                </a:solidFill>
                <a:effectLst/>
                <a:uLnTx/>
                <a:uFillTx/>
                <a:latin typeface="+mn-lt"/>
                <a:ea typeface="+mn-ea"/>
                <a:cs typeface="+mn-cs"/>
              </a:rPr>
              <a:t>Neunte Ebene</a:t>
            </a:r>
          </a:p>
        </p:txBody>
      </p:sp>
      <p:sp>
        <p:nvSpPr>
          <p:cNvPr id="7" name="Textfeld 6">
            <a:extLst>
              <a:ext uri="{FF2B5EF4-FFF2-40B4-BE49-F238E27FC236}">
                <a16:creationId xmlns:a16="http://schemas.microsoft.com/office/drawing/2014/main" id="{8F0F7A56-F825-4A47-AA3F-0355592A752E}"/>
              </a:ext>
            </a:extLst>
          </p:cNvPr>
          <p:cNvSpPr txBox="1"/>
          <p:nvPr userDrawn="1"/>
        </p:nvSpPr>
        <p:spPr bwMode="gray">
          <a:xfrm>
            <a:off x="409575" y="6516000"/>
            <a:ext cx="11376000" cy="144000"/>
          </a:xfrm>
          <a:prstGeom prst="rect">
            <a:avLst/>
          </a:prstGeom>
          <a:noFill/>
        </p:spPr>
        <p:txBody>
          <a:bodyPr wrap="square" lIns="0" tIns="0" rIns="0" bIns="0" rtlCol="0" anchor="t">
            <a:noAutofit/>
          </a:bodyPr>
          <a:lstStyle/>
          <a:p>
            <a:pPr marL="0" marR="0" lvl="0" indent="0" algn="l" defTabSz="914400" eaLnBrk="1" fontAlgn="auto" latinLnBrk="0" hangingPunct="1">
              <a:lnSpc>
                <a:spcPct val="100000"/>
              </a:lnSpc>
              <a:spcBef>
                <a:spcPts val="600"/>
              </a:spcBef>
              <a:spcAft>
                <a:spcPts val="0"/>
              </a:spcAft>
              <a:buClr>
                <a:srgbClr val="003F74"/>
              </a:buClr>
              <a:buSzTx/>
              <a:buFontTx/>
              <a:buNone/>
              <a:tabLst/>
              <a:defRPr/>
            </a:pPr>
            <a:r>
              <a:rPr kumimoji="0" lang="de-DE" sz="1000" b="0" i="0" u="none" strike="noStrike" kern="0" cap="none" spc="0" normalizeH="0" baseline="0" noProof="0" dirty="0">
                <a:ln>
                  <a:noFill/>
                </a:ln>
                <a:solidFill>
                  <a:schemeClr val="tx2"/>
                </a:solidFill>
                <a:effectLst/>
                <a:uLnTx/>
                <a:uFillTx/>
              </a:rPr>
              <a:t>Union Investment  </a:t>
            </a:r>
            <a:r>
              <a:rPr kumimoji="0" lang="de-DE" sz="1000" b="0" i="0" u="none" strike="noStrike" kern="0" cap="none" spc="0" normalizeH="0" baseline="0" noProof="0" dirty="0">
                <a:ln>
                  <a:noFill/>
                </a:ln>
                <a:solidFill>
                  <a:srgbClr val="888888"/>
                </a:solidFill>
                <a:effectLst/>
                <a:uLnTx/>
                <a:uFillTx/>
              </a:rPr>
              <a:t>|  In Kooperation mit VOLKSBANK					Beachten Sie die rechtlichen Hinweise am Ende der Präsentation</a:t>
            </a:r>
          </a:p>
        </p:txBody>
      </p:sp>
    </p:spTree>
    <p:extLst>
      <p:ext uri="{BB962C8B-B14F-4D97-AF65-F5344CB8AC3E}">
        <p14:creationId xmlns:p14="http://schemas.microsoft.com/office/powerpoint/2010/main" val="4055637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57">
          <p15:clr>
            <a:srgbClr val="F26B43"/>
          </p15:clr>
        </p15:guide>
        <p15:guide id="3" orient="horz" pos="255">
          <p15:clr>
            <a:srgbClr val="F26B43"/>
          </p15:clr>
        </p15:guide>
        <p15:guide id="6" orient="horz" pos="890">
          <p15:clr>
            <a:srgbClr val="F26B43"/>
          </p15:clr>
        </p15:guide>
        <p15:guide id="9" pos="3977">
          <p15:clr>
            <a:srgbClr val="F26B43"/>
          </p15:clr>
        </p15:guide>
        <p15:guide id="10" pos="3705">
          <p15:clr>
            <a:srgbClr val="F26B43"/>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Zweispaltig mit Markenform rechts 02">
    <p:spTree>
      <p:nvGrpSpPr>
        <p:cNvPr id="1" name=""/>
        <p:cNvGrpSpPr/>
        <p:nvPr/>
      </p:nvGrpSpPr>
      <p:grpSpPr>
        <a:xfrm>
          <a:off x="0" y="0"/>
          <a:ext cx="0" cy="0"/>
          <a:chOff x="0" y="0"/>
          <a:chExt cx="0" cy="0"/>
        </a:xfrm>
      </p:grpSpPr>
      <p:sp>
        <p:nvSpPr>
          <p:cNvPr id="16" name="Inhaltsplatzhalter 2"/>
          <p:cNvSpPr>
            <a:spLocks noGrp="1"/>
          </p:cNvSpPr>
          <p:nvPr>
            <p:ph sz="quarter" idx="24" hasCustomPrompt="1"/>
          </p:nvPr>
        </p:nvSpPr>
        <p:spPr bwMode="gray">
          <a:xfrm>
            <a:off x="409575" y="1412776"/>
            <a:ext cx="5472113" cy="4896445"/>
          </a:xfrm>
          <a:noFill/>
        </p:spPr>
        <p:txBody>
          <a:bodyPr/>
          <a:lstStyle/>
          <a:p>
            <a:pPr lvl="0"/>
            <a:r>
              <a:rPr lang="de-DE" dirty="0"/>
              <a:t>Text hinzufüg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5" name="Textplatzhalter 3"/>
          <p:cNvSpPr>
            <a:spLocks noGrp="1"/>
          </p:cNvSpPr>
          <p:nvPr>
            <p:ph type="body" sz="quarter" idx="23" hasCustomPrompt="1"/>
          </p:nvPr>
        </p:nvSpPr>
        <p:spPr bwMode="gray">
          <a:xfrm>
            <a:off x="409575" y="6001543"/>
            <a:ext cx="5472112"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dirty="0"/>
              <a:t>Quelle:</a:t>
            </a:r>
          </a:p>
        </p:txBody>
      </p:sp>
      <p:sp>
        <p:nvSpPr>
          <p:cNvPr id="4" name="Titel 3">
            <a:extLst>
              <a:ext uri="{FF2B5EF4-FFF2-40B4-BE49-F238E27FC236}">
                <a16:creationId xmlns:a16="http://schemas.microsoft.com/office/drawing/2014/main" id="{FE974D80-B87D-44B1-875D-F9BA8E8FAC8D}"/>
              </a:ext>
            </a:extLst>
          </p:cNvPr>
          <p:cNvSpPr>
            <a:spLocks noGrp="1"/>
          </p:cNvSpPr>
          <p:nvPr>
            <p:ph type="title" hasCustomPrompt="1"/>
          </p:nvPr>
        </p:nvSpPr>
        <p:spPr bwMode="gray"/>
        <p:txBody>
          <a:bodyPr/>
          <a:lstStyle>
            <a:lvl1pPr>
              <a:defRPr/>
            </a:lvl1pPr>
          </a:lstStyle>
          <a:p>
            <a:r>
              <a:rPr lang="de-DE" dirty="0"/>
              <a:t>Titel durch Klicken bearbeiten</a:t>
            </a:r>
          </a:p>
        </p:txBody>
      </p:sp>
      <p:sp>
        <p:nvSpPr>
          <p:cNvPr id="2" name="Datumsplatzhalter 1">
            <a:extLst>
              <a:ext uri="{FF2B5EF4-FFF2-40B4-BE49-F238E27FC236}">
                <a16:creationId xmlns:a16="http://schemas.microsoft.com/office/drawing/2014/main" id="{007DB49D-3556-4083-AAC4-9B636E769AD5}"/>
              </a:ext>
            </a:extLst>
          </p:cNvPr>
          <p:cNvSpPr>
            <a:spLocks noGrp="1"/>
          </p:cNvSpPr>
          <p:nvPr>
            <p:ph type="dt" sz="half" idx="31"/>
          </p:nvPr>
        </p:nvSpPr>
        <p:spPr bwMode="gray">
          <a:xfrm>
            <a:off x="10709631" y="151200"/>
            <a:ext cx="748800" cy="180000"/>
          </a:xfrm>
          <a:prstGeom prst="rect">
            <a:avLst/>
          </a:prstGeom>
        </p:spPr>
        <p:txBody>
          <a:bodyPr/>
          <a:lstStyle/>
          <a:p>
            <a:r>
              <a:rPr lang="de-DE"/>
              <a:t>XX.XX.2020</a:t>
            </a:r>
            <a:endParaRPr lang="de-DE" sz="1600" kern="0" dirty="0"/>
          </a:p>
        </p:txBody>
      </p:sp>
      <p:sp>
        <p:nvSpPr>
          <p:cNvPr id="3" name="Fußzeilenplatzhalter 2">
            <a:extLst>
              <a:ext uri="{FF2B5EF4-FFF2-40B4-BE49-F238E27FC236}">
                <a16:creationId xmlns:a16="http://schemas.microsoft.com/office/drawing/2014/main" id="{E04A1ABA-44D1-40D6-BBA8-3E08CE643430}"/>
              </a:ext>
            </a:extLst>
          </p:cNvPr>
          <p:cNvSpPr>
            <a:spLocks noGrp="1"/>
          </p:cNvSpPr>
          <p:nvPr>
            <p:ph type="ftr" sz="quarter" idx="32"/>
          </p:nvPr>
        </p:nvSpPr>
        <p:spPr bwMode="gray">
          <a:xfrm>
            <a:off x="6313488" y="151200"/>
            <a:ext cx="4393761" cy="180000"/>
          </a:xfrm>
          <a:prstGeom prst="rect">
            <a:avLst/>
          </a:prstGeom>
        </p:spPr>
        <p:txBody>
          <a:bodyPr/>
          <a:lstStyle/>
          <a:p>
            <a:r>
              <a:rPr lang="de-DE"/>
              <a:t>Kürzel  |  CX  |</a:t>
            </a:r>
            <a:endParaRPr lang="de-DE" dirty="0"/>
          </a:p>
        </p:txBody>
      </p:sp>
      <p:sp>
        <p:nvSpPr>
          <p:cNvPr id="7" name="Foliennummernplatzhalter 6">
            <a:extLst>
              <a:ext uri="{FF2B5EF4-FFF2-40B4-BE49-F238E27FC236}">
                <a16:creationId xmlns:a16="http://schemas.microsoft.com/office/drawing/2014/main" id="{3EA5F89F-26B8-4C5D-A30C-DE9350F837DD}"/>
              </a:ext>
            </a:extLst>
          </p:cNvPr>
          <p:cNvSpPr>
            <a:spLocks noGrp="1"/>
          </p:cNvSpPr>
          <p:nvPr>
            <p:ph type="sldNum" sz="quarter" idx="33"/>
          </p:nvPr>
        </p:nvSpPr>
        <p:spPr bwMode="gray">
          <a:xfrm>
            <a:off x="11504750" y="151200"/>
            <a:ext cx="280800" cy="180000"/>
          </a:xfrm>
          <a:prstGeom prst="rect">
            <a:avLst/>
          </a:prstGeom>
        </p:spPr>
        <p:txBody>
          <a:bodyPr/>
          <a:lstStyle/>
          <a:p>
            <a:fld id="{9C89B081-1F44-4440-BC7B-989C90F97B77}" type="slidenum">
              <a:rPr lang="de-DE" smtClean="0"/>
              <a:pPr/>
              <a:t>‹Nr.›</a:t>
            </a:fld>
            <a:endParaRPr lang="de-DE" dirty="0"/>
          </a:p>
        </p:txBody>
      </p:sp>
      <p:sp>
        <p:nvSpPr>
          <p:cNvPr id="9" name="Textplatzhalter 18">
            <a:extLst>
              <a:ext uri="{FF2B5EF4-FFF2-40B4-BE49-F238E27FC236}">
                <a16:creationId xmlns:a16="http://schemas.microsoft.com/office/drawing/2014/main" id="{385193F7-1841-43C6-BB99-B1C5F1E92CE4}"/>
              </a:ext>
            </a:extLst>
          </p:cNvPr>
          <p:cNvSpPr>
            <a:spLocks noGrp="1" noChangeAspect="1"/>
          </p:cNvSpPr>
          <p:nvPr>
            <p:ph type="body" sz="quarter" idx="30" hasCustomPrompt="1"/>
          </p:nvPr>
        </p:nvSpPr>
        <p:spPr bwMode="gray">
          <a:xfrm>
            <a:off x="6313611" y="1412776"/>
            <a:ext cx="5471989" cy="4896000"/>
          </a:xfrm>
          <a:custGeom>
            <a:avLst/>
            <a:gdLst>
              <a:gd name="connsiteX0" fmla="*/ 4676664 w 5473336"/>
              <a:gd name="connsiteY0" fmla="*/ 1448 h 4883744"/>
              <a:gd name="connsiteX1" fmla="*/ 5473336 w 5473336"/>
              <a:gd name="connsiteY1" fmla="*/ 743338 h 4883744"/>
              <a:gd name="connsiteX2" fmla="*/ 5473336 w 5473336"/>
              <a:gd name="connsiteY2" fmla="*/ 1633637 h 4883744"/>
              <a:gd name="connsiteX3" fmla="*/ 5473336 w 5473336"/>
              <a:gd name="connsiteY3" fmla="*/ 1674371 h 4883744"/>
              <a:gd name="connsiteX4" fmla="*/ 5473336 w 5473336"/>
              <a:gd name="connsiteY4" fmla="*/ 1677497 h 4883744"/>
              <a:gd name="connsiteX5" fmla="*/ 5473336 w 5473336"/>
              <a:gd name="connsiteY5" fmla="*/ 1812665 h 4883744"/>
              <a:gd name="connsiteX6" fmla="*/ 5473336 w 5473336"/>
              <a:gd name="connsiteY6" fmla="*/ 1856161 h 4883744"/>
              <a:gd name="connsiteX7" fmla="*/ 5473336 w 5473336"/>
              <a:gd name="connsiteY7" fmla="*/ 1958257 h 4883744"/>
              <a:gd name="connsiteX8" fmla="*/ 5473336 w 5473336"/>
              <a:gd name="connsiteY8" fmla="*/ 2093425 h 4883744"/>
              <a:gd name="connsiteX9" fmla="*/ 5473336 w 5473336"/>
              <a:gd name="connsiteY9" fmla="*/ 2096551 h 4883744"/>
              <a:gd name="connsiteX10" fmla="*/ 5473336 w 5473336"/>
              <a:gd name="connsiteY10" fmla="*/ 2377311 h 4883744"/>
              <a:gd name="connsiteX11" fmla="*/ 5473336 w 5473336"/>
              <a:gd name="connsiteY11" fmla="*/ 2506434 h 4883744"/>
              <a:gd name="connsiteX12" fmla="*/ 5473336 w 5473336"/>
              <a:gd name="connsiteY12" fmla="*/ 2787194 h 4883744"/>
              <a:gd name="connsiteX13" fmla="*/ 5473336 w 5473336"/>
              <a:gd name="connsiteY13" fmla="*/ 2790320 h 4883744"/>
              <a:gd name="connsiteX14" fmla="*/ 5473336 w 5473336"/>
              <a:gd name="connsiteY14" fmla="*/ 2861522 h 4883744"/>
              <a:gd name="connsiteX15" fmla="*/ 5473336 w 5473336"/>
              <a:gd name="connsiteY15" fmla="*/ 2925488 h 4883744"/>
              <a:gd name="connsiteX16" fmla="*/ 5473336 w 5473336"/>
              <a:gd name="connsiteY16" fmla="*/ 3071080 h 4883744"/>
              <a:gd name="connsiteX17" fmla="*/ 5473336 w 5473336"/>
              <a:gd name="connsiteY17" fmla="*/ 3078035 h 4883744"/>
              <a:gd name="connsiteX18" fmla="*/ 5473336 w 5473336"/>
              <a:gd name="connsiteY18" fmla="*/ 3206248 h 4883744"/>
              <a:gd name="connsiteX19" fmla="*/ 5473336 w 5473336"/>
              <a:gd name="connsiteY19" fmla="*/ 3974345 h 4883744"/>
              <a:gd name="connsiteX20" fmla="*/ 966865 w 5473336"/>
              <a:gd name="connsiteY20" fmla="*/ 4862978 h 4883744"/>
              <a:gd name="connsiteX21" fmla="*/ 0 w 5473336"/>
              <a:gd name="connsiteY21" fmla="*/ 4140407 h 4883744"/>
              <a:gd name="connsiteX22" fmla="*/ 0 w 5473336"/>
              <a:gd name="connsiteY22" fmla="*/ 3206248 h 4883744"/>
              <a:gd name="connsiteX23" fmla="*/ 0 w 5473336"/>
              <a:gd name="connsiteY23" fmla="*/ 3078035 h 4883744"/>
              <a:gd name="connsiteX24" fmla="*/ 0 w 5473336"/>
              <a:gd name="connsiteY24" fmla="*/ 3071080 h 4883744"/>
              <a:gd name="connsiteX25" fmla="*/ 0 w 5473336"/>
              <a:gd name="connsiteY25" fmla="*/ 3027584 h 4883744"/>
              <a:gd name="connsiteX26" fmla="*/ 0 w 5473336"/>
              <a:gd name="connsiteY26" fmla="*/ 2925488 h 4883744"/>
              <a:gd name="connsiteX27" fmla="*/ 0 w 5473336"/>
              <a:gd name="connsiteY27" fmla="*/ 2790320 h 4883744"/>
              <a:gd name="connsiteX28" fmla="*/ 0 w 5473336"/>
              <a:gd name="connsiteY28" fmla="*/ 2787194 h 4883744"/>
              <a:gd name="connsiteX29" fmla="*/ 0 w 5473336"/>
              <a:gd name="connsiteY29" fmla="*/ 2506434 h 4883744"/>
              <a:gd name="connsiteX30" fmla="*/ 0 w 5473336"/>
              <a:gd name="connsiteY30" fmla="*/ 2377311 h 4883744"/>
              <a:gd name="connsiteX31" fmla="*/ 0 w 5473336"/>
              <a:gd name="connsiteY31" fmla="*/ 2096551 h 4883744"/>
              <a:gd name="connsiteX32" fmla="*/ 0 w 5473336"/>
              <a:gd name="connsiteY32" fmla="*/ 2093425 h 4883744"/>
              <a:gd name="connsiteX33" fmla="*/ 0 w 5473336"/>
              <a:gd name="connsiteY33" fmla="*/ 2022223 h 4883744"/>
              <a:gd name="connsiteX34" fmla="*/ 0 w 5473336"/>
              <a:gd name="connsiteY34" fmla="*/ 1958257 h 4883744"/>
              <a:gd name="connsiteX35" fmla="*/ 0 w 5473336"/>
              <a:gd name="connsiteY35" fmla="*/ 1812665 h 4883744"/>
              <a:gd name="connsiteX36" fmla="*/ 0 w 5473336"/>
              <a:gd name="connsiteY36" fmla="*/ 1738337 h 4883744"/>
              <a:gd name="connsiteX37" fmla="*/ 0 w 5473336"/>
              <a:gd name="connsiteY37" fmla="*/ 1677497 h 4883744"/>
              <a:gd name="connsiteX38" fmla="*/ 0 w 5473336"/>
              <a:gd name="connsiteY38" fmla="*/ 1674371 h 4883744"/>
              <a:gd name="connsiteX39" fmla="*/ 0 w 5473336"/>
              <a:gd name="connsiteY39" fmla="*/ 1633637 h 4883744"/>
              <a:gd name="connsiteX40" fmla="*/ 0 w 5473336"/>
              <a:gd name="connsiteY40" fmla="*/ 909400 h 4883744"/>
              <a:gd name="connsiteX41" fmla="*/ 4506471 w 5473336"/>
              <a:gd name="connsiteY41" fmla="*/ 20767 h 4883744"/>
              <a:gd name="connsiteX42" fmla="*/ 4676664 w 5473336"/>
              <a:gd name="connsiteY42" fmla="*/ 1448 h 4883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473336" h="4883744">
                <a:moveTo>
                  <a:pt x="4676664" y="1448"/>
                </a:moveTo>
                <a:cubicBezTo>
                  <a:pt x="5473336" y="-38046"/>
                  <a:pt x="5473336" y="743338"/>
                  <a:pt x="5473336" y="743338"/>
                </a:cubicBezTo>
                <a:lnTo>
                  <a:pt x="5473336" y="1633637"/>
                </a:lnTo>
                <a:lnTo>
                  <a:pt x="5473336" y="1674371"/>
                </a:lnTo>
                <a:lnTo>
                  <a:pt x="5473336" y="1677497"/>
                </a:lnTo>
                <a:lnTo>
                  <a:pt x="5473336" y="1812665"/>
                </a:lnTo>
                <a:lnTo>
                  <a:pt x="5473336" y="1856161"/>
                </a:lnTo>
                <a:lnTo>
                  <a:pt x="5473336" y="1958257"/>
                </a:lnTo>
                <a:lnTo>
                  <a:pt x="5473336" y="2093425"/>
                </a:lnTo>
                <a:lnTo>
                  <a:pt x="5473336" y="2096551"/>
                </a:lnTo>
                <a:lnTo>
                  <a:pt x="5473336" y="2377311"/>
                </a:lnTo>
                <a:lnTo>
                  <a:pt x="5473336" y="2506434"/>
                </a:lnTo>
                <a:lnTo>
                  <a:pt x="5473336" y="2787194"/>
                </a:lnTo>
                <a:lnTo>
                  <a:pt x="5473336" y="2790320"/>
                </a:lnTo>
                <a:lnTo>
                  <a:pt x="5473336" y="2861522"/>
                </a:lnTo>
                <a:lnTo>
                  <a:pt x="5473336" y="2925488"/>
                </a:lnTo>
                <a:lnTo>
                  <a:pt x="5473336" y="3071080"/>
                </a:lnTo>
                <a:lnTo>
                  <a:pt x="5473336" y="3078035"/>
                </a:lnTo>
                <a:lnTo>
                  <a:pt x="5473336" y="3206248"/>
                </a:lnTo>
                <a:lnTo>
                  <a:pt x="5473336" y="3974345"/>
                </a:lnTo>
                <a:lnTo>
                  <a:pt x="966865" y="4862978"/>
                </a:lnTo>
                <a:cubicBezTo>
                  <a:pt x="0" y="5029448"/>
                  <a:pt x="0" y="4140407"/>
                  <a:pt x="0" y="4140407"/>
                </a:cubicBezTo>
                <a:lnTo>
                  <a:pt x="0" y="3206248"/>
                </a:lnTo>
                <a:lnTo>
                  <a:pt x="0" y="3078035"/>
                </a:lnTo>
                <a:lnTo>
                  <a:pt x="0" y="3071080"/>
                </a:lnTo>
                <a:lnTo>
                  <a:pt x="0" y="3027584"/>
                </a:lnTo>
                <a:lnTo>
                  <a:pt x="0" y="2925488"/>
                </a:lnTo>
                <a:lnTo>
                  <a:pt x="0" y="2790320"/>
                </a:lnTo>
                <a:lnTo>
                  <a:pt x="0" y="2787194"/>
                </a:lnTo>
                <a:lnTo>
                  <a:pt x="0" y="2506434"/>
                </a:lnTo>
                <a:lnTo>
                  <a:pt x="0" y="2377311"/>
                </a:lnTo>
                <a:lnTo>
                  <a:pt x="0" y="2096551"/>
                </a:lnTo>
                <a:lnTo>
                  <a:pt x="0" y="2093425"/>
                </a:lnTo>
                <a:lnTo>
                  <a:pt x="0" y="2022223"/>
                </a:lnTo>
                <a:lnTo>
                  <a:pt x="0" y="1958257"/>
                </a:lnTo>
                <a:lnTo>
                  <a:pt x="0" y="1812665"/>
                </a:lnTo>
                <a:lnTo>
                  <a:pt x="0" y="1738337"/>
                </a:lnTo>
                <a:lnTo>
                  <a:pt x="0" y="1677497"/>
                </a:lnTo>
                <a:lnTo>
                  <a:pt x="0" y="1674371"/>
                </a:lnTo>
                <a:lnTo>
                  <a:pt x="0" y="1633637"/>
                </a:lnTo>
                <a:lnTo>
                  <a:pt x="0" y="909400"/>
                </a:lnTo>
                <a:lnTo>
                  <a:pt x="4506471" y="20767"/>
                </a:lnTo>
                <a:cubicBezTo>
                  <a:pt x="4566900" y="10363"/>
                  <a:pt x="4623552" y="4081"/>
                  <a:pt x="4676664" y="1448"/>
                </a:cubicBezTo>
                <a:close/>
              </a:path>
            </a:pathLst>
          </a:custGeom>
          <a:solidFill>
            <a:srgbClr val="E9E9E9"/>
          </a:solidFill>
        </p:spPr>
        <p:txBody>
          <a:bodyPr wrap="square" lIns="324000" tIns="1224000" rIns="324000">
            <a:noAutofit/>
          </a:bodyPr>
          <a:lstStyle>
            <a:lvl1pPr marL="0" marR="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solidFill>
                  <a:schemeClr val="tx2"/>
                </a:solidFill>
              </a:defRPr>
            </a:lvl1pPr>
            <a:lvl2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tx1"/>
                </a:solidFill>
              </a:defRPr>
            </a:lvl2pPr>
            <a:lvl3pPr marL="180000" marR="0" indent="-18000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solidFill>
                  <a:schemeClr val="tx1"/>
                </a:solidFill>
              </a:defRPr>
            </a:lvl3pPr>
            <a:lvl4pPr marL="360000" marR="0" indent="-18000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solidFill>
                  <a:schemeClr val="tx1"/>
                </a:solidFill>
              </a:defRPr>
            </a:lvl4pPr>
            <a:lvl5pPr marL="576000" marR="0" indent="-216000" algn="l" defTabSz="914400" rtl="0" eaLnBrk="1" fontAlgn="auto" latinLnBrk="0" hangingPunct="1">
              <a:lnSpc>
                <a:spcPct val="100000"/>
              </a:lnSpc>
              <a:spcBef>
                <a:spcPts val="400"/>
              </a:spcBef>
              <a:spcAft>
                <a:spcPts val="0"/>
              </a:spcAft>
              <a:buClrTx/>
              <a:buSzTx/>
              <a:buFont typeface="Symbol" panose="05050102010706020507" pitchFamily="18" charset="2"/>
              <a:buChar char="-"/>
              <a:tabLst/>
              <a:defRPr>
                <a:solidFill>
                  <a:schemeClr val="tx1"/>
                </a:solidFill>
              </a:defRPr>
            </a:lvl5pPr>
            <a:lvl6pPr marL="576000" marR="0" indent="-216000" algn="l" defTabSz="914400" rtl="0" eaLnBrk="1" fontAlgn="auto" latinLnBrk="0" hangingPunct="1">
              <a:lnSpc>
                <a:spcPct val="100000"/>
              </a:lnSpc>
              <a:spcBef>
                <a:spcPts val="400"/>
              </a:spcBef>
              <a:spcAft>
                <a:spcPts val="0"/>
              </a:spcAft>
              <a:buClrTx/>
              <a:buSzTx/>
              <a:buFont typeface="Symbol" panose="05050102010706020507" pitchFamily="18" charset="2"/>
              <a:buChar char="-"/>
              <a:tabLst/>
              <a:defRPr>
                <a:solidFill>
                  <a:schemeClr val="tx1"/>
                </a:solidFill>
              </a:defRPr>
            </a:lvl6pPr>
            <a:lvl7pPr marL="576000" marR="0" indent="-216000" algn="l" defTabSz="914400" rtl="0" eaLnBrk="1" fontAlgn="auto" latinLnBrk="0" hangingPunct="1">
              <a:lnSpc>
                <a:spcPct val="100000"/>
              </a:lnSpc>
              <a:spcBef>
                <a:spcPts val="400"/>
              </a:spcBef>
              <a:spcAft>
                <a:spcPts val="0"/>
              </a:spcAft>
              <a:buClrTx/>
              <a:buSzTx/>
              <a:buFont typeface="Symbol" panose="05050102010706020507" pitchFamily="18" charset="2"/>
              <a:buChar char="-"/>
              <a:tabLst/>
              <a:defRPr>
                <a:solidFill>
                  <a:schemeClr val="tx1"/>
                </a:solidFill>
              </a:defRPr>
            </a:lvl7pPr>
            <a:lvl8pPr marL="576000" marR="0" indent="-216000" algn="l" defTabSz="914400" rtl="0" eaLnBrk="1" fontAlgn="auto" latinLnBrk="0" hangingPunct="1">
              <a:lnSpc>
                <a:spcPct val="100000"/>
              </a:lnSpc>
              <a:spcBef>
                <a:spcPts val="400"/>
              </a:spcBef>
              <a:spcAft>
                <a:spcPts val="0"/>
              </a:spcAft>
              <a:buClrTx/>
              <a:buSzTx/>
              <a:buFont typeface="Symbol" panose="05050102010706020507" pitchFamily="18" charset="2"/>
              <a:buChar char="-"/>
              <a:tabLst/>
              <a:defRPr>
                <a:solidFill>
                  <a:schemeClr val="tx1"/>
                </a:solidFill>
              </a:defRPr>
            </a:lvl8pPr>
            <a:lvl9pPr marL="576000" marR="0" indent="-216000" algn="l" defTabSz="914400" rtl="0" eaLnBrk="1" fontAlgn="auto" latinLnBrk="0" hangingPunct="1">
              <a:lnSpc>
                <a:spcPct val="100000"/>
              </a:lnSpc>
              <a:spcBef>
                <a:spcPts val="400"/>
              </a:spcBef>
              <a:spcAft>
                <a:spcPts val="0"/>
              </a:spcAft>
              <a:buClrTx/>
              <a:buSzTx/>
              <a:buFont typeface="Symbol" panose="05050102010706020507" pitchFamily="18" charset="2"/>
              <a:buChar char="-"/>
              <a:tabLst/>
              <a:defRPr>
                <a:solidFill>
                  <a:schemeClr val="tx1"/>
                </a:solidFill>
              </a:defRPr>
            </a:lvl9pPr>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de-DE" sz="1800" b="0" i="0" u="none" strike="noStrike" kern="1200" cap="none" spc="0" normalizeH="0" baseline="0" noProof="0" dirty="0">
                <a:ln>
                  <a:noFill/>
                </a:ln>
                <a:solidFill>
                  <a:srgbClr val="00358E"/>
                </a:solidFill>
                <a:effectLst/>
                <a:uLnTx/>
                <a:uFillTx/>
                <a:latin typeface="+mn-lt"/>
                <a:ea typeface="+mn-ea"/>
                <a:cs typeface="+mn-cs"/>
              </a:rPr>
              <a:t>Text hinzufügen</a:t>
            </a:r>
          </a:p>
          <a:p>
            <a:pPr marL="0" marR="0" lvl="1"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1800" b="0" i="0" u="none" strike="noStrike" kern="1200" cap="none" spc="0" normalizeH="0" baseline="0" noProof="0" dirty="0">
                <a:ln>
                  <a:noFill/>
                </a:ln>
                <a:solidFill>
                  <a:prstClr val="black"/>
                </a:solidFill>
                <a:effectLst/>
                <a:uLnTx/>
                <a:uFillTx/>
                <a:latin typeface="+mn-lt"/>
                <a:ea typeface="+mn-ea"/>
                <a:cs typeface="+mn-cs"/>
              </a:rPr>
              <a:t>Zweite Ebene</a:t>
            </a:r>
          </a:p>
          <a:p>
            <a:pPr marL="180000" marR="0" lvl="2" indent="-18000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de-DE" sz="1800" b="0" i="0" u="none" strike="noStrike" kern="1200" cap="none" spc="0" normalizeH="0" baseline="0" noProof="0" dirty="0">
                <a:ln>
                  <a:noFill/>
                </a:ln>
                <a:solidFill>
                  <a:prstClr val="black"/>
                </a:solidFill>
                <a:effectLst/>
                <a:uLnTx/>
                <a:uFillTx/>
                <a:latin typeface="+mn-lt"/>
                <a:ea typeface="+mn-ea"/>
                <a:cs typeface="+mn-cs"/>
              </a:rPr>
              <a:t>Dritte Ebene</a:t>
            </a:r>
          </a:p>
          <a:p>
            <a:pPr marL="360000" marR="0" lvl="3" indent="-18000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de-DE" sz="1800" b="0" i="0" u="none" strike="noStrike" kern="1200" cap="none" spc="0" normalizeH="0" baseline="0" noProof="0" dirty="0">
                <a:ln>
                  <a:noFill/>
                </a:ln>
                <a:solidFill>
                  <a:prstClr val="black"/>
                </a:solidFill>
                <a:effectLst/>
                <a:uLnTx/>
                <a:uFillTx/>
                <a:latin typeface="+mn-lt"/>
                <a:ea typeface="+mn-ea"/>
                <a:cs typeface="+mn-cs"/>
              </a:rPr>
              <a:t>Vierte Ebene</a:t>
            </a:r>
          </a:p>
          <a:p>
            <a:pPr marL="576000" marR="0" lvl="4" indent="-216000" algn="l" defTabSz="914400" rtl="0" eaLnBrk="1" fontAlgn="auto" latinLnBrk="0" hangingPunct="1">
              <a:lnSpc>
                <a:spcPct val="100000"/>
              </a:lnSpc>
              <a:spcBef>
                <a:spcPts val="400"/>
              </a:spcBef>
              <a:spcAft>
                <a:spcPts val="0"/>
              </a:spcAft>
              <a:buClrTx/>
              <a:buSzTx/>
              <a:buFont typeface="Symbol" panose="05050102010706020507" pitchFamily="18" charset="2"/>
              <a:buChar char="-"/>
              <a:tabLst/>
              <a:defRPr/>
            </a:pPr>
            <a:r>
              <a:rPr kumimoji="0" lang="de-DE" sz="1800" b="0" i="0" u="none" strike="noStrike" kern="1200" cap="none" spc="0" normalizeH="0" baseline="0" noProof="0" dirty="0">
                <a:ln>
                  <a:noFill/>
                </a:ln>
                <a:solidFill>
                  <a:prstClr val="black"/>
                </a:solidFill>
                <a:effectLst/>
                <a:uLnTx/>
                <a:uFillTx/>
                <a:latin typeface="+mn-lt"/>
                <a:ea typeface="+mn-ea"/>
                <a:cs typeface="+mn-cs"/>
              </a:rPr>
              <a:t>Fünfte Ebene</a:t>
            </a:r>
          </a:p>
          <a:p>
            <a:pPr marL="576000" marR="0" lvl="5" indent="-216000" algn="l" defTabSz="914400" rtl="0" eaLnBrk="1" fontAlgn="auto" latinLnBrk="0" hangingPunct="1">
              <a:lnSpc>
                <a:spcPct val="100000"/>
              </a:lnSpc>
              <a:spcBef>
                <a:spcPts val="400"/>
              </a:spcBef>
              <a:spcAft>
                <a:spcPts val="0"/>
              </a:spcAft>
              <a:buClrTx/>
              <a:buSzTx/>
              <a:buFont typeface="Symbol" panose="05050102010706020507" pitchFamily="18" charset="2"/>
              <a:buChar char="-"/>
              <a:tabLst/>
              <a:defRPr/>
            </a:pPr>
            <a:r>
              <a:rPr kumimoji="0" lang="de-DE" sz="1800" b="0" i="0" u="none" strike="noStrike" kern="1200" cap="none" spc="0" normalizeH="0" baseline="0" noProof="0" dirty="0">
                <a:ln>
                  <a:noFill/>
                </a:ln>
                <a:solidFill>
                  <a:prstClr val="black"/>
                </a:solidFill>
                <a:effectLst/>
                <a:uLnTx/>
                <a:uFillTx/>
                <a:latin typeface="+mn-lt"/>
                <a:ea typeface="+mn-ea"/>
                <a:cs typeface="+mn-cs"/>
              </a:rPr>
              <a:t>Sechste Ebene</a:t>
            </a:r>
          </a:p>
          <a:p>
            <a:pPr marL="576000" marR="0" lvl="6" indent="-216000" algn="l" defTabSz="914400" rtl="0" eaLnBrk="1" fontAlgn="auto" latinLnBrk="0" hangingPunct="1">
              <a:lnSpc>
                <a:spcPct val="100000"/>
              </a:lnSpc>
              <a:spcBef>
                <a:spcPts val="400"/>
              </a:spcBef>
              <a:spcAft>
                <a:spcPts val="0"/>
              </a:spcAft>
              <a:buClrTx/>
              <a:buSzTx/>
              <a:buFont typeface="Symbol" panose="05050102010706020507" pitchFamily="18" charset="2"/>
              <a:buChar char="-"/>
              <a:tabLst/>
              <a:defRPr/>
            </a:pPr>
            <a:r>
              <a:rPr kumimoji="0" lang="de-DE" sz="1800" b="0" i="0" u="none" strike="noStrike" kern="1200" cap="none" spc="0" normalizeH="0" baseline="0" noProof="0" dirty="0">
                <a:ln>
                  <a:noFill/>
                </a:ln>
                <a:solidFill>
                  <a:prstClr val="black"/>
                </a:solidFill>
                <a:effectLst/>
                <a:uLnTx/>
                <a:uFillTx/>
                <a:latin typeface="+mn-lt"/>
                <a:ea typeface="+mn-ea"/>
                <a:cs typeface="+mn-cs"/>
              </a:rPr>
              <a:t>Siebte Ebene</a:t>
            </a:r>
          </a:p>
          <a:p>
            <a:pPr marL="576000" marR="0" lvl="7" indent="-216000" algn="l" defTabSz="914400" rtl="0" eaLnBrk="1" fontAlgn="auto" latinLnBrk="0" hangingPunct="1">
              <a:lnSpc>
                <a:spcPct val="100000"/>
              </a:lnSpc>
              <a:spcBef>
                <a:spcPts val="400"/>
              </a:spcBef>
              <a:spcAft>
                <a:spcPts val="0"/>
              </a:spcAft>
              <a:buClrTx/>
              <a:buSzTx/>
              <a:buFont typeface="Symbol" panose="05050102010706020507" pitchFamily="18" charset="2"/>
              <a:buChar char="-"/>
              <a:tabLst/>
              <a:defRPr/>
            </a:pPr>
            <a:r>
              <a:rPr kumimoji="0" lang="de-DE" sz="1800" b="0" i="0" u="none" strike="noStrike" kern="1200" cap="none" spc="0" normalizeH="0" baseline="0" noProof="0" dirty="0">
                <a:ln>
                  <a:noFill/>
                </a:ln>
                <a:solidFill>
                  <a:prstClr val="black"/>
                </a:solidFill>
                <a:effectLst/>
                <a:uLnTx/>
                <a:uFillTx/>
                <a:latin typeface="+mn-lt"/>
                <a:ea typeface="+mn-ea"/>
                <a:cs typeface="+mn-cs"/>
              </a:rPr>
              <a:t>Achte Ebene</a:t>
            </a:r>
          </a:p>
          <a:p>
            <a:pPr marL="576000" marR="0" lvl="8" indent="-216000" algn="l" defTabSz="914400" rtl="0" eaLnBrk="1" fontAlgn="auto" latinLnBrk="0" hangingPunct="1">
              <a:lnSpc>
                <a:spcPct val="100000"/>
              </a:lnSpc>
              <a:spcBef>
                <a:spcPts val="400"/>
              </a:spcBef>
              <a:spcAft>
                <a:spcPts val="0"/>
              </a:spcAft>
              <a:buClrTx/>
              <a:buSzTx/>
              <a:buFont typeface="Symbol" panose="05050102010706020507" pitchFamily="18" charset="2"/>
              <a:buChar char="-"/>
              <a:tabLst/>
              <a:defRPr/>
            </a:pPr>
            <a:r>
              <a:rPr kumimoji="0" lang="de-DE" sz="1800" b="0" i="0" u="none" strike="noStrike" kern="1200" cap="none" spc="0" normalizeH="0" baseline="0" noProof="0" dirty="0">
                <a:ln>
                  <a:noFill/>
                </a:ln>
                <a:solidFill>
                  <a:prstClr val="black"/>
                </a:solidFill>
                <a:effectLst/>
                <a:uLnTx/>
                <a:uFillTx/>
                <a:latin typeface="+mn-lt"/>
                <a:ea typeface="+mn-ea"/>
                <a:cs typeface="+mn-cs"/>
              </a:rPr>
              <a:t>Neunte Ebene</a:t>
            </a:r>
          </a:p>
        </p:txBody>
      </p:sp>
    </p:spTree>
    <p:extLst>
      <p:ext uri="{BB962C8B-B14F-4D97-AF65-F5344CB8AC3E}">
        <p14:creationId xmlns:p14="http://schemas.microsoft.com/office/powerpoint/2010/main" val="466926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57">
          <p15:clr>
            <a:srgbClr val="F26B43"/>
          </p15:clr>
        </p15:guide>
        <p15:guide id="3" orient="horz" pos="255">
          <p15:clr>
            <a:srgbClr val="F26B43"/>
          </p15:clr>
        </p15:guide>
        <p15:guide id="6" orient="horz" pos="890">
          <p15:clr>
            <a:srgbClr val="F26B43"/>
          </p15:clr>
        </p15:guide>
        <p15:guide id="9" pos="3977">
          <p15:clr>
            <a:srgbClr val="F26B43"/>
          </p15:clr>
        </p15:guide>
        <p15:guide id="10" pos="3705">
          <p15:clr>
            <a:srgbClr val="F26B43"/>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Zweispaltig mit Markenform rechts 03">
    <p:spTree>
      <p:nvGrpSpPr>
        <p:cNvPr id="1" name=""/>
        <p:cNvGrpSpPr/>
        <p:nvPr/>
      </p:nvGrpSpPr>
      <p:grpSpPr>
        <a:xfrm>
          <a:off x="0" y="0"/>
          <a:ext cx="0" cy="0"/>
          <a:chOff x="0" y="0"/>
          <a:chExt cx="0" cy="0"/>
        </a:xfrm>
      </p:grpSpPr>
      <p:sp>
        <p:nvSpPr>
          <p:cNvPr id="16" name="Inhaltsplatzhalter 2"/>
          <p:cNvSpPr>
            <a:spLocks noGrp="1"/>
          </p:cNvSpPr>
          <p:nvPr>
            <p:ph sz="quarter" idx="24" hasCustomPrompt="1"/>
          </p:nvPr>
        </p:nvSpPr>
        <p:spPr bwMode="gray">
          <a:xfrm>
            <a:off x="409575" y="1412776"/>
            <a:ext cx="5472112" cy="4896445"/>
          </a:xfrm>
          <a:noFill/>
        </p:spPr>
        <p:txBody>
          <a:bodyPr/>
          <a:lstStyle/>
          <a:p>
            <a:pPr lvl="0"/>
            <a:r>
              <a:rPr lang="de-DE" dirty="0"/>
              <a:t>Text hinzufüg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5" name="Textplatzhalter 3"/>
          <p:cNvSpPr>
            <a:spLocks noGrp="1"/>
          </p:cNvSpPr>
          <p:nvPr>
            <p:ph type="body" sz="quarter" idx="23" hasCustomPrompt="1"/>
          </p:nvPr>
        </p:nvSpPr>
        <p:spPr bwMode="gray">
          <a:xfrm>
            <a:off x="409575" y="6001543"/>
            <a:ext cx="5472224"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dirty="0"/>
              <a:t>Quelle:</a:t>
            </a:r>
          </a:p>
        </p:txBody>
      </p:sp>
      <p:sp>
        <p:nvSpPr>
          <p:cNvPr id="14" name="Textplatzhalter 13">
            <a:extLst>
              <a:ext uri="{FF2B5EF4-FFF2-40B4-BE49-F238E27FC236}">
                <a16:creationId xmlns:a16="http://schemas.microsoft.com/office/drawing/2014/main" id="{79BB5B79-6419-4316-A447-A1CBD97E853A}"/>
              </a:ext>
            </a:extLst>
          </p:cNvPr>
          <p:cNvSpPr>
            <a:spLocks noGrp="1" noChangeAspect="1"/>
          </p:cNvSpPr>
          <p:nvPr>
            <p:ph type="body" sz="quarter" idx="30" hasCustomPrompt="1"/>
          </p:nvPr>
        </p:nvSpPr>
        <p:spPr bwMode="gray">
          <a:xfrm>
            <a:off x="6313611" y="1412776"/>
            <a:ext cx="5472112" cy="4896000"/>
          </a:xfrm>
          <a:custGeom>
            <a:avLst/>
            <a:gdLst>
              <a:gd name="connsiteX0" fmla="*/ 4676664 w 5473336"/>
              <a:gd name="connsiteY0" fmla="*/ 1448 h 4883744"/>
              <a:gd name="connsiteX1" fmla="*/ 5473336 w 5473336"/>
              <a:gd name="connsiteY1" fmla="*/ 743338 h 4883744"/>
              <a:gd name="connsiteX2" fmla="*/ 5473336 w 5473336"/>
              <a:gd name="connsiteY2" fmla="*/ 1633637 h 4883744"/>
              <a:gd name="connsiteX3" fmla="*/ 5473336 w 5473336"/>
              <a:gd name="connsiteY3" fmla="*/ 1674371 h 4883744"/>
              <a:gd name="connsiteX4" fmla="*/ 5473336 w 5473336"/>
              <a:gd name="connsiteY4" fmla="*/ 1677497 h 4883744"/>
              <a:gd name="connsiteX5" fmla="*/ 5473336 w 5473336"/>
              <a:gd name="connsiteY5" fmla="*/ 1812665 h 4883744"/>
              <a:gd name="connsiteX6" fmla="*/ 5473336 w 5473336"/>
              <a:gd name="connsiteY6" fmla="*/ 1856161 h 4883744"/>
              <a:gd name="connsiteX7" fmla="*/ 5473336 w 5473336"/>
              <a:gd name="connsiteY7" fmla="*/ 1958257 h 4883744"/>
              <a:gd name="connsiteX8" fmla="*/ 5473336 w 5473336"/>
              <a:gd name="connsiteY8" fmla="*/ 2093425 h 4883744"/>
              <a:gd name="connsiteX9" fmla="*/ 5473336 w 5473336"/>
              <a:gd name="connsiteY9" fmla="*/ 2096551 h 4883744"/>
              <a:gd name="connsiteX10" fmla="*/ 5473336 w 5473336"/>
              <a:gd name="connsiteY10" fmla="*/ 2377311 h 4883744"/>
              <a:gd name="connsiteX11" fmla="*/ 5473336 w 5473336"/>
              <a:gd name="connsiteY11" fmla="*/ 2506434 h 4883744"/>
              <a:gd name="connsiteX12" fmla="*/ 5473336 w 5473336"/>
              <a:gd name="connsiteY12" fmla="*/ 2787194 h 4883744"/>
              <a:gd name="connsiteX13" fmla="*/ 5473336 w 5473336"/>
              <a:gd name="connsiteY13" fmla="*/ 2790320 h 4883744"/>
              <a:gd name="connsiteX14" fmla="*/ 5473336 w 5473336"/>
              <a:gd name="connsiteY14" fmla="*/ 2861522 h 4883744"/>
              <a:gd name="connsiteX15" fmla="*/ 5473336 w 5473336"/>
              <a:gd name="connsiteY15" fmla="*/ 2925488 h 4883744"/>
              <a:gd name="connsiteX16" fmla="*/ 5473336 w 5473336"/>
              <a:gd name="connsiteY16" fmla="*/ 3071080 h 4883744"/>
              <a:gd name="connsiteX17" fmla="*/ 5473336 w 5473336"/>
              <a:gd name="connsiteY17" fmla="*/ 3078035 h 4883744"/>
              <a:gd name="connsiteX18" fmla="*/ 5473336 w 5473336"/>
              <a:gd name="connsiteY18" fmla="*/ 3206248 h 4883744"/>
              <a:gd name="connsiteX19" fmla="*/ 5473336 w 5473336"/>
              <a:gd name="connsiteY19" fmla="*/ 3974345 h 4883744"/>
              <a:gd name="connsiteX20" fmla="*/ 966865 w 5473336"/>
              <a:gd name="connsiteY20" fmla="*/ 4862978 h 4883744"/>
              <a:gd name="connsiteX21" fmla="*/ 0 w 5473336"/>
              <a:gd name="connsiteY21" fmla="*/ 4140407 h 4883744"/>
              <a:gd name="connsiteX22" fmla="*/ 0 w 5473336"/>
              <a:gd name="connsiteY22" fmla="*/ 3206248 h 4883744"/>
              <a:gd name="connsiteX23" fmla="*/ 0 w 5473336"/>
              <a:gd name="connsiteY23" fmla="*/ 3078035 h 4883744"/>
              <a:gd name="connsiteX24" fmla="*/ 0 w 5473336"/>
              <a:gd name="connsiteY24" fmla="*/ 3071080 h 4883744"/>
              <a:gd name="connsiteX25" fmla="*/ 0 w 5473336"/>
              <a:gd name="connsiteY25" fmla="*/ 3027584 h 4883744"/>
              <a:gd name="connsiteX26" fmla="*/ 0 w 5473336"/>
              <a:gd name="connsiteY26" fmla="*/ 2925488 h 4883744"/>
              <a:gd name="connsiteX27" fmla="*/ 0 w 5473336"/>
              <a:gd name="connsiteY27" fmla="*/ 2790320 h 4883744"/>
              <a:gd name="connsiteX28" fmla="*/ 0 w 5473336"/>
              <a:gd name="connsiteY28" fmla="*/ 2787194 h 4883744"/>
              <a:gd name="connsiteX29" fmla="*/ 0 w 5473336"/>
              <a:gd name="connsiteY29" fmla="*/ 2506434 h 4883744"/>
              <a:gd name="connsiteX30" fmla="*/ 0 w 5473336"/>
              <a:gd name="connsiteY30" fmla="*/ 2377311 h 4883744"/>
              <a:gd name="connsiteX31" fmla="*/ 0 w 5473336"/>
              <a:gd name="connsiteY31" fmla="*/ 2096551 h 4883744"/>
              <a:gd name="connsiteX32" fmla="*/ 0 w 5473336"/>
              <a:gd name="connsiteY32" fmla="*/ 2093425 h 4883744"/>
              <a:gd name="connsiteX33" fmla="*/ 0 w 5473336"/>
              <a:gd name="connsiteY33" fmla="*/ 2022223 h 4883744"/>
              <a:gd name="connsiteX34" fmla="*/ 0 w 5473336"/>
              <a:gd name="connsiteY34" fmla="*/ 1958257 h 4883744"/>
              <a:gd name="connsiteX35" fmla="*/ 0 w 5473336"/>
              <a:gd name="connsiteY35" fmla="*/ 1812665 h 4883744"/>
              <a:gd name="connsiteX36" fmla="*/ 0 w 5473336"/>
              <a:gd name="connsiteY36" fmla="*/ 1738337 h 4883744"/>
              <a:gd name="connsiteX37" fmla="*/ 0 w 5473336"/>
              <a:gd name="connsiteY37" fmla="*/ 1677497 h 4883744"/>
              <a:gd name="connsiteX38" fmla="*/ 0 w 5473336"/>
              <a:gd name="connsiteY38" fmla="*/ 1674371 h 4883744"/>
              <a:gd name="connsiteX39" fmla="*/ 0 w 5473336"/>
              <a:gd name="connsiteY39" fmla="*/ 1633637 h 4883744"/>
              <a:gd name="connsiteX40" fmla="*/ 0 w 5473336"/>
              <a:gd name="connsiteY40" fmla="*/ 909400 h 4883744"/>
              <a:gd name="connsiteX41" fmla="*/ 4506471 w 5473336"/>
              <a:gd name="connsiteY41" fmla="*/ 20767 h 4883744"/>
              <a:gd name="connsiteX42" fmla="*/ 4676664 w 5473336"/>
              <a:gd name="connsiteY42" fmla="*/ 1448 h 4883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473336" h="4883744">
                <a:moveTo>
                  <a:pt x="4676664" y="1448"/>
                </a:moveTo>
                <a:cubicBezTo>
                  <a:pt x="5473336" y="-38046"/>
                  <a:pt x="5473336" y="743338"/>
                  <a:pt x="5473336" y="743338"/>
                </a:cubicBezTo>
                <a:lnTo>
                  <a:pt x="5473336" y="1633637"/>
                </a:lnTo>
                <a:lnTo>
                  <a:pt x="5473336" y="1674371"/>
                </a:lnTo>
                <a:lnTo>
                  <a:pt x="5473336" y="1677497"/>
                </a:lnTo>
                <a:lnTo>
                  <a:pt x="5473336" y="1812665"/>
                </a:lnTo>
                <a:lnTo>
                  <a:pt x="5473336" y="1856161"/>
                </a:lnTo>
                <a:lnTo>
                  <a:pt x="5473336" y="1958257"/>
                </a:lnTo>
                <a:lnTo>
                  <a:pt x="5473336" y="2093425"/>
                </a:lnTo>
                <a:lnTo>
                  <a:pt x="5473336" y="2096551"/>
                </a:lnTo>
                <a:lnTo>
                  <a:pt x="5473336" y="2377311"/>
                </a:lnTo>
                <a:lnTo>
                  <a:pt x="5473336" y="2506434"/>
                </a:lnTo>
                <a:lnTo>
                  <a:pt x="5473336" y="2787194"/>
                </a:lnTo>
                <a:lnTo>
                  <a:pt x="5473336" y="2790320"/>
                </a:lnTo>
                <a:lnTo>
                  <a:pt x="5473336" y="2861522"/>
                </a:lnTo>
                <a:lnTo>
                  <a:pt x="5473336" y="2925488"/>
                </a:lnTo>
                <a:lnTo>
                  <a:pt x="5473336" y="3071080"/>
                </a:lnTo>
                <a:lnTo>
                  <a:pt x="5473336" y="3078035"/>
                </a:lnTo>
                <a:lnTo>
                  <a:pt x="5473336" y="3206248"/>
                </a:lnTo>
                <a:lnTo>
                  <a:pt x="5473336" y="3974345"/>
                </a:lnTo>
                <a:lnTo>
                  <a:pt x="966865" y="4862978"/>
                </a:lnTo>
                <a:cubicBezTo>
                  <a:pt x="0" y="5029448"/>
                  <a:pt x="0" y="4140407"/>
                  <a:pt x="0" y="4140407"/>
                </a:cubicBezTo>
                <a:lnTo>
                  <a:pt x="0" y="3206248"/>
                </a:lnTo>
                <a:lnTo>
                  <a:pt x="0" y="3078035"/>
                </a:lnTo>
                <a:lnTo>
                  <a:pt x="0" y="3071080"/>
                </a:lnTo>
                <a:lnTo>
                  <a:pt x="0" y="3027584"/>
                </a:lnTo>
                <a:lnTo>
                  <a:pt x="0" y="2925488"/>
                </a:lnTo>
                <a:lnTo>
                  <a:pt x="0" y="2790320"/>
                </a:lnTo>
                <a:lnTo>
                  <a:pt x="0" y="2787194"/>
                </a:lnTo>
                <a:lnTo>
                  <a:pt x="0" y="2506434"/>
                </a:lnTo>
                <a:lnTo>
                  <a:pt x="0" y="2377311"/>
                </a:lnTo>
                <a:lnTo>
                  <a:pt x="0" y="2096551"/>
                </a:lnTo>
                <a:lnTo>
                  <a:pt x="0" y="2093425"/>
                </a:lnTo>
                <a:lnTo>
                  <a:pt x="0" y="2022223"/>
                </a:lnTo>
                <a:lnTo>
                  <a:pt x="0" y="1958257"/>
                </a:lnTo>
                <a:lnTo>
                  <a:pt x="0" y="1812665"/>
                </a:lnTo>
                <a:lnTo>
                  <a:pt x="0" y="1738337"/>
                </a:lnTo>
                <a:lnTo>
                  <a:pt x="0" y="1677497"/>
                </a:lnTo>
                <a:lnTo>
                  <a:pt x="0" y="1674371"/>
                </a:lnTo>
                <a:lnTo>
                  <a:pt x="0" y="1633637"/>
                </a:lnTo>
                <a:lnTo>
                  <a:pt x="0" y="909400"/>
                </a:lnTo>
                <a:lnTo>
                  <a:pt x="4506471" y="20767"/>
                </a:lnTo>
                <a:cubicBezTo>
                  <a:pt x="4566900" y="10363"/>
                  <a:pt x="4623552" y="4081"/>
                  <a:pt x="4676664" y="1448"/>
                </a:cubicBezTo>
                <a:close/>
              </a:path>
            </a:pathLst>
          </a:custGeom>
          <a:noFill/>
          <a:ln w="19050">
            <a:solidFill>
              <a:schemeClr val="tx2"/>
            </a:solidFill>
          </a:ln>
        </p:spPr>
        <p:txBody>
          <a:bodyPr vert="horz" wrap="square" lIns="324000" tIns="1224000" rIns="324000" bIns="0" rtlCol="0">
            <a:noAutofit/>
          </a:bodyPr>
          <a:lstStyle>
            <a:lvl1pPr>
              <a:defRPr lang="de-DE" dirty="0"/>
            </a:lvl1pPr>
            <a:lvl2pPr>
              <a:defRPr lang="de-DE" dirty="0"/>
            </a:lvl2pPr>
            <a:lvl3pPr>
              <a:defRPr lang="de-DE" dirty="0"/>
            </a:lvl3pPr>
            <a:lvl4pPr>
              <a:defRPr lang="de-DE" dirty="0"/>
            </a:lvl4pPr>
            <a:lvl5pPr>
              <a:defRPr lang="de-DE" dirty="0"/>
            </a:lvl5pPr>
            <a:lvl6pPr>
              <a:defRPr lang="de-DE" dirty="0"/>
            </a:lvl6pPr>
            <a:lvl7pPr>
              <a:defRPr lang="de-DE" dirty="0"/>
            </a:lvl7pPr>
            <a:lvl8pPr>
              <a:defRPr lang="de-DE" dirty="0"/>
            </a:lvl8pPr>
            <a:lvl9pPr>
              <a:defRPr lang="de-DE" dirty="0"/>
            </a:lvl9pPr>
          </a:lstStyle>
          <a:p>
            <a:pPr lvl="0"/>
            <a:r>
              <a:rPr lang="de-DE" dirty="0"/>
              <a:t>Text hinzufüg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4" name="Titel 3">
            <a:extLst>
              <a:ext uri="{FF2B5EF4-FFF2-40B4-BE49-F238E27FC236}">
                <a16:creationId xmlns:a16="http://schemas.microsoft.com/office/drawing/2014/main" id="{A78C2E2F-A8F0-4C21-BB59-3698B7B3047D}"/>
              </a:ext>
            </a:extLst>
          </p:cNvPr>
          <p:cNvSpPr>
            <a:spLocks noGrp="1"/>
          </p:cNvSpPr>
          <p:nvPr>
            <p:ph type="title" hasCustomPrompt="1"/>
          </p:nvPr>
        </p:nvSpPr>
        <p:spPr bwMode="gray"/>
        <p:txBody>
          <a:bodyPr/>
          <a:lstStyle>
            <a:lvl1pPr>
              <a:defRPr/>
            </a:lvl1pPr>
          </a:lstStyle>
          <a:p>
            <a:r>
              <a:rPr lang="de-DE" dirty="0"/>
              <a:t>Titel durch Klicken bearbeiten</a:t>
            </a:r>
          </a:p>
        </p:txBody>
      </p:sp>
      <p:sp>
        <p:nvSpPr>
          <p:cNvPr id="2" name="Datumsplatzhalter 1">
            <a:extLst>
              <a:ext uri="{FF2B5EF4-FFF2-40B4-BE49-F238E27FC236}">
                <a16:creationId xmlns:a16="http://schemas.microsoft.com/office/drawing/2014/main" id="{03DBE675-0839-4CF0-9FAC-D77590974244}"/>
              </a:ext>
            </a:extLst>
          </p:cNvPr>
          <p:cNvSpPr>
            <a:spLocks noGrp="1"/>
          </p:cNvSpPr>
          <p:nvPr>
            <p:ph type="dt" sz="half" idx="31"/>
          </p:nvPr>
        </p:nvSpPr>
        <p:spPr bwMode="gray">
          <a:xfrm>
            <a:off x="10709631" y="151200"/>
            <a:ext cx="748800" cy="180000"/>
          </a:xfrm>
          <a:prstGeom prst="rect">
            <a:avLst/>
          </a:prstGeom>
        </p:spPr>
        <p:txBody>
          <a:bodyPr/>
          <a:lstStyle/>
          <a:p>
            <a:r>
              <a:rPr lang="de-DE"/>
              <a:t>XX.XX.2020</a:t>
            </a:r>
            <a:endParaRPr lang="de-DE" sz="1600" kern="0" dirty="0"/>
          </a:p>
        </p:txBody>
      </p:sp>
      <p:sp>
        <p:nvSpPr>
          <p:cNvPr id="3" name="Fußzeilenplatzhalter 2">
            <a:extLst>
              <a:ext uri="{FF2B5EF4-FFF2-40B4-BE49-F238E27FC236}">
                <a16:creationId xmlns:a16="http://schemas.microsoft.com/office/drawing/2014/main" id="{9DD061C6-025A-4FB7-A4B9-D392582079F0}"/>
              </a:ext>
            </a:extLst>
          </p:cNvPr>
          <p:cNvSpPr>
            <a:spLocks noGrp="1"/>
          </p:cNvSpPr>
          <p:nvPr>
            <p:ph type="ftr" sz="quarter" idx="32"/>
          </p:nvPr>
        </p:nvSpPr>
        <p:spPr bwMode="gray">
          <a:xfrm>
            <a:off x="6313488" y="151200"/>
            <a:ext cx="4393761" cy="180000"/>
          </a:xfrm>
          <a:prstGeom prst="rect">
            <a:avLst/>
          </a:prstGeom>
        </p:spPr>
        <p:txBody>
          <a:bodyPr/>
          <a:lstStyle/>
          <a:p>
            <a:r>
              <a:rPr lang="de-DE"/>
              <a:t>Kürzel  |  CX  |</a:t>
            </a:r>
            <a:endParaRPr lang="de-DE" dirty="0"/>
          </a:p>
        </p:txBody>
      </p:sp>
      <p:sp>
        <p:nvSpPr>
          <p:cNvPr id="7" name="Foliennummernplatzhalter 6">
            <a:extLst>
              <a:ext uri="{FF2B5EF4-FFF2-40B4-BE49-F238E27FC236}">
                <a16:creationId xmlns:a16="http://schemas.microsoft.com/office/drawing/2014/main" id="{F73D1FAA-2A21-43F1-BE1D-D2DA9F393430}"/>
              </a:ext>
            </a:extLst>
          </p:cNvPr>
          <p:cNvSpPr>
            <a:spLocks noGrp="1"/>
          </p:cNvSpPr>
          <p:nvPr>
            <p:ph type="sldNum" sz="quarter" idx="33"/>
          </p:nvPr>
        </p:nvSpPr>
        <p:spPr bwMode="gray">
          <a:xfrm>
            <a:off x="11504750" y="151200"/>
            <a:ext cx="280800" cy="180000"/>
          </a:xfrm>
          <a:prstGeom prst="rect">
            <a:avLst/>
          </a:prstGeom>
        </p:spPr>
        <p:txBody>
          <a:bodyPr/>
          <a:lstStyle/>
          <a:p>
            <a:fld id="{9C89B081-1F44-4440-BC7B-989C90F97B77}" type="slidenum">
              <a:rPr lang="de-DE" smtClean="0"/>
              <a:pPr/>
              <a:t>‹Nr.›</a:t>
            </a:fld>
            <a:endParaRPr lang="de-DE" dirty="0"/>
          </a:p>
        </p:txBody>
      </p:sp>
    </p:spTree>
    <p:extLst>
      <p:ext uri="{BB962C8B-B14F-4D97-AF65-F5344CB8AC3E}">
        <p14:creationId xmlns:p14="http://schemas.microsoft.com/office/powerpoint/2010/main" val="794272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p15="http://schemas.microsoft.com/office/powerpoint/2012/main" xmlns:a16="http://schemas.microsoft.com/office/drawing/2014/main">
      <p:transition spd="med">
        <p:fade/>
      </p:transition>
    </mc:Fallback>
  </mc:AlternateContent>
  <p:extLst>
    <p:ext uri="{DCECCB84-F9BA-43D5-87BE-67443E8EF086}">
      <p15:sldGuideLst xmlns:p15="http://schemas.microsoft.com/office/powerpoint/2012/main">
        <p15:guide id="2" pos="257">
          <p15:clr>
            <a:srgbClr val="F26B43"/>
          </p15:clr>
        </p15:guide>
        <p15:guide id="3" orient="horz" pos="255">
          <p15:clr>
            <a:srgbClr val="F26B43"/>
          </p15:clr>
        </p15:guide>
        <p15:guide id="6" orient="horz" pos="890">
          <p15:clr>
            <a:srgbClr val="F26B43"/>
          </p15:clr>
        </p15:guide>
        <p15:guide id="9" pos="3976">
          <p15:clr>
            <a:srgbClr val="F26B43"/>
          </p15:clr>
        </p15:guide>
        <p15:guide id="10" pos="3705">
          <p15:clr>
            <a:srgbClr val="F26B43"/>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Zweispaltig mit Markenform links 01">
    <p:spTree>
      <p:nvGrpSpPr>
        <p:cNvPr id="1" name=""/>
        <p:cNvGrpSpPr/>
        <p:nvPr/>
      </p:nvGrpSpPr>
      <p:grpSpPr>
        <a:xfrm>
          <a:off x="0" y="0"/>
          <a:ext cx="0" cy="0"/>
          <a:chOff x="0" y="0"/>
          <a:chExt cx="0" cy="0"/>
        </a:xfrm>
      </p:grpSpPr>
      <p:sp>
        <p:nvSpPr>
          <p:cNvPr id="16" name="Inhaltsplatzhalter 2"/>
          <p:cNvSpPr>
            <a:spLocks noGrp="1"/>
          </p:cNvSpPr>
          <p:nvPr>
            <p:ph sz="quarter" idx="24" hasCustomPrompt="1"/>
          </p:nvPr>
        </p:nvSpPr>
        <p:spPr bwMode="gray">
          <a:xfrm>
            <a:off x="6313610" y="1412776"/>
            <a:ext cx="5471940" cy="4896445"/>
          </a:xfrm>
          <a:noFill/>
        </p:spPr>
        <p:txBody>
          <a:bodyPr/>
          <a:lstStyle/>
          <a:p>
            <a:pPr lvl="0"/>
            <a:r>
              <a:rPr lang="de-DE" dirty="0"/>
              <a:t>Text hinzufüg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5" name="Textplatzhalter 3"/>
          <p:cNvSpPr>
            <a:spLocks noGrp="1"/>
          </p:cNvSpPr>
          <p:nvPr>
            <p:ph type="body" sz="quarter" idx="23" hasCustomPrompt="1"/>
          </p:nvPr>
        </p:nvSpPr>
        <p:spPr bwMode="gray">
          <a:xfrm>
            <a:off x="6313610" y="6001543"/>
            <a:ext cx="5471940"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dirty="0"/>
              <a:t>Quelle:</a:t>
            </a:r>
          </a:p>
        </p:txBody>
      </p:sp>
      <p:sp>
        <p:nvSpPr>
          <p:cNvPr id="4" name="Titel 3">
            <a:extLst>
              <a:ext uri="{FF2B5EF4-FFF2-40B4-BE49-F238E27FC236}">
                <a16:creationId xmlns:a16="http://schemas.microsoft.com/office/drawing/2014/main" id="{C9B79889-2E07-47F2-A0C4-DC80A37FDBDA}"/>
              </a:ext>
            </a:extLst>
          </p:cNvPr>
          <p:cNvSpPr>
            <a:spLocks noGrp="1"/>
          </p:cNvSpPr>
          <p:nvPr>
            <p:ph type="title" hasCustomPrompt="1"/>
          </p:nvPr>
        </p:nvSpPr>
        <p:spPr bwMode="gray"/>
        <p:txBody>
          <a:bodyPr/>
          <a:lstStyle>
            <a:lvl1pPr>
              <a:defRPr/>
            </a:lvl1pPr>
          </a:lstStyle>
          <a:p>
            <a:r>
              <a:rPr lang="de-DE" dirty="0"/>
              <a:t>Titel durch Klicken bearbeiten</a:t>
            </a:r>
          </a:p>
        </p:txBody>
      </p:sp>
      <p:sp>
        <p:nvSpPr>
          <p:cNvPr id="2" name="Datumsplatzhalter 1">
            <a:extLst>
              <a:ext uri="{FF2B5EF4-FFF2-40B4-BE49-F238E27FC236}">
                <a16:creationId xmlns:a16="http://schemas.microsoft.com/office/drawing/2014/main" id="{ECD1828B-5300-418C-A147-023E190B0660}"/>
              </a:ext>
            </a:extLst>
          </p:cNvPr>
          <p:cNvSpPr>
            <a:spLocks noGrp="1"/>
          </p:cNvSpPr>
          <p:nvPr>
            <p:ph type="dt" sz="half" idx="29"/>
          </p:nvPr>
        </p:nvSpPr>
        <p:spPr bwMode="gray">
          <a:xfrm>
            <a:off x="10709631" y="151200"/>
            <a:ext cx="748800" cy="180000"/>
          </a:xfrm>
          <a:prstGeom prst="rect">
            <a:avLst/>
          </a:prstGeom>
        </p:spPr>
        <p:txBody>
          <a:bodyPr/>
          <a:lstStyle/>
          <a:p>
            <a:r>
              <a:rPr lang="de-DE"/>
              <a:t>XX.XX.2020</a:t>
            </a:r>
            <a:endParaRPr lang="de-DE" sz="1600" kern="0" dirty="0"/>
          </a:p>
        </p:txBody>
      </p:sp>
      <p:sp>
        <p:nvSpPr>
          <p:cNvPr id="3" name="Fußzeilenplatzhalter 2">
            <a:extLst>
              <a:ext uri="{FF2B5EF4-FFF2-40B4-BE49-F238E27FC236}">
                <a16:creationId xmlns:a16="http://schemas.microsoft.com/office/drawing/2014/main" id="{FCF4070D-3CE1-4E9F-9080-3DB95E789FEB}"/>
              </a:ext>
            </a:extLst>
          </p:cNvPr>
          <p:cNvSpPr>
            <a:spLocks noGrp="1"/>
          </p:cNvSpPr>
          <p:nvPr>
            <p:ph type="ftr" sz="quarter" idx="30"/>
          </p:nvPr>
        </p:nvSpPr>
        <p:spPr bwMode="gray">
          <a:xfrm>
            <a:off x="6313488" y="151200"/>
            <a:ext cx="4393761" cy="180000"/>
          </a:xfrm>
          <a:prstGeom prst="rect">
            <a:avLst/>
          </a:prstGeom>
        </p:spPr>
        <p:txBody>
          <a:bodyPr/>
          <a:lstStyle/>
          <a:p>
            <a:r>
              <a:rPr lang="de-DE"/>
              <a:t>Kürzel  |  CX  |</a:t>
            </a:r>
            <a:endParaRPr lang="de-DE" dirty="0"/>
          </a:p>
        </p:txBody>
      </p:sp>
      <p:sp>
        <p:nvSpPr>
          <p:cNvPr id="7" name="Foliennummernplatzhalter 6">
            <a:extLst>
              <a:ext uri="{FF2B5EF4-FFF2-40B4-BE49-F238E27FC236}">
                <a16:creationId xmlns:a16="http://schemas.microsoft.com/office/drawing/2014/main" id="{04C38013-45C9-48D9-971F-F1A5581A4B0E}"/>
              </a:ext>
            </a:extLst>
          </p:cNvPr>
          <p:cNvSpPr>
            <a:spLocks noGrp="1"/>
          </p:cNvSpPr>
          <p:nvPr>
            <p:ph type="sldNum" sz="quarter" idx="31"/>
          </p:nvPr>
        </p:nvSpPr>
        <p:spPr bwMode="gray">
          <a:xfrm>
            <a:off x="11504750" y="151200"/>
            <a:ext cx="280800" cy="180000"/>
          </a:xfrm>
          <a:prstGeom prst="rect">
            <a:avLst/>
          </a:prstGeom>
        </p:spPr>
        <p:txBody>
          <a:bodyPr/>
          <a:lstStyle/>
          <a:p>
            <a:fld id="{9C89B081-1F44-4440-BC7B-989C90F97B77}" type="slidenum">
              <a:rPr lang="de-DE" smtClean="0"/>
              <a:pPr/>
              <a:t>‹Nr.›</a:t>
            </a:fld>
            <a:endParaRPr lang="de-DE" dirty="0"/>
          </a:p>
        </p:txBody>
      </p:sp>
      <p:sp>
        <p:nvSpPr>
          <p:cNvPr id="9" name="Textplatzhalter 12">
            <a:extLst>
              <a:ext uri="{FF2B5EF4-FFF2-40B4-BE49-F238E27FC236}">
                <a16:creationId xmlns:a16="http://schemas.microsoft.com/office/drawing/2014/main" id="{2D4AA21B-8511-436C-9EB6-D38E18B6E0C9}"/>
              </a:ext>
            </a:extLst>
          </p:cNvPr>
          <p:cNvSpPr>
            <a:spLocks noGrp="1" noChangeAspect="1"/>
          </p:cNvSpPr>
          <p:nvPr>
            <p:ph type="body" sz="quarter" idx="28" hasCustomPrompt="1"/>
          </p:nvPr>
        </p:nvSpPr>
        <p:spPr bwMode="gray">
          <a:xfrm>
            <a:off x="1" y="1420964"/>
            <a:ext cx="6097587" cy="5437036"/>
          </a:xfrm>
          <a:custGeom>
            <a:avLst/>
            <a:gdLst>
              <a:gd name="connsiteX0" fmla="*/ 5440402 w 6097587"/>
              <a:gd name="connsiteY0" fmla="*/ 1174 h 5437036"/>
              <a:gd name="connsiteX1" fmla="*/ 6097587 w 6097587"/>
              <a:gd name="connsiteY1" fmla="*/ 603756 h 5437036"/>
              <a:gd name="connsiteX2" fmla="*/ 6097587 w 6097587"/>
              <a:gd name="connsiteY2" fmla="*/ 1200666 h 5437036"/>
              <a:gd name="connsiteX3" fmla="*/ 6097587 w 6097587"/>
              <a:gd name="connsiteY3" fmla="*/ 1255879 h 5437036"/>
              <a:gd name="connsiteX4" fmla="*/ 6097587 w 6097587"/>
              <a:gd name="connsiteY4" fmla="*/ 1277987 h 5437036"/>
              <a:gd name="connsiteX5" fmla="*/ 6097587 w 6097587"/>
              <a:gd name="connsiteY5" fmla="*/ 1305780 h 5437036"/>
              <a:gd name="connsiteX6" fmla="*/ 6097587 w 6097587"/>
              <a:gd name="connsiteY6" fmla="*/ 1308283 h 5437036"/>
              <a:gd name="connsiteX7" fmla="*/ 6097587 w 6097587"/>
              <a:gd name="connsiteY7" fmla="*/ 1358230 h 5437036"/>
              <a:gd name="connsiteX8" fmla="*/ 6097587 w 6097587"/>
              <a:gd name="connsiteY8" fmla="*/ 1422562 h 5437036"/>
              <a:gd name="connsiteX9" fmla="*/ 6097587 w 6097587"/>
              <a:gd name="connsiteY9" fmla="*/ 1432741 h 5437036"/>
              <a:gd name="connsiteX10" fmla="*/ 6097587 w 6097587"/>
              <a:gd name="connsiteY10" fmla="*/ 1536730 h 5437036"/>
              <a:gd name="connsiteX11" fmla="*/ 6097587 w 6097587"/>
              <a:gd name="connsiteY11" fmla="*/ 1551627 h 5437036"/>
              <a:gd name="connsiteX12" fmla="*/ 6097587 w 6097587"/>
              <a:gd name="connsiteY12" fmla="*/ 1601313 h 5437036"/>
              <a:gd name="connsiteX13" fmla="*/ 6097587 w 6097587"/>
              <a:gd name="connsiteY13" fmla="*/ 1675108 h 5437036"/>
              <a:gd name="connsiteX14" fmla="*/ 6097587 w 6097587"/>
              <a:gd name="connsiteY14" fmla="*/ 1693587 h 5437036"/>
              <a:gd name="connsiteX15" fmla="*/ 6097587 w 6097587"/>
              <a:gd name="connsiteY15" fmla="*/ 1758728 h 5437036"/>
              <a:gd name="connsiteX16" fmla="*/ 6097587 w 6097587"/>
              <a:gd name="connsiteY16" fmla="*/ 1849058 h 5437036"/>
              <a:gd name="connsiteX17" fmla="*/ 6097587 w 6097587"/>
              <a:gd name="connsiteY17" fmla="*/ 1852789 h 5437036"/>
              <a:gd name="connsiteX18" fmla="*/ 6097587 w 6097587"/>
              <a:gd name="connsiteY18" fmla="*/ 1957903 h 5437036"/>
              <a:gd name="connsiteX19" fmla="*/ 6097587 w 6097587"/>
              <a:gd name="connsiteY19" fmla="*/ 2018653 h 5437036"/>
              <a:gd name="connsiteX20" fmla="*/ 6097587 w 6097587"/>
              <a:gd name="connsiteY20" fmla="*/ 2074685 h 5437036"/>
              <a:gd name="connsiteX21" fmla="*/ 6097587 w 6097587"/>
              <a:gd name="connsiteY21" fmla="*/ 2202987 h 5437036"/>
              <a:gd name="connsiteX22" fmla="*/ 6097587 w 6097587"/>
              <a:gd name="connsiteY22" fmla="*/ 2203749 h 5437036"/>
              <a:gd name="connsiteX23" fmla="*/ 6097587 w 6097587"/>
              <a:gd name="connsiteY23" fmla="*/ 2345710 h 5437036"/>
              <a:gd name="connsiteX24" fmla="*/ 6097587 w 6097587"/>
              <a:gd name="connsiteY24" fmla="*/ 2402673 h 5437036"/>
              <a:gd name="connsiteX25" fmla="*/ 6097587 w 6097587"/>
              <a:gd name="connsiteY25" fmla="*/ 2501181 h 5437036"/>
              <a:gd name="connsiteX26" fmla="*/ 6097587 w 6097587"/>
              <a:gd name="connsiteY26" fmla="*/ 2618326 h 5437036"/>
              <a:gd name="connsiteX27" fmla="*/ 6097587 w 6097587"/>
              <a:gd name="connsiteY27" fmla="*/ 2670776 h 5437036"/>
              <a:gd name="connsiteX28" fmla="*/ 6097587 w 6097587"/>
              <a:gd name="connsiteY28" fmla="*/ 2850560 h 5437036"/>
              <a:gd name="connsiteX29" fmla="*/ 6097587 w 6097587"/>
              <a:gd name="connsiteY29" fmla="*/ 2855110 h 5437036"/>
              <a:gd name="connsiteX30" fmla="*/ 6097587 w 6097587"/>
              <a:gd name="connsiteY30" fmla="*/ 3054796 h 5437036"/>
              <a:gd name="connsiteX31" fmla="*/ 6097587 w 6097587"/>
              <a:gd name="connsiteY31" fmla="*/ 3099990 h 5437036"/>
              <a:gd name="connsiteX32" fmla="*/ 6097587 w 6097587"/>
              <a:gd name="connsiteY32" fmla="*/ 3270449 h 5437036"/>
              <a:gd name="connsiteX33" fmla="*/ 6097587 w 6097587"/>
              <a:gd name="connsiteY33" fmla="*/ 3367227 h 5437036"/>
              <a:gd name="connsiteX34" fmla="*/ 6097587 w 6097587"/>
              <a:gd name="connsiteY34" fmla="*/ 3502684 h 5437036"/>
              <a:gd name="connsiteX35" fmla="*/ 6097587 w 6097587"/>
              <a:gd name="connsiteY35" fmla="*/ 3652889 h 5437036"/>
              <a:gd name="connsiteX36" fmla="*/ 6097587 w 6097587"/>
              <a:gd name="connsiteY36" fmla="*/ 3752112 h 5437036"/>
              <a:gd name="connsiteX37" fmla="*/ 6097587 w 6097587"/>
              <a:gd name="connsiteY37" fmla="*/ 3957586 h 5437036"/>
              <a:gd name="connsiteX38" fmla="*/ 6097587 w 6097587"/>
              <a:gd name="connsiteY38" fmla="*/ 4019350 h 5437036"/>
              <a:gd name="connsiteX39" fmla="*/ 6097587 w 6097587"/>
              <a:gd name="connsiteY39" fmla="*/ 4262137 h 5437036"/>
              <a:gd name="connsiteX40" fmla="*/ 6097587 w 6097587"/>
              <a:gd name="connsiteY40" fmla="*/ 4292733 h 5437036"/>
              <a:gd name="connsiteX41" fmla="*/ 6097587 w 6097587"/>
              <a:gd name="connsiteY41" fmla="*/ 4305011 h 5437036"/>
              <a:gd name="connsiteX42" fmla="*/ 6097587 w 6097587"/>
              <a:gd name="connsiteY42" fmla="*/ 4362984 h 5437036"/>
              <a:gd name="connsiteX43" fmla="*/ 6097587 w 6097587"/>
              <a:gd name="connsiteY43" fmla="*/ 4367675 h 5437036"/>
              <a:gd name="connsiteX44" fmla="*/ 6097587 w 6097587"/>
              <a:gd name="connsiteY44" fmla="*/ 4378813 h 5437036"/>
              <a:gd name="connsiteX45" fmla="*/ 6097587 w 6097587"/>
              <a:gd name="connsiteY45" fmla="*/ 4400506 h 5437036"/>
              <a:gd name="connsiteX46" fmla="*/ 6097587 w 6097587"/>
              <a:gd name="connsiteY46" fmla="*/ 4436268 h 5437036"/>
              <a:gd name="connsiteX47" fmla="*/ 6097587 w 6097587"/>
              <a:gd name="connsiteY47" fmla="*/ 4489620 h 5437036"/>
              <a:gd name="connsiteX48" fmla="*/ 6097587 w 6097587"/>
              <a:gd name="connsiteY48" fmla="*/ 4564076 h 5437036"/>
              <a:gd name="connsiteX49" fmla="*/ 6097587 w 6097587"/>
              <a:gd name="connsiteY49" fmla="*/ 4609710 h 5437036"/>
              <a:gd name="connsiteX50" fmla="*/ 6097587 w 6097587"/>
              <a:gd name="connsiteY50" fmla="*/ 4663157 h 5437036"/>
              <a:gd name="connsiteX51" fmla="*/ 6097587 w 6097587"/>
              <a:gd name="connsiteY51" fmla="*/ 4674064 h 5437036"/>
              <a:gd name="connsiteX52" fmla="*/ 6097587 w 6097587"/>
              <a:gd name="connsiteY52" fmla="*/ 4737893 h 5437036"/>
              <a:gd name="connsiteX53" fmla="*/ 6097587 w 6097587"/>
              <a:gd name="connsiteY53" fmla="*/ 4871773 h 5437036"/>
              <a:gd name="connsiteX54" fmla="*/ 6097587 w 6097587"/>
              <a:gd name="connsiteY54" fmla="*/ 4914259 h 5437036"/>
              <a:gd name="connsiteX55" fmla="*/ 6097587 w 6097587"/>
              <a:gd name="connsiteY55" fmla="*/ 4944856 h 5437036"/>
              <a:gd name="connsiteX56" fmla="*/ 6097587 w 6097587"/>
              <a:gd name="connsiteY56" fmla="*/ 4949260 h 5437036"/>
              <a:gd name="connsiteX57" fmla="*/ 6097587 w 6097587"/>
              <a:gd name="connsiteY57" fmla="*/ 5015108 h 5437036"/>
              <a:gd name="connsiteX58" fmla="*/ 6097587 w 6097587"/>
              <a:gd name="connsiteY58" fmla="*/ 5019797 h 5437036"/>
              <a:gd name="connsiteX59" fmla="*/ 6097587 w 6097587"/>
              <a:gd name="connsiteY59" fmla="*/ 5030937 h 5437036"/>
              <a:gd name="connsiteX60" fmla="*/ 6097587 w 6097587"/>
              <a:gd name="connsiteY60" fmla="*/ 5034241 h 5437036"/>
              <a:gd name="connsiteX61" fmla="*/ 6097587 w 6097587"/>
              <a:gd name="connsiteY61" fmla="*/ 5052628 h 5437036"/>
              <a:gd name="connsiteX62" fmla="*/ 6097587 w 6097587"/>
              <a:gd name="connsiteY62" fmla="*/ 5080807 h 5437036"/>
              <a:gd name="connsiteX63" fmla="*/ 6097587 w 6097587"/>
              <a:gd name="connsiteY63" fmla="*/ 5088391 h 5437036"/>
              <a:gd name="connsiteX64" fmla="*/ 6097587 w 6097587"/>
              <a:gd name="connsiteY64" fmla="*/ 5141742 h 5437036"/>
              <a:gd name="connsiteX65" fmla="*/ 6097587 w 6097587"/>
              <a:gd name="connsiteY65" fmla="*/ 5159803 h 5437036"/>
              <a:gd name="connsiteX66" fmla="*/ 6097587 w 6097587"/>
              <a:gd name="connsiteY66" fmla="*/ 5216199 h 5437036"/>
              <a:gd name="connsiteX67" fmla="*/ 6097587 w 6097587"/>
              <a:gd name="connsiteY67" fmla="*/ 5315280 h 5437036"/>
              <a:gd name="connsiteX68" fmla="*/ 6097587 w 6097587"/>
              <a:gd name="connsiteY68" fmla="*/ 5326186 h 5437036"/>
              <a:gd name="connsiteX69" fmla="*/ 6097587 w 6097587"/>
              <a:gd name="connsiteY69" fmla="*/ 5347127 h 5437036"/>
              <a:gd name="connsiteX70" fmla="*/ 6097587 w 6097587"/>
              <a:gd name="connsiteY70" fmla="*/ 5390016 h 5437036"/>
              <a:gd name="connsiteX71" fmla="*/ 6097587 w 6097587"/>
              <a:gd name="connsiteY71" fmla="*/ 5437036 h 5437036"/>
              <a:gd name="connsiteX72" fmla="*/ 0 w 6097587"/>
              <a:gd name="connsiteY72" fmla="*/ 5437036 h 5437036"/>
              <a:gd name="connsiteX73" fmla="*/ 0 w 6097587"/>
              <a:gd name="connsiteY73" fmla="*/ 1568122 h 5437036"/>
              <a:gd name="connsiteX74" fmla="*/ 0 w 6097587"/>
              <a:gd name="connsiteY74" fmla="*/ 915999 h 5437036"/>
              <a:gd name="connsiteX75" fmla="*/ 175716 w 6097587"/>
              <a:gd name="connsiteY75" fmla="*/ 886189 h 5437036"/>
              <a:gd name="connsiteX76" fmla="*/ 5300008 w 6097587"/>
              <a:gd name="connsiteY76" fmla="*/ 16855 h 5437036"/>
              <a:gd name="connsiteX77" fmla="*/ 5440402 w 6097587"/>
              <a:gd name="connsiteY77" fmla="*/ 1174 h 5437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097587" h="5437036">
                <a:moveTo>
                  <a:pt x="5440402" y="1174"/>
                </a:moveTo>
                <a:cubicBezTo>
                  <a:pt x="6097587" y="-30859"/>
                  <a:pt x="6097587" y="603756"/>
                  <a:pt x="6097587" y="603756"/>
                </a:cubicBezTo>
                <a:cubicBezTo>
                  <a:pt x="6097587" y="603756"/>
                  <a:pt x="6097587" y="603756"/>
                  <a:pt x="6097587" y="1200666"/>
                </a:cubicBezTo>
                <a:lnTo>
                  <a:pt x="6097587" y="1255879"/>
                </a:lnTo>
                <a:cubicBezTo>
                  <a:pt x="6097587" y="1255879"/>
                  <a:pt x="6097587" y="1255879"/>
                  <a:pt x="6097587" y="1277987"/>
                </a:cubicBezTo>
                <a:lnTo>
                  <a:pt x="6097587" y="1305780"/>
                </a:lnTo>
                <a:lnTo>
                  <a:pt x="6097587" y="1308283"/>
                </a:lnTo>
                <a:cubicBezTo>
                  <a:pt x="6097587" y="1321384"/>
                  <a:pt x="6097587" y="1337760"/>
                  <a:pt x="6097587" y="1358230"/>
                </a:cubicBezTo>
                <a:lnTo>
                  <a:pt x="6097587" y="1422562"/>
                </a:lnTo>
                <a:lnTo>
                  <a:pt x="6097587" y="1432741"/>
                </a:lnTo>
                <a:cubicBezTo>
                  <a:pt x="6097587" y="1462218"/>
                  <a:pt x="6097587" y="1496608"/>
                  <a:pt x="6097587" y="1536730"/>
                </a:cubicBezTo>
                <a:lnTo>
                  <a:pt x="6097587" y="1551627"/>
                </a:lnTo>
                <a:lnTo>
                  <a:pt x="6097587" y="1601313"/>
                </a:lnTo>
                <a:cubicBezTo>
                  <a:pt x="6097587" y="1624342"/>
                  <a:pt x="6097587" y="1648906"/>
                  <a:pt x="6097587" y="1675108"/>
                </a:cubicBezTo>
                <a:lnTo>
                  <a:pt x="6097587" y="1693587"/>
                </a:lnTo>
                <a:lnTo>
                  <a:pt x="6097587" y="1758728"/>
                </a:lnTo>
                <a:lnTo>
                  <a:pt x="6097587" y="1849058"/>
                </a:lnTo>
                <a:lnTo>
                  <a:pt x="6097587" y="1852789"/>
                </a:lnTo>
                <a:cubicBezTo>
                  <a:pt x="6097587" y="1885950"/>
                  <a:pt x="6097587" y="1920954"/>
                  <a:pt x="6097587" y="1957903"/>
                </a:cubicBezTo>
                <a:lnTo>
                  <a:pt x="6097587" y="2018653"/>
                </a:lnTo>
                <a:lnTo>
                  <a:pt x="6097587" y="2074685"/>
                </a:lnTo>
                <a:lnTo>
                  <a:pt x="6097587" y="2202987"/>
                </a:lnTo>
                <a:lnTo>
                  <a:pt x="6097587" y="2203749"/>
                </a:lnTo>
                <a:cubicBezTo>
                  <a:pt x="6097587" y="2248886"/>
                  <a:pt x="6097587" y="2296172"/>
                  <a:pt x="6097587" y="2345710"/>
                </a:cubicBezTo>
                <a:lnTo>
                  <a:pt x="6097587" y="2402673"/>
                </a:lnTo>
                <a:lnTo>
                  <a:pt x="6097587" y="2501181"/>
                </a:lnTo>
                <a:lnTo>
                  <a:pt x="6097587" y="2618326"/>
                </a:lnTo>
                <a:lnTo>
                  <a:pt x="6097587" y="2670776"/>
                </a:lnTo>
                <a:lnTo>
                  <a:pt x="6097587" y="2850560"/>
                </a:lnTo>
                <a:lnTo>
                  <a:pt x="6097587" y="2855110"/>
                </a:lnTo>
                <a:cubicBezTo>
                  <a:pt x="6097587" y="2919079"/>
                  <a:pt x="6097587" y="2985607"/>
                  <a:pt x="6097587" y="3054796"/>
                </a:cubicBezTo>
                <a:lnTo>
                  <a:pt x="6097587" y="3099990"/>
                </a:lnTo>
                <a:lnTo>
                  <a:pt x="6097587" y="3270449"/>
                </a:lnTo>
                <a:lnTo>
                  <a:pt x="6097587" y="3367227"/>
                </a:lnTo>
                <a:lnTo>
                  <a:pt x="6097587" y="3502684"/>
                </a:lnTo>
                <a:lnTo>
                  <a:pt x="6097587" y="3652889"/>
                </a:lnTo>
                <a:lnTo>
                  <a:pt x="6097587" y="3752112"/>
                </a:lnTo>
                <a:lnTo>
                  <a:pt x="6097587" y="3957586"/>
                </a:lnTo>
                <a:lnTo>
                  <a:pt x="6097587" y="4019350"/>
                </a:lnTo>
                <a:lnTo>
                  <a:pt x="6097587" y="4262137"/>
                </a:lnTo>
                <a:lnTo>
                  <a:pt x="6097587" y="4292733"/>
                </a:lnTo>
                <a:lnTo>
                  <a:pt x="6097587" y="4305011"/>
                </a:lnTo>
                <a:lnTo>
                  <a:pt x="6097587" y="4362984"/>
                </a:lnTo>
                <a:lnTo>
                  <a:pt x="6097587" y="4367675"/>
                </a:lnTo>
                <a:lnTo>
                  <a:pt x="6097587" y="4378813"/>
                </a:lnTo>
                <a:lnTo>
                  <a:pt x="6097587" y="4400506"/>
                </a:lnTo>
                <a:lnTo>
                  <a:pt x="6097587" y="4436268"/>
                </a:lnTo>
                <a:lnTo>
                  <a:pt x="6097587" y="4489620"/>
                </a:lnTo>
                <a:lnTo>
                  <a:pt x="6097587" y="4564076"/>
                </a:lnTo>
                <a:lnTo>
                  <a:pt x="6097587" y="4609710"/>
                </a:lnTo>
                <a:lnTo>
                  <a:pt x="6097587" y="4663157"/>
                </a:lnTo>
                <a:lnTo>
                  <a:pt x="6097587" y="4674064"/>
                </a:lnTo>
                <a:lnTo>
                  <a:pt x="6097587" y="4737893"/>
                </a:lnTo>
                <a:lnTo>
                  <a:pt x="6097587" y="4871773"/>
                </a:lnTo>
                <a:lnTo>
                  <a:pt x="6097587" y="4914259"/>
                </a:lnTo>
                <a:lnTo>
                  <a:pt x="6097587" y="4944856"/>
                </a:lnTo>
                <a:lnTo>
                  <a:pt x="6097587" y="4949260"/>
                </a:lnTo>
                <a:lnTo>
                  <a:pt x="6097587" y="5015108"/>
                </a:lnTo>
                <a:lnTo>
                  <a:pt x="6097587" y="5019797"/>
                </a:lnTo>
                <a:lnTo>
                  <a:pt x="6097587" y="5030937"/>
                </a:lnTo>
                <a:lnTo>
                  <a:pt x="6097587" y="5034241"/>
                </a:lnTo>
                <a:lnTo>
                  <a:pt x="6097587" y="5052628"/>
                </a:lnTo>
                <a:lnTo>
                  <a:pt x="6097587" y="5080807"/>
                </a:lnTo>
                <a:lnTo>
                  <a:pt x="6097587" y="5088391"/>
                </a:lnTo>
                <a:lnTo>
                  <a:pt x="6097587" y="5141742"/>
                </a:lnTo>
                <a:lnTo>
                  <a:pt x="6097587" y="5159803"/>
                </a:lnTo>
                <a:lnTo>
                  <a:pt x="6097587" y="5216199"/>
                </a:lnTo>
                <a:lnTo>
                  <a:pt x="6097587" y="5315280"/>
                </a:lnTo>
                <a:lnTo>
                  <a:pt x="6097587" y="5326186"/>
                </a:lnTo>
                <a:lnTo>
                  <a:pt x="6097587" y="5347127"/>
                </a:lnTo>
                <a:lnTo>
                  <a:pt x="6097587" y="5390016"/>
                </a:lnTo>
                <a:lnTo>
                  <a:pt x="6097587" y="5437036"/>
                </a:lnTo>
                <a:lnTo>
                  <a:pt x="0" y="5437036"/>
                </a:lnTo>
                <a:lnTo>
                  <a:pt x="0" y="1568122"/>
                </a:lnTo>
                <a:lnTo>
                  <a:pt x="0" y="915999"/>
                </a:lnTo>
                <a:lnTo>
                  <a:pt x="175716" y="886189"/>
                </a:lnTo>
                <a:cubicBezTo>
                  <a:pt x="1513763" y="659190"/>
                  <a:pt x="3192880" y="374328"/>
                  <a:pt x="5300008" y="16855"/>
                </a:cubicBezTo>
                <a:cubicBezTo>
                  <a:pt x="5349857" y="8408"/>
                  <a:pt x="5396590" y="3310"/>
                  <a:pt x="5440402" y="1174"/>
                </a:cubicBezTo>
                <a:close/>
              </a:path>
            </a:pathLst>
          </a:custGeom>
          <a:solidFill>
            <a:srgbClr val="E9E9E9"/>
          </a:solidFill>
        </p:spPr>
        <p:txBody>
          <a:bodyPr wrap="square" lIns="410400" tIns="1224000" rIns="396000">
            <a:noAutofit/>
          </a:bodyPr>
          <a:lstStyle>
            <a:lvl1pPr marL="0" marR="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solidFill>
                  <a:schemeClr val="tx2"/>
                </a:solidFill>
              </a:defRPr>
            </a:lvl1pPr>
            <a:lvl2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solidFill>
                  <a:schemeClr val="tx1"/>
                </a:solidFill>
              </a:defRPr>
            </a:lvl2pPr>
            <a:lvl3pPr marL="180000" marR="0" indent="-18000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solidFill>
                  <a:schemeClr val="tx1"/>
                </a:solidFill>
              </a:defRPr>
            </a:lvl3pPr>
            <a:lvl4pPr marL="360000" marR="0" indent="-18000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solidFill>
                  <a:schemeClr val="tx1"/>
                </a:solidFill>
              </a:defRPr>
            </a:lvl4pPr>
            <a:lvl5pPr marL="576000" marR="0" indent="-216000" algn="l" defTabSz="914400" rtl="0" eaLnBrk="1" fontAlgn="auto" latinLnBrk="0" hangingPunct="1">
              <a:lnSpc>
                <a:spcPct val="100000"/>
              </a:lnSpc>
              <a:spcBef>
                <a:spcPts val="400"/>
              </a:spcBef>
              <a:spcAft>
                <a:spcPts val="0"/>
              </a:spcAft>
              <a:buClrTx/>
              <a:buSzTx/>
              <a:buFont typeface="Symbol" panose="05050102010706020507" pitchFamily="18" charset="2"/>
              <a:buChar char="-"/>
              <a:tabLst/>
              <a:defRPr>
                <a:solidFill>
                  <a:schemeClr val="tx1"/>
                </a:solidFill>
              </a:defRPr>
            </a:lvl5pPr>
            <a:lvl6pPr marL="576000" marR="0" indent="-216000" algn="l" defTabSz="914400" rtl="0" eaLnBrk="1" fontAlgn="auto" latinLnBrk="0" hangingPunct="1">
              <a:lnSpc>
                <a:spcPct val="100000"/>
              </a:lnSpc>
              <a:spcBef>
                <a:spcPts val="400"/>
              </a:spcBef>
              <a:spcAft>
                <a:spcPts val="0"/>
              </a:spcAft>
              <a:buClrTx/>
              <a:buSzTx/>
              <a:buFont typeface="Symbol" panose="05050102010706020507" pitchFamily="18" charset="2"/>
              <a:buChar char="-"/>
              <a:tabLst/>
              <a:defRPr>
                <a:solidFill>
                  <a:schemeClr val="tx1"/>
                </a:solidFill>
              </a:defRPr>
            </a:lvl6pPr>
            <a:lvl7pPr marL="576000" marR="0" indent="-216000" algn="l" defTabSz="914400" rtl="0" eaLnBrk="1" fontAlgn="auto" latinLnBrk="0" hangingPunct="1">
              <a:lnSpc>
                <a:spcPct val="100000"/>
              </a:lnSpc>
              <a:spcBef>
                <a:spcPts val="400"/>
              </a:spcBef>
              <a:spcAft>
                <a:spcPts val="0"/>
              </a:spcAft>
              <a:buClrTx/>
              <a:buSzTx/>
              <a:buFont typeface="Symbol" panose="05050102010706020507" pitchFamily="18" charset="2"/>
              <a:buChar char="-"/>
              <a:tabLst/>
              <a:defRPr>
                <a:solidFill>
                  <a:schemeClr val="tx1"/>
                </a:solidFill>
              </a:defRPr>
            </a:lvl7pPr>
            <a:lvl8pPr marL="576000" marR="0" indent="-216000" algn="l" defTabSz="914400" rtl="0" eaLnBrk="1" fontAlgn="auto" latinLnBrk="0" hangingPunct="1">
              <a:lnSpc>
                <a:spcPct val="100000"/>
              </a:lnSpc>
              <a:spcBef>
                <a:spcPts val="400"/>
              </a:spcBef>
              <a:spcAft>
                <a:spcPts val="0"/>
              </a:spcAft>
              <a:buClrTx/>
              <a:buSzTx/>
              <a:buFont typeface="Symbol" panose="05050102010706020507" pitchFamily="18" charset="2"/>
              <a:buChar char="-"/>
              <a:tabLst/>
              <a:defRPr>
                <a:solidFill>
                  <a:schemeClr val="tx1"/>
                </a:solidFill>
              </a:defRPr>
            </a:lvl8pPr>
            <a:lvl9pPr marL="576000" marR="0" indent="-216000" algn="l" defTabSz="914400" rtl="0" eaLnBrk="1" fontAlgn="auto" latinLnBrk="0" hangingPunct="1">
              <a:lnSpc>
                <a:spcPct val="100000"/>
              </a:lnSpc>
              <a:spcBef>
                <a:spcPts val="400"/>
              </a:spcBef>
              <a:spcAft>
                <a:spcPts val="0"/>
              </a:spcAft>
              <a:buClrTx/>
              <a:buSzTx/>
              <a:buFont typeface="Symbol" panose="05050102010706020507" pitchFamily="18" charset="2"/>
              <a:buChar char="-"/>
              <a:tabLst/>
              <a:defRPr>
                <a:solidFill>
                  <a:schemeClr val="tx1"/>
                </a:solidFill>
              </a:defRPr>
            </a:lvl9pPr>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de-DE" sz="1800" b="0" i="0" u="none" strike="noStrike" kern="1200" cap="none" spc="0" normalizeH="0" baseline="0" noProof="0" dirty="0">
                <a:ln>
                  <a:noFill/>
                </a:ln>
                <a:solidFill>
                  <a:srgbClr val="00358E"/>
                </a:solidFill>
                <a:effectLst/>
                <a:uLnTx/>
                <a:uFillTx/>
                <a:latin typeface="+mn-lt"/>
                <a:ea typeface="+mn-ea"/>
                <a:cs typeface="+mn-cs"/>
              </a:rPr>
              <a:t>Text hinzufügen</a:t>
            </a:r>
          </a:p>
          <a:p>
            <a:pPr marL="0" marR="0" lvl="1"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1800" b="0" i="0" u="none" strike="noStrike" kern="1200" cap="none" spc="0" normalizeH="0" baseline="0" noProof="0" dirty="0">
                <a:ln>
                  <a:noFill/>
                </a:ln>
                <a:solidFill>
                  <a:prstClr val="black"/>
                </a:solidFill>
                <a:effectLst/>
                <a:uLnTx/>
                <a:uFillTx/>
                <a:latin typeface="+mn-lt"/>
                <a:ea typeface="+mn-ea"/>
                <a:cs typeface="+mn-cs"/>
              </a:rPr>
              <a:t>Zweite Ebene</a:t>
            </a:r>
          </a:p>
          <a:p>
            <a:pPr marL="180000" marR="0" lvl="2" indent="-18000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de-DE" sz="1800" b="0" i="0" u="none" strike="noStrike" kern="1200" cap="none" spc="0" normalizeH="0" baseline="0" noProof="0" dirty="0">
                <a:ln>
                  <a:noFill/>
                </a:ln>
                <a:solidFill>
                  <a:prstClr val="black"/>
                </a:solidFill>
                <a:effectLst/>
                <a:uLnTx/>
                <a:uFillTx/>
                <a:latin typeface="+mn-lt"/>
                <a:ea typeface="+mn-ea"/>
                <a:cs typeface="+mn-cs"/>
              </a:rPr>
              <a:t>Dritte Ebene</a:t>
            </a:r>
          </a:p>
          <a:p>
            <a:pPr marL="360000" marR="0" lvl="3" indent="-18000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de-DE" sz="1800" b="0" i="0" u="none" strike="noStrike" kern="1200" cap="none" spc="0" normalizeH="0" baseline="0" noProof="0" dirty="0">
                <a:ln>
                  <a:noFill/>
                </a:ln>
                <a:solidFill>
                  <a:prstClr val="black"/>
                </a:solidFill>
                <a:effectLst/>
                <a:uLnTx/>
                <a:uFillTx/>
                <a:latin typeface="+mn-lt"/>
                <a:ea typeface="+mn-ea"/>
                <a:cs typeface="+mn-cs"/>
              </a:rPr>
              <a:t>Vierte Ebene</a:t>
            </a:r>
          </a:p>
          <a:p>
            <a:pPr marL="576000" marR="0" lvl="4" indent="-216000" algn="l" defTabSz="914400" rtl="0" eaLnBrk="1" fontAlgn="auto" latinLnBrk="0" hangingPunct="1">
              <a:lnSpc>
                <a:spcPct val="100000"/>
              </a:lnSpc>
              <a:spcBef>
                <a:spcPts val="400"/>
              </a:spcBef>
              <a:spcAft>
                <a:spcPts val="0"/>
              </a:spcAft>
              <a:buClrTx/>
              <a:buSzTx/>
              <a:buFont typeface="Symbol" panose="05050102010706020507" pitchFamily="18" charset="2"/>
              <a:buChar char="-"/>
              <a:tabLst/>
              <a:defRPr/>
            </a:pPr>
            <a:r>
              <a:rPr kumimoji="0" lang="de-DE" sz="1800" b="0" i="0" u="none" strike="noStrike" kern="1200" cap="none" spc="0" normalizeH="0" baseline="0" noProof="0" dirty="0">
                <a:ln>
                  <a:noFill/>
                </a:ln>
                <a:solidFill>
                  <a:prstClr val="black"/>
                </a:solidFill>
                <a:effectLst/>
                <a:uLnTx/>
                <a:uFillTx/>
                <a:latin typeface="+mn-lt"/>
                <a:ea typeface="+mn-ea"/>
                <a:cs typeface="+mn-cs"/>
              </a:rPr>
              <a:t>Fünfte Ebene</a:t>
            </a:r>
          </a:p>
          <a:p>
            <a:pPr marL="576000" marR="0" lvl="5" indent="-216000" algn="l" defTabSz="914400" rtl="0" eaLnBrk="1" fontAlgn="auto" latinLnBrk="0" hangingPunct="1">
              <a:lnSpc>
                <a:spcPct val="100000"/>
              </a:lnSpc>
              <a:spcBef>
                <a:spcPts val="400"/>
              </a:spcBef>
              <a:spcAft>
                <a:spcPts val="0"/>
              </a:spcAft>
              <a:buClrTx/>
              <a:buSzTx/>
              <a:buFont typeface="Symbol" panose="05050102010706020507" pitchFamily="18" charset="2"/>
              <a:buChar char="-"/>
              <a:tabLst/>
              <a:defRPr/>
            </a:pPr>
            <a:r>
              <a:rPr kumimoji="0" lang="de-DE" sz="1800" b="0" i="0" u="none" strike="noStrike" kern="1200" cap="none" spc="0" normalizeH="0" baseline="0" noProof="0" dirty="0">
                <a:ln>
                  <a:noFill/>
                </a:ln>
                <a:solidFill>
                  <a:prstClr val="black"/>
                </a:solidFill>
                <a:effectLst/>
                <a:uLnTx/>
                <a:uFillTx/>
                <a:latin typeface="+mn-lt"/>
                <a:ea typeface="+mn-ea"/>
                <a:cs typeface="+mn-cs"/>
              </a:rPr>
              <a:t>Sechste Ebene</a:t>
            </a:r>
          </a:p>
          <a:p>
            <a:pPr marL="576000" marR="0" lvl="6" indent="-216000" algn="l" defTabSz="914400" rtl="0" eaLnBrk="1" fontAlgn="auto" latinLnBrk="0" hangingPunct="1">
              <a:lnSpc>
                <a:spcPct val="100000"/>
              </a:lnSpc>
              <a:spcBef>
                <a:spcPts val="400"/>
              </a:spcBef>
              <a:spcAft>
                <a:spcPts val="0"/>
              </a:spcAft>
              <a:buClrTx/>
              <a:buSzTx/>
              <a:buFont typeface="Symbol" panose="05050102010706020507" pitchFamily="18" charset="2"/>
              <a:buChar char="-"/>
              <a:tabLst/>
              <a:defRPr/>
            </a:pPr>
            <a:r>
              <a:rPr kumimoji="0" lang="de-DE" sz="1800" b="0" i="0" u="none" strike="noStrike" kern="1200" cap="none" spc="0" normalizeH="0" baseline="0" noProof="0" dirty="0">
                <a:ln>
                  <a:noFill/>
                </a:ln>
                <a:solidFill>
                  <a:prstClr val="black"/>
                </a:solidFill>
                <a:effectLst/>
                <a:uLnTx/>
                <a:uFillTx/>
                <a:latin typeface="+mn-lt"/>
                <a:ea typeface="+mn-ea"/>
                <a:cs typeface="+mn-cs"/>
              </a:rPr>
              <a:t>Siebte Ebene</a:t>
            </a:r>
          </a:p>
          <a:p>
            <a:pPr marL="576000" marR="0" lvl="7" indent="-216000" algn="l" defTabSz="914400" rtl="0" eaLnBrk="1" fontAlgn="auto" latinLnBrk="0" hangingPunct="1">
              <a:lnSpc>
                <a:spcPct val="100000"/>
              </a:lnSpc>
              <a:spcBef>
                <a:spcPts val="400"/>
              </a:spcBef>
              <a:spcAft>
                <a:spcPts val="0"/>
              </a:spcAft>
              <a:buClrTx/>
              <a:buSzTx/>
              <a:buFont typeface="Symbol" panose="05050102010706020507" pitchFamily="18" charset="2"/>
              <a:buChar char="-"/>
              <a:tabLst/>
              <a:defRPr/>
            </a:pPr>
            <a:r>
              <a:rPr kumimoji="0" lang="de-DE" sz="1800" b="0" i="0" u="none" strike="noStrike" kern="1200" cap="none" spc="0" normalizeH="0" baseline="0" noProof="0" dirty="0">
                <a:ln>
                  <a:noFill/>
                </a:ln>
                <a:solidFill>
                  <a:prstClr val="black"/>
                </a:solidFill>
                <a:effectLst/>
                <a:uLnTx/>
                <a:uFillTx/>
                <a:latin typeface="+mn-lt"/>
                <a:ea typeface="+mn-ea"/>
                <a:cs typeface="+mn-cs"/>
              </a:rPr>
              <a:t>Achte Ebene</a:t>
            </a:r>
          </a:p>
          <a:p>
            <a:pPr marL="576000" marR="0" lvl="8" indent="-216000" algn="l" defTabSz="914400" rtl="0" eaLnBrk="1" fontAlgn="auto" latinLnBrk="0" hangingPunct="1">
              <a:lnSpc>
                <a:spcPct val="100000"/>
              </a:lnSpc>
              <a:spcBef>
                <a:spcPts val="400"/>
              </a:spcBef>
              <a:spcAft>
                <a:spcPts val="0"/>
              </a:spcAft>
              <a:buClrTx/>
              <a:buSzTx/>
              <a:buFont typeface="Symbol" panose="05050102010706020507" pitchFamily="18" charset="2"/>
              <a:buChar char="-"/>
              <a:tabLst/>
              <a:defRPr/>
            </a:pPr>
            <a:r>
              <a:rPr kumimoji="0" lang="de-DE" sz="1800" b="0" i="0" u="none" strike="noStrike" kern="1200" cap="none" spc="0" normalizeH="0" baseline="0" noProof="0" dirty="0">
                <a:ln>
                  <a:noFill/>
                </a:ln>
                <a:solidFill>
                  <a:prstClr val="black"/>
                </a:solidFill>
                <a:effectLst/>
                <a:uLnTx/>
                <a:uFillTx/>
                <a:latin typeface="+mn-lt"/>
                <a:ea typeface="+mn-ea"/>
                <a:cs typeface="+mn-cs"/>
              </a:rPr>
              <a:t>Neunte Ebene</a:t>
            </a:r>
          </a:p>
        </p:txBody>
      </p:sp>
    </p:spTree>
    <p:extLst>
      <p:ext uri="{BB962C8B-B14F-4D97-AF65-F5344CB8AC3E}">
        <p14:creationId xmlns:p14="http://schemas.microsoft.com/office/powerpoint/2010/main" val="3527133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57">
          <p15:clr>
            <a:srgbClr val="F26B43"/>
          </p15:clr>
        </p15:guide>
        <p15:guide id="3" orient="horz" pos="255">
          <p15:clr>
            <a:srgbClr val="F26B43"/>
          </p15:clr>
        </p15:guide>
        <p15:guide id="6" orient="horz" pos="890">
          <p15:clr>
            <a:srgbClr val="F26B43"/>
          </p15:clr>
        </p15:guide>
        <p15:guide id="9" pos="3976">
          <p15:clr>
            <a:srgbClr val="F26B43"/>
          </p15:clr>
        </p15:guide>
        <p15:guide id="10" pos="3705">
          <p15:clr>
            <a:srgbClr val="F26B43"/>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Zweispaltig mit Markenform links 02">
    <p:spTree>
      <p:nvGrpSpPr>
        <p:cNvPr id="1" name=""/>
        <p:cNvGrpSpPr/>
        <p:nvPr/>
      </p:nvGrpSpPr>
      <p:grpSpPr>
        <a:xfrm>
          <a:off x="0" y="0"/>
          <a:ext cx="0" cy="0"/>
          <a:chOff x="0" y="0"/>
          <a:chExt cx="0" cy="0"/>
        </a:xfrm>
      </p:grpSpPr>
      <p:sp>
        <p:nvSpPr>
          <p:cNvPr id="16" name="Inhaltsplatzhalter 2"/>
          <p:cNvSpPr>
            <a:spLocks noGrp="1"/>
          </p:cNvSpPr>
          <p:nvPr>
            <p:ph sz="quarter" idx="24" hasCustomPrompt="1"/>
          </p:nvPr>
        </p:nvSpPr>
        <p:spPr bwMode="gray">
          <a:xfrm>
            <a:off x="6313611" y="1412776"/>
            <a:ext cx="5472000" cy="4896445"/>
          </a:xfrm>
          <a:noFill/>
        </p:spPr>
        <p:txBody>
          <a:bodyPr/>
          <a:lstStyle/>
          <a:p>
            <a:pPr lvl="0"/>
            <a:r>
              <a:rPr lang="de-DE" dirty="0"/>
              <a:t>Text hinzufüg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5" name="Textplatzhalter 3"/>
          <p:cNvSpPr>
            <a:spLocks noGrp="1"/>
          </p:cNvSpPr>
          <p:nvPr>
            <p:ph type="body" sz="quarter" idx="23" hasCustomPrompt="1"/>
          </p:nvPr>
        </p:nvSpPr>
        <p:spPr bwMode="gray">
          <a:xfrm>
            <a:off x="6313611" y="6001543"/>
            <a:ext cx="5472000"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dirty="0"/>
              <a:t>Quelle:</a:t>
            </a:r>
          </a:p>
        </p:txBody>
      </p:sp>
      <p:sp>
        <p:nvSpPr>
          <p:cNvPr id="4" name="Titel 3">
            <a:extLst>
              <a:ext uri="{FF2B5EF4-FFF2-40B4-BE49-F238E27FC236}">
                <a16:creationId xmlns:a16="http://schemas.microsoft.com/office/drawing/2014/main" id="{E7FDA46B-AC42-497F-9DFD-87CDC7AAD004}"/>
              </a:ext>
            </a:extLst>
          </p:cNvPr>
          <p:cNvSpPr>
            <a:spLocks noGrp="1"/>
          </p:cNvSpPr>
          <p:nvPr>
            <p:ph type="title" hasCustomPrompt="1"/>
          </p:nvPr>
        </p:nvSpPr>
        <p:spPr bwMode="gray"/>
        <p:txBody>
          <a:bodyPr/>
          <a:lstStyle>
            <a:lvl1pPr>
              <a:defRPr/>
            </a:lvl1pPr>
          </a:lstStyle>
          <a:p>
            <a:r>
              <a:rPr lang="de-DE" dirty="0"/>
              <a:t>Titel durch Klicken bearbeiten</a:t>
            </a:r>
          </a:p>
        </p:txBody>
      </p:sp>
      <p:sp>
        <p:nvSpPr>
          <p:cNvPr id="2" name="Datumsplatzhalter 1">
            <a:extLst>
              <a:ext uri="{FF2B5EF4-FFF2-40B4-BE49-F238E27FC236}">
                <a16:creationId xmlns:a16="http://schemas.microsoft.com/office/drawing/2014/main" id="{A22F1C15-782E-4B2C-A2E9-361CB8446BEA}"/>
              </a:ext>
            </a:extLst>
          </p:cNvPr>
          <p:cNvSpPr>
            <a:spLocks noGrp="1"/>
          </p:cNvSpPr>
          <p:nvPr>
            <p:ph type="dt" sz="half" idx="31"/>
          </p:nvPr>
        </p:nvSpPr>
        <p:spPr bwMode="gray">
          <a:xfrm>
            <a:off x="10709631" y="151200"/>
            <a:ext cx="748800" cy="180000"/>
          </a:xfrm>
          <a:prstGeom prst="rect">
            <a:avLst/>
          </a:prstGeom>
        </p:spPr>
        <p:txBody>
          <a:bodyPr/>
          <a:lstStyle/>
          <a:p>
            <a:r>
              <a:rPr lang="de-DE"/>
              <a:t>XX.XX.2020</a:t>
            </a:r>
            <a:endParaRPr lang="de-DE" sz="1600" kern="0" dirty="0"/>
          </a:p>
        </p:txBody>
      </p:sp>
      <p:sp>
        <p:nvSpPr>
          <p:cNvPr id="3" name="Fußzeilenplatzhalter 2">
            <a:extLst>
              <a:ext uri="{FF2B5EF4-FFF2-40B4-BE49-F238E27FC236}">
                <a16:creationId xmlns:a16="http://schemas.microsoft.com/office/drawing/2014/main" id="{AD984C28-5572-4147-9BEB-25DCFB06761F}"/>
              </a:ext>
            </a:extLst>
          </p:cNvPr>
          <p:cNvSpPr>
            <a:spLocks noGrp="1"/>
          </p:cNvSpPr>
          <p:nvPr>
            <p:ph type="ftr" sz="quarter" idx="32"/>
          </p:nvPr>
        </p:nvSpPr>
        <p:spPr bwMode="gray">
          <a:xfrm>
            <a:off x="6313488" y="151200"/>
            <a:ext cx="4393761" cy="180000"/>
          </a:xfrm>
          <a:prstGeom prst="rect">
            <a:avLst/>
          </a:prstGeom>
        </p:spPr>
        <p:txBody>
          <a:bodyPr/>
          <a:lstStyle/>
          <a:p>
            <a:r>
              <a:rPr lang="de-DE"/>
              <a:t>Kürzel  |  CX  |</a:t>
            </a:r>
            <a:endParaRPr lang="de-DE" dirty="0"/>
          </a:p>
        </p:txBody>
      </p:sp>
      <p:sp>
        <p:nvSpPr>
          <p:cNvPr id="7" name="Foliennummernplatzhalter 6">
            <a:extLst>
              <a:ext uri="{FF2B5EF4-FFF2-40B4-BE49-F238E27FC236}">
                <a16:creationId xmlns:a16="http://schemas.microsoft.com/office/drawing/2014/main" id="{1C6F92A8-FAD4-42FF-ADAD-6DAC89E1A1C9}"/>
              </a:ext>
            </a:extLst>
          </p:cNvPr>
          <p:cNvSpPr>
            <a:spLocks noGrp="1"/>
          </p:cNvSpPr>
          <p:nvPr>
            <p:ph type="sldNum" sz="quarter" idx="33"/>
          </p:nvPr>
        </p:nvSpPr>
        <p:spPr bwMode="gray">
          <a:xfrm>
            <a:off x="11504750" y="151200"/>
            <a:ext cx="280800" cy="180000"/>
          </a:xfrm>
          <a:prstGeom prst="rect">
            <a:avLst/>
          </a:prstGeom>
        </p:spPr>
        <p:txBody>
          <a:bodyPr/>
          <a:lstStyle/>
          <a:p>
            <a:fld id="{9C89B081-1F44-4440-BC7B-989C90F97B77}" type="slidenum">
              <a:rPr lang="de-DE" smtClean="0"/>
              <a:pPr/>
              <a:t>‹Nr.›</a:t>
            </a:fld>
            <a:endParaRPr lang="de-DE" dirty="0"/>
          </a:p>
        </p:txBody>
      </p:sp>
      <p:sp>
        <p:nvSpPr>
          <p:cNvPr id="9" name="Textplatzhalter 13">
            <a:extLst>
              <a:ext uri="{FF2B5EF4-FFF2-40B4-BE49-F238E27FC236}">
                <a16:creationId xmlns:a16="http://schemas.microsoft.com/office/drawing/2014/main" id="{68714458-9967-461D-9F75-56CFD5B360E3}"/>
              </a:ext>
            </a:extLst>
          </p:cNvPr>
          <p:cNvSpPr>
            <a:spLocks noGrp="1" noChangeAspect="1"/>
          </p:cNvSpPr>
          <p:nvPr>
            <p:ph type="body" sz="quarter" idx="30" hasCustomPrompt="1"/>
          </p:nvPr>
        </p:nvSpPr>
        <p:spPr bwMode="gray">
          <a:xfrm>
            <a:off x="408955" y="1412776"/>
            <a:ext cx="5473594" cy="4896000"/>
          </a:xfrm>
          <a:custGeom>
            <a:avLst/>
            <a:gdLst>
              <a:gd name="connsiteX0" fmla="*/ 4676664 w 5473336"/>
              <a:gd name="connsiteY0" fmla="*/ 1448 h 4883744"/>
              <a:gd name="connsiteX1" fmla="*/ 5473336 w 5473336"/>
              <a:gd name="connsiteY1" fmla="*/ 743338 h 4883744"/>
              <a:gd name="connsiteX2" fmla="*/ 5473336 w 5473336"/>
              <a:gd name="connsiteY2" fmla="*/ 1633637 h 4883744"/>
              <a:gd name="connsiteX3" fmla="*/ 5473336 w 5473336"/>
              <a:gd name="connsiteY3" fmla="*/ 1674371 h 4883744"/>
              <a:gd name="connsiteX4" fmla="*/ 5473336 w 5473336"/>
              <a:gd name="connsiteY4" fmla="*/ 1677497 h 4883744"/>
              <a:gd name="connsiteX5" fmla="*/ 5473336 w 5473336"/>
              <a:gd name="connsiteY5" fmla="*/ 1812665 h 4883744"/>
              <a:gd name="connsiteX6" fmla="*/ 5473336 w 5473336"/>
              <a:gd name="connsiteY6" fmla="*/ 1856161 h 4883744"/>
              <a:gd name="connsiteX7" fmla="*/ 5473336 w 5473336"/>
              <a:gd name="connsiteY7" fmla="*/ 1958257 h 4883744"/>
              <a:gd name="connsiteX8" fmla="*/ 5473336 w 5473336"/>
              <a:gd name="connsiteY8" fmla="*/ 2093425 h 4883744"/>
              <a:gd name="connsiteX9" fmla="*/ 5473336 w 5473336"/>
              <a:gd name="connsiteY9" fmla="*/ 2096551 h 4883744"/>
              <a:gd name="connsiteX10" fmla="*/ 5473336 w 5473336"/>
              <a:gd name="connsiteY10" fmla="*/ 2377311 h 4883744"/>
              <a:gd name="connsiteX11" fmla="*/ 5473336 w 5473336"/>
              <a:gd name="connsiteY11" fmla="*/ 2506434 h 4883744"/>
              <a:gd name="connsiteX12" fmla="*/ 5473336 w 5473336"/>
              <a:gd name="connsiteY12" fmla="*/ 2787194 h 4883744"/>
              <a:gd name="connsiteX13" fmla="*/ 5473336 w 5473336"/>
              <a:gd name="connsiteY13" fmla="*/ 2790320 h 4883744"/>
              <a:gd name="connsiteX14" fmla="*/ 5473336 w 5473336"/>
              <a:gd name="connsiteY14" fmla="*/ 2861522 h 4883744"/>
              <a:gd name="connsiteX15" fmla="*/ 5473336 w 5473336"/>
              <a:gd name="connsiteY15" fmla="*/ 2925488 h 4883744"/>
              <a:gd name="connsiteX16" fmla="*/ 5473336 w 5473336"/>
              <a:gd name="connsiteY16" fmla="*/ 3071080 h 4883744"/>
              <a:gd name="connsiteX17" fmla="*/ 5473336 w 5473336"/>
              <a:gd name="connsiteY17" fmla="*/ 3078035 h 4883744"/>
              <a:gd name="connsiteX18" fmla="*/ 5473336 w 5473336"/>
              <a:gd name="connsiteY18" fmla="*/ 3206248 h 4883744"/>
              <a:gd name="connsiteX19" fmla="*/ 5473336 w 5473336"/>
              <a:gd name="connsiteY19" fmla="*/ 3974345 h 4883744"/>
              <a:gd name="connsiteX20" fmla="*/ 966865 w 5473336"/>
              <a:gd name="connsiteY20" fmla="*/ 4862978 h 4883744"/>
              <a:gd name="connsiteX21" fmla="*/ 0 w 5473336"/>
              <a:gd name="connsiteY21" fmla="*/ 4140407 h 4883744"/>
              <a:gd name="connsiteX22" fmla="*/ 0 w 5473336"/>
              <a:gd name="connsiteY22" fmla="*/ 3206248 h 4883744"/>
              <a:gd name="connsiteX23" fmla="*/ 0 w 5473336"/>
              <a:gd name="connsiteY23" fmla="*/ 3078035 h 4883744"/>
              <a:gd name="connsiteX24" fmla="*/ 0 w 5473336"/>
              <a:gd name="connsiteY24" fmla="*/ 3071080 h 4883744"/>
              <a:gd name="connsiteX25" fmla="*/ 0 w 5473336"/>
              <a:gd name="connsiteY25" fmla="*/ 3027584 h 4883744"/>
              <a:gd name="connsiteX26" fmla="*/ 0 w 5473336"/>
              <a:gd name="connsiteY26" fmla="*/ 2925488 h 4883744"/>
              <a:gd name="connsiteX27" fmla="*/ 0 w 5473336"/>
              <a:gd name="connsiteY27" fmla="*/ 2790320 h 4883744"/>
              <a:gd name="connsiteX28" fmla="*/ 0 w 5473336"/>
              <a:gd name="connsiteY28" fmla="*/ 2787194 h 4883744"/>
              <a:gd name="connsiteX29" fmla="*/ 0 w 5473336"/>
              <a:gd name="connsiteY29" fmla="*/ 2506434 h 4883744"/>
              <a:gd name="connsiteX30" fmla="*/ 0 w 5473336"/>
              <a:gd name="connsiteY30" fmla="*/ 2377311 h 4883744"/>
              <a:gd name="connsiteX31" fmla="*/ 0 w 5473336"/>
              <a:gd name="connsiteY31" fmla="*/ 2096551 h 4883744"/>
              <a:gd name="connsiteX32" fmla="*/ 0 w 5473336"/>
              <a:gd name="connsiteY32" fmla="*/ 2093425 h 4883744"/>
              <a:gd name="connsiteX33" fmla="*/ 0 w 5473336"/>
              <a:gd name="connsiteY33" fmla="*/ 2022223 h 4883744"/>
              <a:gd name="connsiteX34" fmla="*/ 0 w 5473336"/>
              <a:gd name="connsiteY34" fmla="*/ 1958257 h 4883744"/>
              <a:gd name="connsiteX35" fmla="*/ 0 w 5473336"/>
              <a:gd name="connsiteY35" fmla="*/ 1812665 h 4883744"/>
              <a:gd name="connsiteX36" fmla="*/ 0 w 5473336"/>
              <a:gd name="connsiteY36" fmla="*/ 1738337 h 4883744"/>
              <a:gd name="connsiteX37" fmla="*/ 0 w 5473336"/>
              <a:gd name="connsiteY37" fmla="*/ 1677497 h 4883744"/>
              <a:gd name="connsiteX38" fmla="*/ 0 w 5473336"/>
              <a:gd name="connsiteY38" fmla="*/ 1674371 h 4883744"/>
              <a:gd name="connsiteX39" fmla="*/ 0 w 5473336"/>
              <a:gd name="connsiteY39" fmla="*/ 1633637 h 4883744"/>
              <a:gd name="connsiteX40" fmla="*/ 0 w 5473336"/>
              <a:gd name="connsiteY40" fmla="*/ 909400 h 4883744"/>
              <a:gd name="connsiteX41" fmla="*/ 4506471 w 5473336"/>
              <a:gd name="connsiteY41" fmla="*/ 20767 h 4883744"/>
              <a:gd name="connsiteX42" fmla="*/ 4676664 w 5473336"/>
              <a:gd name="connsiteY42" fmla="*/ 1448 h 4883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473336" h="4883744">
                <a:moveTo>
                  <a:pt x="4676664" y="1448"/>
                </a:moveTo>
                <a:cubicBezTo>
                  <a:pt x="5473336" y="-38046"/>
                  <a:pt x="5473336" y="743338"/>
                  <a:pt x="5473336" y="743338"/>
                </a:cubicBezTo>
                <a:lnTo>
                  <a:pt x="5473336" y="1633637"/>
                </a:lnTo>
                <a:lnTo>
                  <a:pt x="5473336" y="1674371"/>
                </a:lnTo>
                <a:lnTo>
                  <a:pt x="5473336" y="1677497"/>
                </a:lnTo>
                <a:lnTo>
                  <a:pt x="5473336" y="1812665"/>
                </a:lnTo>
                <a:lnTo>
                  <a:pt x="5473336" y="1856161"/>
                </a:lnTo>
                <a:lnTo>
                  <a:pt x="5473336" y="1958257"/>
                </a:lnTo>
                <a:lnTo>
                  <a:pt x="5473336" y="2093425"/>
                </a:lnTo>
                <a:lnTo>
                  <a:pt x="5473336" y="2096551"/>
                </a:lnTo>
                <a:lnTo>
                  <a:pt x="5473336" y="2377311"/>
                </a:lnTo>
                <a:lnTo>
                  <a:pt x="5473336" y="2506434"/>
                </a:lnTo>
                <a:lnTo>
                  <a:pt x="5473336" y="2787194"/>
                </a:lnTo>
                <a:lnTo>
                  <a:pt x="5473336" y="2790320"/>
                </a:lnTo>
                <a:lnTo>
                  <a:pt x="5473336" y="2861522"/>
                </a:lnTo>
                <a:lnTo>
                  <a:pt x="5473336" y="2925488"/>
                </a:lnTo>
                <a:lnTo>
                  <a:pt x="5473336" y="3071080"/>
                </a:lnTo>
                <a:lnTo>
                  <a:pt x="5473336" y="3078035"/>
                </a:lnTo>
                <a:lnTo>
                  <a:pt x="5473336" y="3206248"/>
                </a:lnTo>
                <a:lnTo>
                  <a:pt x="5473336" y="3974345"/>
                </a:lnTo>
                <a:lnTo>
                  <a:pt x="966865" y="4862978"/>
                </a:lnTo>
                <a:cubicBezTo>
                  <a:pt x="0" y="5029448"/>
                  <a:pt x="0" y="4140407"/>
                  <a:pt x="0" y="4140407"/>
                </a:cubicBezTo>
                <a:lnTo>
                  <a:pt x="0" y="3206248"/>
                </a:lnTo>
                <a:lnTo>
                  <a:pt x="0" y="3078035"/>
                </a:lnTo>
                <a:lnTo>
                  <a:pt x="0" y="3071080"/>
                </a:lnTo>
                <a:lnTo>
                  <a:pt x="0" y="3027584"/>
                </a:lnTo>
                <a:lnTo>
                  <a:pt x="0" y="2925488"/>
                </a:lnTo>
                <a:lnTo>
                  <a:pt x="0" y="2790320"/>
                </a:lnTo>
                <a:lnTo>
                  <a:pt x="0" y="2787194"/>
                </a:lnTo>
                <a:lnTo>
                  <a:pt x="0" y="2506434"/>
                </a:lnTo>
                <a:lnTo>
                  <a:pt x="0" y="2377311"/>
                </a:lnTo>
                <a:lnTo>
                  <a:pt x="0" y="2096551"/>
                </a:lnTo>
                <a:lnTo>
                  <a:pt x="0" y="2093425"/>
                </a:lnTo>
                <a:lnTo>
                  <a:pt x="0" y="2022223"/>
                </a:lnTo>
                <a:lnTo>
                  <a:pt x="0" y="1958257"/>
                </a:lnTo>
                <a:lnTo>
                  <a:pt x="0" y="1812665"/>
                </a:lnTo>
                <a:lnTo>
                  <a:pt x="0" y="1738337"/>
                </a:lnTo>
                <a:lnTo>
                  <a:pt x="0" y="1677497"/>
                </a:lnTo>
                <a:lnTo>
                  <a:pt x="0" y="1674371"/>
                </a:lnTo>
                <a:lnTo>
                  <a:pt x="0" y="1633637"/>
                </a:lnTo>
                <a:lnTo>
                  <a:pt x="0" y="909400"/>
                </a:lnTo>
                <a:lnTo>
                  <a:pt x="4506471" y="20767"/>
                </a:lnTo>
                <a:cubicBezTo>
                  <a:pt x="4566900" y="10363"/>
                  <a:pt x="4623552" y="4081"/>
                  <a:pt x="4676664" y="1448"/>
                </a:cubicBezTo>
                <a:close/>
              </a:path>
            </a:pathLst>
          </a:custGeom>
          <a:solidFill>
            <a:srgbClr val="E9E9E9"/>
          </a:solidFill>
          <a:ln w="19050">
            <a:noFill/>
          </a:ln>
        </p:spPr>
        <p:txBody>
          <a:bodyPr vert="horz" wrap="square" lIns="324000" tIns="1224000" rIns="324000" bIns="0" rtlCol="0">
            <a:noAutofit/>
          </a:bodyPr>
          <a:lstStyle>
            <a:lvl1pPr>
              <a:defRPr lang="de-DE" dirty="0"/>
            </a:lvl1pPr>
            <a:lvl2pPr>
              <a:defRPr lang="de-DE" dirty="0">
                <a:solidFill>
                  <a:schemeClr val="tx1"/>
                </a:solidFill>
              </a:defRPr>
            </a:lvl2pPr>
            <a:lvl3pPr>
              <a:defRPr lang="de-DE" dirty="0">
                <a:solidFill>
                  <a:schemeClr val="tx1"/>
                </a:solidFill>
              </a:defRPr>
            </a:lvl3pPr>
            <a:lvl4pPr>
              <a:defRPr lang="de-DE" dirty="0">
                <a:solidFill>
                  <a:schemeClr val="tx1"/>
                </a:solidFill>
              </a:defRPr>
            </a:lvl4pPr>
            <a:lvl5pPr>
              <a:defRPr lang="de-DE" dirty="0">
                <a:solidFill>
                  <a:schemeClr val="tx1"/>
                </a:solidFill>
              </a:defRPr>
            </a:lvl5pPr>
            <a:lvl6pPr>
              <a:defRPr lang="de-DE" dirty="0">
                <a:solidFill>
                  <a:schemeClr val="tx1"/>
                </a:solidFill>
              </a:defRPr>
            </a:lvl6pPr>
            <a:lvl7pPr>
              <a:defRPr lang="de-DE" dirty="0">
                <a:solidFill>
                  <a:schemeClr val="tx1"/>
                </a:solidFill>
              </a:defRPr>
            </a:lvl7pPr>
            <a:lvl8pPr>
              <a:defRPr lang="de-DE" dirty="0">
                <a:solidFill>
                  <a:schemeClr val="tx1"/>
                </a:solidFill>
              </a:defRPr>
            </a:lvl8pPr>
            <a:lvl9pPr>
              <a:defRPr lang="de-DE" dirty="0">
                <a:solidFill>
                  <a:schemeClr val="tx1"/>
                </a:solidFill>
              </a:defRPr>
            </a:lvl9pPr>
          </a:lstStyle>
          <a:p>
            <a:pPr lvl="0"/>
            <a:r>
              <a:rPr lang="de-DE" dirty="0"/>
              <a:t>Text hinzufüg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Tree>
    <p:extLst>
      <p:ext uri="{BB962C8B-B14F-4D97-AF65-F5344CB8AC3E}">
        <p14:creationId xmlns:p14="http://schemas.microsoft.com/office/powerpoint/2010/main" val="2151899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p15="http://schemas.microsoft.com/office/powerpoint/2012/main" xmlns:a16="http://schemas.microsoft.com/office/drawing/2014/main">
      <p:transition spd="med">
        <p:fade/>
      </p:transition>
    </mc:Fallback>
  </mc:AlternateContent>
  <p:extLst>
    <p:ext uri="{DCECCB84-F9BA-43D5-87BE-67443E8EF086}">
      <p15:sldGuideLst xmlns:p15="http://schemas.microsoft.com/office/powerpoint/2012/main">
        <p15:guide id="2" pos="257">
          <p15:clr>
            <a:srgbClr val="F26B43"/>
          </p15:clr>
        </p15:guide>
        <p15:guide id="3" orient="horz" pos="255">
          <p15:clr>
            <a:srgbClr val="F26B43"/>
          </p15:clr>
        </p15:guide>
        <p15:guide id="6" orient="horz" pos="890">
          <p15:clr>
            <a:srgbClr val="F26B43"/>
          </p15:clr>
        </p15:guide>
        <p15:guide id="9" pos="3977">
          <p15:clr>
            <a:srgbClr val="F26B43"/>
          </p15:clr>
        </p15:guide>
        <p15:guide id="10" pos="3705">
          <p15:clr>
            <a:srgbClr val="F26B43"/>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Zweispaltig mit Markenform links 03">
    <p:spTree>
      <p:nvGrpSpPr>
        <p:cNvPr id="1" name=""/>
        <p:cNvGrpSpPr/>
        <p:nvPr/>
      </p:nvGrpSpPr>
      <p:grpSpPr>
        <a:xfrm>
          <a:off x="0" y="0"/>
          <a:ext cx="0" cy="0"/>
          <a:chOff x="0" y="0"/>
          <a:chExt cx="0" cy="0"/>
        </a:xfrm>
      </p:grpSpPr>
      <p:sp>
        <p:nvSpPr>
          <p:cNvPr id="16" name="Inhaltsplatzhalter 2"/>
          <p:cNvSpPr>
            <a:spLocks noGrp="1"/>
          </p:cNvSpPr>
          <p:nvPr>
            <p:ph sz="quarter" idx="24" hasCustomPrompt="1"/>
          </p:nvPr>
        </p:nvSpPr>
        <p:spPr bwMode="gray">
          <a:xfrm>
            <a:off x="6313610" y="1412776"/>
            <a:ext cx="5471989" cy="4896445"/>
          </a:xfrm>
          <a:noFill/>
        </p:spPr>
        <p:txBody>
          <a:bodyPr/>
          <a:lstStyle/>
          <a:p>
            <a:pPr lvl="0"/>
            <a:r>
              <a:rPr lang="de-DE" dirty="0"/>
              <a:t>Text hinzufüg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15" name="Textplatzhalter 3"/>
          <p:cNvSpPr>
            <a:spLocks noGrp="1"/>
          </p:cNvSpPr>
          <p:nvPr>
            <p:ph type="body" sz="quarter" idx="23" hasCustomPrompt="1"/>
          </p:nvPr>
        </p:nvSpPr>
        <p:spPr bwMode="gray">
          <a:xfrm>
            <a:off x="6313610" y="6001543"/>
            <a:ext cx="5471989"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dirty="0"/>
              <a:t>Quelle:</a:t>
            </a:r>
          </a:p>
        </p:txBody>
      </p:sp>
      <p:sp>
        <p:nvSpPr>
          <p:cNvPr id="14" name="Textplatzhalter 13">
            <a:extLst>
              <a:ext uri="{FF2B5EF4-FFF2-40B4-BE49-F238E27FC236}">
                <a16:creationId xmlns:a16="http://schemas.microsoft.com/office/drawing/2014/main" id="{AA5E6719-7D45-4CEE-B7F8-0F96AB357F5D}"/>
              </a:ext>
            </a:extLst>
          </p:cNvPr>
          <p:cNvSpPr>
            <a:spLocks noGrp="1" noChangeAspect="1"/>
          </p:cNvSpPr>
          <p:nvPr>
            <p:ph type="body" sz="quarter" idx="30" hasCustomPrompt="1"/>
          </p:nvPr>
        </p:nvSpPr>
        <p:spPr bwMode="gray">
          <a:xfrm>
            <a:off x="408955" y="1412776"/>
            <a:ext cx="5473594" cy="4896000"/>
          </a:xfrm>
          <a:custGeom>
            <a:avLst/>
            <a:gdLst>
              <a:gd name="connsiteX0" fmla="*/ 4676664 w 5473336"/>
              <a:gd name="connsiteY0" fmla="*/ 1448 h 4883744"/>
              <a:gd name="connsiteX1" fmla="*/ 5473336 w 5473336"/>
              <a:gd name="connsiteY1" fmla="*/ 743338 h 4883744"/>
              <a:gd name="connsiteX2" fmla="*/ 5473336 w 5473336"/>
              <a:gd name="connsiteY2" fmla="*/ 1633637 h 4883744"/>
              <a:gd name="connsiteX3" fmla="*/ 5473336 w 5473336"/>
              <a:gd name="connsiteY3" fmla="*/ 1674371 h 4883744"/>
              <a:gd name="connsiteX4" fmla="*/ 5473336 w 5473336"/>
              <a:gd name="connsiteY4" fmla="*/ 1677497 h 4883744"/>
              <a:gd name="connsiteX5" fmla="*/ 5473336 w 5473336"/>
              <a:gd name="connsiteY5" fmla="*/ 1812665 h 4883744"/>
              <a:gd name="connsiteX6" fmla="*/ 5473336 w 5473336"/>
              <a:gd name="connsiteY6" fmla="*/ 1856161 h 4883744"/>
              <a:gd name="connsiteX7" fmla="*/ 5473336 w 5473336"/>
              <a:gd name="connsiteY7" fmla="*/ 1958257 h 4883744"/>
              <a:gd name="connsiteX8" fmla="*/ 5473336 w 5473336"/>
              <a:gd name="connsiteY8" fmla="*/ 2093425 h 4883744"/>
              <a:gd name="connsiteX9" fmla="*/ 5473336 w 5473336"/>
              <a:gd name="connsiteY9" fmla="*/ 2096551 h 4883744"/>
              <a:gd name="connsiteX10" fmla="*/ 5473336 w 5473336"/>
              <a:gd name="connsiteY10" fmla="*/ 2377311 h 4883744"/>
              <a:gd name="connsiteX11" fmla="*/ 5473336 w 5473336"/>
              <a:gd name="connsiteY11" fmla="*/ 2506434 h 4883744"/>
              <a:gd name="connsiteX12" fmla="*/ 5473336 w 5473336"/>
              <a:gd name="connsiteY12" fmla="*/ 2787194 h 4883744"/>
              <a:gd name="connsiteX13" fmla="*/ 5473336 w 5473336"/>
              <a:gd name="connsiteY13" fmla="*/ 2790320 h 4883744"/>
              <a:gd name="connsiteX14" fmla="*/ 5473336 w 5473336"/>
              <a:gd name="connsiteY14" fmla="*/ 2861522 h 4883744"/>
              <a:gd name="connsiteX15" fmla="*/ 5473336 w 5473336"/>
              <a:gd name="connsiteY15" fmla="*/ 2925488 h 4883744"/>
              <a:gd name="connsiteX16" fmla="*/ 5473336 w 5473336"/>
              <a:gd name="connsiteY16" fmla="*/ 3071080 h 4883744"/>
              <a:gd name="connsiteX17" fmla="*/ 5473336 w 5473336"/>
              <a:gd name="connsiteY17" fmla="*/ 3078035 h 4883744"/>
              <a:gd name="connsiteX18" fmla="*/ 5473336 w 5473336"/>
              <a:gd name="connsiteY18" fmla="*/ 3206248 h 4883744"/>
              <a:gd name="connsiteX19" fmla="*/ 5473336 w 5473336"/>
              <a:gd name="connsiteY19" fmla="*/ 3974345 h 4883744"/>
              <a:gd name="connsiteX20" fmla="*/ 966865 w 5473336"/>
              <a:gd name="connsiteY20" fmla="*/ 4862978 h 4883744"/>
              <a:gd name="connsiteX21" fmla="*/ 0 w 5473336"/>
              <a:gd name="connsiteY21" fmla="*/ 4140407 h 4883744"/>
              <a:gd name="connsiteX22" fmla="*/ 0 w 5473336"/>
              <a:gd name="connsiteY22" fmla="*/ 3206248 h 4883744"/>
              <a:gd name="connsiteX23" fmla="*/ 0 w 5473336"/>
              <a:gd name="connsiteY23" fmla="*/ 3078035 h 4883744"/>
              <a:gd name="connsiteX24" fmla="*/ 0 w 5473336"/>
              <a:gd name="connsiteY24" fmla="*/ 3071080 h 4883744"/>
              <a:gd name="connsiteX25" fmla="*/ 0 w 5473336"/>
              <a:gd name="connsiteY25" fmla="*/ 3027584 h 4883744"/>
              <a:gd name="connsiteX26" fmla="*/ 0 w 5473336"/>
              <a:gd name="connsiteY26" fmla="*/ 2925488 h 4883744"/>
              <a:gd name="connsiteX27" fmla="*/ 0 w 5473336"/>
              <a:gd name="connsiteY27" fmla="*/ 2790320 h 4883744"/>
              <a:gd name="connsiteX28" fmla="*/ 0 w 5473336"/>
              <a:gd name="connsiteY28" fmla="*/ 2787194 h 4883744"/>
              <a:gd name="connsiteX29" fmla="*/ 0 w 5473336"/>
              <a:gd name="connsiteY29" fmla="*/ 2506434 h 4883744"/>
              <a:gd name="connsiteX30" fmla="*/ 0 w 5473336"/>
              <a:gd name="connsiteY30" fmla="*/ 2377311 h 4883744"/>
              <a:gd name="connsiteX31" fmla="*/ 0 w 5473336"/>
              <a:gd name="connsiteY31" fmla="*/ 2096551 h 4883744"/>
              <a:gd name="connsiteX32" fmla="*/ 0 w 5473336"/>
              <a:gd name="connsiteY32" fmla="*/ 2093425 h 4883744"/>
              <a:gd name="connsiteX33" fmla="*/ 0 w 5473336"/>
              <a:gd name="connsiteY33" fmla="*/ 2022223 h 4883744"/>
              <a:gd name="connsiteX34" fmla="*/ 0 w 5473336"/>
              <a:gd name="connsiteY34" fmla="*/ 1958257 h 4883744"/>
              <a:gd name="connsiteX35" fmla="*/ 0 w 5473336"/>
              <a:gd name="connsiteY35" fmla="*/ 1812665 h 4883744"/>
              <a:gd name="connsiteX36" fmla="*/ 0 w 5473336"/>
              <a:gd name="connsiteY36" fmla="*/ 1738337 h 4883744"/>
              <a:gd name="connsiteX37" fmla="*/ 0 w 5473336"/>
              <a:gd name="connsiteY37" fmla="*/ 1677497 h 4883744"/>
              <a:gd name="connsiteX38" fmla="*/ 0 w 5473336"/>
              <a:gd name="connsiteY38" fmla="*/ 1674371 h 4883744"/>
              <a:gd name="connsiteX39" fmla="*/ 0 w 5473336"/>
              <a:gd name="connsiteY39" fmla="*/ 1633637 h 4883744"/>
              <a:gd name="connsiteX40" fmla="*/ 0 w 5473336"/>
              <a:gd name="connsiteY40" fmla="*/ 909400 h 4883744"/>
              <a:gd name="connsiteX41" fmla="*/ 4506471 w 5473336"/>
              <a:gd name="connsiteY41" fmla="*/ 20767 h 4883744"/>
              <a:gd name="connsiteX42" fmla="*/ 4676664 w 5473336"/>
              <a:gd name="connsiteY42" fmla="*/ 1448 h 4883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473336" h="4883744">
                <a:moveTo>
                  <a:pt x="4676664" y="1448"/>
                </a:moveTo>
                <a:cubicBezTo>
                  <a:pt x="5473336" y="-38046"/>
                  <a:pt x="5473336" y="743338"/>
                  <a:pt x="5473336" y="743338"/>
                </a:cubicBezTo>
                <a:lnTo>
                  <a:pt x="5473336" y="1633637"/>
                </a:lnTo>
                <a:lnTo>
                  <a:pt x="5473336" y="1674371"/>
                </a:lnTo>
                <a:lnTo>
                  <a:pt x="5473336" y="1677497"/>
                </a:lnTo>
                <a:lnTo>
                  <a:pt x="5473336" y="1812665"/>
                </a:lnTo>
                <a:lnTo>
                  <a:pt x="5473336" y="1856161"/>
                </a:lnTo>
                <a:lnTo>
                  <a:pt x="5473336" y="1958257"/>
                </a:lnTo>
                <a:lnTo>
                  <a:pt x="5473336" y="2093425"/>
                </a:lnTo>
                <a:lnTo>
                  <a:pt x="5473336" y="2096551"/>
                </a:lnTo>
                <a:lnTo>
                  <a:pt x="5473336" y="2377311"/>
                </a:lnTo>
                <a:lnTo>
                  <a:pt x="5473336" y="2506434"/>
                </a:lnTo>
                <a:lnTo>
                  <a:pt x="5473336" y="2787194"/>
                </a:lnTo>
                <a:lnTo>
                  <a:pt x="5473336" y="2790320"/>
                </a:lnTo>
                <a:lnTo>
                  <a:pt x="5473336" y="2861522"/>
                </a:lnTo>
                <a:lnTo>
                  <a:pt x="5473336" y="2925488"/>
                </a:lnTo>
                <a:lnTo>
                  <a:pt x="5473336" y="3071080"/>
                </a:lnTo>
                <a:lnTo>
                  <a:pt x="5473336" y="3078035"/>
                </a:lnTo>
                <a:lnTo>
                  <a:pt x="5473336" y="3206248"/>
                </a:lnTo>
                <a:lnTo>
                  <a:pt x="5473336" y="3974345"/>
                </a:lnTo>
                <a:lnTo>
                  <a:pt x="966865" y="4862978"/>
                </a:lnTo>
                <a:cubicBezTo>
                  <a:pt x="0" y="5029448"/>
                  <a:pt x="0" y="4140407"/>
                  <a:pt x="0" y="4140407"/>
                </a:cubicBezTo>
                <a:lnTo>
                  <a:pt x="0" y="3206248"/>
                </a:lnTo>
                <a:lnTo>
                  <a:pt x="0" y="3078035"/>
                </a:lnTo>
                <a:lnTo>
                  <a:pt x="0" y="3071080"/>
                </a:lnTo>
                <a:lnTo>
                  <a:pt x="0" y="3027584"/>
                </a:lnTo>
                <a:lnTo>
                  <a:pt x="0" y="2925488"/>
                </a:lnTo>
                <a:lnTo>
                  <a:pt x="0" y="2790320"/>
                </a:lnTo>
                <a:lnTo>
                  <a:pt x="0" y="2787194"/>
                </a:lnTo>
                <a:lnTo>
                  <a:pt x="0" y="2506434"/>
                </a:lnTo>
                <a:lnTo>
                  <a:pt x="0" y="2377311"/>
                </a:lnTo>
                <a:lnTo>
                  <a:pt x="0" y="2096551"/>
                </a:lnTo>
                <a:lnTo>
                  <a:pt x="0" y="2093425"/>
                </a:lnTo>
                <a:lnTo>
                  <a:pt x="0" y="2022223"/>
                </a:lnTo>
                <a:lnTo>
                  <a:pt x="0" y="1958257"/>
                </a:lnTo>
                <a:lnTo>
                  <a:pt x="0" y="1812665"/>
                </a:lnTo>
                <a:lnTo>
                  <a:pt x="0" y="1738337"/>
                </a:lnTo>
                <a:lnTo>
                  <a:pt x="0" y="1677497"/>
                </a:lnTo>
                <a:lnTo>
                  <a:pt x="0" y="1674371"/>
                </a:lnTo>
                <a:lnTo>
                  <a:pt x="0" y="1633637"/>
                </a:lnTo>
                <a:lnTo>
                  <a:pt x="0" y="909400"/>
                </a:lnTo>
                <a:lnTo>
                  <a:pt x="4506471" y="20767"/>
                </a:lnTo>
                <a:cubicBezTo>
                  <a:pt x="4566900" y="10363"/>
                  <a:pt x="4623552" y="4081"/>
                  <a:pt x="4676664" y="1448"/>
                </a:cubicBezTo>
                <a:close/>
              </a:path>
            </a:pathLst>
          </a:custGeom>
          <a:noFill/>
          <a:ln w="19050">
            <a:solidFill>
              <a:schemeClr val="accent2"/>
            </a:solidFill>
          </a:ln>
        </p:spPr>
        <p:txBody>
          <a:bodyPr vert="horz" wrap="square" lIns="324000" tIns="1224000" rIns="324000" bIns="0" rtlCol="0">
            <a:noAutofit/>
          </a:bodyPr>
          <a:lstStyle>
            <a:lvl1pPr>
              <a:defRPr lang="de-DE" dirty="0"/>
            </a:lvl1pPr>
            <a:lvl2pPr>
              <a:defRPr lang="de-DE" dirty="0"/>
            </a:lvl2pPr>
            <a:lvl3pPr>
              <a:defRPr lang="de-DE" dirty="0"/>
            </a:lvl3pPr>
            <a:lvl4pPr>
              <a:defRPr lang="de-DE" dirty="0"/>
            </a:lvl4pPr>
            <a:lvl5pPr>
              <a:defRPr lang="de-DE" dirty="0"/>
            </a:lvl5pPr>
            <a:lvl6pPr>
              <a:defRPr lang="de-DE" dirty="0"/>
            </a:lvl6pPr>
            <a:lvl7pPr>
              <a:defRPr lang="de-DE" dirty="0"/>
            </a:lvl7pPr>
            <a:lvl8pPr>
              <a:defRPr lang="de-DE" dirty="0"/>
            </a:lvl8pPr>
            <a:lvl9pPr>
              <a:defRPr lang="de-DE" dirty="0"/>
            </a:lvl9pPr>
          </a:lstStyle>
          <a:p>
            <a:pPr lvl="0"/>
            <a:r>
              <a:rPr lang="de-DE" dirty="0"/>
              <a:t>Text hinzufüg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4" name="Titel 3">
            <a:extLst>
              <a:ext uri="{FF2B5EF4-FFF2-40B4-BE49-F238E27FC236}">
                <a16:creationId xmlns:a16="http://schemas.microsoft.com/office/drawing/2014/main" id="{C64D3147-6A98-4684-B348-F506E50A7218}"/>
              </a:ext>
            </a:extLst>
          </p:cNvPr>
          <p:cNvSpPr>
            <a:spLocks noGrp="1"/>
          </p:cNvSpPr>
          <p:nvPr>
            <p:ph type="title" hasCustomPrompt="1"/>
          </p:nvPr>
        </p:nvSpPr>
        <p:spPr bwMode="gray"/>
        <p:txBody>
          <a:bodyPr/>
          <a:lstStyle>
            <a:lvl1pPr>
              <a:defRPr/>
            </a:lvl1pPr>
          </a:lstStyle>
          <a:p>
            <a:r>
              <a:rPr lang="de-DE" dirty="0"/>
              <a:t>Titel durch Klicken bearbeiten</a:t>
            </a:r>
          </a:p>
        </p:txBody>
      </p:sp>
      <p:sp>
        <p:nvSpPr>
          <p:cNvPr id="12" name="Datumsplatzhalter 11">
            <a:extLst>
              <a:ext uri="{FF2B5EF4-FFF2-40B4-BE49-F238E27FC236}">
                <a16:creationId xmlns:a16="http://schemas.microsoft.com/office/drawing/2014/main" id="{253F14FA-B25B-4FD9-AA98-80E7B88C9450}"/>
              </a:ext>
            </a:extLst>
          </p:cNvPr>
          <p:cNvSpPr>
            <a:spLocks noGrp="1"/>
          </p:cNvSpPr>
          <p:nvPr>
            <p:ph type="dt" sz="half" idx="31"/>
          </p:nvPr>
        </p:nvSpPr>
        <p:spPr bwMode="gray">
          <a:xfrm>
            <a:off x="10709631" y="151200"/>
            <a:ext cx="748800" cy="180000"/>
          </a:xfrm>
          <a:prstGeom prst="rect">
            <a:avLst/>
          </a:prstGeom>
        </p:spPr>
        <p:txBody>
          <a:bodyPr/>
          <a:lstStyle/>
          <a:p>
            <a:r>
              <a:rPr lang="de-DE"/>
              <a:t>XX.XX.2020</a:t>
            </a:r>
            <a:endParaRPr lang="de-DE" sz="1600" kern="0" dirty="0"/>
          </a:p>
        </p:txBody>
      </p:sp>
      <p:sp>
        <p:nvSpPr>
          <p:cNvPr id="13" name="Fußzeilenplatzhalter 12">
            <a:extLst>
              <a:ext uri="{FF2B5EF4-FFF2-40B4-BE49-F238E27FC236}">
                <a16:creationId xmlns:a16="http://schemas.microsoft.com/office/drawing/2014/main" id="{4ECB1D28-ED18-4C3D-9D04-D6E3B360F05A}"/>
              </a:ext>
            </a:extLst>
          </p:cNvPr>
          <p:cNvSpPr>
            <a:spLocks noGrp="1"/>
          </p:cNvSpPr>
          <p:nvPr>
            <p:ph type="ftr" sz="quarter" idx="32"/>
          </p:nvPr>
        </p:nvSpPr>
        <p:spPr bwMode="gray">
          <a:xfrm>
            <a:off x="6313488" y="151200"/>
            <a:ext cx="4393761" cy="180000"/>
          </a:xfrm>
          <a:prstGeom prst="rect">
            <a:avLst/>
          </a:prstGeom>
        </p:spPr>
        <p:txBody>
          <a:bodyPr/>
          <a:lstStyle/>
          <a:p>
            <a:r>
              <a:rPr lang="de-DE"/>
              <a:t>Kürzel  |  CX  |</a:t>
            </a:r>
            <a:endParaRPr lang="de-DE" dirty="0"/>
          </a:p>
        </p:txBody>
      </p:sp>
      <p:sp>
        <p:nvSpPr>
          <p:cNvPr id="17" name="Foliennummernplatzhalter 16">
            <a:extLst>
              <a:ext uri="{FF2B5EF4-FFF2-40B4-BE49-F238E27FC236}">
                <a16:creationId xmlns:a16="http://schemas.microsoft.com/office/drawing/2014/main" id="{E23746C8-73AD-4284-A38B-4F2952558076}"/>
              </a:ext>
            </a:extLst>
          </p:cNvPr>
          <p:cNvSpPr>
            <a:spLocks noGrp="1"/>
          </p:cNvSpPr>
          <p:nvPr>
            <p:ph type="sldNum" sz="quarter" idx="33"/>
          </p:nvPr>
        </p:nvSpPr>
        <p:spPr bwMode="gray">
          <a:xfrm>
            <a:off x="11504750" y="151200"/>
            <a:ext cx="280800" cy="180000"/>
          </a:xfrm>
          <a:prstGeom prst="rect">
            <a:avLst/>
          </a:prstGeom>
        </p:spPr>
        <p:txBody>
          <a:bodyPr/>
          <a:lstStyle/>
          <a:p>
            <a:fld id="{9C89B081-1F44-4440-BC7B-989C90F97B77}" type="slidenum">
              <a:rPr lang="de-DE" smtClean="0"/>
              <a:pPr/>
              <a:t>‹Nr.›</a:t>
            </a:fld>
            <a:endParaRPr lang="de-DE" dirty="0"/>
          </a:p>
        </p:txBody>
      </p:sp>
    </p:spTree>
    <p:extLst>
      <p:ext uri="{BB962C8B-B14F-4D97-AF65-F5344CB8AC3E}">
        <p14:creationId xmlns:p14="http://schemas.microsoft.com/office/powerpoint/2010/main" val="2005239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57">
          <p15:clr>
            <a:srgbClr val="F26B43"/>
          </p15:clr>
        </p15:guide>
        <p15:guide id="3" orient="horz" pos="255">
          <p15:clr>
            <a:srgbClr val="F26B43"/>
          </p15:clr>
        </p15:guide>
        <p15:guide id="6" orient="horz" pos="890">
          <p15:clr>
            <a:srgbClr val="F26B43"/>
          </p15:clr>
        </p15:guide>
        <p15:guide id="9" pos="3977">
          <p15:clr>
            <a:srgbClr val="F26B43"/>
          </p15:clr>
        </p15:guide>
        <p15:guide id="10" pos="3705">
          <p15:clr>
            <a:srgbClr val="F26B43"/>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Vollflächiges Bild mit Zitat 01">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EB601A16-8A14-4253-AFFA-8FD4DA9063DB}"/>
              </a:ext>
            </a:extLst>
          </p:cNvPr>
          <p:cNvSpPr>
            <a:spLocks noGrp="1" noChangeAspect="1"/>
          </p:cNvSpPr>
          <p:nvPr>
            <p:ph type="pic" sz="quarter" idx="25" hasCustomPrompt="1"/>
          </p:nvPr>
        </p:nvSpPr>
        <p:spPr bwMode="gray">
          <a:xfrm>
            <a:off x="2" y="3"/>
            <a:ext cx="12195173" cy="6310681"/>
          </a:xfrm>
          <a:custGeom>
            <a:avLst/>
            <a:gdLst>
              <a:gd name="connsiteX0" fmla="*/ 0 w 12195173"/>
              <a:gd name="connsiteY0" fmla="*/ 0 h 6310681"/>
              <a:gd name="connsiteX1" fmla="*/ 12195173 w 12195173"/>
              <a:gd name="connsiteY1" fmla="*/ 0 h 6310681"/>
              <a:gd name="connsiteX2" fmla="*/ 12195173 w 12195173"/>
              <a:gd name="connsiteY2" fmla="*/ 3933113 h 6310681"/>
              <a:gd name="connsiteX3" fmla="*/ 0 w 12195173"/>
              <a:gd name="connsiteY3" fmla="*/ 6310681 h 6310681"/>
            </a:gdLst>
            <a:ahLst/>
            <a:cxnLst>
              <a:cxn ang="0">
                <a:pos x="connsiteX0" y="connsiteY0"/>
              </a:cxn>
              <a:cxn ang="0">
                <a:pos x="connsiteX1" y="connsiteY1"/>
              </a:cxn>
              <a:cxn ang="0">
                <a:pos x="connsiteX2" y="connsiteY2"/>
              </a:cxn>
              <a:cxn ang="0">
                <a:pos x="connsiteX3" y="connsiteY3"/>
              </a:cxn>
            </a:cxnLst>
            <a:rect l="l" t="t" r="r" b="b"/>
            <a:pathLst>
              <a:path w="12195173" h="6310681">
                <a:moveTo>
                  <a:pt x="0" y="0"/>
                </a:moveTo>
                <a:lnTo>
                  <a:pt x="12195173" y="0"/>
                </a:lnTo>
                <a:lnTo>
                  <a:pt x="12195173" y="3933113"/>
                </a:lnTo>
                <a:lnTo>
                  <a:pt x="0" y="6310681"/>
                </a:lnTo>
                <a:close/>
              </a:path>
            </a:pathLst>
          </a:custGeom>
          <a:pattFill prst="pct20">
            <a:fgClr>
              <a:schemeClr val="accent3"/>
            </a:fgClr>
            <a:bgClr>
              <a:schemeClr val="bg1"/>
            </a:bgClr>
          </a:pattFill>
        </p:spPr>
        <p:txBody>
          <a:bodyPr vert="horz" wrap="square" lIns="72000" tIns="72000" rIns="72000" bIns="72000" rtlCol="0" anchor="t">
            <a:noAutofit/>
          </a:bodyPr>
          <a:lstStyle>
            <a:lvl1pPr>
              <a:defRPr lang="de-DE" sz="1600" baseline="0" dirty="0">
                <a:solidFill>
                  <a:schemeClr val="tx1"/>
                </a:solidFill>
              </a:defRPr>
            </a:lvl1pPr>
          </a:lstStyle>
          <a:p>
            <a:pPr marR="0" lvl="0" fontAlgn="auto">
              <a:lnSpc>
                <a:spcPct val="100000"/>
              </a:lnSpc>
              <a:spcBef>
                <a:spcPts val="0"/>
              </a:spcBef>
              <a:spcAft>
                <a:spcPts val="0"/>
              </a:spcAft>
              <a:buClrTx/>
              <a:buSzTx/>
              <a:tabLst/>
            </a:pPr>
            <a:r>
              <a:rPr lang="de-DE" sz="1600" dirty="0"/>
              <a:t>Um ein Hintergrundbild einzufügen, markieren Sie bitte den Platzhalter und wählen entweder ein Bild aus der </a:t>
            </a:r>
            <a:r>
              <a:rPr lang="de-DE" sz="1600" dirty="0" err="1"/>
              <a:t>empower</a:t>
            </a:r>
            <a:r>
              <a:rPr lang="de-DE" sz="1600" dirty="0"/>
              <a:t> Bibliothek oder über den Reiter „Einfügen“, „Bilder“ aus. </a:t>
            </a:r>
          </a:p>
        </p:txBody>
      </p:sp>
      <p:sp>
        <p:nvSpPr>
          <p:cNvPr id="5" name="Textfeld 4">
            <a:extLst>
              <a:ext uri="{FF2B5EF4-FFF2-40B4-BE49-F238E27FC236}">
                <a16:creationId xmlns:a16="http://schemas.microsoft.com/office/drawing/2014/main" id="{D944C12D-7D37-447A-87C7-3EBA3E61D993}"/>
              </a:ext>
            </a:extLst>
          </p:cNvPr>
          <p:cNvSpPr txBox="1"/>
          <p:nvPr/>
        </p:nvSpPr>
        <p:spPr bwMode="gray">
          <a:xfrm>
            <a:off x="409575" y="6516000"/>
            <a:ext cx="11376000" cy="144000"/>
          </a:xfrm>
          <a:prstGeom prst="rect">
            <a:avLst/>
          </a:prstGeom>
          <a:noFill/>
        </p:spPr>
        <p:txBody>
          <a:bodyPr wrap="square" lIns="0" tIns="0" rIns="0" bIns="0" rtlCol="0" anchor="t">
            <a:noAutofit/>
          </a:bodyPr>
          <a:lstStyle/>
          <a:p>
            <a:pPr marL="0" marR="0" lvl="0" indent="0" defTabSz="914400" eaLnBrk="1" fontAlgn="auto" latinLnBrk="0" hangingPunct="1">
              <a:lnSpc>
                <a:spcPct val="100000"/>
              </a:lnSpc>
              <a:spcBef>
                <a:spcPts val="600"/>
              </a:spcBef>
              <a:spcAft>
                <a:spcPts val="0"/>
              </a:spcAft>
              <a:buClr>
                <a:srgbClr val="003F74"/>
              </a:buClr>
              <a:buSzTx/>
              <a:buFontTx/>
              <a:buNone/>
              <a:tabLst/>
              <a:defRPr/>
            </a:pPr>
            <a:r>
              <a:rPr kumimoji="0" lang="de-DE" sz="1000" b="0" i="0" u="none" strike="noStrike" kern="0" cap="none" spc="0" normalizeH="0" baseline="0" noProof="0" dirty="0">
                <a:ln>
                  <a:noFill/>
                </a:ln>
                <a:solidFill>
                  <a:schemeClr val="tx2"/>
                </a:solidFill>
                <a:effectLst/>
                <a:uLnTx/>
                <a:uFillTx/>
              </a:rPr>
              <a:t>Union Investment  </a:t>
            </a:r>
            <a:r>
              <a:rPr kumimoji="0" lang="de-DE" sz="1000" b="0" i="0" u="none" strike="noStrike" kern="0" cap="none" spc="0" normalizeH="0" baseline="0" noProof="0" dirty="0">
                <a:ln>
                  <a:noFill/>
                </a:ln>
                <a:solidFill>
                  <a:srgbClr val="888888"/>
                </a:solidFill>
                <a:effectLst/>
                <a:uLnTx/>
                <a:uFillTx/>
              </a:rPr>
              <a:t>|  Genossenschaftliche FinanzGruppe Volksbanken Raiffeisenbanken</a:t>
            </a:r>
          </a:p>
        </p:txBody>
      </p:sp>
      <p:sp>
        <p:nvSpPr>
          <p:cNvPr id="14" name="Textplatzhalter 13">
            <a:extLst>
              <a:ext uri="{FF2B5EF4-FFF2-40B4-BE49-F238E27FC236}">
                <a16:creationId xmlns:a16="http://schemas.microsoft.com/office/drawing/2014/main" id="{390DFC38-6A65-4082-8ED5-8A69F055D7DB}"/>
              </a:ext>
            </a:extLst>
          </p:cNvPr>
          <p:cNvSpPr>
            <a:spLocks noGrp="1" noChangeAspect="1"/>
          </p:cNvSpPr>
          <p:nvPr>
            <p:ph type="body" sz="quarter" idx="26" hasCustomPrompt="1"/>
          </p:nvPr>
        </p:nvSpPr>
        <p:spPr bwMode="gray">
          <a:xfrm>
            <a:off x="6313488" y="2255874"/>
            <a:ext cx="5473336" cy="4054808"/>
          </a:xfrm>
          <a:custGeom>
            <a:avLst/>
            <a:gdLst>
              <a:gd name="connsiteX0" fmla="*/ 4676664 w 5473336"/>
              <a:gd name="connsiteY0" fmla="*/ 1449 h 4054808"/>
              <a:gd name="connsiteX1" fmla="*/ 5473336 w 5473336"/>
              <a:gd name="connsiteY1" fmla="*/ 743339 h 4054808"/>
              <a:gd name="connsiteX2" fmla="*/ 5473336 w 5473336"/>
              <a:gd name="connsiteY2" fmla="*/ 1677498 h 4054808"/>
              <a:gd name="connsiteX3" fmla="*/ 5473336 w 5473336"/>
              <a:gd name="connsiteY3" fmla="*/ 1958258 h 4054808"/>
              <a:gd name="connsiteX4" fmla="*/ 5473336 w 5473336"/>
              <a:gd name="connsiteY4" fmla="*/ 2096552 h 4054808"/>
              <a:gd name="connsiteX5" fmla="*/ 5473336 w 5473336"/>
              <a:gd name="connsiteY5" fmla="*/ 2377312 h 4054808"/>
              <a:gd name="connsiteX6" fmla="*/ 5473336 w 5473336"/>
              <a:gd name="connsiteY6" fmla="*/ 3145409 h 4054808"/>
              <a:gd name="connsiteX7" fmla="*/ 966865 w 5473336"/>
              <a:gd name="connsiteY7" fmla="*/ 4034042 h 4054808"/>
              <a:gd name="connsiteX8" fmla="*/ 0 w 5473336"/>
              <a:gd name="connsiteY8" fmla="*/ 3311471 h 4054808"/>
              <a:gd name="connsiteX9" fmla="*/ 0 w 5473336"/>
              <a:gd name="connsiteY9" fmla="*/ 2377312 h 4054808"/>
              <a:gd name="connsiteX10" fmla="*/ 0 w 5473336"/>
              <a:gd name="connsiteY10" fmla="*/ 2096552 h 4054808"/>
              <a:gd name="connsiteX11" fmla="*/ 0 w 5473336"/>
              <a:gd name="connsiteY11" fmla="*/ 1958258 h 4054808"/>
              <a:gd name="connsiteX12" fmla="*/ 0 w 5473336"/>
              <a:gd name="connsiteY12" fmla="*/ 1677498 h 4054808"/>
              <a:gd name="connsiteX13" fmla="*/ 0 w 5473336"/>
              <a:gd name="connsiteY13" fmla="*/ 909401 h 4054808"/>
              <a:gd name="connsiteX14" fmla="*/ 4506471 w 5473336"/>
              <a:gd name="connsiteY14" fmla="*/ 20768 h 4054808"/>
              <a:gd name="connsiteX15" fmla="*/ 4676664 w 5473336"/>
              <a:gd name="connsiteY15" fmla="*/ 1449 h 4054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473336" h="4054808">
                <a:moveTo>
                  <a:pt x="4676664" y="1449"/>
                </a:moveTo>
                <a:cubicBezTo>
                  <a:pt x="5473336" y="-38045"/>
                  <a:pt x="5473336" y="743339"/>
                  <a:pt x="5473336" y="743339"/>
                </a:cubicBezTo>
                <a:lnTo>
                  <a:pt x="5473336" y="1677498"/>
                </a:lnTo>
                <a:lnTo>
                  <a:pt x="5473336" y="1958258"/>
                </a:lnTo>
                <a:lnTo>
                  <a:pt x="5473336" y="2096552"/>
                </a:lnTo>
                <a:lnTo>
                  <a:pt x="5473336" y="2377312"/>
                </a:lnTo>
                <a:lnTo>
                  <a:pt x="5473336" y="3145409"/>
                </a:lnTo>
                <a:lnTo>
                  <a:pt x="966865" y="4034042"/>
                </a:lnTo>
                <a:cubicBezTo>
                  <a:pt x="0" y="4200512"/>
                  <a:pt x="0" y="3311471"/>
                  <a:pt x="0" y="3311471"/>
                </a:cubicBezTo>
                <a:lnTo>
                  <a:pt x="0" y="2377312"/>
                </a:lnTo>
                <a:lnTo>
                  <a:pt x="0" y="2096552"/>
                </a:lnTo>
                <a:lnTo>
                  <a:pt x="0" y="1958258"/>
                </a:lnTo>
                <a:lnTo>
                  <a:pt x="0" y="1677498"/>
                </a:lnTo>
                <a:lnTo>
                  <a:pt x="0" y="909401"/>
                </a:lnTo>
                <a:lnTo>
                  <a:pt x="4506471" y="20768"/>
                </a:lnTo>
                <a:cubicBezTo>
                  <a:pt x="4566900" y="10364"/>
                  <a:pt x="4623552" y="4082"/>
                  <a:pt x="4676664" y="1449"/>
                </a:cubicBezTo>
                <a:close/>
              </a:path>
            </a:pathLst>
          </a:custGeom>
          <a:solidFill>
            <a:srgbClr val="E9E9E9">
              <a:alpha val="89000"/>
            </a:srgbClr>
          </a:solidFill>
        </p:spPr>
        <p:txBody>
          <a:bodyPr wrap="square" lIns="72000" tIns="72000" rIns="72000" bIns="36000" anchor="ctr">
            <a:noAutofit/>
          </a:bodyPr>
          <a:lstStyle>
            <a:lvl1pPr marL="0" indent="0" algn="ctr">
              <a:spcBef>
                <a:spcPts val="0"/>
              </a:spcBef>
              <a:buFont typeface="Arial" panose="020B0604020202020204" pitchFamily="34" charset="0"/>
              <a:buNone/>
              <a:defRPr sz="2800" b="1">
                <a:solidFill>
                  <a:schemeClr val="tx2"/>
                </a:solidFill>
              </a:defRPr>
            </a:lvl1pPr>
            <a:lvl2pPr marL="0" indent="0" algn="ctr">
              <a:spcBef>
                <a:spcPts val="0"/>
              </a:spcBef>
              <a:buFont typeface="Arial" panose="020B0604020202020204" pitchFamily="34" charset="0"/>
              <a:buNone/>
              <a:defRPr sz="2800" b="1">
                <a:solidFill>
                  <a:schemeClr val="bg1"/>
                </a:solidFill>
              </a:defRPr>
            </a:lvl2pPr>
            <a:lvl3pPr marL="0" indent="0" algn="ctr">
              <a:spcBef>
                <a:spcPts val="0"/>
              </a:spcBef>
              <a:buNone/>
              <a:defRPr sz="2800" b="1">
                <a:solidFill>
                  <a:schemeClr val="bg1"/>
                </a:solidFill>
              </a:defRPr>
            </a:lvl3pPr>
            <a:lvl4pPr marL="0" indent="0" algn="ctr">
              <a:spcBef>
                <a:spcPts val="0"/>
              </a:spcBef>
              <a:buNone/>
              <a:defRPr sz="2800" b="1">
                <a:solidFill>
                  <a:schemeClr val="bg1"/>
                </a:solidFill>
              </a:defRPr>
            </a:lvl4pPr>
            <a:lvl5pPr marL="0" indent="0" algn="ctr">
              <a:spcBef>
                <a:spcPts val="0"/>
              </a:spcBef>
              <a:buNone/>
              <a:defRPr sz="2800" b="1">
                <a:solidFill>
                  <a:schemeClr val="bg1"/>
                </a:solidFill>
              </a:defRPr>
            </a:lvl5pPr>
          </a:lstStyle>
          <a:p>
            <a:pPr lvl="0"/>
            <a:r>
              <a:rPr lang="de-DE" dirty="0"/>
              <a:t>Text durch </a:t>
            </a:r>
            <a:br>
              <a:rPr lang="de-DE" dirty="0"/>
            </a:br>
            <a:r>
              <a:rPr lang="de-DE" dirty="0"/>
              <a:t>Klicken hinzufügen</a:t>
            </a:r>
          </a:p>
        </p:txBody>
      </p:sp>
    </p:spTree>
    <p:extLst>
      <p:ext uri="{BB962C8B-B14F-4D97-AF65-F5344CB8AC3E}">
        <p14:creationId xmlns:p14="http://schemas.microsoft.com/office/powerpoint/2010/main" val="2502056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57">
          <p15:clr>
            <a:srgbClr val="F26B43"/>
          </p15:clr>
        </p15:guide>
        <p15:guide id="3" orient="horz" pos="255">
          <p15:clr>
            <a:srgbClr val="F26B43"/>
          </p15:clr>
        </p15:guide>
        <p15:guide id="6" orient="horz" pos="890">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elfolie mit Bild rechts 01">
    <p:spTree>
      <p:nvGrpSpPr>
        <p:cNvPr id="1" name=""/>
        <p:cNvGrpSpPr/>
        <p:nvPr/>
      </p:nvGrpSpPr>
      <p:grpSpPr>
        <a:xfrm>
          <a:off x="0" y="0"/>
          <a:ext cx="0" cy="0"/>
          <a:chOff x="0" y="0"/>
          <a:chExt cx="0" cy="0"/>
        </a:xfrm>
      </p:grpSpPr>
      <p:sp>
        <p:nvSpPr>
          <p:cNvPr id="16" name="Textplatzhalter 2">
            <a:extLst>
              <a:ext uri="{FF2B5EF4-FFF2-40B4-BE49-F238E27FC236}">
                <a16:creationId xmlns:a16="http://schemas.microsoft.com/office/drawing/2014/main" id="{F4FDA422-946E-4E94-9A2A-DF3A8167EDE2}"/>
              </a:ext>
            </a:extLst>
          </p:cNvPr>
          <p:cNvSpPr>
            <a:spLocks noGrp="1"/>
          </p:cNvSpPr>
          <p:nvPr>
            <p:ph type="body" sz="quarter" idx="15" hasCustomPrompt="1"/>
          </p:nvPr>
        </p:nvSpPr>
        <p:spPr bwMode="gray">
          <a:xfrm>
            <a:off x="418272" y="2873814"/>
            <a:ext cx="5464800" cy="1440000"/>
          </a:xfrm>
          <a:prstGeom prst="rect">
            <a:avLst/>
          </a:prstGeom>
          <a:noFill/>
        </p:spPr>
        <p:txBody>
          <a:bodyPr wrap="square" lIns="0" tIns="0">
            <a:noAutofit/>
          </a:bodyPr>
          <a:lstStyle>
            <a:lvl1pPr marL="0" indent="0">
              <a:spcBef>
                <a:spcPts val="0"/>
              </a:spcBef>
              <a:buFont typeface="Arial" panose="020B0604020202020204" pitchFamily="34" charset="0"/>
              <a:buNone/>
              <a:defRPr sz="3000" b="1">
                <a:solidFill>
                  <a:schemeClr val="accent1"/>
                </a:solidFill>
              </a:defRPr>
            </a:lvl1pPr>
            <a:lvl2pPr marL="0" indent="0">
              <a:spcBef>
                <a:spcPts val="0"/>
              </a:spcBef>
              <a:buFont typeface="Arial" panose="020B0604020202020204" pitchFamily="34" charset="0"/>
              <a:buNone/>
              <a:defRPr sz="3000" b="1">
                <a:solidFill>
                  <a:schemeClr val="bg1"/>
                </a:solidFill>
              </a:defRPr>
            </a:lvl2pPr>
            <a:lvl3pPr marL="0" indent="0">
              <a:spcBef>
                <a:spcPts val="0"/>
              </a:spcBef>
              <a:buNone/>
              <a:defRPr sz="3000" b="1">
                <a:solidFill>
                  <a:schemeClr val="bg1"/>
                </a:solidFill>
              </a:defRPr>
            </a:lvl3pPr>
            <a:lvl4pPr marL="0" indent="0">
              <a:spcBef>
                <a:spcPts val="0"/>
              </a:spcBef>
              <a:buNone/>
              <a:defRPr sz="3000" b="1">
                <a:solidFill>
                  <a:schemeClr val="bg1"/>
                </a:solidFill>
              </a:defRPr>
            </a:lvl4pPr>
            <a:lvl5pPr marL="0" indent="0">
              <a:spcBef>
                <a:spcPts val="0"/>
              </a:spcBef>
              <a:buNone/>
              <a:defRPr sz="3000" b="1">
                <a:solidFill>
                  <a:schemeClr val="bg1"/>
                </a:solidFill>
              </a:defRPr>
            </a:lvl5pPr>
          </a:lstStyle>
          <a:p>
            <a:pPr lvl="0"/>
            <a:r>
              <a:rPr lang="de-DE"/>
              <a:t>Titelfolie (max. 3-zeilig)</a:t>
            </a:r>
          </a:p>
        </p:txBody>
      </p:sp>
      <p:pic>
        <p:nvPicPr>
          <p:cNvPr id="23" name="Grafik 10">
            <a:extLst>
              <a:ext uri="{FF2B5EF4-FFF2-40B4-BE49-F238E27FC236}">
                <a16:creationId xmlns:a16="http://schemas.microsoft.com/office/drawing/2014/main" id="{2F90E044-3115-466D-9C29-E40A066B546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418272" y="409422"/>
            <a:ext cx="2016000" cy="608729"/>
          </a:xfrm>
          <a:prstGeom prst="rect">
            <a:avLst/>
          </a:prstGeom>
        </p:spPr>
      </p:pic>
      <p:sp>
        <p:nvSpPr>
          <p:cNvPr id="10" name="Bildplatzhalter 9">
            <a:extLst>
              <a:ext uri="{FF2B5EF4-FFF2-40B4-BE49-F238E27FC236}">
                <a16:creationId xmlns:a16="http://schemas.microsoft.com/office/drawing/2014/main" id="{B474BA87-0443-4502-B2DD-8263DC069C69}"/>
              </a:ext>
            </a:extLst>
          </p:cNvPr>
          <p:cNvSpPr>
            <a:spLocks noGrp="1" noChangeAspect="1"/>
          </p:cNvSpPr>
          <p:nvPr>
            <p:ph type="pic" sz="quarter" idx="19" hasCustomPrompt="1"/>
          </p:nvPr>
        </p:nvSpPr>
        <p:spPr bwMode="gray">
          <a:xfrm>
            <a:off x="6103895" y="0"/>
            <a:ext cx="6091280" cy="6310680"/>
          </a:xfrm>
          <a:custGeom>
            <a:avLst/>
            <a:gdLst>
              <a:gd name="connsiteX0" fmla="*/ 0 w 6091280"/>
              <a:gd name="connsiteY0" fmla="*/ 0 h 6310680"/>
              <a:gd name="connsiteX1" fmla="*/ 6091280 w 6091280"/>
              <a:gd name="connsiteY1" fmla="*/ 0 h 6310680"/>
              <a:gd name="connsiteX2" fmla="*/ 6091280 w 6091280"/>
              <a:gd name="connsiteY2" fmla="*/ 5279428 h 6310680"/>
              <a:gd name="connsiteX3" fmla="*/ 966865 w 6091280"/>
              <a:gd name="connsiteY3" fmla="*/ 6289914 h 6310680"/>
              <a:gd name="connsiteX4" fmla="*/ 0 w 6091280"/>
              <a:gd name="connsiteY4" fmla="*/ 5567343 h 6310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1280" h="6310680">
                <a:moveTo>
                  <a:pt x="0" y="0"/>
                </a:moveTo>
                <a:lnTo>
                  <a:pt x="6091280" y="0"/>
                </a:lnTo>
                <a:lnTo>
                  <a:pt x="6091280" y="5279428"/>
                </a:lnTo>
                <a:lnTo>
                  <a:pt x="966865" y="6289914"/>
                </a:lnTo>
                <a:cubicBezTo>
                  <a:pt x="0" y="6456384"/>
                  <a:pt x="0" y="5567343"/>
                  <a:pt x="0" y="5567343"/>
                </a:cubicBezTo>
                <a:close/>
              </a:path>
            </a:pathLst>
          </a:custGeom>
          <a:pattFill prst="pct20">
            <a:fgClr>
              <a:schemeClr val="accent3"/>
            </a:fgClr>
            <a:bgClr>
              <a:schemeClr val="bg1"/>
            </a:bgClr>
          </a:pattFill>
        </p:spPr>
        <p:txBody>
          <a:bodyPr vert="horz" wrap="square" lIns="72000" tIns="72000" rIns="72000" bIns="72000" rtlCol="0" anchor="t">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1600" baseline="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600"/>
              <a:t>Um ein Hintergrundbild einzufügen, markieren Sie bitte den Platzhalter und wählen entweder ein Bild aus der </a:t>
            </a:r>
            <a:r>
              <a:rPr lang="de-DE" sz="1600" err="1"/>
              <a:t>empower</a:t>
            </a:r>
            <a:r>
              <a:rPr lang="de-DE" sz="1600"/>
              <a:t> Bibliothek oder über den Reiter „Einfügen“, „Bilder“ aus. </a:t>
            </a:r>
          </a:p>
        </p:txBody>
      </p:sp>
      <p:sp>
        <p:nvSpPr>
          <p:cNvPr id="11" name="Textplatzhalter 3">
            <a:extLst>
              <a:ext uri="{FF2B5EF4-FFF2-40B4-BE49-F238E27FC236}">
                <a16:creationId xmlns:a16="http://schemas.microsoft.com/office/drawing/2014/main" id="{C9793A6E-8589-4144-B6FE-A4DFDECE949D}"/>
              </a:ext>
            </a:extLst>
          </p:cNvPr>
          <p:cNvSpPr>
            <a:spLocks noGrp="1"/>
          </p:cNvSpPr>
          <p:nvPr>
            <p:ph type="body" sz="quarter" idx="20" hasCustomPrompt="1"/>
          </p:nvPr>
        </p:nvSpPr>
        <p:spPr bwMode="gray">
          <a:xfrm>
            <a:off x="418272" y="2498083"/>
            <a:ext cx="5464800" cy="246221"/>
          </a:xfrm>
        </p:spPr>
        <p:txBody>
          <a:bodyPr anchor="b" anchorCtr="0">
            <a:spAutoFit/>
          </a:bodyPr>
          <a:lstStyle>
            <a:lvl1pPr>
              <a:spcBef>
                <a:spcPts val="0"/>
              </a:spcBef>
              <a:defRPr sz="1600" b="1">
                <a:solidFill>
                  <a:schemeClr val="accent2"/>
                </a:solidFill>
              </a:defRPr>
            </a:lvl1pPr>
          </a:lstStyle>
          <a:p>
            <a:pPr lvl="0"/>
            <a:r>
              <a:rPr lang="de-DE"/>
              <a:t>Name Kunde / Veranstaltung</a:t>
            </a:r>
          </a:p>
        </p:txBody>
      </p:sp>
      <p:sp>
        <p:nvSpPr>
          <p:cNvPr id="12" name="Textplatzhalter 3">
            <a:extLst>
              <a:ext uri="{FF2B5EF4-FFF2-40B4-BE49-F238E27FC236}">
                <a16:creationId xmlns:a16="http://schemas.microsoft.com/office/drawing/2014/main" id="{6E112725-DFBF-42E4-912D-A818361A47F7}"/>
              </a:ext>
            </a:extLst>
          </p:cNvPr>
          <p:cNvSpPr>
            <a:spLocks noGrp="1"/>
          </p:cNvSpPr>
          <p:nvPr>
            <p:ph type="body" sz="quarter" idx="21" hasCustomPrompt="1"/>
          </p:nvPr>
        </p:nvSpPr>
        <p:spPr bwMode="gray">
          <a:xfrm>
            <a:off x="418272" y="4522877"/>
            <a:ext cx="5464800" cy="246221"/>
          </a:xfrm>
        </p:spPr>
        <p:txBody>
          <a:bodyPr anchor="b" anchorCtr="0">
            <a:spAutoFit/>
          </a:bodyPr>
          <a:lstStyle>
            <a:lvl1pPr>
              <a:spcBef>
                <a:spcPts val="0"/>
              </a:spcBef>
              <a:defRPr sz="1600" b="0">
                <a:solidFill>
                  <a:schemeClr val="tx2"/>
                </a:solidFill>
              </a:defRPr>
            </a:lvl1pPr>
          </a:lstStyle>
          <a:p>
            <a:pPr lvl="0"/>
            <a:r>
              <a:rPr lang="de-DE"/>
              <a:t>Ort, Datum – Referent Vorname Name</a:t>
            </a:r>
          </a:p>
        </p:txBody>
      </p:sp>
      <p:sp>
        <p:nvSpPr>
          <p:cNvPr id="13" name="Textplatzhalter 3">
            <a:extLst>
              <a:ext uri="{FF2B5EF4-FFF2-40B4-BE49-F238E27FC236}">
                <a16:creationId xmlns:a16="http://schemas.microsoft.com/office/drawing/2014/main" id="{C5378F37-488D-4CF7-8CF4-F001D9A601C5}"/>
              </a:ext>
            </a:extLst>
          </p:cNvPr>
          <p:cNvSpPr>
            <a:spLocks noGrp="1"/>
          </p:cNvSpPr>
          <p:nvPr>
            <p:ph type="body" sz="quarter" idx="22" hasCustomPrompt="1"/>
          </p:nvPr>
        </p:nvSpPr>
        <p:spPr bwMode="gray">
          <a:xfrm>
            <a:off x="418272" y="4875803"/>
            <a:ext cx="5464800" cy="184666"/>
          </a:xfrm>
        </p:spPr>
        <p:txBody>
          <a:bodyPr>
            <a:spAutoFit/>
          </a:bodyPr>
          <a:lstStyle>
            <a:lvl1pPr>
              <a:spcBef>
                <a:spcPts val="0"/>
              </a:spcBef>
              <a:defRPr sz="1200" b="0">
                <a:solidFill>
                  <a:schemeClr val="tx2"/>
                </a:solidFill>
              </a:defRPr>
            </a:lvl1pPr>
          </a:lstStyle>
          <a:p>
            <a:pPr lvl="0"/>
            <a:r>
              <a:rPr lang="de-DE"/>
              <a:t>Vertraulichkeitshinweis durch Klicken bearbeiten</a:t>
            </a:r>
          </a:p>
        </p:txBody>
      </p:sp>
      <p:sp>
        <p:nvSpPr>
          <p:cNvPr id="3" name="Grafik 9">
            <a:extLst>
              <a:ext uri="{FF2B5EF4-FFF2-40B4-BE49-F238E27FC236}">
                <a16:creationId xmlns:a16="http://schemas.microsoft.com/office/drawing/2014/main" id="{9A169E19-5F01-492C-A227-0B32A8118074}"/>
              </a:ext>
            </a:extLst>
          </p:cNvPr>
          <p:cNvSpPr txBox="1">
            <a:spLocks/>
          </p:cNvSpPr>
          <p:nvPr/>
        </p:nvSpPr>
        <p:spPr bwMode="gray">
          <a:xfrm>
            <a:off x="418272" y="6329316"/>
            <a:ext cx="1789200" cy="1980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vert="horz" lIns="0" tIns="0" rIns="0" bIns="0" rtlCol="0" anchor="ctr">
            <a:noAutofit/>
          </a:bodyPr>
          <a:lstStyle>
            <a:lvl1pPr marL="0" indent="0" algn="ctr" defTabSz="914400" rtl="0" eaLnBrk="1" latinLnBrk="0" hangingPunct="1">
              <a:spcBef>
                <a:spcPts val="1200"/>
              </a:spcBef>
              <a:buFont typeface="Arial" panose="020B0604020202020204" pitchFamily="34" charset="0"/>
              <a:buNone/>
              <a:defRPr lang="de-DE" sz="1200" b="0" kern="1200" baseline="0" dirty="0">
                <a:solidFill>
                  <a:schemeClr val="tx1"/>
                </a:solidFill>
                <a:latin typeface="+mn-lt"/>
                <a:ea typeface="+mn-ea"/>
                <a:cs typeface="+mn-cs"/>
              </a:defRPr>
            </a:lvl1pPr>
            <a:lvl2pPr marL="0" indent="0" algn="l" defTabSz="914400" rtl="0" eaLnBrk="1" latinLnBrk="0" hangingPunct="1">
              <a:spcBef>
                <a:spcPts val="600"/>
              </a:spcBef>
              <a:buFont typeface="Arial" panose="020B0604020202020204" pitchFamily="34" charset="0"/>
              <a:buNone/>
              <a:defRPr lang="de-DE" sz="1800" kern="1200" dirty="0">
                <a:solidFill>
                  <a:schemeClr val="tx1"/>
                </a:solidFill>
                <a:latin typeface="+mn-lt"/>
                <a:ea typeface="+mn-ea"/>
                <a:cs typeface="+mn-cs"/>
              </a:defRPr>
            </a:lvl2pPr>
            <a:lvl3pPr marL="180000" indent="-180000" algn="l" defTabSz="914400" rtl="0" eaLnBrk="1" latinLnBrk="0" hangingPunct="1">
              <a:spcBef>
                <a:spcPts val="600"/>
              </a:spcBef>
              <a:buClrTx/>
              <a:buFont typeface="Wingdings" panose="05000000000000000000" pitchFamily="2" charset="2"/>
              <a:buChar char=""/>
              <a:defRPr lang="de-DE" sz="1800" kern="1200" dirty="0">
                <a:solidFill>
                  <a:schemeClr val="tx1"/>
                </a:solidFill>
                <a:latin typeface="+mn-lt"/>
                <a:ea typeface="+mn-ea"/>
                <a:cs typeface="+mn-cs"/>
              </a:defRPr>
            </a:lvl3pPr>
            <a:lvl4pPr marL="360000" indent="-180000" algn="l" defTabSz="914400" rtl="0" eaLnBrk="1" latinLnBrk="0" hangingPunct="1">
              <a:spcBef>
                <a:spcPts val="400"/>
              </a:spcBef>
              <a:buClrTx/>
              <a:buFont typeface="Arial" panose="020B0604020202020204" pitchFamily="34" charset="0"/>
              <a:buChar char="•"/>
              <a:defRPr lang="de-DE" sz="1800" kern="1200" dirty="0">
                <a:solidFill>
                  <a:schemeClr val="tx1"/>
                </a:solidFill>
                <a:latin typeface="+mn-lt"/>
                <a:ea typeface="+mn-ea"/>
                <a:cs typeface="+mn-cs"/>
              </a:defRPr>
            </a:lvl4pPr>
            <a:lvl5pPr marL="576000" indent="-216000" algn="l" defTabSz="914400" rtl="0" eaLnBrk="1" latinLnBrk="0" hangingPunct="1">
              <a:spcBef>
                <a:spcPts val="400"/>
              </a:spcBef>
              <a:buFont typeface="Symbol" panose="05050102010706020507" pitchFamily="18" charset="2"/>
              <a:buChar char="-"/>
              <a:defRPr lang="de-DE" sz="1800" kern="1200" dirty="0">
                <a:solidFill>
                  <a:schemeClr val="tx1"/>
                </a:solidFill>
                <a:latin typeface="+mn-lt"/>
                <a:ea typeface="+mn-ea"/>
                <a:cs typeface="+mn-cs"/>
              </a:defRPr>
            </a:lvl5pPr>
            <a:lvl6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6pPr>
            <a:lvl7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7pPr>
            <a:lvl8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8pPr>
            <a:lvl9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9pPr>
          </a:lstStyle>
          <a:p>
            <a:pPr marL="342900" indent="-342900">
              <a:spcBef>
                <a:spcPts val="0"/>
              </a:spcBef>
            </a:pPr>
            <a:r>
              <a:rPr lang="de-DE"/>
              <a:t> </a:t>
            </a:r>
          </a:p>
        </p:txBody>
      </p:sp>
    </p:spTree>
    <p:extLst>
      <p:ext uri="{BB962C8B-B14F-4D97-AF65-F5344CB8AC3E}">
        <p14:creationId xmlns:p14="http://schemas.microsoft.com/office/powerpoint/2010/main" val="361449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977">
          <p15:clr>
            <a:srgbClr val="FBAE40"/>
          </p15:clr>
        </p15:guide>
        <p15:guide id="3" pos="3705">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Vollflächiges Bild mit Zitat 02">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EB601A16-8A14-4253-AFFA-8FD4DA9063DB}"/>
              </a:ext>
            </a:extLst>
          </p:cNvPr>
          <p:cNvSpPr>
            <a:spLocks noGrp="1"/>
          </p:cNvSpPr>
          <p:nvPr>
            <p:ph type="pic" sz="quarter" idx="25" hasCustomPrompt="1"/>
          </p:nvPr>
        </p:nvSpPr>
        <p:spPr bwMode="gray">
          <a:xfrm>
            <a:off x="2" y="3"/>
            <a:ext cx="12195173" cy="6857997"/>
          </a:xfrm>
          <a:prstGeom prst="rect">
            <a:avLst/>
          </a:prstGeom>
          <a:pattFill prst="pct20">
            <a:fgClr>
              <a:schemeClr val="accent3"/>
            </a:fgClr>
            <a:bgClr>
              <a:schemeClr val="bg1"/>
            </a:bgClr>
          </a:pattFill>
        </p:spPr>
        <p:txBody>
          <a:bodyPr vert="horz" wrap="square" lIns="72000" tIns="72000" rIns="72000" bIns="72000" rtlCol="0" anchor="t">
            <a:noAutofit/>
          </a:bodyPr>
          <a:lstStyle>
            <a:lvl1pPr>
              <a:defRPr lang="de-DE" sz="1600" baseline="0" dirty="0">
                <a:solidFill>
                  <a:schemeClr val="tx1"/>
                </a:solidFill>
              </a:defRPr>
            </a:lvl1pPr>
          </a:lstStyle>
          <a:p>
            <a:pPr marR="0" lvl="0" fontAlgn="auto">
              <a:lnSpc>
                <a:spcPct val="100000"/>
              </a:lnSpc>
              <a:spcBef>
                <a:spcPts val="0"/>
              </a:spcBef>
              <a:spcAft>
                <a:spcPts val="0"/>
              </a:spcAft>
              <a:buClrTx/>
              <a:buSzTx/>
              <a:tabLst/>
            </a:pPr>
            <a:r>
              <a:rPr lang="de-DE" sz="1600" dirty="0"/>
              <a:t>Um ein Hintergrundbild einzufügen, markieren Sie bitte den Platzhalter und wählen entweder ein Bild aus der </a:t>
            </a:r>
            <a:r>
              <a:rPr lang="de-DE" sz="1600" dirty="0" err="1"/>
              <a:t>empower</a:t>
            </a:r>
            <a:r>
              <a:rPr lang="de-DE" sz="1600" dirty="0"/>
              <a:t> Bibliothek oder über den Reiter „Einfügen“, „Bilder“ aus. </a:t>
            </a:r>
          </a:p>
        </p:txBody>
      </p:sp>
      <p:sp>
        <p:nvSpPr>
          <p:cNvPr id="8" name="Textplatzhalter 7">
            <a:extLst>
              <a:ext uri="{FF2B5EF4-FFF2-40B4-BE49-F238E27FC236}">
                <a16:creationId xmlns:a16="http://schemas.microsoft.com/office/drawing/2014/main" id="{48BFDE8F-3291-4AEE-B536-360B9E557D44}"/>
              </a:ext>
            </a:extLst>
          </p:cNvPr>
          <p:cNvSpPr>
            <a:spLocks noGrp="1" noChangeAspect="1"/>
          </p:cNvSpPr>
          <p:nvPr>
            <p:ph type="body" sz="quarter" idx="26" hasCustomPrompt="1"/>
          </p:nvPr>
        </p:nvSpPr>
        <p:spPr bwMode="gray">
          <a:xfrm>
            <a:off x="8727117" y="404664"/>
            <a:ext cx="3059102" cy="5904000"/>
          </a:xfrm>
          <a:custGeom>
            <a:avLst/>
            <a:gdLst>
              <a:gd name="connsiteX0" fmla="*/ 2260389 w 3057061"/>
              <a:gd name="connsiteY0" fmla="*/ 1449 h 5907827"/>
              <a:gd name="connsiteX1" fmla="*/ 3057061 w 3057061"/>
              <a:gd name="connsiteY1" fmla="*/ 743338 h 5907827"/>
              <a:gd name="connsiteX2" fmla="*/ 3057061 w 3057061"/>
              <a:gd name="connsiteY2" fmla="*/ 1677497 h 5907827"/>
              <a:gd name="connsiteX3" fmla="*/ 3057061 w 3057061"/>
              <a:gd name="connsiteY3" fmla="*/ 1958257 h 5907827"/>
              <a:gd name="connsiteX4" fmla="*/ 3057061 w 3057061"/>
              <a:gd name="connsiteY4" fmla="*/ 2096551 h 5907827"/>
              <a:gd name="connsiteX5" fmla="*/ 3057061 w 3057061"/>
              <a:gd name="connsiteY5" fmla="*/ 2159597 h 5907827"/>
              <a:gd name="connsiteX6" fmla="*/ 3057061 w 3057061"/>
              <a:gd name="connsiteY6" fmla="*/ 2377311 h 5907827"/>
              <a:gd name="connsiteX7" fmla="*/ 3057061 w 3057061"/>
              <a:gd name="connsiteY7" fmla="*/ 3145408 h 5907827"/>
              <a:gd name="connsiteX8" fmla="*/ 3057061 w 3057061"/>
              <a:gd name="connsiteY8" fmla="*/ 5474894 h 5907827"/>
              <a:gd name="connsiteX9" fmla="*/ 966865 w 3057061"/>
              <a:gd name="connsiteY9" fmla="*/ 5887061 h 5907827"/>
              <a:gd name="connsiteX10" fmla="*/ 0 w 3057061"/>
              <a:gd name="connsiteY10" fmla="*/ 5164490 h 5907827"/>
              <a:gd name="connsiteX11" fmla="*/ 0 w 3057061"/>
              <a:gd name="connsiteY11" fmla="*/ 4230331 h 5907827"/>
              <a:gd name="connsiteX12" fmla="*/ 0 w 3057061"/>
              <a:gd name="connsiteY12" fmla="*/ 3949571 h 5907827"/>
              <a:gd name="connsiteX13" fmla="*/ 0 w 3057061"/>
              <a:gd name="connsiteY13" fmla="*/ 3811277 h 5907827"/>
              <a:gd name="connsiteX14" fmla="*/ 0 w 3057061"/>
              <a:gd name="connsiteY14" fmla="*/ 3748231 h 5907827"/>
              <a:gd name="connsiteX15" fmla="*/ 0 w 3057061"/>
              <a:gd name="connsiteY15" fmla="*/ 3530517 h 5907827"/>
              <a:gd name="connsiteX16" fmla="*/ 0 w 3057061"/>
              <a:gd name="connsiteY16" fmla="*/ 2762420 h 5907827"/>
              <a:gd name="connsiteX17" fmla="*/ 0 w 3057061"/>
              <a:gd name="connsiteY17" fmla="*/ 432934 h 5907827"/>
              <a:gd name="connsiteX18" fmla="*/ 2090196 w 3057061"/>
              <a:gd name="connsiteY18" fmla="*/ 20767 h 5907827"/>
              <a:gd name="connsiteX19" fmla="*/ 2260389 w 3057061"/>
              <a:gd name="connsiteY19" fmla="*/ 1449 h 5907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057061" h="5907827">
                <a:moveTo>
                  <a:pt x="2260389" y="1449"/>
                </a:moveTo>
                <a:cubicBezTo>
                  <a:pt x="3057061" y="-38046"/>
                  <a:pt x="3057061" y="743338"/>
                  <a:pt x="3057061" y="743338"/>
                </a:cubicBezTo>
                <a:lnTo>
                  <a:pt x="3057061" y="1677497"/>
                </a:lnTo>
                <a:lnTo>
                  <a:pt x="3057061" y="1958257"/>
                </a:lnTo>
                <a:lnTo>
                  <a:pt x="3057061" y="2096551"/>
                </a:lnTo>
                <a:lnTo>
                  <a:pt x="3057061" y="2159597"/>
                </a:lnTo>
                <a:lnTo>
                  <a:pt x="3057061" y="2377311"/>
                </a:lnTo>
                <a:lnTo>
                  <a:pt x="3057061" y="3145408"/>
                </a:lnTo>
                <a:lnTo>
                  <a:pt x="3057061" y="5474894"/>
                </a:lnTo>
                <a:lnTo>
                  <a:pt x="966865" y="5887061"/>
                </a:lnTo>
                <a:cubicBezTo>
                  <a:pt x="0" y="6053531"/>
                  <a:pt x="0" y="5164490"/>
                  <a:pt x="0" y="5164490"/>
                </a:cubicBezTo>
                <a:lnTo>
                  <a:pt x="0" y="4230331"/>
                </a:lnTo>
                <a:lnTo>
                  <a:pt x="0" y="3949571"/>
                </a:lnTo>
                <a:lnTo>
                  <a:pt x="0" y="3811277"/>
                </a:lnTo>
                <a:lnTo>
                  <a:pt x="0" y="3748231"/>
                </a:lnTo>
                <a:lnTo>
                  <a:pt x="0" y="3530517"/>
                </a:lnTo>
                <a:lnTo>
                  <a:pt x="0" y="2762420"/>
                </a:lnTo>
                <a:lnTo>
                  <a:pt x="0" y="432934"/>
                </a:lnTo>
                <a:lnTo>
                  <a:pt x="2090196" y="20767"/>
                </a:lnTo>
                <a:cubicBezTo>
                  <a:pt x="2150625" y="10363"/>
                  <a:pt x="2207277" y="4081"/>
                  <a:pt x="2260389" y="1449"/>
                </a:cubicBezTo>
                <a:close/>
              </a:path>
            </a:pathLst>
          </a:custGeom>
          <a:solidFill>
            <a:srgbClr val="E9E9E9">
              <a:alpha val="89000"/>
            </a:srgbClr>
          </a:solidFill>
        </p:spPr>
        <p:txBody>
          <a:bodyPr wrap="square" lIns="180000" tIns="72000" rIns="180000" bIns="72000" anchor="ctr">
            <a:noAutofit/>
          </a:bodyPr>
          <a:lstStyle>
            <a:lvl1pPr marL="0" indent="0" algn="ctr">
              <a:spcBef>
                <a:spcPts val="0"/>
              </a:spcBef>
              <a:buFont typeface="Arial" panose="020B0604020202020204" pitchFamily="34" charset="0"/>
              <a:buNone/>
              <a:defRPr sz="2800" b="1">
                <a:solidFill>
                  <a:schemeClr val="tx2"/>
                </a:solidFill>
              </a:defRPr>
            </a:lvl1pPr>
            <a:lvl2pPr marL="0" indent="0" algn="ctr">
              <a:spcBef>
                <a:spcPts val="0"/>
              </a:spcBef>
              <a:buFont typeface="Arial" panose="020B0604020202020204" pitchFamily="34" charset="0"/>
              <a:buNone/>
              <a:defRPr sz="2800" b="1">
                <a:solidFill>
                  <a:schemeClr val="bg1"/>
                </a:solidFill>
              </a:defRPr>
            </a:lvl2pPr>
            <a:lvl3pPr marL="0" indent="0" algn="ctr">
              <a:spcBef>
                <a:spcPts val="0"/>
              </a:spcBef>
              <a:buNone/>
              <a:defRPr sz="2800" b="1">
                <a:solidFill>
                  <a:schemeClr val="bg1"/>
                </a:solidFill>
              </a:defRPr>
            </a:lvl3pPr>
            <a:lvl4pPr marL="0" indent="0" algn="ctr">
              <a:spcBef>
                <a:spcPts val="0"/>
              </a:spcBef>
              <a:buNone/>
              <a:defRPr sz="2800" b="1">
                <a:solidFill>
                  <a:schemeClr val="bg1"/>
                </a:solidFill>
              </a:defRPr>
            </a:lvl4pPr>
            <a:lvl5pPr marL="0" indent="0" algn="ctr">
              <a:spcBef>
                <a:spcPts val="0"/>
              </a:spcBef>
              <a:buNone/>
              <a:defRPr sz="2800" b="1">
                <a:solidFill>
                  <a:schemeClr val="bg1"/>
                </a:solidFill>
              </a:defRPr>
            </a:lvl5pPr>
          </a:lstStyle>
          <a:p>
            <a:pPr lvl="0"/>
            <a:r>
              <a:rPr lang="de-DE" dirty="0"/>
              <a:t>Text durch Klicken hinzufügen</a:t>
            </a:r>
          </a:p>
        </p:txBody>
      </p:sp>
    </p:spTree>
    <p:extLst>
      <p:ext uri="{BB962C8B-B14F-4D97-AF65-F5344CB8AC3E}">
        <p14:creationId xmlns:p14="http://schemas.microsoft.com/office/powerpoint/2010/main" val="3907110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57">
          <p15:clr>
            <a:srgbClr val="F26B43"/>
          </p15:clr>
        </p15:guide>
        <p15:guide id="3" orient="horz" pos="255">
          <p15:clr>
            <a:srgbClr val="F26B43"/>
          </p15:clr>
        </p15:guide>
        <p15:guide id="6" orient="horz" pos="890">
          <p15:clr>
            <a:srgbClr val="F26B43"/>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Vollflächiges Bild mit Zitat 03">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EB601A16-8A14-4253-AFFA-8FD4DA9063DB}"/>
              </a:ext>
            </a:extLst>
          </p:cNvPr>
          <p:cNvSpPr>
            <a:spLocks noGrp="1"/>
          </p:cNvSpPr>
          <p:nvPr>
            <p:ph type="pic" sz="quarter" idx="25" hasCustomPrompt="1"/>
          </p:nvPr>
        </p:nvSpPr>
        <p:spPr bwMode="gray">
          <a:xfrm>
            <a:off x="2" y="3"/>
            <a:ext cx="12195173" cy="6857997"/>
          </a:xfrm>
          <a:prstGeom prst="rect">
            <a:avLst/>
          </a:prstGeom>
          <a:pattFill prst="pct20">
            <a:fgClr>
              <a:schemeClr val="accent3"/>
            </a:fgClr>
            <a:bgClr>
              <a:schemeClr val="bg1"/>
            </a:bgClr>
          </a:pattFill>
        </p:spPr>
        <p:txBody>
          <a:bodyPr vert="horz" wrap="square" lIns="72000" tIns="72000" rIns="72000" bIns="72000" rtlCol="0" anchor="t">
            <a:noAutofit/>
          </a:bodyPr>
          <a:lstStyle>
            <a:lvl1pPr>
              <a:defRPr lang="de-DE" sz="1600" baseline="0" dirty="0">
                <a:solidFill>
                  <a:schemeClr val="tx1"/>
                </a:solidFill>
              </a:defRPr>
            </a:lvl1pPr>
          </a:lstStyle>
          <a:p>
            <a:pPr marR="0" lvl="0" fontAlgn="auto">
              <a:lnSpc>
                <a:spcPct val="100000"/>
              </a:lnSpc>
              <a:spcBef>
                <a:spcPts val="0"/>
              </a:spcBef>
              <a:spcAft>
                <a:spcPts val="0"/>
              </a:spcAft>
              <a:buClrTx/>
              <a:buSzTx/>
              <a:tabLst/>
            </a:pPr>
            <a:r>
              <a:rPr lang="de-DE" sz="1600" dirty="0"/>
              <a:t>Um ein Hintergrundbild einzufügen, markieren Sie bitte den Platzhalter und wählen entweder ein Bild aus der </a:t>
            </a:r>
            <a:r>
              <a:rPr lang="de-DE" sz="1600" dirty="0" err="1"/>
              <a:t>empower</a:t>
            </a:r>
            <a:r>
              <a:rPr lang="de-DE" sz="1600" dirty="0"/>
              <a:t> Bibliothek oder über den Reiter „Einfügen“, „Bilder“ aus. </a:t>
            </a:r>
          </a:p>
        </p:txBody>
      </p:sp>
      <p:sp>
        <p:nvSpPr>
          <p:cNvPr id="14" name="Textplatzhalter 13">
            <a:extLst>
              <a:ext uri="{FF2B5EF4-FFF2-40B4-BE49-F238E27FC236}">
                <a16:creationId xmlns:a16="http://schemas.microsoft.com/office/drawing/2014/main" id="{390DFC38-6A65-4082-8ED5-8A69F055D7DB}"/>
              </a:ext>
            </a:extLst>
          </p:cNvPr>
          <p:cNvSpPr>
            <a:spLocks noGrp="1" noChangeAspect="1"/>
          </p:cNvSpPr>
          <p:nvPr>
            <p:ph type="body" sz="quarter" idx="26" hasCustomPrompt="1"/>
          </p:nvPr>
        </p:nvSpPr>
        <p:spPr bwMode="gray">
          <a:xfrm>
            <a:off x="6313611" y="2255874"/>
            <a:ext cx="5473336" cy="4054808"/>
          </a:xfrm>
          <a:custGeom>
            <a:avLst/>
            <a:gdLst>
              <a:gd name="connsiteX0" fmla="*/ 4676664 w 5473336"/>
              <a:gd name="connsiteY0" fmla="*/ 1449 h 4054808"/>
              <a:gd name="connsiteX1" fmla="*/ 5473336 w 5473336"/>
              <a:gd name="connsiteY1" fmla="*/ 743339 h 4054808"/>
              <a:gd name="connsiteX2" fmla="*/ 5473336 w 5473336"/>
              <a:gd name="connsiteY2" fmla="*/ 1677498 h 4054808"/>
              <a:gd name="connsiteX3" fmla="*/ 5473336 w 5473336"/>
              <a:gd name="connsiteY3" fmla="*/ 1958258 h 4054808"/>
              <a:gd name="connsiteX4" fmla="*/ 5473336 w 5473336"/>
              <a:gd name="connsiteY4" fmla="*/ 2096552 h 4054808"/>
              <a:gd name="connsiteX5" fmla="*/ 5473336 w 5473336"/>
              <a:gd name="connsiteY5" fmla="*/ 2377312 h 4054808"/>
              <a:gd name="connsiteX6" fmla="*/ 5473336 w 5473336"/>
              <a:gd name="connsiteY6" fmla="*/ 3145409 h 4054808"/>
              <a:gd name="connsiteX7" fmla="*/ 966865 w 5473336"/>
              <a:gd name="connsiteY7" fmla="*/ 4034042 h 4054808"/>
              <a:gd name="connsiteX8" fmla="*/ 0 w 5473336"/>
              <a:gd name="connsiteY8" fmla="*/ 3311471 h 4054808"/>
              <a:gd name="connsiteX9" fmla="*/ 0 w 5473336"/>
              <a:gd name="connsiteY9" fmla="*/ 2377312 h 4054808"/>
              <a:gd name="connsiteX10" fmla="*/ 0 w 5473336"/>
              <a:gd name="connsiteY10" fmla="*/ 2096552 h 4054808"/>
              <a:gd name="connsiteX11" fmla="*/ 0 w 5473336"/>
              <a:gd name="connsiteY11" fmla="*/ 1958258 h 4054808"/>
              <a:gd name="connsiteX12" fmla="*/ 0 w 5473336"/>
              <a:gd name="connsiteY12" fmla="*/ 1677498 h 4054808"/>
              <a:gd name="connsiteX13" fmla="*/ 0 w 5473336"/>
              <a:gd name="connsiteY13" fmla="*/ 909401 h 4054808"/>
              <a:gd name="connsiteX14" fmla="*/ 4506471 w 5473336"/>
              <a:gd name="connsiteY14" fmla="*/ 20768 h 4054808"/>
              <a:gd name="connsiteX15" fmla="*/ 4676664 w 5473336"/>
              <a:gd name="connsiteY15" fmla="*/ 1449 h 4054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473336" h="4054808">
                <a:moveTo>
                  <a:pt x="4676664" y="1449"/>
                </a:moveTo>
                <a:cubicBezTo>
                  <a:pt x="5473336" y="-38045"/>
                  <a:pt x="5473336" y="743339"/>
                  <a:pt x="5473336" y="743339"/>
                </a:cubicBezTo>
                <a:lnTo>
                  <a:pt x="5473336" y="1677498"/>
                </a:lnTo>
                <a:lnTo>
                  <a:pt x="5473336" y="1958258"/>
                </a:lnTo>
                <a:lnTo>
                  <a:pt x="5473336" y="2096552"/>
                </a:lnTo>
                <a:lnTo>
                  <a:pt x="5473336" y="2377312"/>
                </a:lnTo>
                <a:lnTo>
                  <a:pt x="5473336" y="3145409"/>
                </a:lnTo>
                <a:lnTo>
                  <a:pt x="966865" y="4034042"/>
                </a:lnTo>
                <a:cubicBezTo>
                  <a:pt x="0" y="4200512"/>
                  <a:pt x="0" y="3311471"/>
                  <a:pt x="0" y="3311471"/>
                </a:cubicBezTo>
                <a:lnTo>
                  <a:pt x="0" y="2377312"/>
                </a:lnTo>
                <a:lnTo>
                  <a:pt x="0" y="2096552"/>
                </a:lnTo>
                <a:lnTo>
                  <a:pt x="0" y="1958258"/>
                </a:lnTo>
                <a:lnTo>
                  <a:pt x="0" y="1677498"/>
                </a:lnTo>
                <a:lnTo>
                  <a:pt x="0" y="909401"/>
                </a:lnTo>
                <a:lnTo>
                  <a:pt x="4506471" y="20768"/>
                </a:lnTo>
                <a:cubicBezTo>
                  <a:pt x="4566900" y="10364"/>
                  <a:pt x="4623552" y="4082"/>
                  <a:pt x="4676664" y="1449"/>
                </a:cubicBezTo>
                <a:close/>
              </a:path>
            </a:pathLst>
          </a:custGeom>
          <a:solidFill>
            <a:srgbClr val="E9E9E9">
              <a:alpha val="89000"/>
            </a:srgbClr>
          </a:solidFill>
        </p:spPr>
        <p:txBody>
          <a:bodyPr wrap="square" lIns="72000" tIns="72000" rIns="72000" bIns="36000" anchor="ctr">
            <a:noAutofit/>
          </a:bodyPr>
          <a:lstStyle>
            <a:lvl1pPr marL="0" indent="0" algn="ctr">
              <a:spcBef>
                <a:spcPts val="0"/>
              </a:spcBef>
              <a:buFont typeface="Arial" panose="020B0604020202020204" pitchFamily="34" charset="0"/>
              <a:buNone/>
              <a:defRPr sz="2800" b="1">
                <a:solidFill>
                  <a:schemeClr val="tx2"/>
                </a:solidFill>
              </a:defRPr>
            </a:lvl1pPr>
            <a:lvl2pPr marL="0" indent="0" algn="ctr">
              <a:spcBef>
                <a:spcPts val="0"/>
              </a:spcBef>
              <a:buFont typeface="Arial" panose="020B0604020202020204" pitchFamily="34" charset="0"/>
              <a:buNone/>
              <a:defRPr sz="2800" b="1">
                <a:solidFill>
                  <a:schemeClr val="bg1"/>
                </a:solidFill>
              </a:defRPr>
            </a:lvl2pPr>
            <a:lvl3pPr marL="0" indent="0" algn="ctr">
              <a:spcBef>
                <a:spcPts val="0"/>
              </a:spcBef>
              <a:buNone/>
              <a:defRPr sz="2800" b="1">
                <a:solidFill>
                  <a:schemeClr val="bg1"/>
                </a:solidFill>
              </a:defRPr>
            </a:lvl3pPr>
            <a:lvl4pPr marL="0" indent="0" algn="ctr">
              <a:spcBef>
                <a:spcPts val="0"/>
              </a:spcBef>
              <a:buNone/>
              <a:defRPr sz="2800" b="1">
                <a:solidFill>
                  <a:schemeClr val="bg1"/>
                </a:solidFill>
              </a:defRPr>
            </a:lvl4pPr>
            <a:lvl5pPr marL="0" indent="0" algn="ctr">
              <a:spcBef>
                <a:spcPts val="0"/>
              </a:spcBef>
              <a:buNone/>
              <a:defRPr sz="2800" b="1">
                <a:solidFill>
                  <a:schemeClr val="bg1"/>
                </a:solidFill>
              </a:defRPr>
            </a:lvl5pPr>
          </a:lstStyle>
          <a:p>
            <a:pPr lvl="0"/>
            <a:r>
              <a:rPr lang="de-DE"/>
              <a:t>Text durch </a:t>
            </a:r>
            <a:br>
              <a:rPr lang="de-DE"/>
            </a:br>
            <a:r>
              <a:rPr lang="de-DE"/>
              <a:t>Klicken </a:t>
            </a:r>
            <a:r>
              <a:rPr lang="de-DE" dirty="0"/>
              <a:t>hinzufügen</a:t>
            </a:r>
          </a:p>
        </p:txBody>
      </p:sp>
    </p:spTree>
    <p:extLst>
      <p:ext uri="{BB962C8B-B14F-4D97-AF65-F5344CB8AC3E}">
        <p14:creationId xmlns:p14="http://schemas.microsoft.com/office/powerpoint/2010/main" val="2802105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57">
          <p15:clr>
            <a:srgbClr val="F26B43"/>
          </p15:clr>
        </p15:guide>
        <p15:guide id="3" orient="horz" pos="255">
          <p15:clr>
            <a:srgbClr val="F26B43"/>
          </p15:clr>
        </p15:guide>
        <p15:guide id="6" orient="horz" pos="890">
          <p15:clr>
            <a:srgbClr val="F26B43"/>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Titelfolie mit Bild und positiv Logo">
    <p:spTree>
      <p:nvGrpSpPr>
        <p:cNvPr id="1" name=""/>
        <p:cNvGrpSpPr/>
        <p:nvPr/>
      </p:nvGrpSpPr>
      <p:grpSpPr>
        <a:xfrm>
          <a:off x="0" y="0"/>
          <a:ext cx="0" cy="0"/>
          <a:chOff x="0" y="0"/>
          <a:chExt cx="0" cy="0"/>
        </a:xfrm>
      </p:grpSpPr>
      <p:sp>
        <p:nvSpPr>
          <p:cNvPr id="40" name="Bildplatzhalter 36">
            <a:extLst>
              <a:ext uri="{FF2B5EF4-FFF2-40B4-BE49-F238E27FC236}">
                <a16:creationId xmlns:a16="http://schemas.microsoft.com/office/drawing/2014/main" id="{4870B9C8-84BA-4064-8D52-EB6D8BB2C906}"/>
              </a:ext>
            </a:extLst>
          </p:cNvPr>
          <p:cNvSpPr>
            <a:spLocks noGrp="1"/>
          </p:cNvSpPr>
          <p:nvPr>
            <p:ph type="pic" sz="quarter" idx="14" hasCustomPrompt="1"/>
          </p:nvPr>
        </p:nvSpPr>
        <p:spPr bwMode="gray">
          <a:xfrm>
            <a:off x="0" y="-1"/>
            <a:ext cx="12196763" cy="6858000"/>
          </a:xfrm>
          <a:prstGeom prst="rect">
            <a:avLst/>
          </a:prstGeom>
          <a:pattFill prst="pct20">
            <a:fgClr>
              <a:schemeClr val="accent3"/>
            </a:fgClr>
            <a:bgClr>
              <a:schemeClr val="bg1"/>
            </a:bgClr>
          </a:pattFill>
        </p:spPr>
        <p:txBody>
          <a:bodyPr vert="horz" wrap="square" lIns="2520000" tIns="72000" rIns="72000" bIns="72000" rtlCol="0" anchor="b">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1600" b="0" baseline="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a:t>Um ein Hintergrundbild einzufügen, markieren Sie bitte den Platzhalter und wählen entweder ein Bild aus der </a:t>
            </a:r>
            <a:r>
              <a:rPr lang="de-DE" err="1"/>
              <a:t>empower</a:t>
            </a:r>
            <a:r>
              <a:rPr lang="de-DE"/>
              <a:t> Bibliothek oder über den Reiter „Einfügen“, „Bilder“ aus. Dieses Layout steht in zwei Varianten zur Verfügung: mit positivem und negativem Partnerlogo. Bitte wählen Sie das Layout aus, welches den bestmöglichen Kontrast zwischen Bild und Logo erzeugt.</a:t>
            </a:r>
          </a:p>
        </p:txBody>
      </p:sp>
      <p:sp>
        <p:nvSpPr>
          <p:cNvPr id="30" name="Textplatzhalter 13">
            <a:extLst>
              <a:ext uri="{FF2B5EF4-FFF2-40B4-BE49-F238E27FC236}">
                <a16:creationId xmlns:a16="http://schemas.microsoft.com/office/drawing/2014/main" id="{58F070F6-CDDE-4C67-9078-9184F9E3EE06}"/>
              </a:ext>
            </a:extLst>
          </p:cNvPr>
          <p:cNvSpPr>
            <a:spLocks noGrp="1" noChangeAspect="1"/>
          </p:cNvSpPr>
          <p:nvPr>
            <p:ph type="body" sz="quarter" idx="15" hasCustomPrompt="1"/>
          </p:nvPr>
        </p:nvSpPr>
        <p:spPr bwMode="gray">
          <a:xfrm>
            <a:off x="629999" y="1"/>
            <a:ext cx="11565176" cy="4222561"/>
          </a:xfrm>
          <a:custGeom>
            <a:avLst/>
            <a:gdLst>
              <a:gd name="connsiteX0" fmla="*/ 0 w 11565176"/>
              <a:gd name="connsiteY0" fmla="*/ 0 h 4222561"/>
              <a:gd name="connsiteX1" fmla="*/ 11565176 w 11565176"/>
              <a:gd name="connsiteY1" fmla="*/ 0 h 4222561"/>
              <a:gd name="connsiteX2" fmla="*/ 11565176 w 11565176"/>
              <a:gd name="connsiteY2" fmla="*/ 2101962 h 4222561"/>
              <a:gd name="connsiteX3" fmla="*/ 910254 w 11565176"/>
              <a:gd name="connsiteY3" fmla="*/ 4203011 h 4222561"/>
              <a:gd name="connsiteX4" fmla="*/ 0 w 11565176"/>
              <a:gd name="connsiteY4" fmla="*/ 3522747 h 4222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65176" h="4222561">
                <a:moveTo>
                  <a:pt x="0" y="0"/>
                </a:moveTo>
                <a:lnTo>
                  <a:pt x="11565176" y="0"/>
                </a:lnTo>
                <a:lnTo>
                  <a:pt x="11565176" y="2101962"/>
                </a:lnTo>
                <a:lnTo>
                  <a:pt x="910254" y="4203011"/>
                </a:lnTo>
                <a:cubicBezTo>
                  <a:pt x="0" y="4359734"/>
                  <a:pt x="0" y="3522747"/>
                  <a:pt x="0" y="3522747"/>
                </a:cubicBezTo>
                <a:close/>
              </a:path>
            </a:pathLst>
          </a:custGeom>
          <a:solidFill>
            <a:schemeClr val="tx2">
              <a:alpha val="89000"/>
            </a:schemeClr>
          </a:solidFill>
        </p:spPr>
        <p:txBody>
          <a:bodyPr wrap="square" lIns="399600" tIns="1407600" rIns="3240000">
            <a:noAutofit/>
          </a:bodyPr>
          <a:lstStyle>
            <a:lvl1pPr marL="0" indent="0">
              <a:spcBef>
                <a:spcPts val="0"/>
              </a:spcBef>
              <a:buFont typeface="Arial" panose="020B0604020202020204" pitchFamily="34" charset="0"/>
              <a:buNone/>
              <a:defRPr sz="3000" b="1">
                <a:solidFill>
                  <a:schemeClr val="bg1"/>
                </a:solidFill>
              </a:defRPr>
            </a:lvl1pPr>
            <a:lvl2pPr marL="0" indent="0">
              <a:spcBef>
                <a:spcPts val="0"/>
              </a:spcBef>
              <a:buFont typeface="Arial" panose="020B0604020202020204" pitchFamily="34" charset="0"/>
              <a:buNone/>
              <a:defRPr sz="3000" b="1">
                <a:solidFill>
                  <a:schemeClr val="bg1"/>
                </a:solidFill>
              </a:defRPr>
            </a:lvl2pPr>
            <a:lvl3pPr marL="0" indent="0">
              <a:spcBef>
                <a:spcPts val="0"/>
              </a:spcBef>
              <a:buNone/>
              <a:defRPr sz="3000" b="1">
                <a:solidFill>
                  <a:schemeClr val="bg1"/>
                </a:solidFill>
              </a:defRPr>
            </a:lvl3pPr>
            <a:lvl4pPr marL="0" indent="0">
              <a:spcBef>
                <a:spcPts val="0"/>
              </a:spcBef>
              <a:buNone/>
              <a:defRPr sz="3000" b="1">
                <a:solidFill>
                  <a:schemeClr val="bg1"/>
                </a:solidFill>
              </a:defRPr>
            </a:lvl4pPr>
            <a:lvl5pPr marL="0" indent="0">
              <a:spcBef>
                <a:spcPts val="0"/>
              </a:spcBef>
              <a:buNone/>
              <a:defRPr sz="3000" b="1">
                <a:solidFill>
                  <a:schemeClr val="bg1"/>
                </a:solidFill>
              </a:defRPr>
            </a:lvl5pPr>
          </a:lstStyle>
          <a:p>
            <a:pPr lvl="0"/>
            <a:r>
              <a:rPr lang="de-DE"/>
              <a:t>Titelfolie (max. 2-zeilig)</a:t>
            </a:r>
          </a:p>
        </p:txBody>
      </p:sp>
      <p:sp>
        <p:nvSpPr>
          <p:cNvPr id="46" name="Textplatzhalter 45">
            <a:extLst>
              <a:ext uri="{FF2B5EF4-FFF2-40B4-BE49-F238E27FC236}">
                <a16:creationId xmlns:a16="http://schemas.microsoft.com/office/drawing/2014/main" id="{502B336E-2768-432F-A8DB-0FB505A7D87D}"/>
              </a:ext>
            </a:extLst>
          </p:cNvPr>
          <p:cNvSpPr>
            <a:spLocks noGrp="1"/>
          </p:cNvSpPr>
          <p:nvPr>
            <p:ph type="body" sz="quarter" idx="17" hasCustomPrompt="1"/>
          </p:nvPr>
        </p:nvSpPr>
        <p:spPr bwMode="gray">
          <a:xfrm>
            <a:off x="9563898" y="409422"/>
            <a:ext cx="2014538" cy="608013"/>
          </a:xfrm>
          <a:blipFill>
            <a:blip r:embed="rId2" cstate="screen">
              <a:extLst>
                <a:ext uri="{28A0092B-C50C-407E-A947-70E740481C1C}">
                  <a14:useLocalDpi xmlns:a14="http://schemas.microsoft.com/office/drawing/2010/main"/>
                </a:ext>
              </a:extLst>
            </a:blip>
            <a:stretch>
              <a:fillRect/>
            </a:stretch>
          </a:blipFill>
        </p:spPr>
        <p:txBody>
          <a:bodyPr/>
          <a:lstStyle>
            <a:lvl1pPr marL="0" indent="0">
              <a:spcBef>
                <a:spcPts val="0"/>
              </a:spcBef>
              <a:spcAft>
                <a:spcPts val="0"/>
              </a:spcAft>
              <a:buFont typeface="Arial" panose="020B0604020202020204" pitchFamily="34" charset="0"/>
              <a:buNone/>
              <a:defRPr sz="100">
                <a:noFill/>
              </a:defRPr>
            </a:lvl1pPr>
            <a:lvl2pPr marL="0" indent="0">
              <a:spcBef>
                <a:spcPts val="0"/>
              </a:spcBef>
              <a:spcAft>
                <a:spcPts val="0"/>
              </a:spcAft>
              <a:buFont typeface="Arial" panose="020B0604020202020204" pitchFamily="34" charset="0"/>
              <a:buNone/>
              <a:defRPr sz="100">
                <a:noFill/>
              </a:defRPr>
            </a:lvl2pPr>
            <a:lvl3pPr marL="0" indent="0">
              <a:spcBef>
                <a:spcPts val="0"/>
              </a:spcBef>
              <a:spcAft>
                <a:spcPts val="0"/>
              </a:spcAft>
              <a:buFont typeface="Arial" panose="020B0604020202020204" pitchFamily="34" charset="0"/>
              <a:buNone/>
              <a:defRPr sz="100">
                <a:noFill/>
              </a:defRPr>
            </a:lvl3pPr>
            <a:lvl4pPr marL="0" indent="0">
              <a:spcBef>
                <a:spcPts val="0"/>
              </a:spcBef>
              <a:spcAft>
                <a:spcPts val="0"/>
              </a:spcAft>
              <a:buFont typeface="Arial" panose="020B0604020202020204" pitchFamily="34" charset="0"/>
              <a:buNone/>
              <a:defRPr sz="100">
                <a:noFill/>
              </a:defRPr>
            </a:lvl4pPr>
            <a:lvl5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
                <a:noFill/>
              </a:defRPr>
            </a:lvl5pPr>
            <a:lvl6pPr marL="360000" indent="0">
              <a:spcBef>
                <a:spcPts val="0"/>
              </a:spcBef>
              <a:spcAft>
                <a:spcPts val="0"/>
              </a:spcAft>
              <a:buFontTx/>
              <a:buNone/>
              <a:defRPr/>
            </a:lvl6pPr>
            <a:lvl7pPr marL="0" indent="0">
              <a:spcBef>
                <a:spcPts val="0"/>
              </a:spcBef>
              <a:spcAft>
                <a:spcPts val="0"/>
              </a:spcAft>
              <a:buNone/>
              <a:defRPr/>
            </a:lvl7pPr>
            <a:lvl8pPr marL="0" indent="0">
              <a:spcBef>
                <a:spcPts val="0"/>
              </a:spcBef>
              <a:spcAft>
                <a:spcPts val="0"/>
              </a:spcAft>
              <a:buNone/>
              <a:defRPr/>
            </a:lvl8pPr>
            <a:lvl9pPr marL="0" indent="0">
              <a:spcBef>
                <a:spcPts val="0"/>
              </a:spcBef>
              <a:spcAft>
                <a:spcPts val="0"/>
              </a:spcAft>
              <a:buNone/>
              <a:defRPr/>
            </a:lvl9pPr>
          </a:lstStyle>
          <a:p>
            <a:pPr lvl="0"/>
            <a:r>
              <a:rPr lang="de-DE"/>
              <a:t>x</a:t>
            </a:r>
          </a:p>
        </p:txBody>
      </p:sp>
      <p:sp>
        <p:nvSpPr>
          <p:cNvPr id="3" name="Textplatzhalter 2">
            <a:extLst>
              <a:ext uri="{FF2B5EF4-FFF2-40B4-BE49-F238E27FC236}">
                <a16:creationId xmlns:a16="http://schemas.microsoft.com/office/drawing/2014/main" id="{89882944-3099-4B0B-86B2-03CF51C1E27F}"/>
              </a:ext>
            </a:extLst>
          </p:cNvPr>
          <p:cNvSpPr>
            <a:spLocks noGrp="1"/>
          </p:cNvSpPr>
          <p:nvPr>
            <p:ph type="body" sz="quarter" idx="18"/>
          </p:nvPr>
        </p:nvSpPr>
        <p:spPr bwMode="gray">
          <a:xfrm>
            <a:off x="630000" y="6329316"/>
            <a:ext cx="1789200" cy="198000"/>
          </a:xfrm>
          <a:blipFill>
            <a:blip r:embed="rId3" cstate="print">
              <a:extLst>
                <a:ext uri="{28A0092B-C50C-407E-A947-70E740481C1C}">
                  <a14:useLocalDpi xmlns:a14="http://schemas.microsoft.com/office/drawing/2010/main"/>
                </a:ext>
              </a:extLst>
            </a:blip>
            <a:stretch>
              <a:fillRect/>
            </a:stretch>
          </a:blipFill>
        </p:spPr>
        <p:txBody>
          <a:bodyPr/>
          <a:lstStyle>
            <a:lvl1pPr>
              <a:defRPr sz="100">
                <a:noFill/>
              </a:defRPr>
            </a:lvl1pPr>
          </a:lstStyle>
          <a:p>
            <a:pPr lvl="0"/>
            <a:r>
              <a:rPr lang="de-DE"/>
              <a:t>Mastertextformat bearbeiten</a:t>
            </a:r>
          </a:p>
        </p:txBody>
      </p:sp>
      <p:sp>
        <p:nvSpPr>
          <p:cNvPr id="4" name="Textplatzhalter 3">
            <a:extLst>
              <a:ext uri="{FF2B5EF4-FFF2-40B4-BE49-F238E27FC236}">
                <a16:creationId xmlns:a16="http://schemas.microsoft.com/office/drawing/2014/main" id="{E1B7D21C-9956-4F89-AA73-D6897EEE2B60}"/>
              </a:ext>
            </a:extLst>
          </p:cNvPr>
          <p:cNvSpPr>
            <a:spLocks noGrp="1"/>
          </p:cNvSpPr>
          <p:nvPr>
            <p:ph type="body" sz="quarter" idx="19" hasCustomPrompt="1"/>
          </p:nvPr>
        </p:nvSpPr>
        <p:spPr bwMode="gray">
          <a:xfrm>
            <a:off x="1030048" y="984854"/>
            <a:ext cx="6481588" cy="246221"/>
          </a:xfrm>
        </p:spPr>
        <p:txBody>
          <a:bodyPr anchor="b" anchorCtr="0">
            <a:spAutoFit/>
          </a:bodyPr>
          <a:lstStyle>
            <a:lvl1pPr>
              <a:spcBef>
                <a:spcPts val="0"/>
              </a:spcBef>
              <a:defRPr sz="1600" b="1">
                <a:solidFill>
                  <a:schemeClr val="accent2"/>
                </a:solidFill>
              </a:defRPr>
            </a:lvl1pPr>
          </a:lstStyle>
          <a:p>
            <a:pPr lvl="0"/>
            <a:r>
              <a:rPr lang="de-DE"/>
              <a:t>Name Kunde / Veranstaltung</a:t>
            </a:r>
          </a:p>
        </p:txBody>
      </p:sp>
      <p:sp>
        <p:nvSpPr>
          <p:cNvPr id="10" name="Textplatzhalter 3">
            <a:extLst>
              <a:ext uri="{FF2B5EF4-FFF2-40B4-BE49-F238E27FC236}">
                <a16:creationId xmlns:a16="http://schemas.microsoft.com/office/drawing/2014/main" id="{A72896F1-3FAF-4424-BD5C-93438D4E2E50}"/>
              </a:ext>
            </a:extLst>
          </p:cNvPr>
          <p:cNvSpPr>
            <a:spLocks noGrp="1"/>
          </p:cNvSpPr>
          <p:nvPr>
            <p:ph type="body" sz="quarter" idx="20" hasCustomPrompt="1"/>
          </p:nvPr>
        </p:nvSpPr>
        <p:spPr bwMode="gray">
          <a:xfrm>
            <a:off x="1030048" y="2500031"/>
            <a:ext cx="6481588" cy="246221"/>
          </a:xfrm>
        </p:spPr>
        <p:txBody>
          <a:bodyPr anchor="b" anchorCtr="0">
            <a:spAutoFit/>
          </a:bodyPr>
          <a:lstStyle>
            <a:lvl1pPr>
              <a:spcBef>
                <a:spcPts val="0"/>
              </a:spcBef>
              <a:defRPr sz="1600" b="0">
                <a:solidFill>
                  <a:schemeClr val="bg1"/>
                </a:solidFill>
              </a:defRPr>
            </a:lvl1pPr>
          </a:lstStyle>
          <a:p>
            <a:pPr lvl="0"/>
            <a:r>
              <a:rPr lang="de-DE"/>
              <a:t>Ort, Datum – Referent Vorname Name</a:t>
            </a:r>
          </a:p>
        </p:txBody>
      </p:sp>
      <p:sp>
        <p:nvSpPr>
          <p:cNvPr id="11" name="Textplatzhalter 3">
            <a:extLst>
              <a:ext uri="{FF2B5EF4-FFF2-40B4-BE49-F238E27FC236}">
                <a16:creationId xmlns:a16="http://schemas.microsoft.com/office/drawing/2014/main" id="{E6DB12D6-50EB-4AE2-8385-0E97F9F8DCD1}"/>
              </a:ext>
            </a:extLst>
          </p:cNvPr>
          <p:cNvSpPr>
            <a:spLocks noGrp="1"/>
          </p:cNvSpPr>
          <p:nvPr>
            <p:ph type="body" sz="quarter" idx="21" hasCustomPrompt="1"/>
          </p:nvPr>
        </p:nvSpPr>
        <p:spPr bwMode="gray">
          <a:xfrm>
            <a:off x="1030048" y="2852957"/>
            <a:ext cx="5760000" cy="184666"/>
          </a:xfrm>
        </p:spPr>
        <p:txBody>
          <a:bodyPr>
            <a:spAutoFit/>
          </a:bodyPr>
          <a:lstStyle>
            <a:lvl1pPr>
              <a:spcBef>
                <a:spcPts val="0"/>
              </a:spcBef>
              <a:defRPr sz="1200" b="0">
                <a:solidFill>
                  <a:schemeClr val="bg1"/>
                </a:solidFill>
              </a:defRPr>
            </a:lvl1pPr>
          </a:lstStyle>
          <a:p>
            <a:pPr lvl="0"/>
            <a:r>
              <a:rPr lang="de-DE"/>
              <a:t>Vertraulichkeitshinweis durch Klicken bearbeiten</a:t>
            </a:r>
          </a:p>
        </p:txBody>
      </p:sp>
    </p:spTree>
    <p:extLst>
      <p:ext uri="{BB962C8B-B14F-4D97-AF65-F5344CB8AC3E}">
        <p14:creationId xmlns:p14="http://schemas.microsoft.com/office/powerpoint/2010/main" val="2607053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Titelfolie mit Bild und negativ Logo">
    <p:spTree>
      <p:nvGrpSpPr>
        <p:cNvPr id="1" name=""/>
        <p:cNvGrpSpPr/>
        <p:nvPr/>
      </p:nvGrpSpPr>
      <p:grpSpPr>
        <a:xfrm>
          <a:off x="0" y="0"/>
          <a:ext cx="0" cy="0"/>
          <a:chOff x="0" y="0"/>
          <a:chExt cx="0" cy="0"/>
        </a:xfrm>
      </p:grpSpPr>
      <p:sp>
        <p:nvSpPr>
          <p:cNvPr id="40" name="Bildplatzhalter 36">
            <a:extLst>
              <a:ext uri="{FF2B5EF4-FFF2-40B4-BE49-F238E27FC236}">
                <a16:creationId xmlns:a16="http://schemas.microsoft.com/office/drawing/2014/main" id="{4870B9C8-84BA-4064-8D52-EB6D8BB2C906}"/>
              </a:ext>
            </a:extLst>
          </p:cNvPr>
          <p:cNvSpPr>
            <a:spLocks noGrp="1"/>
          </p:cNvSpPr>
          <p:nvPr>
            <p:ph type="pic" sz="quarter" idx="14" hasCustomPrompt="1"/>
          </p:nvPr>
        </p:nvSpPr>
        <p:spPr bwMode="gray">
          <a:xfrm>
            <a:off x="0" y="-1"/>
            <a:ext cx="12196763" cy="6858000"/>
          </a:xfrm>
          <a:prstGeom prst="rect">
            <a:avLst/>
          </a:prstGeom>
          <a:pattFill prst="pct20">
            <a:fgClr>
              <a:schemeClr val="accent3"/>
            </a:fgClr>
            <a:bgClr>
              <a:schemeClr val="bg1"/>
            </a:bgClr>
          </a:pattFill>
        </p:spPr>
        <p:txBody>
          <a:bodyPr vert="horz" wrap="square" lIns="2520000" tIns="72000" rIns="72000" bIns="72000" rtlCol="0" anchor="b">
            <a:noAutofit/>
          </a:bodyPr>
          <a:lstStyle>
            <a:lvl1pPr>
              <a:defRPr lang="de-DE" sz="1600" baseline="0" dirty="0">
                <a:solidFill>
                  <a:schemeClr val="tx1"/>
                </a:solidFill>
              </a:defRPr>
            </a:lvl1pPr>
          </a:lstStyle>
          <a:p>
            <a:pPr marR="0" lvl="0" fontAlgn="auto">
              <a:lnSpc>
                <a:spcPct val="100000"/>
              </a:lnSpc>
              <a:spcBef>
                <a:spcPts val="0"/>
              </a:spcBef>
              <a:spcAft>
                <a:spcPts val="0"/>
              </a:spcAft>
              <a:buClrTx/>
              <a:buSzTx/>
              <a:tabLst/>
            </a:pPr>
            <a:r>
              <a:rPr lang="de-DE"/>
              <a:t>Um ein Hintergrundbild einzufügen, markieren Sie bitte den Platzhalter und wählen entweder ein Bild aus der </a:t>
            </a:r>
            <a:r>
              <a:rPr lang="de-DE" err="1"/>
              <a:t>empower</a:t>
            </a:r>
            <a:r>
              <a:rPr lang="de-DE"/>
              <a:t> Bibliothek oder über den Reiter „Einfügen“, „Bilder“ aus. Dieses Layout steht in zwei Varianten zur Verfügung: mit positivem und negativem Partnerlogo. Bitte wählen Sie das Layout aus, welches den bestmöglichen Kontrast zwischen Bild und Logo erzeugt.</a:t>
            </a:r>
          </a:p>
        </p:txBody>
      </p:sp>
      <p:sp>
        <p:nvSpPr>
          <p:cNvPr id="30" name="Textplatzhalter 13">
            <a:extLst>
              <a:ext uri="{FF2B5EF4-FFF2-40B4-BE49-F238E27FC236}">
                <a16:creationId xmlns:a16="http://schemas.microsoft.com/office/drawing/2014/main" id="{58F070F6-CDDE-4C67-9078-9184F9E3EE06}"/>
              </a:ext>
            </a:extLst>
          </p:cNvPr>
          <p:cNvSpPr>
            <a:spLocks noGrp="1" noChangeAspect="1"/>
          </p:cNvSpPr>
          <p:nvPr>
            <p:ph type="body" sz="quarter" idx="15" hasCustomPrompt="1"/>
          </p:nvPr>
        </p:nvSpPr>
        <p:spPr bwMode="gray">
          <a:xfrm>
            <a:off x="629999" y="1"/>
            <a:ext cx="11565176" cy="4222561"/>
          </a:xfrm>
          <a:custGeom>
            <a:avLst/>
            <a:gdLst>
              <a:gd name="connsiteX0" fmla="*/ 0 w 11565176"/>
              <a:gd name="connsiteY0" fmla="*/ 0 h 4222561"/>
              <a:gd name="connsiteX1" fmla="*/ 11565176 w 11565176"/>
              <a:gd name="connsiteY1" fmla="*/ 0 h 4222561"/>
              <a:gd name="connsiteX2" fmla="*/ 11565176 w 11565176"/>
              <a:gd name="connsiteY2" fmla="*/ 2101962 h 4222561"/>
              <a:gd name="connsiteX3" fmla="*/ 910254 w 11565176"/>
              <a:gd name="connsiteY3" fmla="*/ 4203011 h 4222561"/>
              <a:gd name="connsiteX4" fmla="*/ 0 w 11565176"/>
              <a:gd name="connsiteY4" fmla="*/ 3522747 h 4222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65176" h="4222561">
                <a:moveTo>
                  <a:pt x="0" y="0"/>
                </a:moveTo>
                <a:lnTo>
                  <a:pt x="11565176" y="0"/>
                </a:lnTo>
                <a:lnTo>
                  <a:pt x="11565176" y="2101962"/>
                </a:lnTo>
                <a:lnTo>
                  <a:pt x="910254" y="4203011"/>
                </a:lnTo>
                <a:cubicBezTo>
                  <a:pt x="0" y="4359734"/>
                  <a:pt x="0" y="3522747"/>
                  <a:pt x="0" y="3522747"/>
                </a:cubicBezTo>
                <a:close/>
              </a:path>
            </a:pathLst>
          </a:custGeom>
          <a:solidFill>
            <a:schemeClr val="tx2">
              <a:alpha val="89000"/>
            </a:schemeClr>
          </a:solidFill>
        </p:spPr>
        <p:txBody>
          <a:bodyPr wrap="square" lIns="399600" tIns="1407600" rIns="3240000">
            <a:noAutofit/>
          </a:bodyPr>
          <a:lstStyle>
            <a:lvl1pPr marL="0" indent="0">
              <a:spcBef>
                <a:spcPts val="0"/>
              </a:spcBef>
              <a:buFont typeface="Arial" panose="020B0604020202020204" pitchFamily="34" charset="0"/>
              <a:buNone/>
              <a:defRPr sz="3000" b="1">
                <a:solidFill>
                  <a:schemeClr val="bg1"/>
                </a:solidFill>
              </a:defRPr>
            </a:lvl1pPr>
            <a:lvl2pPr marL="0" indent="0">
              <a:spcBef>
                <a:spcPts val="0"/>
              </a:spcBef>
              <a:buFont typeface="Arial" panose="020B0604020202020204" pitchFamily="34" charset="0"/>
              <a:buNone/>
              <a:defRPr sz="3000" b="1">
                <a:solidFill>
                  <a:schemeClr val="bg1"/>
                </a:solidFill>
              </a:defRPr>
            </a:lvl2pPr>
            <a:lvl3pPr marL="0" indent="0">
              <a:spcBef>
                <a:spcPts val="0"/>
              </a:spcBef>
              <a:buNone/>
              <a:defRPr sz="3000" b="1">
                <a:solidFill>
                  <a:schemeClr val="bg1"/>
                </a:solidFill>
              </a:defRPr>
            </a:lvl3pPr>
            <a:lvl4pPr marL="0" indent="0">
              <a:spcBef>
                <a:spcPts val="0"/>
              </a:spcBef>
              <a:buNone/>
              <a:defRPr sz="3000" b="1">
                <a:solidFill>
                  <a:schemeClr val="bg1"/>
                </a:solidFill>
              </a:defRPr>
            </a:lvl4pPr>
            <a:lvl5pPr marL="0" indent="0">
              <a:spcBef>
                <a:spcPts val="0"/>
              </a:spcBef>
              <a:buNone/>
              <a:defRPr sz="3000" b="1">
                <a:solidFill>
                  <a:schemeClr val="bg1"/>
                </a:solidFill>
              </a:defRPr>
            </a:lvl5pPr>
          </a:lstStyle>
          <a:p>
            <a:pPr lvl="0"/>
            <a:r>
              <a:rPr lang="de-DE"/>
              <a:t>Titelfolie (max. 2-zeilig)</a:t>
            </a:r>
          </a:p>
        </p:txBody>
      </p:sp>
      <p:sp>
        <p:nvSpPr>
          <p:cNvPr id="46" name="Textplatzhalter 45">
            <a:extLst>
              <a:ext uri="{FF2B5EF4-FFF2-40B4-BE49-F238E27FC236}">
                <a16:creationId xmlns:a16="http://schemas.microsoft.com/office/drawing/2014/main" id="{502B336E-2768-432F-A8DB-0FB505A7D87D}"/>
              </a:ext>
            </a:extLst>
          </p:cNvPr>
          <p:cNvSpPr>
            <a:spLocks noGrp="1"/>
          </p:cNvSpPr>
          <p:nvPr>
            <p:ph type="body" sz="quarter" idx="17" hasCustomPrompt="1"/>
          </p:nvPr>
        </p:nvSpPr>
        <p:spPr bwMode="gray">
          <a:xfrm>
            <a:off x="9563898" y="409422"/>
            <a:ext cx="2014538" cy="608013"/>
          </a:xfrm>
          <a:blipFill>
            <a:blip r:embed="rId2" cstate="screen">
              <a:extLst>
                <a:ext uri="{28A0092B-C50C-407E-A947-70E740481C1C}">
                  <a14:useLocalDpi xmlns:a14="http://schemas.microsoft.com/office/drawing/2010/main"/>
                </a:ext>
              </a:extLst>
            </a:blip>
            <a:stretch>
              <a:fillRect/>
            </a:stretch>
          </a:blipFill>
        </p:spPr>
        <p:txBody>
          <a:bodyPr/>
          <a:lstStyle>
            <a:lvl1pPr marL="0" indent="0">
              <a:spcBef>
                <a:spcPts val="0"/>
              </a:spcBef>
              <a:spcAft>
                <a:spcPts val="0"/>
              </a:spcAft>
              <a:buFont typeface="Arial" panose="020B0604020202020204" pitchFamily="34" charset="0"/>
              <a:buNone/>
              <a:defRPr sz="100">
                <a:noFill/>
              </a:defRPr>
            </a:lvl1pPr>
            <a:lvl2pPr marL="0" indent="0">
              <a:spcBef>
                <a:spcPts val="0"/>
              </a:spcBef>
              <a:spcAft>
                <a:spcPts val="0"/>
              </a:spcAft>
              <a:buFont typeface="Arial" panose="020B0604020202020204" pitchFamily="34" charset="0"/>
              <a:buNone/>
              <a:defRPr sz="100">
                <a:noFill/>
              </a:defRPr>
            </a:lvl2pPr>
            <a:lvl3pPr marL="0" indent="0">
              <a:spcBef>
                <a:spcPts val="0"/>
              </a:spcBef>
              <a:spcAft>
                <a:spcPts val="0"/>
              </a:spcAft>
              <a:buFont typeface="Arial" panose="020B0604020202020204" pitchFamily="34" charset="0"/>
              <a:buNone/>
              <a:defRPr sz="100">
                <a:noFill/>
              </a:defRPr>
            </a:lvl3pPr>
            <a:lvl4pPr marL="0" indent="0">
              <a:spcBef>
                <a:spcPts val="0"/>
              </a:spcBef>
              <a:spcAft>
                <a:spcPts val="0"/>
              </a:spcAft>
              <a:buFont typeface="Arial" panose="020B0604020202020204" pitchFamily="34" charset="0"/>
              <a:buNone/>
              <a:defRPr sz="100">
                <a:noFill/>
              </a:defRPr>
            </a:lvl4pPr>
            <a:lvl5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
                <a:noFill/>
              </a:defRPr>
            </a:lvl5pPr>
            <a:lvl6pPr marL="360000" indent="0">
              <a:spcBef>
                <a:spcPts val="0"/>
              </a:spcBef>
              <a:spcAft>
                <a:spcPts val="0"/>
              </a:spcAft>
              <a:buFontTx/>
              <a:buNone/>
              <a:defRPr/>
            </a:lvl6pPr>
            <a:lvl7pPr marL="0" indent="0">
              <a:spcBef>
                <a:spcPts val="0"/>
              </a:spcBef>
              <a:spcAft>
                <a:spcPts val="0"/>
              </a:spcAft>
              <a:buNone/>
              <a:defRPr/>
            </a:lvl7pPr>
            <a:lvl8pPr marL="0" indent="0">
              <a:spcBef>
                <a:spcPts val="0"/>
              </a:spcBef>
              <a:spcAft>
                <a:spcPts val="0"/>
              </a:spcAft>
              <a:buNone/>
              <a:defRPr/>
            </a:lvl8pPr>
            <a:lvl9pPr marL="0" indent="0">
              <a:spcBef>
                <a:spcPts val="0"/>
              </a:spcBef>
              <a:spcAft>
                <a:spcPts val="0"/>
              </a:spcAft>
              <a:buNone/>
              <a:defRPr/>
            </a:lvl9pPr>
          </a:lstStyle>
          <a:p>
            <a:pPr lvl="0"/>
            <a:r>
              <a:rPr lang="de-DE"/>
              <a:t>x</a:t>
            </a:r>
          </a:p>
        </p:txBody>
      </p:sp>
      <p:sp>
        <p:nvSpPr>
          <p:cNvPr id="9" name="Textplatzhalter 2">
            <a:extLst>
              <a:ext uri="{FF2B5EF4-FFF2-40B4-BE49-F238E27FC236}">
                <a16:creationId xmlns:a16="http://schemas.microsoft.com/office/drawing/2014/main" id="{79842972-B43D-4498-9CE0-114835F45A37}"/>
              </a:ext>
            </a:extLst>
          </p:cNvPr>
          <p:cNvSpPr>
            <a:spLocks noGrp="1"/>
          </p:cNvSpPr>
          <p:nvPr>
            <p:ph type="body" sz="quarter" idx="18"/>
          </p:nvPr>
        </p:nvSpPr>
        <p:spPr bwMode="gray">
          <a:xfrm>
            <a:off x="630000" y="6329316"/>
            <a:ext cx="1789200" cy="198000"/>
          </a:xfrm>
          <a:blipFill>
            <a:blip r:embed="rId3" cstate="print">
              <a:extLst>
                <a:ext uri="{28A0092B-C50C-407E-A947-70E740481C1C}">
                  <a14:useLocalDpi xmlns:a14="http://schemas.microsoft.com/office/drawing/2010/main"/>
                </a:ext>
              </a:extLst>
            </a:blip>
            <a:stretch>
              <a:fillRect/>
            </a:stretch>
          </a:blipFill>
        </p:spPr>
        <p:txBody>
          <a:bodyPr/>
          <a:lstStyle>
            <a:lvl1pPr>
              <a:defRPr sz="100">
                <a:noFill/>
              </a:defRPr>
            </a:lvl1pPr>
          </a:lstStyle>
          <a:p>
            <a:pPr lvl="0"/>
            <a:r>
              <a:rPr lang="de-DE"/>
              <a:t>Mastertextformat bearbeiten</a:t>
            </a:r>
          </a:p>
        </p:txBody>
      </p:sp>
      <p:sp>
        <p:nvSpPr>
          <p:cNvPr id="10" name="Textplatzhalter 3">
            <a:extLst>
              <a:ext uri="{FF2B5EF4-FFF2-40B4-BE49-F238E27FC236}">
                <a16:creationId xmlns:a16="http://schemas.microsoft.com/office/drawing/2014/main" id="{F27D9437-25D4-41C0-9FDB-67DE2F56C5F2}"/>
              </a:ext>
            </a:extLst>
          </p:cNvPr>
          <p:cNvSpPr>
            <a:spLocks noGrp="1"/>
          </p:cNvSpPr>
          <p:nvPr>
            <p:ph type="body" sz="quarter" idx="19" hasCustomPrompt="1"/>
          </p:nvPr>
        </p:nvSpPr>
        <p:spPr bwMode="gray">
          <a:xfrm>
            <a:off x="1030048" y="984854"/>
            <a:ext cx="6481588" cy="246221"/>
          </a:xfrm>
        </p:spPr>
        <p:txBody>
          <a:bodyPr anchor="b" anchorCtr="0">
            <a:spAutoFit/>
          </a:bodyPr>
          <a:lstStyle>
            <a:lvl1pPr>
              <a:spcBef>
                <a:spcPts val="0"/>
              </a:spcBef>
              <a:defRPr sz="1600" b="1">
                <a:solidFill>
                  <a:schemeClr val="accent2"/>
                </a:solidFill>
              </a:defRPr>
            </a:lvl1pPr>
          </a:lstStyle>
          <a:p>
            <a:pPr lvl="0"/>
            <a:r>
              <a:rPr lang="de-DE"/>
              <a:t>Name Kunde / Veranstaltung</a:t>
            </a:r>
          </a:p>
        </p:txBody>
      </p:sp>
      <p:sp>
        <p:nvSpPr>
          <p:cNvPr id="11" name="Textplatzhalter 3">
            <a:extLst>
              <a:ext uri="{FF2B5EF4-FFF2-40B4-BE49-F238E27FC236}">
                <a16:creationId xmlns:a16="http://schemas.microsoft.com/office/drawing/2014/main" id="{211751F6-7D82-4879-9644-28DE0AFB0E95}"/>
              </a:ext>
            </a:extLst>
          </p:cNvPr>
          <p:cNvSpPr>
            <a:spLocks noGrp="1"/>
          </p:cNvSpPr>
          <p:nvPr>
            <p:ph type="body" sz="quarter" idx="20" hasCustomPrompt="1"/>
          </p:nvPr>
        </p:nvSpPr>
        <p:spPr bwMode="gray">
          <a:xfrm>
            <a:off x="1030048" y="2500031"/>
            <a:ext cx="6481588" cy="246221"/>
          </a:xfrm>
        </p:spPr>
        <p:txBody>
          <a:bodyPr anchor="b" anchorCtr="0">
            <a:spAutoFit/>
          </a:bodyPr>
          <a:lstStyle>
            <a:lvl1pPr>
              <a:spcBef>
                <a:spcPts val="0"/>
              </a:spcBef>
              <a:defRPr sz="1600" b="0">
                <a:solidFill>
                  <a:schemeClr val="bg1"/>
                </a:solidFill>
              </a:defRPr>
            </a:lvl1pPr>
          </a:lstStyle>
          <a:p>
            <a:pPr lvl="0"/>
            <a:r>
              <a:rPr lang="de-DE"/>
              <a:t>Ort, Datum – Referent Vorname Name</a:t>
            </a:r>
          </a:p>
        </p:txBody>
      </p:sp>
      <p:sp>
        <p:nvSpPr>
          <p:cNvPr id="14" name="Textplatzhalter 3">
            <a:extLst>
              <a:ext uri="{FF2B5EF4-FFF2-40B4-BE49-F238E27FC236}">
                <a16:creationId xmlns:a16="http://schemas.microsoft.com/office/drawing/2014/main" id="{CB214486-2E9D-4910-B40E-A31969FCC43A}"/>
              </a:ext>
            </a:extLst>
          </p:cNvPr>
          <p:cNvSpPr>
            <a:spLocks noGrp="1"/>
          </p:cNvSpPr>
          <p:nvPr>
            <p:ph type="body" sz="quarter" idx="21" hasCustomPrompt="1"/>
          </p:nvPr>
        </p:nvSpPr>
        <p:spPr bwMode="gray">
          <a:xfrm>
            <a:off x="1030048" y="2852957"/>
            <a:ext cx="5760000" cy="184666"/>
          </a:xfrm>
        </p:spPr>
        <p:txBody>
          <a:bodyPr>
            <a:spAutoFit/>
          </a:bodyPr>
          <a:lstStyle>
            <a:lvl1pPr>
              <a:spcBef>
                <a:spcPts val="0"/>
              </a:spcBef>
              <a:defRPr sz="1200" b="0">
                <a:solidFill>
                  <a:schemeClr val="bg1"/>
                </a:solidFill>
              </a:defRPr>
            </a:lvl1pPr>
          </a:lstStyle>
          <a:p>
            <a:pPr lvl="0"/>
            <a:r>
              <a:rPr lang="de-DE"/>
              <a:t>Vertraulichkeitshinweis durch Klicken bearbeiten</a:t>
            </a:r>
          </a:p>
        </p:txBody>
      </p:sp>
    </p:spTree>
    <p:extLst>
      <p:ext uri="{BB962C8B-B14F-4D97-AF65-F5344CB8AC3E}">
        <p14:creationId xmlns:p14="http://schemas.microsoft.com/office/powerpoint/2010/main" val="3825940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Titelfolie mit Bild oben">
    <p:spTree>
      <p:nvGrpSpPr>
        <p:cNvPr id="1" name=""/>
        <p:cNvGrpSpPr/>
        <p:nvPr/>
      </p:nvGrpSpPr>
      <p:grpSpPr>
        <a:xfrm>
          <a:off x="0" y="0"/>
          <a:ext cx="0" cy="0"/>
          <a:chOff x="0" y="0"/>
          <a:chExt cx="0" cy="0"/>
        </a:xfrm>
      </p:grpSpPr>
      <p:sp>
        <p:nvSpPr>
          <p:cNvPr id="13" name="Bildplatzhalter 39">
            <a:extLst>
              <a:ext uri="{FF2B5EF4-FFF2-40B4-BE49-F238E27FC236}">
                <a16:creationId xmlns:a16="http://schemas.microsoft.com/office/drawing/2014/main" id="{B8CEE1E7-A4C8-4B76-ABEE-3D6D98FF6081}"/>
              </a:ext>
            </a:extLst>
          </p:cNvPr>
          <p:cNvSpPr>
            <a:spLocks noGrp="1" noChangeAspect="1"/>
          </p:cNvSpPr>
          <p:nvPr>
            <p:ph type="pic" sz="quarter" idx="14" hasCustomPrompt="1"/>
          </p:nvPr>
        </p:nvSpPr>
        <p:spPr bwMode="gray">
          <a:xfrm>
            <a:off x="630002" y="0"/>
            <a:ext cx="11565175" cy="4222563"/>
          </a:xfrm>
          <a:custGeom>
            <a:avLst/>
            <a:gdLst>
              <a:gd name="connsiteX0" fmla="*/ 0 w 11565175"/>
              <a:gd name="connsiteY0" fmla="*/ 0 h 4222563"/>
              <a:gd name="connsiteX1" fmla="*/ 11565175 w 11565175"/>
              <a:gd name="connsiteY1" fmla="*/ 0 h 4222563"/>
              <a:gd name="connsiteX2" fmla="*/ 11565175 w 11565175"/>
              <a:gd name="connsiteY2" fmla="*/ 2101964 h 4222563"/>
              <a:gd name="connsiteX3" fmla="*/ 910254 w 11565175"/>
              <a:gd name="connsiteY3" fmla="*/ 4203013 h 4222563"/>
              <a:gd name="connsiteX4" fmla="*/ 0 w 11565175"/>
              <a:gd name="connsiteY4" fmla="*/ 3522749 h 4222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65175" h="4222563">
                <a:moveTo>
                  <a:pt x="0" y="0"/>
                </a:moveTo>
                <a:lnTo>
                  <a:pt x="11565175" y="0"/>
                </a:lnTo>
                <a:lnTo>
                  <a:pt x="11565175" y="2101964"/>
                </a:lnTo>
                <a:lnTo>
                  <a:pt x="910254" y="4203013"/>
                </a:lnTo>
                <a:cubicBezTo>
                  <a:pt x="0" y="4359736"/>
                  <a:pt x="0" y="3522749"/>
                  <a:pt x="0" y="3522749"/>
                </a:cubicBezTo>
                <a:close/>
              </a:path>
            </a:pathLst>
          </a:custGeom>
          <a:pattFill prst="pct20">
            <a:fgClr>
              <a:schemeClr val="accent3"/>
            </a:fgClr>
            <a:bgClr>
              <a:schemeClr val="bg1"/>
            </a:bgClr>
          </a:pattFill>
        </p:spPr>
        <p:txBody>
          <a:bodyPr vert="horz" wrap="square" lIns="72000" tIns="72000" rIns="72000" bIns="72000" rtlCol="0" anchor="t">
            <a:noAutofit/>
          </a:bodyPr>
          <a:lstStyle>
            <a:lvl1pPr>
              <a:defRPr lang="de-DE" sz="1600" baseline="0" dirty="0">
                <a:solidFill>
                  <a:schemeClr val="tx1"/>
                </a:solidFill>
              </a:defRPr>
            </a:lvl1pPr>
          </a:lstStyle>
          <a:p>
            <a:pPr marR="0" lvl="0" fontAlgn="auto">
              <a:lnSpc>
                <a:spcPct val="100000"/>
              </a:lnSpc>
              <a:spcBef>
                <a:spcPts val="0"/>
              </a:spcBef>
              <a:spcAft>
                <a:spcPts val="0"/>
              </a:spcAft>
              <a:buClrTx/>
              <a:buSzTx/>
              <a:tabLst/>
            </a:pPr>
            <a:r>
              <a:rPr lang="de-DE"/>
              <a:t>Um ein Hintergrundbild einzufügen, markieren Sie bitte den Platzhalter und wählen entweder ein Bild aus der </a:t>
            </a:r>
            <a:r>
              <a:rPr lang="de-DE" err="1"/>
              <a:t>empower</a:t>
            </a:r>
            <a:r>
              <a:rPr lang="de-DE"/>
              <a:t> Bibliothek oder über den Reiter „Einfügen“, „Bilder“ aus. </a:t>
            </a:r>
          </a:p>
        </p:txBody>
      </p:sp>
      <p:sp>
        <p:nvSpPr>
          <p:cNvPr id="31" name="Textplatzhalter 2">
            <a:extLst>
              <a:ext uri="{FF2B5EF4-FFF2-40B4-BE49-F238E27FC236}">
                <a16:creationId xmlns:a16="http://schemas.microsoft.com/office/drawing/2014/main" id="{2EAC7641-4AD3-4BC3-994B-F6617167D29D}"/>
              </a:ext>
            </a:extLst>
          </p:cNvPr>
          <p:cNvSpPr>
            <a:spLocks noGrp="1" noChangeAspect="1"/>
          </p:cNvSpPr>
          <p:nvPr>
            <p:ph type="body" sz="quarter" idx="15" hasCustomPrompt="1"/>
          </p:nvPr>
        </p:nvSpPr>
        <p:spPr bwMode="gray">
          <a:xfrm>
            <a:off x="149" y="2075688"/>
            <a:ext cx="9554060" cy="4782312"/>
          </a:xfrm>
          <a:custGeom>
            <a:avLst/>
            <a:gdLst>
              <a:gd name="connsiteX0" fmla="*/ 8804033 w 9554060"/>
              <a:gd name="connsiteY0" fmla="*/ 1364 h 4782312"/>
              <a:gd name="connsiteX1" fmla="*/ 9554060 w 9554060"/>
              <a:gd name="connsiteY1" fmla="*/ 699815 h 4782312"/>
              <a:gd name="connsiteX2" fmla="*/ 9554060 w 9554060"/>
              <a:gd name="connsiteY2" fmla="*/ 4782312 h 4782312"/>
              <a:gd name="connsiteX3" fmla="*/ 0 w 9554060"/>
              <a:gd name="connsiteY3" fmla="*/ 4782312 h 4782312"/>
              <a:gd name="connsiteX4" fmla="*/ 0 w 9554060"/>
              <a:gd name="connsiteY4" fmla="*/ 1724029 h 4782312"/>
              <a:gd name="connsiteX5" fmla="*/ 8643805 w 9554060"/>
              <a:gd name="connsiteY5" fmla="*/ 19551 h 4782312"/>
              <a:gd name="connsiteX6" fmla="*/ 8804033 w 9554060"/>
              <a:gd name="connsiteY6" fmla="*/ 1364 h 4782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54060" h="4782312">
                <a:moveTo>
                  <a:pt x="8804033" y="1364"/>
                </a:moveTo>
                <a:cubicBezTo>
                  <a:pt x="9554060" y="-35818"/>
                  <a:pt x="9554060" y="699815"/>
                  <a:pt x="9554060" y="699815"/>
                </a:cubicBezTo>
                <a:lnTo>
                  <a:pt x="9554060" y="4782312"/>
                </a:lnTo>
                <a:lnTo>
                  <a:pt x="0" y="4782312"/>
                </a:lnTo>
                <a:lnTo>
                  <a:pt x="0" y="1724029"/>
                </a:lnTo>
                <a:lnTo>
                  <a:pt x="8643805" y="19551"/>
                </a:lnTo>
                <a:cubicBezTo>
                  <a:pt x="8700696" y="9756"/>
                  <a:pt x="8754031" y="3842"/>
                  <a:pt x="8804033" y="1364"/>
                </a:cubicBezTo>
                <a:close/>
              </a:path>
            </a:pathLst>
          </a:custGeom>
          <a:solidFill>
            <a:schemeClr val="tx2">
              <a:alpha val="89000"/>
            </a:schemeClr>
          </a:solidFill>
        </p:spPr>
        <p:txBody>
          <a:bodyPr wrap="square" lIns="630000" tIns="2127600" rIns="648000">
            <a:noAutofit/>
          </a:bodyPr>
          <a:lstStyle>
            <a:lvl1pPr marL="0" indent="0">
              <a:spcBef>
                <a:spcPts val="0"/>
              </a:spcBef>
              <a:buFont typeface="Arial" panose="020B0604020202020204" pitchFamily="34" charset="0"/>
              <a:buNone/>
              <a:defRPr sz="3000" b="1">
                <a:solidFill>
                  <a:schemeClr val="bg1"/>
                </a:solidFill>
              </a:defRPr>
            </a:lvl1pPr>
            <a:lvl2pPr marL="0" indent="0">
              <a:spcBef>
                <a:spcPts val="0"/>
              </a:spcBef>
              <a:buFont typeface="Arial" panose="020B0604020202020204" pitchFamily="34" charset="0"/>
              <a:buNone/>
              <a:defRPr sz="3000" b="1">
                <a:solidFill>
                  <a:schemeClr val="bg1"/>
                </a:solidFill>
              </a:defRPr>
            </a:lvl2pPr>
            <a:lvl3pPr marL="0" indent="0">
              <a:spcBef>
                <a:spcPts val="0"/>
              </a:spcBef>
              <a:buNone/>
              <a:defRPr sz="3000" b="1">
                <a:solidFill>
                  <a:schemeClr val="bg1"/>
                </a:solidFill>
              </a:defRPr>
            </a:lvl3pPr>
            <a:lvl4pPr marL="0" indent="0">
              <a:spcBef>
                <a:spcPts val="0"/>
              </a:spcBef>
              <a:buNone/>
              <a:defRPr sz="3000" b="1">
                <a:solidFill>
                  <a:schemeClr val="bg1"/>
                </a:solidFill>
              </a:defRPr>
            </a:lvl4pPr>
            <a:lvl5pPr marL="0" indent="0">
              <a:spcBef>
                <a:spcPts val="0"/>
              </a:spcBef>
              <a:buNone/>
              <a:defRPr sz="3000" b="1">
                <a:solidFill>
                  <a:schemeClr val="bg1"/>
                </a:solidFill>
              </a:defRPr>
            </a:lvl5pPr>
          </a:lstStyle>
          <a:p>
            <a:pPr lvl="0"/>
            <a:r>
              <a:rPr lang="de-DE"/>
              <a:t>Titelfolie (max. 2-zeilig)</a:t>
            </a:r>
          </a:p>
        </p:txBody>
      </p:sp>
      <p:pic>
        <p:nvPicPr>
          <p:cNvPr id="17" name="Grafik 10">
            <a:extLst>
              <a:ext uri="{FF2B5EF4-FFF2-40B4-BE49-F238E27FC236}">
                <a16:creationId xmlns:a16="http://schemas.microsoft.com/office/drawing/2014/main" id="{412AF270-B816-43E1-8A6B-9C7CB566774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9875843" y="5986257"/>
            <a:ext cx="2016000" cy="608729"/>
          </a:xfrm>
          <a:prstGeom prst="rect">
            <a:avLst/>
          </a:prstGeom>
        </p:spPr>
      </p:pic>
      <p:sp>
        <p:nvSpPr>
          <p:cNvPr id="9" name="Textplatzhalter 2">
            <a:extLst>
              <a:ext uri="{FF2B5EF4-FFF2-40B4-BE49-F238E27FC236}">
                <a16:creationId xmlns:a16="http://schemas.microsoft.com/office/drawing/2014/main" id="{0252936D-CF3B-429A-803F-307FC170318B}"/>
              </a:ext>
            </a:extLst>
          </p:cNvPr>
          <p:cNvSpPr>
            <a:spLocks noGrp="1"/>
          </p:cNvSpPr>
          <p:nvPr>
            <p:ph type="body" sz="quarter" idx="18"/>
          </p:nvPr>
        </p:nvSpPr>
        <p:spPr bwMode="gray">
          <a:xfrm>
            <a:off x="630000" y="6329316"/>
            <a:ext cx="1789200" cy="198000"/>
          </a:xfrm>
          <a:blipFill>
            <a:blip r:embed="rId3" cstate="print">
              <a:extLst>
                <a:ext uri="{28A0092B-C50C-407E-A947-70E740481C1C}">
                  <a14:useLocalDpi xmlns:a14="http://schemas.microsoft.com/office/drawing/2010/main"/>
                </a:ext>
              </a:extLst>
            </a:blip>
            <a:stretch>
              <a:fillRect/>
            </a:stretch>
          </a:blipFill>
        </p:spPr>
        <p:txBody>
          <a:bodyPr/>
          <a:lstStyle>
            <a:lvl1pPr>
              <a:defRPr sz="100">
                <a:noFill/>
              </a:defRPr>
            </a:lvl1pPr>
          </a:lstStyle>
          <a:p>
            <a:pPr lvl="0"/>
            <a:r>
              <a:rPr lang="de-DE"/>
              <a:t>Mastertextformat bearbeiten</a:t>
            </a:r>
          </a:p>
        </p:txBody>
      </p:sp>
      <p:sp>
        <p:nvSpPr>
          <p:cNvPr id="10" name="Textplatzhalter 3">
            <a:extLst>
              <a:ext uri="{FF2B5EF4-FFF2-40B4-BE49-F238E27FC236}">
                <a16:creationId xmlns:a16="http://schemas.microsoft.com/office/drawing/2014/main" id="{32AEB4EB-7B5D-4662-921E-F9C79FD76A24}"/>
              </a:ext>
            </a:extLst>
          </p:cNvPr>
          <p:cNvSpPr>
            <a:spLocks noGrp="1"/>
          </p:cNvSpPr>
          <p:nvPr>
            <p:ph type="body" sz="quarter" idx="19" hasCustomPrompt="1"/>
          </p:nvPr>
        </p:nvSpPr>
        <p:spPr bwMode="gray">
          <a:xfrm>
            <a:off x="630000" y="3781198"/>
            <a:ext cx="8280000" cy="246221"/>
          </a:xfrm>
        </p:spPr>
        <p:txBody>
          <a:bodyPr anchor="b" anchorCtr="0">
            <a:spAutoFit/>
          </a:bodyPr>
          <a:lstStyle>
            <a:lvl1pPr>
              <a:spcBef>
                <a:spcPts val="0"/>
              </a:spcBef>
              <a:defRPr sz="1600" b="1">
                <a:solidFill>
                  <a:schemeClr val="accent2"/>
                </a:solidFill>
              </a:defRPr>
            </a:lvl1pPr>
          </a:lstStyle>
          <a:p>
            <a:pPr lvl="0"/>
            <a:r>
              <a:rPr lang="de-DE"/>
              <a:t>Name Kunde / Veranstaltung</a:t>
            </a:r>
          </a:p>
        </p:txBody>
      </p:sp>
      <p:sp>
        <p:nvSpPr>
          <p:cNvPr id="11" name="Textplatzhalter 3">
            <a:extLst>
              <a:ext uri="{FF2B5EF4-FFF2-40B4-BE49-F238E27FC236}">
                <a16:creationId xmlns:a16="http://schemas.microsoft.com/office/drawing/2014/main" id="{4A2CC0C5-103F-4DC2-9434-B5F3E4480F29}"/>
              </a:ext>
            </a:extLst>
          </p:cNvPr>
          <p:cNvSpPr>
            <a:spLocks noGrp="1"/>
          </p:cNvSpPr>
          <p:nvPr>
            <p:ph type="body" sz="quarter" idx="20" hasCustomPrompt="1"/>
          </p:nvPr>
        </p:nvSpPr>
        <p:spPr bwMode="gray">
          <a:xfrm>
            <a:off x="630000" y="5302154"/>
            <a:ext cx="8280000" cy="246221"/>
          </a:xfrm>
        </p:spPr>
        <p:txBody>
          <a:bodyPr anchor="b" anchorCtr="0">
            <a:spAutoFit/>
          </a:bodyPr>
          <a:lstStyle>
            <a:lvl1pPr>
              <a:spcBef>
                <a:spcPts val="0"/>
              </a:spcBef>
              <a:defRPr sz="1600" b="0">
                <a:solidFill>
                  <a:schemeClr val="bg1"/>
                </a:solidFill>
              </a:defRPr>
            </a:lvl1pPr>
          </a:lstStyle>
          <a:p>
            <a:pPr lvl="0"/>
            <a:r>
              <a:rPr lang="de-DE"/>
              <a:t>Ort, Datum – Referent Vorname Name</a:t>
            </a:r>
          </a:p>
        </p:txBody>
      </p:sp>
      <p:sp>
        <p:nvSpPr>
          <p:cNvPr id="12" name="Textplatzhalter 3">
            <a:extLst>
              <a:ext uri="{FF2B5EF4-FFF2-40B4-BE49-F238E27FC236}">
                <a16:creationId xmlns:a16="http://schemas.microsoft.com/office/drawing/2014/main" id="{F33DC02B-A91D-47BF-AF90-CB743C92FCD8}"/>
              </a:ext>
            </a:extLst>
          </p:cNvPr>
          <p:cNvSpPr>
            <a:spLocks noGrp="1"/>
          </p:cNvSpPr>
          <p:nvPr>
            <p:ph type="body" sz="quarter" idx="21" hasCustomPrompt="1"/>
          </p:nvPr>
        </p:nvSpPr>
        <p:spPr bwMode="gray">
          <a:xfrm>
            <a:off x="630000" y="5659035"/>
            <a:ext cx="8280000" cy="184666"/>
          </a:xfrm>
        </p:spPr>
        <p:txBody>
          <a:bodyPr>
            <a:spAutoFit/>
          </a:bodyPr>
          <a:lstStyle>
            <a:lvl1pPr>
              <a:spcBef>
                <a:spcPts val="0"/>
              </a:spcBef>
              <a:defRPr sz="1200" b="0">
                <a:solidFill>
                  <a:schemeClr val="bg1"/>
                </a:solidFill>
              </a:defRPr>
            </a:lvl1pPr>
          </a:lstStyle>
          <a:p>
            <a:pPr lvl="0"/>
            <a:r>
              <a:rPr lang="de-DE"/>
              <a:t>Vertraulichkeitshinweis durch Klicken bearbeiten</a:t>
            </a:r>
          </a:p>
        </p:txBody>
      </p:sp>
    </p:spTree>
    <p:extLst>
      <p:ext uri="{BB962C8B-B14F-4D97-AF65-F5344CB8AC3E}">
        <p14:creationId xmlns:p14="http://schemas.microsoft.com/office/powerpoint/2010/main" val="1889279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Titelfolie mit Bild unten und positiv Logo">
    <p:spTree>
      <p:nvGrpSpPr>
        <p:cNvPr id="1" name=""/>
        <p:cNvGrpSpPr/>
        <p:nvPr/>
      </p:nvGrpSpPr>
      <p:grpSpPr>
        <a:xfrm>
          <a:off x="0" y="0"/>
          <a:ext cx="0" cy="0"/>
          <a:chOff x="0" y="0"/>
          <a:chExt cx="0" cy="0"/>
        </a:xfrm>
      </p:grpSpPr>
      <p:sp>
        <p:nvSpPr>
          <p:cNvPr id="15" name="Bildplatzhalter 39">
            <a:extLst>
              <a:ext uri="{FF2B5EF4-FFF2-40B4-BE49-F238E27FC236}">
                <a16:creationId xmlns:a16="http://schemas.microsoft.com/office/drawing/2014/main" id="{659E978D-933F-488C-82EE-39A95991D2B8}"/>
              </a:ext>
            </a:extLst>
          </p:cNvPr>
          <p:cNvSpPr>
            <a:spLocks noGrp="1" noChangeAspect="1"/>
          </p:cNvSpPr>
          <p:nvPr>
            <p:ph type="pic" sz="quarter" idx="14" hasCustomPrompt="1"/>
          </p:nvPr>
        </p:nvSpPr>
        <p:spPr bwMode="gray">
          <a:xfrm>
            <a:off x="2" y="2348738"/>
            <a:ext cx="11575073" cy="4509262"/>
          </a:xfrm>
          <a:custGeom>
            <a:avLst/>
            <a:gdLst>
              <a:gd name="connsiteX0" fmla="*/ 10825046 w 11575073"/>
              <a:gd name="connsiteY0" fmla="*/ 1364 h 4509262"/>
              <a:gd name="connsiteX1" fmla="*/ 11575073 w 11575073"/>
              <a:gd name="connsiteY1" fmla="*/ 699815 h 4509262"/>
              <a:gd name="connsiteX2" fmla="*/ 11575073 w 11575073"/>
              <a:gd name="connsiteY2" fmla="*/ 4509262 h 4509262"/>
              <a:gd name="connsiteX3" fmla="*/ 0 w 11575073"/>
              <a:gd name="connsiteY3" fmla="*/ 4509262 h 4509262"/>
              <a:gd name="connsiteX4" fmla="*/ 0 w 11575073"/>
              <a:gd name="connsiteY4" fmla="*/ 2122554 h 4509262"/>
              <a:gd name="connsiteX5" fmla="*/ 10664818 w 11575073"/>
              <a:gd name="connsiteY5" fmla="*/ 19551 h 4509262"/>
              <a:gd name="connsiteX6" fmla="*/ 10825046 w 11575073"/>
              <a:gd name="connsiteY6" fmla="*/ 1364 h 4509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75073" h="4509262">
                <a:moveTo>
                  <a:pt x="10825046" y="1364"/>
                </a:moveTo>
                <a:cubicBezTo>
                  <a:pt x="11575073" y="-35818"/>
                  <a:pt x="11575073" y="699815"/>
                  <a:pt x="11575073" y="699815"/>
                </a:cubicBezTo>
                <a:lnTo>
                  <a:pt x="11575073" y="4509262"/>
                </a:lnTo>
                <a:lnTo>
                  <a:pt x="0" y="4509262"/>
                </a:lnTo>
                <a:lnTo>
                  <a:pt x="0" y="2122554"/>
                </a:lnTo>
                <a:lnTo>
                  <a:pt x="10664818" y="19551"/>
                </a:lnTo>
                <a:cubicBezTo>
                  <a:pt x="10721709" y="9756"/>
                  <a:pt x="10775044" y="3843"/>
                  <a:pt x="10825046" y="1364"/>
                </a:cubicBezTo>
                <a:close/>
              </a:path>
            </a:pathLst>
          </a:custGeom>
          <a:pattFill prst="pct20">
            <a:fgClr>
              <a:schemeClr val="accent3"/>
            </a:fgClr>
            <a:bgClr>
              <a:schemeClr val="bg1"/>
            </a:bgClr>
          </a:pattFill>
        </p:spPr>
        <p:txBody>
          <a:bodyPr vert="horz" wrap="square" lIns="2520000" tIns="72000" rIns="72000" bIns="72000" rtlCol="0" anchor="b">
            <a:noAutofit/>
          </a:bodyPr>
          <a:lstStyle>
            <a:lvl1pPr>
              <a:defRPr lang="de-DE" sz="1600" baseline="0" dirty="0">
                <a:solidFill>
                  <a:schemeClr val="tx1"/>
                </a:solidFill>
              </a:defRPr>
            </a:lvl1pPr>
          </a:lstStyle>
          <a:p>
            <a:pPr marR="0" lvl="0" fontAlgn="auto">
              <a:lnSpc>
                <a:spcPct val="100000"/>
              </a:lnSpc>
              <a:spcBef>
                <a:spcPts val="0"/>
              </a:spcBef>
              <a:spcAft>
                <a:spcPts val="0"/>
              </a:spcAft>
              <a:buClrTx/>
              <a:buSzTx/>
              <a:tabLst/>
            </a:pPr>
            <a:r>
              <a:rPr lang="de-DE"/>
              <a:t>Um ein Hintergrundbild einzufügen, markieren Sie bitte den Platzhalter und wählen entweder ein Bild aus der </a:t>
            </a:r>
            <a:r>
              <a:rPr lang="de-DE" err="1"/>
              <a:t>empower</a:t>
            </a:r>
            <a:r>
              <a:rPr lang="de-DE"/>
              <a:t> Bibliothek oder über den Reiter „Einfügen“, „Bilder“ aus. Dieses Layout steht in zwei Varianten zur Verfügung: mit positivem und negativem Partnerlogo. Bitte wählen Sie das Layout aus, welches den bestmöglichen Kontrast zwischen Bild und Logo erzeugt.</a:t>
            </a:r>
          </a:p>
        </p:txBody>
      </p:sp>
      <p:sp>
        <p:nvSpPr>
          <p:cNvPr id="16" name="Textplatzhalter 2">
            <a:extLst>
              <a:ext uri="{FF2B5EF4-FFF2-40B4-BE49-F238E27FC236}">
                <a16:creationId xmlns:a16="http://schemas.microsoft.com/office/drawing/2014/main" id="{F4FDA422-946E-4E94-9A2A-DF3A8167EDE2}"/>
              </a:ext>
            </a:extLst>
          </p:cNvPr>
          <p:cNvSpPr>
            <a:spLocks noGrp="1"/>
          </p:cNvSpPr>
          <p:nvPr>
            <p:ph type="body" sz="quarter" idx="15" hasCustomPrompt="1"/>
          </p:nvPr>
        </p:nvSpPr>
        <p:spPr bwMode="gray">
          <a:xfrm>
            <a:off x="630000" y="1327148"/>
            <a:ext cx="10080000" cy="923330"/>
          </a:xfrm>
          <a:prstGeom prst="rect">
            <a:avLst/>
          </a:prstGeom>
          <a:noFill/>
        </p:spPr>
        <p:txBody>
          <a:bodyPr wrap="square" lIns="0" tIns="0">
            <a:noAutofit/>
          </a:bodyPr>
          <a:lstStyle>
            <a:lvl1pPr marL="0" indent="0">
              <a:spcBef>
                <a:spcPts val="0"/>
              </a:spcBef>
              <a:buFont typeface="Arial" panose="020B0604020202020204" pitchFamily="34" charset="0"/>
              <a:buNone/>
              <a:defRPr sz="3000" b="1">
                <a:solidFill>
                  <a:schemeClr val="accent1"/>
                </a:solidFill>
              </a:defRPr>
            </a:lvl1pPr>
            <a:lvl2pPr marL="0" indent="0">
              <a:spcBef>
                <a:spcPts val="0"/>
              </a:spcBef>
              <a:buFont typeface="Arial" panose="020B0604020202020204" pitchFamily="34" charset="0"/>
              <a:buNone/>
              <a:defRPr sz="3000" b="1">
                <a:solidFill>
                  <a:schemeClr val="bg1"/>
                </a:solidFill>
              </a:defRPr>
            </a:lvl2pPr>
            <a:lvl3pPr marL="0" indent="0">
              <a:spcBef>
                <a:spcPts val="0"/>
              </a:spcBef>
              <a:buNone/>
              <a:defRPr sz="3000" b="1">
                <a:solidFill>
                  <a:schemeClr val="bg1"/>
                </a:solidFill>
              </a:defRPr>
            </a:lvl3pPr>
            <a:lvl4pPr marL="0" indent="0">
              <a:spcBef>
                <a:spcPts val="0"/>
              </a:spcBef>
              <a:buNone/>
              <a:defRPr sz="3000" b="1">
                <a:solidFill>
                  <a:schemeClr val="bg1"/>
                </a:solidFill>
              </a:defRPr>
            </a:lvl4pPr>
            <a:lvl5pPr marL="0" indent="0">
              <a:spcBef>
                <a:spcPts val="0"/>
              </a:spcBef>
              <a:buNone/>
              <a:defRPr sz="3000" b="1">
                <a:solidFill>
                  <a:schemeClr val="bg1"/>
                </a:solidFill>
              </a:defRPr>
            </a:lvl5pPr>
          </a:lstStyle>
          <a:p>
            <a:pPr lvl="0"/>
            <a:r>
              <a:rPr lang="de-DE"/>
              <a:t>Titelfolie (max. 2-zeilig)</a:t>
            </a:r>
          </a:p>
        </p:txBody>
      </p:sp>
      <p:pic>
        <p:nvPicPr>
          <p:cNvPr id="23" name="Grafik 10">
            <a:extLst>
              <a:ext uri="{FF2B5EF4-FFF2-40B4-BE49-F238E27FC236}">
                <a16:creationId xmlns:a16="http://schemas.microsoft.com/office/drawing/2014/main" id="{2F90E044-3115-466D-9C29-E40A066B546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9563898" y="409422"/>
            <a:ext cx="2016000" cy="608729"/>
          </a:xfrm>
          <a:prstGeom prst="rect">
            <a:avLst/>
          </a:prstGeom>
        </p:spPr>
      </p:pic>
      <p:sp>
        <p:nvSpPr>
          <p:cNvPr id="9" name="Textplatzhalter 2">
            <a:extLst>
              <a:ext uri="{FF2B5EF4-FFF2-40B4-BE49-F238E27FC236}">
                <a16:creationId xmlns:a16="http://schemas.microsoft.com/office/drawing/2014/main" id="{9B4F194E-6CE7-4A85-AE3A-24CCC4D5B3F8}"/>
              </a:ext>
            </a:extLst>
          </p:cNvPr>
          <p:cNvSpPr>
            <a:spLocks noGrp="1"/>
          </p:cNvSpPr>
          <p:nvPr>
            <p:ph type="body" sz="quarter" idx="18"/>
          </p:nvPr>
        </p:nvSpPr>
        <p:spPr bwMode="gray">
          <a:xfrm>
            <a:off x="630000" y="6329316"/>
            <a:ext cx="1789200" cy="198000"/>
          </a:xfrm>
          <a:blipFill>
            <a:blip r:embed="rId3" cstate="print">
              <a:extLst>
                <a:ext uri="{28A0092B-C50C-407E-A947-70E740481C1C}">
                  <a14:useLocalDpi xmlns:a14="http://schemas.microsoft.com/office/drawing/2010/main"/>
                </a:ext>
              </a:extLst>
            </a:blip>
            <a:stretch>
              <a:fillRect/>
            </a:stretch>
          </a:blipFill>
        </p:spPr>
        <p:txBody>
          <a:bodyPr/>
          <a:lstStyle>
            <a:lvl1pPr>
              <a:defRPr sz="100">
                <a:noFill/>
              </a:defRPr>
            </a:lvl1pPr>
          </a:lstStyle>
          <a:p>
            <a:pPr lvl="0"/>
            <a:r>
              <a:rPr lang="de-DE"/>
              <a:t>Mastertextformat bearbeiten</a:t>
            </a:r>
          </a:p>
        </p:txBody>
      </p:sp>
      <p:sp>
        <p:nvSpPr>
          <p:cNvPr id="10" name="Textplatzhalter 3">
            <a:extLst>
              <a:ext uri="{FF2B5EF4-FFF2-40B4-BE49-F238E27FC236}">
                <a16:creationId xmlns:a16="http://schemas.microsoft.com/office/drawing/2014/main" id="{946DF9A9-BEA9-4792-80DC-AA1D7320E66C}"/>
              </a:ext>
            </a:extLst>
          </p:cNvPr>
          <p:cNvSpPr>
            <a:spLocks noGrp="1"/>
          </p:cNvSpPr>
          <p:nvPr>
            <p:ph type="body" sz="quarter" idx="19" hasCustomPrompt="1"/>
          </p:nvPr>
        </p:nvSpPr>
        <p:spPr bwMode="gray">
          <a:xfrm>
            <a:off x="630000" y="951417"/>
            <a:ext cx="7560000" cy="246221"/>
          </a:xfrm>
        </p:spPr>
        <p:txBody>
          <a:bodyPr anchor="b" anchorCtr="0">
            <a:spAutoFit/>
          </a:bodyPr>
          <a:lstStyle>
            <a:lvl1pPr>
              <a:spcBef>
                <a:spcPts val="0"/>
              </a:spcBef>
              <a:defRPr sz="1600" b="1">
                <a:solidFill>
                  <a:schemeClr val="accent2"/>
                </a:solidFill>
              </a:defRPr>
            </a:lvl1pPr>
          </a:lstStyle>
          <a:p>
            <a:pPr lvl="0"/>
            <a:r>
              <a:rPr lang="de-DE"/>
              <a:t>Name Kunde / Veranstaltung</a:t>
            </a:r>
          </a:p>
        </p:txBody>
      </p:sp>
      <p:sp>
        <p:nvSpPr>
          <p:cNvPr id="11" name="Textplatzhalter 3">
            <a:extLst>
              <a:ext uri="{FF2B5EF4-FFF2-40B4-BE49-F238E27FC236}">
                <a16:creationId xmlns:a16="http://schemas.microsoft.com/office/drawing/2014/main" id="{270AD210-D093-44F8-B337-CD00E42A1373}"/>
              </a:ext>
            </a:extLst>
          </p:cNvPr>
          <p:cNvSpPr>
            <a:spLocks noGrp="1"/>
          </p:cNvSpPr>
          <p:nvPr>
            <p:ph type="body" sz="quarter" idx="20" hasCustomPrompt="1"/>
          </p:nvPr>
        </p:nvSpPr>
        <p:spPr bwMode="gray">
          <a:xfrm>
            <a:off x="630000" y="2453983"/>
            <a:ext cx="7560000" cy="246221"/>
          </a:xfrm>
        </p:spPr>
        <p:txBody>
          <a:bodyPr anchor="b" anchorCtr="0">
            <a:spAutoFit/>
          </a:bodyPr>
          <a:lstStyle>
            <a:lvl1pPr>
              <a:spcBef>
                <a:spcPts val="0"/>
              </a:spcBef>
              <a:defRPr sz="1600" b="0">
                <a:solidFill>
                  <a:schemeClr val="tx2"/>
                </a:solidFill>
              </a:defRPr>
            </a:lvl1pPr>
          </a:lstStyle>
          <a:p>
            <a:pPr lvl="0"/>
            <a:r>
              <a:rPr lang="de-DE"/>
              <a:t>Ort, Datum – Referent Vorname Name</a:t>
            </a:r>
          </a:p>
        </p:txBody>
      </p:sp>
      <p:sp>
        <p:nvSpPr>
          <p:cNvPr id="12" name="Textplatzhalter 3">
            <a:extLst>
              <a:ext uri="{FF2B5EF4-FFF2-40B4-BE49-F238E27FC236}">
                <a16:creationId xmlns:a16="http://schemas.microsoft.com/office/drawing/2014/main" id="{8D5A066C-AA8A-4AD7-B1D2-497F5E3D364F}"/>
              </a:ext>
            </a:extLst>
          </p:cNvPr>
          <p:cNvSpPr>
            <a:spLocks noGrp="1"/>
          </p:cNvSpPr>
          <p:nvPr>
            <p:ph type="body" sz="quarter" idx="21" hasCustomPrompt="1"/>
          </p:nvPr>
        </p:nvSpPr>
        <p:spPr bwMode="gray">
          <a:xfrm>
            <a:off x="630000" y="2816643"/>
            <a:ext cx="6264000" cy="184666"/>
          </a:xfrm>
        </p:spPr>
        <p:txBody>
          <a:bodyPr>
            <a:spAutoFit/>
          </a:bodyPr>
          <a:lstStyle>
            <a:lvl1pPr>
              <a:spcBef>
                <a:spcPts val="0"/>
              </a:spcBef>
              <a:defRPr sz="1200" b="0">
                <a:solidFill>
                  <a:schemeClr val="tx2"/>
                </a:solidFill>
              </a:defRPr>
            </a:lvl1pPr>
          </a:lstStyle>
          <a:p>
            <a:pPr lvl="0"/>
            <a:r>
              <a:rPr lang="de-DE"/>
              <a:t>Vertraulichkeitshinweis durch Klicken bearbeiten</a:t>
            </a:r>
          </a:p>
        </p:txBody>
      </p:sp>
    </p:spTree>
    <p:extLst>
      <p:ext uri="{BB962C8B-B14F-4D97-AF65-F5344CB8AC3E}">
        <p14:creationId xmlns:p14="http://schemas.microsoft.com/office/powerpoint/2010/main" val="4168263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Titelfolie mit Bild unten und negativ Logo">
    <p:spTree>
      <p:nvGrpSpPr>
        <p:cNvPr id="1" name=""/>
        <p:cNvGrpSpPr/>
        <p:nvPr/>
      </p:nvGrpSpPr>
      <p:grpSpPr>
        <a:xfrm>
          <a:off x="0" y="0"/>
          <a:ext cx="0" cy="0"/>
          <a:chOff x="0" y="0"/>
          <a:chExt cx="0" cy="0"/>
        </a:xfrm>
      </p:grpSpPr>
      <p:sp>
        <p:nvSpPr>
          <p:cNvPr id="15" name="Bildplatzhalter 39">
            <a:extLst>
              <a:ext uri="{FF2B5EF4-FFF2-40B4-BE49-F238E27FC236}">
                <a16:creationId xmlns:a16="http://schemas.microsoft.com/office/drawing/2014/main" id="{659E978D-933F-488C-82EE-39A95991D2B8}"/>
              </a:ext>
            </a:extLst>
          </p:cNvPr>
          <p:cNvSpPr>
            <a:spLocks noGrp="1" noChangeAspect="1"/>
          </p:cNvSpPr>
          <p:nvPr>
            <p:ph type="pic" sz="quarter" idx="14" hasCustomPrompt="1"/>
          </p:nvPr>
        </p:nvSpPr>
        <p:spPr bwMode="gray">
          <a:xfrm>
            <a:off x="2" y="2348738"/>
            <a:ext cx="11575073" cy="4509262"/>
          </a:xfrm>
          <a:custGeom>
            <a:avLst/>
            <a:gdLst>
              <a:gd name="connsiteX0" fmla="*/ 10825046 w 11575073"/>
              <a:gd name="connsiteY0" fmla="*/ 1364 h 4509262"/>
              <a:gd name="connsiteX1" fmla="*/ 11575073 w 11575073"/>
              <a:gd name="connsiteY1" fmla="*/ 699815 h 4509262"/>
              <a:gd name="connsiteX2" fmla="*/ 11575073 w 11575073"/>
              <a:gd name="connsiteY2" fmla="*/ 4509262 h 4509262"/>
              <a:gd name="connsiteX3" fmla="*/ 0 w 11575073"/>
              <a:gd name="connsiteY3" fmla="*/ 4509262 h 4509262"/>
              <a:gd name="connsiteX4" fmla="*/ 0 w 11575073"/>
              <a:gd name="connsiteY4" fmla="*/ 2122554 h 4509262"/>
              <a:gd name="connsiteX5" fmla="*/ 10664818 w 11575073"/>
              <a:gd name="connsiteY5" fmla="*/ 19551 h 4509262"/>
              <a:gd name="connsiteX6" fmla="*/ 10825046 w 11575073"/>
              <a:gd name="connsiteY6" fmla="*/ 1364 h 4509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75073" h="4509262">
                <a:moveTo>
                  <a:pt x="10825046" y="1364"/>
                </a:moveTo>
                <a:cubicBezTo>
                  <a:pt x="11575073" y="-35818"/>
                  <a:pt x="11575073" y="699815"/>
                  <a:pt x="11575073" y="699815"/>
                </a:cubicBezTo>
                <a:lnTo>
                  <a:pt x="11575073" y="4509262"/>
                </a:lnTo>
                <a:lnTo>
                  <a:pt x="0" y="4509262"/>
                </a:lnTo>
                <a:lnTo>
                  <a:pt x="0" y="2122554"/>
                </a:lnTo>
                <a:lnTo>
                  <a:pt x="10664818" y="19551"/>
                </a:lnTo>
                <a:cubicBezTo>
                  <a:pt x="10721709" y="9756"/>
                  <a:pt x="10775044" y="3843"/>
                  <a:pt x="10825046" y="1364"/>
                </a:cubicBezTo>
                <a:close/>
              </a:path>
            </a:pathLst>
          </a:custGeom>
          <a:pattFill prst="pct20">
            <a:fgClr>
              <a:schemeClr val="accent3"/>
            </a:fgClr>
            <a:bgClr>
              <a:schemeClr val="bg1"/>
            </a:bgClr>
          </a:pattFill>
        </p:spPr>
        <p:txBody>
          <a:bodyPr vert="horz" wrap="square" lIns="2520000" tIns="72000" rIns="72000" bIns="72000" rtlCol="0" anchor="b">
            <a:noAutofit/>
          </a:bodyPr>
          <a:lstStyle>
            <a:lvl1pPr>
              <a:defRPr lang="de-DE" sz="1600" baseline="0" dirty="0">
                <a:solidFill>
                  <a:schemeClr val="tx1"/>
                </a:solidFill>
              </a:defRPr>
            </a:lvl1pPr>
          </a:lstStyle>
          <a:p>
            <a:pPr marR="0" lvl="0" fontAlgn="auto">
              <a:lnSpc>
                <a:spcPct val="100000"/>
              </a:lnSpc>
              <a:spcBef>
                <a:spcPts val="0"/>
              </a:spcBef>
              <a:spcAft>
                <a:spcPts val="0"/>
              </a:spcAft>
              <a:buClrTx/>
              <a:buSzTx/>
              <a:tabLst/>
            </a:pPr>
            <a:r>
              <a:rPr lang="de-DE"/>
              <a:t>Um ein Hintergrundbild einzufügen, markieren Sie bitte den Platzhalter und wählen entweder ein Bild aus der </a:t>
            </a:r>
            <a:r>
              <a:rPr lang="de-DE" err="1"/>
              <a:t>empower</a:t>
            </a:r>
            <a:r>
              <a:rPr lang="de-DE"/>
              <a:t> Bibliothek oder über den Reiter „Einfügen“, „Bilder“ aus. Dieses Layout steht in zwei Varianten zur Verfügung: mit positivem und negativem Partnerlogo. Bitte wählen Sie das Layout aus, welches den bestmöglichen Kontrast zwischen Bild und Logo erzeugt.</a:t>
            </a:r>
          </a:p>
        </p:txBody>
      </p:sp>
      <p:pic>
        <p:nvPicPr>
          <p:cNvPr id="23" name="Grafik 10">
            <a:extLst>
              <a:ext uri="{FF2B5EF4-FFF2-40B4-BE49-F238E27FC236}">
                <a16:creationId xmlns:a16="http://schemas.microsoft.com/office/drawing/2014/main" id="{2F90E044-3115-466D-9C29-E40A066B546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9563898" y="409422"/>
            <a:ext cx="2016000" cy="608729"/>
          </a:xfrm>
          <a:prstGeom prst="rect">
            <a:avLst/>
          </a:prstGeom>
        </p:spPr>
      </p:pic>
      <p:sp>
        <p:nvSpPr>
          <p:cNvPr id="9" name="Textplatzhalter 2">
            <a:extLst>
              <a:ext uri="{FF2B5EF4-FFF2-40B4-BE49-F238E27FC236}">
                <a16:creationId xmlns:a16="http://schemas.microsoft.com/office/drawing/2014/main" id="{4EC0FAF0-A1D6-4E9D-BCC5-5FE9781849D2}"/>
              </a:ext>
            </a:extLst>
          </p:cNvPr>
          <p:cNvSpPr>
            <a:spLocks noGrp="1"/>
          </p:cNvSpPr>
          <p:nvPr>
            <p:ph type="body" sz="quarter" idx="18"/>
          </p:nvPr>
        </p:nvSpPr>
        <p:spPr bwMode="gray">
          <a:xfrm>
            <a:off x="630000" y="6329316"/>
            <a:ext cx="1789200" cy="198000"/>
          </a:xfrm>
          <a:blipFill>
            <a:blip r:embed="rId3" cstate="print">
              <a:extLst>
                <a:ext uri="{28A0092B-C50C-407E-A947-70E740481C1C}">
                  <a14:useLocalDpi xmlns:a14="http://schemas.microsoft.com/office/drawing/2010/main"/>
                </a:ext>
              </a:extLst>
            </a:blip>
            <a:stretch>
              <a:fillRect/>
            </a:stretch>
          </a:blipFill>
        </p:spPr>
        <p:txBody>
          <a:bodyPr/>
          <a:lstStyle>
            <a:lvl1pPr>
              <a:defRPr sz="100">
                <a:noFill/>
              </a:defRPr>
            </a:lvl1pPr>
          </a:lstStyle>
          <a:p>
            <a:pPr lvl="0"/>
            <a:r>
              <a:rPr lang="de-DE"/>
              <a:t>Mastertextformat bearbeiten</a:t>
            </a:r>
          </a:p>
        </p:txBody>
      </p:sp>
      <p:sp>
        <p:nvSpPr>
          <p:cNvPr id="14" name="Textplatzhalter 2">
            <a:extLst>
              <a:ext uri="{FF2B5EF4-FFF2-40B4-BE49-F238E27FC236}">
                <a16:creationId xmlns:a16="http://schemas.microsoft.com/office/drawing/2014/main" id="{514BC479-07EC-42DB-ABF9-357BB1B8D150}"/>
              </a:ext>
            </a:extLst>
          </p:cNvPr>
          <p:cNvSpPr>
            <a:spLocks noGrp="1"/>
          </p:cNvSpPr>
          <p:nvPr>
            <p:ph type="body" sz="quarter" idx="15" hasCustomPrompt="1"/>
          </p:nvPr>
        </p:nvSpPr>
        <p:spPr bwMode="gray">
          <a:xfrm>
            <a:off x="630000" y="1327148"/>
            <a:ext cx="10080000" cy="923330"/>
          </a:xfrm>
          <a:prstGeom prst="rect">
            <a:avLst/>
          </a:prstGeom>
          <a:noFill/>
        </p:spPr>
        <p:txBody>
          <a:bodyPr wrap="square" lIns="0" tIns="0">
            <a:noAutofit/>
          </a:bodyPr>
          <a:lstStyle>
            <a:lvl1pPr marL="0" indent="0">
              <a:spcBef>
                <a:spcPts val="0"/>
              </a:spcBef>
              <a:buFont typeface="Arial" panose="020B0604020202020204" pitchFamily="34" charset="0"/>
              <a:buNone/>
              <a:defRPr sz="3000" b="1">
                <a:solidFill>
                  <a:schemeClr val="accent1"/>
                </a:solidFill>
              </a:defRPr>
            </a:lvl1pPr>
            <a:lvl2pPr marL="0" indent="0">
              <a:spcBef>
                <a:spcPts val="0"/>
              </a:spcBef>
              <a:buFont typeface="Arial" panose="020B0604020202020204" pitchFamily="34" charset="0"/>
              <a:buNone/>
              <a:defRPr sz="3000" b="1">
                <a:solidFill>
                  <a:schemeClr val="bg1"/>
                </a:solidFill>
              </a:defRPr>
            </a:lvl2pPr>
            <a:lvl3pPr marL="0" indent="0">
              <a:spcBef>
                <a:spcPts val="0"/>
              </a:spcBef>
              <a:buNone/>
              <a:defRPr sz="3000" b="1">
                <a:solidFill>
                  <a:schemeClr val="bg1"/>
                </a:solidFill>
              </a:defRPr>
            </a:lvl3pPr>
            <a:lvl4pPr marL="0" indent="0">
              <a:spcBef>
                <a:spcPts val="0"/>
              </a:spcBef>
              <a:buNone/>
              <a:defRPr sz="3000" b="1">
                <a:solidFill>
                  <a:schemeClr val="bg1"/>
                </a:solidFill>
              </a:defRPr>
            </a:lvl4pPr>
            <a:lvl5pPr marL="0" indent="0">
              <a:spcBef>
                <a:spcPts val="0"/>
              </a:spcBef>
              <a:buNone/>
              <a:defRPr sz="3000" b="1">
                <a:solidFill>
                  <a:schemeClr val="bg1"/>
                </a:solidFill>
              </a:defRPr>
            </a:lvl5pPr>
          </a:lstStyle>
          <a:p>
            <a:pPr lvl="0"/>
            <a:r>
              <a:rPr lang="de-DE"/>
              <a:t>Titelfolie (max. 2-zeilig)</a:t>
            </a:r>
          </a:p>
        </p:txBody>
      </p:sp>
      <p:sp>
        <p:nvSpPr>
          <p:cNvPr id="16" name="Textplatzhalter 3">
            <a:extLst>
              <a:ext uri="{FF2B5EF4-FFF2-40B4-BE49-F238E27FC236}">
                <a16:creationId xmlns:a16="http://schemas.microsoft.com/office/drawing/2014/main" id="{CCB26A21-6BFA-43D2-89A0-93F36FE1456D}"/>
              </a:ext>
            </a:extLst>
          </p:cNvPr>
          <p:cNvSpPr>
            <a:spLocks noGrp="1"/>
          </p:cNvSpPr>
          <p:nvPr>
            <p:ph type="body" sz="quarter" idx="19" hasCustomPrompt="1"/>
          </p:nvPr>
        </p:nvSpPr>
        <p:spPr bwMode="gray">
          <a:xfrm>
            <a:off x="630000" y="951417"/>
            <a:ext cx="7560000" cy="246221"/>
          </a:xfrm>
        </p:spPr>
        <p:txBody>
          <a:bodyPr anchor="b" anchorCtr="0">
            <a:spAutoFit/>
          </a:bodyPr>
          <a:lstStyle>
            <a:lvl1pPr>
              <a:spcBef>
                <a:spcPts val="0"/>
              </a:spcBef>
              <a:defRPr sz="1600" b="1">
                <a:solidFill>
                  <a:schemeClr val="accent2"/>
                </a:solidFill>
              </a:defRPr>
            </a:lvl1pPr>
          </a:lstStyle>
          <a:p>
            <a:pPr lvl="0"/>
            <a:r>
              <a:rPr lang="de-DE"/>
              <a:t>Name Kunde / Veranstaltung</a:t>
            </a:r>
          </a:p>
        </p:txBody>
      </p:sp>
      <p:sp>
        <p:nvSpPr>
          <p:cNvPr id="17" name="Textplatzhalter 3">
            <a:extLst>
              <a:ext uri="{FF2B5EF4-FFF2-40B4-BE49-F238E27FC236}">
                <a16:creationId xmlns:a16="http://schemas.microsoft.com/office/drawing/2014/main" id="{4FECC35D-B1E8-4D3D-893F-E4B9747B4390}"/>
              </a:ext>
            </a:extLst>
          </p:cNvPr>
          <p:cNvSpPr>
            <a:spLocks noGrp="1"/>
          </p:cNvSpPr>
          <p:nvPr>
            <p:ph type="body" sz="quarter" idx="20" hasCustomPrompt="1"/>
          </p:nvPr>
        </p:nvSpPr>
        <p:spPr bwMode="gray">
          <a:xfrm>
            <a:off x="630000" y="2453983"/>
            <a:ext cx="7560000" cy="246221"/>
          </a:xfrm>
        </p:spPr>
        <p:txBody>
          <a:bodyPr anchor="b" anchorCtr="0">
            <a:spAutoFit/>
          </a:bodyPr>
          <a:lstStyle>
            <a:lvl1pPr>
              <a:spcBef>
                <a:spcPts val="0"/>
              </a:spcBef>
              <a:defRPr sz="1600" b="0">
                <a:solidFill>
                  <a:schemeClr val="tx2"/>
                </a:solidFill>
              </a:defRPr>
            </a:lvl1pPr>
          </a:lstStyle>
          <a:p>
            <a:pPr lvl="0"/>
            <a:r>
              <a:rPr lang="de-DE"/>
              <a:t>Ort, Datum – Referent Vorname Name</a:t>
            </a:r>
          </a:p>
        </p:txBody>
      </p:sp>
      <p:sp>
        <p:nvSpPr>
          <p:cNvPr id="18" name="Textplatzhalter 3">
            <a:extLst>
              <a:ext uri="{FF2B5EF4-FFF2-40B4-BE49-F238E27FC236}">
                <a16:creationId xmlns:a16="http://schemas.microsoft.com/office/drawing/2014/main" id="{F189B50E-3F80-429D-933C-029109AD7863}"/>
              </a:ext>
            </a:extLst>
          </p:cNvPr>
          <p:cNvSpPr>
            <a:spLocks noGrp="1"/>
          </p:cNvSpPr>
          <p:nvPr>
            <p:ph type="body" sz="quarter" idx="21" hasCustomPrompt="1"/>
          </p:nvPr>
        </p:nvSpPr>
        <p:spPr bwMode="gray">
          <a:xfrm>
            <a:off x="630000" y="2816643"/>
            <a:ext cx="6264000" cy="184666"/>
          </a:xfrm>
        </p:spPr>
        <p:txBody>
          <a:bodyPr>
            <a:spAutoFit/>
          </a:bodyPr>
          <a:lstStyle>
            <a:lvl1pPr>
              <a:spcBef>
                <a:spcPts val="0"/>
              </a:spcBef>
              <a:defRPr sz="1200" b="0">
                <a:solidFill>
                  <a:schemeClr val="tx2"/>
                </a:solidFill>
              </a:defRPr>
            </a:lvl1pPr>
          </a:lstStyle>
          <a:p>
            <a:pPr lvl="0"/>
            <a:r>
              <a:rPr lang="de-DE"/>
              <a:t>Vertraulichkeitshinweis durch Klicken bearbeiten</a:t>
            </a:r>
          </a:p>
        </p:txBody>
      </p:sp>
    </p:spTree>
    <p:extLst>
      <p:ext uri="{BB962C8B-B14F-4D97-AF65-F5344CB8AC3E}">
        <p14:creationId xmlns:p14="http://schemas.microsoft.com/office/powerpoint/2010/main" val="3440633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Titelfolie ohne Bild">
    <p:spTree>
      <p:nvGrpSpPr>
        <p:cNvPr id="1" name=""/>
        <p:cNvGrpSpPr/>
        <p:nvPr/>
      </p:nvGrpSpPr>
      <p:grpSpPr>
        <a:xfrm>
          <a:off x="0" y="0"/>
          <a:ext cx="0" cy="0"/>
          <a:chOff x="0" y="0"/>
          <a:chExt cx="0" cy="0"/>
        </a:xfrm>
      </p:grpSpPr>
      <p:sp>
        <p:nvSpPr>
          <p:cNvPr id="15" name="Textplatzhalter 13">
            <a:extLst>
              <a:ext uri="{FF2B5EF4-FFF2-40B4-BE49-F238E27FC236}">
                <a16:creationId xmlns:a16="http://schemas.microsoft.com/office/drawing/2014/main" id="{E0C68517-A305-4B55-B379-C2D052B1CFD3}"/>
              </a:ext>
            </a:extLst>
          </p:cNvPr>
          <p:cNvSpPr>
            <a:spLocks noGrp="1" noChangeAspect="1"/>
          </p:cNvSpPr>
          <p:nvPr>
            <p:ph type="body" sz="quarter" idx="15" hasCustomPrompt="1"/>
          </p:nvPr>
        </p:nvSpPr>
        <p:spPr bwMode="gray">
          <a:xfrm>
            <a:off x="629999" y="1"/>
            <a:ext cx="11565176" cy="4222561"/>
          </a:xfrm>
          <a:custGeom>
            <a:avLst/>
            <a:gdLst>
              <a:gd name="connsiteX0" fmla="*/ 0 w 11565176"/>
              <a:gd name="connsiteY0" fmla="*/ 0 h 4222561"/>
              <a:gd name="connsiteX1" fmla="*/ 11565176 w 11565176"/>
              <a:gd name="connsiteY1" fmla="*/ 0 h 4222561"/>
              <a:gd name="connsiteX2" fmla="*/ 11565176 w 11565176"/>
              <a:gd name="connsiteY2" fmla="*/ 2101962 h 4222561"/>
              <a:gd name="connsiteX3" fmla="*/ 910254 w 11565176"/>
              <a:gd name="connsiteY3" fmla="*/ 4203011 h 4222561"/>
              <a:gd name="connsiteX4" fmla="*/ 0 w 11565176"/>
              <a:gd name="connsiteY4" fmla="*/ 3522747 h 4222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65176" h="4222561">
                <a:moveTo>
                  <a:pt x="0" y="0"/>
                </a:moveTo>
                <a:lnTo>
                  <a:pt x="11565176" y="0"/>
                </a:lnTo>
                <a:lnTo>
                  <a:pt x="11565176" y="2101962"/>
                </a:lnTo>
                <a:lnTo>
                  <a:pt x="910254" y="4203011"/>
                </a:lnTo>
                <a:cubicBezTo>
                  <a:pt x="0" y="4359734"/>
                  <a:pt x="0" y="3522747"/>
                  <a:pt x="0" y="3522747"/>
                </a:cubicBezTo>
                <a:close/>
              </a:path>
            </a:pathLst>
          </a:custGeom>
          <a:solidFill>
            <a:schemeClr val="tx2"/>
          </a:solidFill>
        </p:spPr>
        <p:txBody>
          <a:bodyPr wrap="square" lIns="399600" tIns="1407600" rIns="3240000">
            <a:noAutofit/>
          </a:bodyPr>
          <a:lstStyle>
            <a:lvl1pPr marL="0" indent="0">
              <a:spcBef>
                <a:spcPts val="0"/>
              </a:spcBef>
              <a:buFont typeface="Arial" panose="020B0604020202020204" pitchFamily="34" charset="0"/>
              <a:buNone/>
              <a:defRPr sz="3000" b="1">
                <a:solidFill>
                  <a:schemeClr val="bg1"/>
                </a:solidFill>
              </a:defRPr>
            </a:lvl1pPr>
            <a:lvl2pPr marL="0" indent="0">
              <a:spcBef>
                <a:spcPts val="0"/>
              </a:spcBef>
              <a:buFont typeface="Arial" panose="020B0604020202020204" pitchFamily="34" charset="0"/>
              <a:buNone/>
              <a:defRPr sz="3000" b="1">
                <a:solidFill>
                  <a:schemeClr val="bg1"/>
                </a:solidFill>
              </a:defRPr>
            </a:lvl2pPr>
            <a:lvl3pPr marL="0" indent="0">
              <a:spcBef>
                <a:spcPts val="0"/>
              </a:spcBef>
              <a:buNone/>
              <a:defRPr sz="3000" b="1">
                <a:solidFill>
                  <a:schemeClr val="bg1"/>
                </a:solidFill>
              </a:defRPr>
            </a:lvl3pPr>
            <a:lvl4pPr marL="0" indent="0">
              <a:spcBef>
                <a:spcPts val="0"/>
              </a:spcBef>
              <a:buNone/>
              <a:defRPr sz="3000" b="1">
                <a:solidFill>
                  <a:schemeClr val="bg1"/>
                </a:solidFill>
              </a:defRPr>
            </a:lvl4pPr>
            <a:lvl5pPr marL="0" indent="0">
              <a:spcBef>
                <a:spcPts val="0"/>
              </a:spcBef>
              <a:buNone/>
              <a:defRPr sz="3000" b="1">
                <a:solidFill>
                  <a:schemeClr val="bg1"/>
                </a:solidFill>
              </a:defRPr>
            </a:lvl5pPr>
          </a:lstStyle>
          <a:p>
            <a:pPr lvl="0"/>
            <a:r>
              <a:rPr lang="de-DE"/>
              <a:t>Titelfolie (max. 2-zeilig)</a:t>
            </a:r>
          </a:p>
        </p:txBody>
      </p:sp>
      <p:sp>
        <p:nvSpPr>
          <p:cNvPr id="17" name="Textplatzhalter 45">
            <a:extLst>
              <a:ext uri="{FF2B5EF4-FFF2-40B4-BE49-F238E27FC236}">
                <a16:creationId xmlns:a16="http://schemas.microsoft.com/office/drawing/2014/main" id="{A6623FAC-412C-411C-A9E9-5909FBEB3435}"/>
              </a:ext>
            </a:extLst>
          </p:cNvPr>
          <p:cNvSpPr>
            <a:spLocks noGrp="1"/>
          </p:cNvSpPr>
          <p:nvPr>
            <p:ph type="body" sz="quarter" idx="17" hasCustomPrompt="1"/>
          </p:nvPr>
        </p:nvSpPr>
        <p:spPr bwMode="gray">
          <a:xfrm>
            <a:off x="9563898" y="409422"/>
            <a:ext cx="2014538" cy="608013"/>
          </a:xfrm>
          <a:blipFill>
            <a:blip r:embed="rId2" cstate="screen">
              <a:extLst>
                <a:ext uri="{28A0092B-C50C-407E-A947-70E740481C1C}">
                  <a14:useLocalDpi xmlns:a14="http://schemas.microsoft.com/office/drawing/2010/main"/>
                </a:ext>
              </a:extLst>
            </a:blip>
            <a:stretch>
              <a:fillRect/>
            </a:stretch>
          </a:blipFill>
        </p:spPr>
        <p:txBody>
          <a:bodyPr/>
          <a:lstStyle>
            <a:lvl1pPr marL="0" indent="0">
              <a:spcBef>
                <a:spcPts val="0"/>
              </a:spcBef>
              <a:spcAft>
                <a:spcPts val="0"/>
              </a:spcAft>
              <a:buFont typeface="Arial" panose="020B0604020202020204" pitchFamily="34" charset="0"/>
              <a:buNone/>
              <a:defRPr sz="100">
                <a:noFill/>
              </a:defRPr>
            </a:lvl1pPr>
            <a:lvl2pPr marL="0" indent="0">
              <a:spcBef>
                <a:spcPts val="0"/>
              </a:spcBef>
              <a:spcAft>
                <a:spcPts val="0"/>
              </a:spcAft>
              <a:buFont typeface="Arial" panose="020B0604020202020204" pitchFamily="34" charset="0"/>
              <a:buNone/>
              <a:defRPr sz="100">
                <a:noFill/>
              </a:defRPr>
            </a:lvl2pPr>
            <a:lvl3pPr marL="0" indent="0">
              <a:spcBef>
                <a:spcPts val="0"/>
              </a:spcBef>
              <a:spcAft>
                <a:spcPts val="0"/>
              </a:spcAft>
              <a:buFont typeface="Arial" panose="020B0604020202020204" pitchFamily="34" charset="0"/>
              <a:buNone/>
              <a:defRPr sz="100">
                <a:noFill/>
              </a:defRPr>
            </a:lvl3pPr>
            <a:lvl4pPr marL="0" indent="0">
              <a:spcBef>
                <a:spcPts val="0"/>
              </a:spcBef>
              <a:spcAft>
                <a:spcPts val="0"/>
              </a:spcAft>
              <a:buFont typeface="Arial" panose="020B0604020202020204" pitchFamily="34" charset="0"/>
              <a:buNone/>
              <a:defRPr sz="100">
                <a:noFill/>
              </a:defRPr>
            </a:lvl4pPr>
            <a:lvl5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
                <a:noFill/>
              </a:defRPr>
            </a:lvl5pPr>
            <a:lvl6pPr marL="360000" indent="0">
              <a:spcBef>
                <a:spcPts val="0"/>
              </a:spcBef>
              <a:spcAft>
                <a:spcPts val="0"/>
              </a:spcAft>
              <a:buFontTx/>
              <a:buNone/>
              <a:defRPr/>
            </a:lvl6pPr>
            <a:lvl7pPr marL="0" indent="0">
              <a:spcBef>
                <a:spcPts val="0"/>
              </a:spcBef>
              <a:spcAft>
                <a:spcPts val="0"/>
              </a:spcAft>
              <a:buNone/>
              <a:defRPr/>
            </a:lvl7pPr>
            <a:lvl8pPr marL="0" indent="0">
              <a:spcBef>
                <a:spcPts val="0"/>
              </a:spcBef>
              <a:spcAft>
                <a:spcPts val="0"/>
              </a:spcAft>
              <a:buNone/>
              <a:defRPr/>
            </a:lvl8pPr>
            <a:lvl9pPr marL="0" indent="0">
              <a:spcBef>
                <a:spcPts val="0"/>
              </a:spcBef>
              <a:spcAft>
                <a:spcPts val="0"/>
              </a:spcAft>
              <a:buNone/>
              <a:defRPr/>
            </a:lvl9pPr>
          </a:lstStyle>
          <a:p>
            <a:pPr lvl="0"/>
            <a:r>
              <a:rPr lang="de-DE"/>
              <a:t>x</a:t>
            </a:r>
          </a:p>
        </p:txBody>
      </p:sp>
      <p:sp>
        <p:nvSpPr>
          <p:cNvPr id="22" name="Grafik 9">
            <a:extLst>
              <a:ext uri="{FF2B5EF4-FFF2-40B4-BE49-F238E27FC236}">
                <a16:creationId xmlns:a16="http://schemas.microsoft.com/office/drawing/2014/main" id="{7D2E2297-447D-4A5B-A68B-EE05793D8FAD}"/>
              </a:ext>
            </a:extLst>
          </p:cNvPr>
          <p:cNvSpPr txBox="1">
            <a:spLocks/>
          </p:cNvSpPr>
          <p:nvPr/>
        </p:nvSpPr>
        <p:spPr bwMode="gray">
          <a:xfrm>
            <a:off x="630000" y="6329316"/>
            <a:ext cx="1789200" cy="1980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vert="horz" lIns="0" tIns="0" rIns="0" bIns="0" rtlCol="0" anchor="ctr">
            <a:noAutofit/>
          </a:bodyPr>
          <a:lstStyle>
            <a:lvl1pPr marL="0" indent="0" algn="ctr" defTabSz="914400" rtl="0" eaLnBrk="1" latinLnBrk="0" hangingPunct="1">
              <a:spcBef>
                <a:spcPts val="1200"/>
              </a:spcBef>
              <a:buFont typeface="Arial" panose="020B0604020202020204" pitchFamily="34" charset="0"/>
              <a:buNone/>
              <a:defRPr lang="de-DE" sz="1200" b="0" kern="1200" baseline="0" dirty="0">
                <a:solidFill>
                  <a:schemeClr val="tx1"/>
                </a:solidFill>
                <a:latin typeface="+mn-lt"/>
                <a:ea typeface="+mn-ea"/>
                <a:cs typeface="+mn-cs"/>
              </a:defRPr>
            </a:lvl1pPr>
            <a:lvl2pPr marL="0" indent="0" algn="l" defTabSz="914400" rtl="0" eaLnBrk="1" latinLnBrk="0" hangingPunct="1">
              <a:spcBef>
                <a:spcPts val="600"/>
              </a:spcBef>
              <a:buFont typeface="Arial" panose="020B0604020202020204" pitchFamily="34" charset="0"/>
              <a:buNone/>
              <a:defRPr lang="de-DE" sz="1800" kern="1200" dirty="0">
                <a:solidFill>
                  <a:schemeClr val="tx1"/>
                </a:solidFill>
                <a:latin typeface="+mn-lt"/>
                <a:ea typeface="+mn-ea"/>
                <a:cs typeface="+mn-cs"/>
              </a:defRPr>
            </a:lvl2pPr>
            <a:lvl3pPr marL="180000" indent="-180000" algn="l" defTabSz="914400" rtl="0" eaLnBrk="1" latinLnBrk="0" hangingPunct="1">
              <a:spcBef>
                <a:spcPts val="600"/>
              </a:spcBef>
              <a:buClrTx/>
              <a:buFont typeface="Wingdings" panose="05000000000000000000" pitchFamily="2" charset="2"/>
              <a:buChar char=""/>
              <a:defRPr lang="de-DE" sz="1800" kern="1200" dirty="0">
                <a:solidFill>
                  <a:schemeClr val="tx1"/>
                </a:solidFill>
                <a:latin typeface="+mn-lt"/>
                <a:ea typeface="+mn-ea"/>
                <a:cs typeface="+mn-cs"/>
              </a:defRPr>
            </a:lvl3pPr>
            <a:lvl4pPr marL="360000" indent="-180000" algn="l" defTabSz="914400" rtl="0" eaLnBrk="1" latinLnBrk="0" hangingPunct="1">
              <a:spcBef>
                <a:spcPts val="400"/>
              </a:spcBef>
              <a:buClrTx/>
              <a:buFont typeface="Arial" panose="020B0604020202020204" pitchFamily="34" charset="0"/>
              <a:buChar char="•"/>
              <a:defRPr lang="de-DE" sz="1800" kern="1200" dirty="0">
                <a:solidFill>
                  <a:schemeClr val="tx1"/>
                </a:solidFill>
                <a:latin typeface="+mn-lt"/>
                <a:ea typeface="+mn-ea"/>
                <a:cs typeface="+mn-cs"/>
              </a:defRPr>
            </a:lvl4pPr>
            <a:lvl5pPr marL="576000" indent="-216000" algn="l" defTabSz="914400" rtl="0" eaLnBrk="1" latinLnBrk="0" hangingPunct="1">
              <a:spcBef>
                <a:spcPts val="400"/>
              </a:spcBef>
              <a:buFont typeface="Symbol" panose="05050102010706020507" pitchFamily="18" charset="2"/>
              <a:buChar char="-"/>
              <a:defRPr lang="de-DE" sz="1800" kern="1200" dirty="0">
                <a:solidFill>
                  <a:schemeClr val="tx1"/>
                </a:solidFill>
                <a:latin typeface="+mn-lt"/>
                <a:ea typeface="+mn-ea"/>
                <a:cs typeface="+mn-cs"/>
              </a:defRPr>
            </a:lvl5pPr>
            <a:lvl6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6pPr>
            <a:lvl7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7pPr>
            <a:lvl8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8pPr>
            <a:lvl9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9pPr>
          </a:lstStyle>
          <a:p>
            <a:pPr marL="342900" indent="-342900">
              <a:spcBef>
                <a:spcPts val="0"/>
              </a:spcBef>
            </a:pPr>
            <a:r>
              <a:rPr lang="de-DE"/>
              <a:t> </a:t>
            </a:r>
          </a:p>
        </p:txBody>
      </p:sp>
      <p:sp>
        <p:nvSpPr>
          <p:cNvPr id="8" name="Textplatzhalter 3">
            <a:extLst>
              <a:ext uri="{FF2B5EF4-FFF2-40B4-BE49-F238E27FC236}">
                <a16:creationId xmlns:a16="http://schemas.microsoft.com/office/drawing/2014/main" id="{D5E6013F-1162-401F-BF4F-843707295C35}"/>
              </a:ext>
            </a:extLst>
          </p:cNvPr>
          <p:cNvSpPr>
            <a:spLocks noGrp="1"/>
          </p:cNvSpPr>
          <p:nvPr>
            <p:ph type="body" sz="quarter" idx="19" hasCustomPrompt="1"/>
          </p:nvPr>
        </p:nvSpPr>
        <p:spPr bwMode="gray">
          <a:xfrm>
            <a:off x="1030048" y="984854"/>
            <a:ext cx="6481588" cy="246221"/>
          </a:xfrm>
        </p:spPr>
        <p:txBody>
          <a:bodyPr anchor="b" anchorCtr="0">
            <a:spAutoFit/>
          </a:bodyPr>
          <a:lstStyle>
            <a:lvl1pPr>
              <a:spcBef>
                <a:spcPts val="0"/>
              </a:spcBef>
              <a:defRPr sz="1600" b="1">
                <a:solidFill>
                  <a:schemeClr val="accent2"/>
                </a:solidFill>
              </a:defRPr>
            </a:lvl1pPr>
          </a:lstStyle>
          <a:p>
            <a:pPr lvl="0"/>
            <a:r>
              <a:rPr lang="de-DE"/>
              <a:t>Name Kunde / Veranstaltung</a:t>
            </a:r>
          </a:p>
        </p:txBody>
      </p:sp>
      <p:sp>
        <p:nvSpPr>
          <p:cNvPr id="9" name="Textplatzhalter 3">
            <a:extLst>
              <a:ext uri="{FF2B5EF4-FFF2-40B4-BE49-F238E27FC236}">
                <a16:creationId xmlns:a16="http://schemas.microsoft.com/office/drawing/2014/main" id="{850ADE13-7C6F-4597-A3C6-29F3D36F673D}"/>
              </a:ext>
            </a:extLst>
          </p:cNvPr>
          <p:cNvSpPr>
            <a:spLocks noGrp="1"/>
          </p:cNvSpPr>
          <p:nvPr>
            <p:ph type="body" sz="quarter" idx="20" hasCustomPrompt="1"/>
          </p:nvPr>
        </p:nvSpPr>
        <p:spPr bwMode="gray">
          <a:xfrm>
            <a:off x="1030048" y="2500031"/>
            <a:ext cx="6481588" cy="246221"/>
          </a:xfrm>
        </p:spPr>
        <p:txBody>
          <a:bodyPr anchor="b" anchorCtr="0">
            <a:spAutoFit/>
          </a:bodyPr>
          <a:lstStyle>
            <a:lvl1pPr>
              <a:spcBef>
                <a:spcPts val="0"/>
              </a:spcBef>
              <a:defRPr sz="1600" b="0">
                <a:solidFill>
                  <a:schemeClr val="bg1"/>
                </a:solidFill>
              </a:defRPr>
            </a:lvl1pPr>
          </a:lstStyle>
          <a:p>
            <a:pPr lvl="0"/>
            <a:r>
              <a:rPr lang="de-DE"/>
              <a:t>Ort, Datum – Referent Vorname Name</a:t>
            </a:r>
          </a:p>
        </p:txBody>
      </p:sp>
      <p:sp>
        <p:nvSpPr>
          <p:cNvPr id="10" name="Textplatzhalter 3">
            <a:extLst>
              <a:ext uri="{FF2B5EF4-FFF2-40B4-BE49-F238E27FC236}">
                <a16:creationId xmlns:a16="http://schemas.microsoft.com/office/drawing/2014/main" id="{52CE6598-11D4-4C02-AADE-7D8C1E1C609D}"/>
              </a:ext>
            </a:extLst>
          </p:cNvPr>
          <p:cNvSpPr>
            <a:spLocks noGrp="1"/>
          </p:cNvSpPr>
          <p:nvPr>
            <p:ph type="body" sz="quarter" idx="21" hasCustomPrompt="1"/>
          </p:nvPr>
        </p:nvSpPr>
        <p:spPr bwMode="gray">
          <a:xfrm>
            <a:off x="1030048" y="2852957"/>
            <a:ext cx="5760000" cy="184666"/>
          </a:xfrm>
        </p:spPr>
        <p:txBody>
          <a:bodyPr>
            <a:spAutoFit/>
          </a:bodyPr>
          <a:lstStyle>
            <a:lvl1pPr>
              <a:spcBef>
                <a:spcPts val="0"/>
              </a:spcBef>
              <a:defRPr sz="1200" b="0">
                <a:solidFill>
                  <a:schemeClr val="bg1"/>
                </a:solidFill>
              </a:defRPr>
            </a:lvl1pPr>
          </a:lstStyle>
          <a:p>
            <a:pPr lvl="0"/>
            <a:r>
              <a:rPr lang="de-DE"/>
              <a:t>Vertraulichkeitshinweis durch Klicken bearbeiten</a:t>
            </a:r>
          </a:p>
        </p:txBody>
      </p:sp>
    </p:spTree>
    <p:extLst>
      <p:ext uri="{BB962C8B-B14F-4D97-AF65-F5344CB8AC3E}">
        <p14:creationId xmlns:p14="http://schemas.microsoft.com/office/powerpoint/2010/main" val="260547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Titelfolie mit Bild rechts 01">
    <p:spTree>
      <p:nvGrpSpPr>
        <p:cNvPr id="1" name=""/>
        <p:cNvGrpSpPr/>
        <p:nvPr/>
      </p:nvGrpSpPr>
      <p:grpSpPr>
        <a:xfrm>
          <a:off x="0" y="0"/>
          <a:ext cx="0" cy="0"/>
          <a:chOff x="0" y="0"/>
          <a:chExt cx="0" cy="0"/>
        </a:xfrm>
      </p:grpSpPr>
      <p:sp>
        <p:nvSpPr>
          <p:cNvPr id="16" name="Textplatzhalter 2">
            <a:extLst>
              <a:ext uri="{FF2B5EF4-FFF2-40B4-BE49-F238E27FC236}">
                <a16:creationId xmlns:a16="http://schemas.microsoft.com/office/drawing/2014/main" id="{F4FDA422-946E-4E94-9A2A-DF3A8167EDE2}"/>
              </a:ext>
            </a:extLst>
          </p:cNvPr>
          <p:cNvSpPr>
            <a:spLocks noGrp="1"/>
          </p:cNvSpPr>
          <p:nvPr>
            <p:ph type="body" sz="quarter" idx="15" hasCustomPrompt="1"/>
          </p:nvPr>
        </p:nvSpPr>
        <p:spPr bwMode="gray">
          <a:xfrm>
            <a:off x="418272" y="2873814"/>
            <a:ext cx="5464800" cy="1440000"/>
          </a:xfrm>
          <a:prstGeom prst="rect">
            <a:avLst/>
          </a:prstGeom>
          <a:noFill/>
        </p:spPr>
        <p:txBody>
          <a:bodyPr wrap="square" lIns="0" tIns="0">
            <a:noAutofit/>
          </a:bodyPr>
          <a:lstStyle>
            <a:lvl1pPr marL="0" indent="0">
              <a:spcBef>
                <a:spcPts val="0"/>
              </a:spcBef>
              <a:buFont typeface="Arial" panose="020B0604020202020204" pitchFamily="34" charset="0"/>
              <a:buNone/>
              <a:defRPr sz="3000" b="1">
                <a:solidFill>
                  <a:schemeClr val="accent1"/>
                </a:solidFill>
              </a:defRPr>
            </a:lvl1pPr>
            <a:lvl2pPr marL="0" indent="0">
              <a:spcBef>
                <a:spcPts val="0"/>
              </a:spcBef>
              <a:buFont typeface="Arial" panose="020B0604020202020204" pitchFamily="34" charset="0"/>
              <a:buNone/>
              <a:defRPr sz="3000" b="1">
                <a:solidFill>
                  <a:schemeClr val="bg1"/>
                </a:solidFill>
              </a:defRPr>
            </a:lvl2pPr>
            <a:lvl3pPr marL="0" indent="0">
              <a:spcBef>
                <a:spcPts val="0"/>
              </a:spcBef>
              <a:buNone/>
              <a:defRPr sz="3000" b="1">
                <a:solidFill>
                  <a:schemeClr val="bg1"/>
                </a:solidFill>
              </a:defRPr>
            </a:lvl3pPr>
            <a:lvl4pPr marL="0" indent="0">
              <a:spcBef>
                <a:spcPts val="0"/>
              </a:spcBef>
              <a:buNone/>
              <a:defRPr sz="3000" b="1">
                <a:solidFill>
                  <a:schemeClr val="bg1"/>
                </a:solidFill>
              </a:defRPr>
            </a:lvl4pPr>
            <a:lvl5pPr marL="0" indent="0">
              <a:spcBef>
                <a:spcPts val="0"/>
              </a:spcBef>
              <a:buNone/>
              <a:defRPr sz="3000" b="1">
                <a:solidFill>
                  <a:schemeClr val="bg1"/>
                </a:solidFill>
              </a:defRPr>
            </a:lvl5pPr>
          </a:lstStyle>
          <a:p>
            <a:pPr lvl="0"/>
            <a:r>
              <a:rPr lang="de-DE"/>
              <a:t>Titelfolie (max. 3-zeilig)</a:t>
            </a:r>
          </a:p>
        </p:txBody>
      </p:sp>
      <p:pic>
        <p:nvPicPr>
          <p:cNvPr id="23" name="Grafik 10">
            <a:extLst>
              <a:ext uri="{FF2B5EF4-FFF2-40B4-BE49-F238E27FC236}">
                <a16:creationId xmlns:a16="http://schemas.microsoft.com/office/drawing/2014/main" id="{2F90E044-3115-466D-9C29-E40A066B546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418272" y="409422"/>
            <a:ext cx="2016000" cy="608729"/>
          </a:xfrm>
          <a:prstGeom prst="rect">
            <a:avLst/>
          </a:prstGeom>
        </p:spPr>
      </p:pic>
      <p:sp>
        <p:nvSpPr>
          <p:cNvPr id="10" name="Bildplatzhalter 9">
            <a:extLst>
              <a:ext uri="{FF2B5EF4-FFF2-40B4-BE49-F238E27FC236}">
                <a16:creationId xmlns:a16="http://schemas.microsoft.com/office/drawing/2014/main" id="{B474BA87-0443-4502-B2DD-8263DC069C69}"/>
              </a:ext>
            </a:extLst>
          </p:cNvPr>
          <p:cNvSpPr>
            <a:spLocks noGrp="1" noChangeAspect="1"/>
          </p:cNvSpPr>
          <p:nvPr>
            <p:ph type="pic" sz="quarter" idx="19" hasCustomPrompt="1"/>
          </p:nvPr>
        </p:nvSpPr>
        <p:spPr bwMode="gray">
          <a:xfrm>
            <a:off x="6103895" y="0"/>
            <a:ext cx="6091280" cy="6310680"/>
          </a:xfrm>
          <a:custGeom>
            <a:avLst/>
            <a:gdLst>
              <a:gd name="connsiteX0" fmla="*/ 0 w 6091280"/>
              <a:gd name="connsiteY0" fmla="*/ 0 h 6310680"/>
              <a:gd name="connsiteX1" fmla="*/ 6091280 w 6091280"/>
              <a:gd name="connsiteY1" fmla="*/ 0 h 6310680"/>
              <a:gd name="connsiteX2" fmla="*/ 6091280 w 6091280"/>
              <a:gd name="connsiteY2" fmla="*/ 5279428 h 6310680"/>
              <a:gd name="connsiteX3" fmla="*/ 966865 w 6091280"/>
              <a:gd name="connsiteY3" fmla="*/ 6289914 h 6310680"/>
              <a:gd name="connsiteX4" fmla="*/ 0 w 6091280"/>
              <a:gd name="connsiteY4" fmla="*/ 5567343 h 6310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1280" h="6310680">
                <a:moveTo>
                  <a:pt x="0" y="0"/>
                </a:moveTo>
                <a:lnTo>
                  <a:pt x="6091280" y="0"/>
                </a:lnTo>
                <a:lnTo>
                  <a:pt x="6091280" y="5279428"/>
                </a:lnTo>
                <a:lnTo>
                  <a:pt x="966865" y="6289914"/>
                </a:lnTo>
                <a:cubicBezTo>
                  <a:pt x="0" y="6456384"/>
                  <a:pt x="0" y="5567343"/>
                  <a:pt x="0" y="5567343"/>
                </a:cubicBezTo>
                <a:close/>
              </a:path>
            </a:pathLst>
          </a:custGeom>
          <a:pattFill prst="pct20">
            <a:fgClr>
              <a:schemeClr val="accent3"/>
            </a:fgClr>
            <a:bgClr>
              <a:schemeClr val="bg1"/>
            </a:bgClr>
          </a:pattFill>
        </p:spPr>
        <p:txBody>
          <a:bodyPr vert="horz" wrap="square" lIns="72000" tIns="72000" rIns="72000" bIns="72000" rtlCol="0" anchor="t">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1600" baseline="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600"/>
              <a:t>Um ein Hintergrundbild einzufügen, markieren Sie bitte den Platzhalter und wählen entweder ein Bild aus der </a:t>
            </a:r>
            <a:r>
              <a:rPr lang="de-DE" sz="1600" err="1"/>
              <a:t>empower</a:t>
            </a:r>
            <a:r>
              <a:rPr lang="de-DE" sz="1600"/>
              <a:t> Bibliothek oder über den Reiter „Einfügen“, „Bilder“ aus. </a:t>
            </a:r>
          </a:p>
        </p:txBody>
      </p:sp>
      <p:sp>
        <p:nvSpPr>
          <p:cNvPr id="11" name="Textplatzhalter 3">
            <a:extLst>
              <a:ext uri="{FF2B5EF4-FFF2-40B4-BE49-F238E27FC236}">
                <a16:creationId xmlns:a16="http://schemas.microsoft.com/office/drawing/2014/main" id="{C9793A6E-8589-4144-B6FE-A4DFDECE949D}"/>
              </a:ext>
            </a:extLst>
          </p:cNvPr>
          <p:cNvSpPr>
            <a:spLocks noGrp="1"/>
          </p:cNvSpPr>
          <p:nvPr>
            <p:ph type="body" sz="quarter" idx="20" hasCustomPrompt="1"/>
          </p:nvPr>
        </p:nvSpPr>
        <p:spPr bwMode="gray">
          <a:xfrm>
            <a:off x="418272" y="2498083"/>
            <a:ext cx="5464800" cy="246221"/>
          </a:xfrm>
        </p:spPr>
        <p:txBody>
          <a:bodyPr anchor="b" anchorCtr="0">
            <a:spAutoFit/>
          </a:bodyPr>
          <a:lstStyle>
            <a:lvl1pPr>
              <a:spcBef>
                <a:spcPts val="0"/>
              </a:spcBef>
              <a:defRPr sz="1600" b="1">
                <a:solidFill>
                  <a:schemeClr val="accent2"/>
                </a:solidFill>
              </a:defRPr>
            </a:lvl1pPr>
          </a:lstStyle>
          <a:p>
            <a:pPr lvl="0"/>
            <a:r>
              <a:rPr lang="de-DE"/>
              <a:t>Name Kunde / Veranstaltung</a:t>
            </a:r>
          </a:p>
        </p:txBody>
      </p:sp>
      <p:sp>
        <p:nvSpPr>
          <p:cNvPr id="12" name="Textplatzhalter 3">
            <a:extLst>
              <a:ext uri="{FF2B5EF4-FFF2-40B4-BE49-F238E27FC236}">
                <a16:creationId xmlns:a16="http://schemas.microsoft.com/office/drawing/2014/main" id="{6E112725-DFBF-42E4-912D-A818361A47F7}"/>
              </a:ext>
            </a:extLst>
          </p:cNvPr>
          <p:cNvSpPr>
            <a:spLocks noGrp="1"/>
          </p:cNvSpPr>
          <p:nvPr>
            <p:ph type="body" sz="quarter" idx="21" hasCustomPrompt="1"/>
          </p:nvPr>
        </p:nvSpPr>
        <p:spPr bwMode="gray">
          <a:xfrm>
            <a:off x="418272" y="4522877"/>
            <a:ext cx="5464800" cy="246221"/>
          </a:xfrm>
        </p:spPr>
        <p:txBody>
          <a:bodyPr anchor="b" anchorCtr="0">
            <a:spAutoFit/>
          </a:bodyPr>
          <a:lstStyle>
            <a:lvl1pPr>
              <a:spcBef>
                <a:spcPts val="0"/>
              </a:spcBef>
              <a:defRPr sz="1600" b="0">
                <a:solidFill>
                  <a:schemeClr val="tx2"/>
                </a:solidFill>
              </a:defRPr>
            </a:lvl1pPr>
          </a:lstStyle>
          <a:p>
            <a:pPr lvl="0"/>
            <a:r>
              <a:rPr lang="de-DE"/>
              <a:t>Ort, Datum – Referent Vorname Name</a:t>
            </a:r>
          </a:p>
        </p:txBody>
      </p:sp>
      <p:sp>
        <p:nvSpPr>
          <p:cNvPr id="13" name="Textplatzhalter 3">
            <a:extLst>
              <a:ext uri="{FF2B5EF4-FFF2-40B4-BE49-F238E27FC236}">
                <a16:creationId xmlns:a16="http://schemas.microsoft.com/office/drawing/2014/main" id="{C5378F37-488D-4CF7-8CF4-F001D9A601C5}"/>
              </a:ext>
            </a:extLst>
          </p:cNvPr>
          <p:cNvSpPr>
            <a:spLocks noGrp="1"/>
          </p:cNvSpPr>
          <p:nvPr>
            <p:ph type="body" sz="quarter" idx="22" hasCustomPrompt="1"/>
          </p:nvPr>
        </p:nvSpPr>
        <p:spPr bwMode="gray">
          <a:xfrm>
            <a:off x="418272" y="4875803"/>
            <a:ext cx="5464800" cy="184666"/>
          </a:xfrm>
        </p:spPr>
        <p:txBody>
          <a:bodyPr>
            <a:spAutoFit/>
          </a:bodyPr>
          <a:lstStyle>
            <a:lvl1pPr>
              <a:spcBef>
                <a:spcPts val="0"/>
              </a:spcBef>
              <a:defRPr sz="1200" b="0">
                <a:solidFill>
                  <a:schemeClr val="tx2"/>
                </a:solidFill>
              </a:defRPr>
            </a:lvl1pPr>
          </a:lstStyle>
          <a:p>
            <a:pPr lvl="0"/>
            <a:r>
              <a:rPr lang="de-DE"/>
              <a:t>Vertraulichkeitshinweis durch Klicken bearbeiten</a:t>
            </a:r>
          </a:p>
        </p:txBody>
      </p:sp>
      <p:sp>
        <p:nvSpPr>
          <p:cNvPr id="3" name="Grafik 9">
            <a:extLst>
              <a:ext uri="{FF2B5EF4-FFF2-40B4-BE49-F238E27FC236}">
                <a16:creationId xmlns:a16="http://schemas.microsoft.com/office/drawing/2014/main" id="{9A169E19-5F01-492C-A227-0B32A8118074}"/>
              </a:ext>
            </a:extLst>
          </p:cNvPr>
          <p:cNvSpPr txBox="1">
            <a:spLocks/>
          </p:cNvSpPr>
          <p:nvPr/>
        </p:nvSpPr>
        <p:spPr bwMode="gray">
          <a:xfrm>
            <a:off x="418272" y="6329316"/>
            <a:ext cx="1789200" cy="1980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vert="horz" lIns="0" tIns="0" rIns="0" bIns="0" rtlCol="0" anchor="ctr">
            <a:noAutofit/>
          </a:bodyPr>
          <a:lstStyle>
            <a:lvl1pPr marL="0" indent="0" algn="ctr" defTabSz="914400" rtl="0" eaLnBrk="1" latinLnBrk="0" hangingPunct="1">
              <a:spcBef>
                <a:spcPts val="1200"/>
              </a:spcBef>
              <a:buFont typeface="Arial" panose="020B0604020202020204" pitchFamily="34" charset="0"/>
              <a:buNone/>
              <a:defRPr lang="de-DE" sz="1200" b="0" kern="1200" baseline="0" dirty="0">
                <a:solidFill>
                  <a:schemeClr val="tx1"/>
                </a:solidFill>
                <a:latin typeface="+mn-lt"/>
                <a:ea typeface="+mn-ea"/>
                <a:cs typeface="+mn-cs"/>
              </a:defRPr>
            </a:lvl1pPr>
            <a:lvl2pPr marL="0" indent="0" algn="l" defTabSz="914400" rtl="0" eaLnBrk="1" latinLnBrk="0" hangingPunct="1">
              <a:spcBef>
                <a:spcPts val="600"/>
              </a:spcBef>
              <a:buFont typeface="Arial" panose="020B0604020202020204" pitchFamily="34" charset="0"/>
              <a:buNone/>
              <a:defRPr lang="de-DE" sz="1800" kern="1200" dirty="0">
                <a:solidFill>
                  <a:schemeClr val="tx1"/>
                </a:solidFill>
                <a:latin typeface="+mn-lt"/>
                <a:ea typeface="+mn-ea"/>
                <a:cs typeface="+mn-cs"/>
              </a:defRPr>
            </a:lvl2pPr>
            <a:lvl3pPr marL="180000" indent="-180000" algn="l" defTabSz="914400" rtl="0" eaLnBrk="1" latinLnBrk="0" hangingPunct="1">
              <a:spcBef>
                <a:spcPts val="600"/>
              </a:spcBef>
              <a:buClrTx/>
              <a:buFont typeface="Wingdings" panose="05000000000000000000" pitchFamily="2" charset="2"/>
              <a:buChar char=""/>
              <a:defRPr lang="de-DE" sz="1800" kern="1200" dirty="0">
                <a:solidFill>
                  <a:schemeClr val="tx1"/>
                </a:solidFill>
                <a:latin typeface="+mn-lt"/>
                <a:ea typeface="+mn-ea"/>
                <a:cs typeface="+mn-cs"/>
              </a:defRPr>
            </a:lvl3pPr>
            <a:lvl4pPr marL="360000" indent="-180000" algn="l" defTabSz="914400" rtl="0" eaLnBrk="1" latinLnBrk="0" hangingPunct="1">
              <a:spcBef>
                <a:spcPts val="400"/>
              </a:spcBef>
              <a:buClrTx/>
              <a:buFont typeface="Arial" panose="020B0604020202020204" pitchFamily="34" charset="0"/>
              <a:buChar char="•"/>
              <a:defRPr lang="de-DE" sz="1800" kern="1200" dirty="0">
                <a:solidFill>
                  <a:schemeClr val="tx1"/>
                </a:solidFill>
                <a:latin typeface="+mn-lt"/>
                <a:ea typeface="+mn-ea"/>
                <a:cs typeface="+mn-cs"/>
              </a:defRPr>
            </a:lvl4pPr>
            <a:lvl5pPr marL="576000" indent="-216000" algn="l" defTabSz="914400" rtl="0" eaLnBrk="1" latinLnBrk="0" hangingPunct="1">
              <a:spcBef>
                <a:spcPts val="400"/>
              </a:spcBef>
              <a:buFont typeface="Symbol" panose="05050102010706020507" pitchFamily="18" charset="2"/>
              <a:buChar char="-"/>
              <a:defRPr lang="de-DE" sz="1800" kern="1200" dirty="0">
                <a:solidFill>
                  <a:schemeClr val="tx1"/>
                </a:solidFill>
                <a:latin typeface="+mn-lt"/>
                <a:ea typeface="+mn-ea"/>
                <a:cs typeface="+mn-cs"/>
              </a:defRPr>
            </a:lvl5pPr>
            <a:lvl6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6pPr>
            <a:lvl7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7pPr>
            <a:lvl8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8pPr>
            <a:lvl9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9pPr>
          </a:lstStyle>
          <a:p>
            <a:pPr marL="342900" indent="-342900">
              <a:spcBef>
                <a:spcPts val="0"/>
              </a:spcBef>
            </a:pPr>
            <a:r>
              <a:rPr lang="de-DE"/>
              <a:t> </a:t>
            </a:r>
          </a:p>
        </p:txBody>
      </p:sp>
    </p:spTree>
    <p:extLst>
      <p:ext uri="{BB962C8B-B14F-4D97-AF65-F5344CB8AC3E}">
        <p14:creationId xmlns:p14="http://schemas.microsoft.com/office/powerpoint/2010/main" val="2053092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3977">
          <p15:clr>
            <a:srgbClr val="FBAE40"/>
          </p15:clr>
        </p15:guide>
        <p15:guide id="3" pos="3705">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Titelfolie mit Bild rechts 02">
    <p:spTree>
      <p:nvGrpSpPr>
        <p:cNvPr id="1" name=""/>
        <p:cNvGrpSpPr/>
        <p:nvPr/>
      </p:nvGrpSpPr>
      <p:grpSpPr>
        <a:xfrm>
          <a:off x="0" y="0"/>
          <a:ext cx="0" cy="0"/>
          <a:chOff x="0" y="0"/>
          <a:chExt cx="0" cy="0"/>
        </a:xfrm>
      </p:grpSpPr>
      <p:sp>
        <p:nvSpPr>
          <p:cNvPr id="16" name="Textplatzhalter 2">
            <a:extLst>
              <a:ext uri="{FF2B5EF4-FFF2-40B4-BE49-F238E27FC236}">
                <a16:creationId xmlns:a16="http://schemas.microsoft.com/office/drawing/2014/main" id="{F4FDA422-946E-4E94-9A2A-DF3A8167EDE2}"/>
              </a:ext>
            </a:extLst>
          </p:cNvPr>
          <p:cNvSpPr>
            <a:spLocks noGrp="1"/>
          </p:cNvSpPr>
          <p:nvPr>
            <p:ph type="body" sz="quarter" idx="15" hasCustomPrompt="1"/>
          </p:nvPr>
        </p:nvSpPr>
        <p:spPr bwMode="gray">
          <a:xfrm>
            <a:off x="418272" y="2873814"/>
            <a:ext cx="5464800" cy="1440000"/>
          </a:xfrm>
          <a:prstGeom prst="rect">
            <a:avLst/>
          </a:prstGeom>
          <a:noFill/>
        </p:spPr>
        <p:txBody>
          <a:bodyPr wrap="square" lIns="0" tIns="0">
            <a:noAutofit/>
          </a:bodyPr>
          <a:lstStyle>
            <a:lvl1pPr marL="0" indent="0">
              <a:spcBef>
                <a:spcPts val="0"/>
              </a:spcBef>
              <a:buFont typeface="Arial" panose="020B0604020202020204" pitchFamily="34" charset="0"/>
              <a:buNone/>
              <a:defRPr sz="3000" b="1">
                <a:solidFill>
                  <a:schemeClr val="accent1"/>
                </a:solidFill>
              </a:defRPr>
            </a:lvl1pPr>
            <a:lvl2pPr marL="0" indent="0">
              <a:spcBef>
                <a:spcPts val="0"/>
              </a:spcBef>
              <a:buFont typeface="Arial" panose="020B0604020202020204" pitchFamily="34" charset="0"/>
              <a:buNone/>
              <a:defRPr sz="3000" b="1">
                <a:solidFill>
                  <a:schemeClr val="bg1"/>
                </a:solidFill>
              </a:defRPr>
            </a:lvl2pPr>
            <a:lvl3pPr marL="0" indent="0">
              <a:spcBef>
                <a:spcPts val="0"/>
              </a:spcBef>
              <a:buNone/>
              <a:defRPr sz="3000" b="1">
                <a:solidFill>
                  <a:schemeClr val="bg1"/>
                </a:solidFill>
              </a:defRPr>
            </a:lvl3pPr>
            <a:lvl4pPr marL="0" indent="0">
              <a:spcBef>
                <a:spcPts val="0"/>
              </a:spcBef>
              <a:buNone/>
              <a:defRPr sz="3000" b="1">
                <a:solidFill>
                  <a:schemeClr val="bg1"/>
                </a:solidFill>
              </a:defRPr>
            </a:lvl4pPr>
            <a:lvl5pPr marL="0" indent="0">
              <a:spcBef>
                <a:spcPts val="0"/>
              </a:spcBef>
              <a:buNone/>
              <a:defRPr sz="3000" b="1">
                <a:solidFill>
                  <a:schemeClr val="bg1"/>
                </a:solidFill>
              </a:defRPr>
            </a:lvl5pPr>
          </a:lstStyle>
          <a:p>
            <a:pPr lvl="0"/>
            <a:r>
              <a:rPr lang="de-DE"/>
              <a:t>Titelfolie (max. 3-zeilig)</a:t>
            </a:r>
          </a:p>
        </p:txBody>
      </p:sp>
      <p:pic>
        <p:nvPicPr>
          <p:cNvPr id="23" name="Grafik 10">
            <a:extLst>
              <a:ext uri="{FF2B5EF4-FFF2-40B4-BE49-F238E27FC236}">
                <a16:creationId xmlns:a16="http://schemas.microsoft.com/office/drawing/2014/main" id="{2F90E044-3115-466D-9C29-E40A066B546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418272" y="409422"/>
            <a:ext cx="2016000" cy="608729"/>
          </a:xfrm>
          <a:prstGeom prst="rect">
            <a:avLst/>
          </a:prstGeom>
        </p:spPr>
      </p:pic>
      <p:sp>
        <p:nvSpPr>
          <p:cNvPr id="11" name="Bildplatzhalter 13">
            <a:extLst>
              <a:ext uri="{FF2B5EF4-FFF2-40B4-BE49-F238E27FC236}">
                <a16:creationId xmlns:a16="http://schemas.microsoft.com/office/drawing/2014/main" id="{056AAA96-AD8F-412D-9611-336F7D59A3B0}"/>
              </a:ext>
            </a:extLst>
          </p:cNvPr>
          <p:cNvSpPr>
            <a:spLocks noGrp="1" noChangeAspect="1"/>
          </p:cNvSpPr>
          <p:nvPr>
            <p:ph type="pic" sz="quarter" idx="27" hasCustomPrompt="1"/>
          </p:nvPr>
        </p:nvSpPr>
        <p:spPr bwMode="gray">
          <a:xfrm>
            <a:off x="6313611" y="407400"/>
            <a:ext cx="5473336" cy="5903281"/>
          </a:xfrm>
          <a:custGeom>
            <a:avLst/>
            <a:gdLst>
              <a:gd name="connsiteX0" fmla="*/ 4676664 w 5473336"/>
              <a:gd name="connsiteY0" fmla="*/ 1449 h 5903281"/>
              <a:gd name="connsiteX1" fmla="*/ 5473336 w 5473336"/>
              <a:gd name="connsiteY1" fmla="*/ 743339 h 5903281"/>
              <a:gd name="connsiteX2" fmla="*/ 5473336 w 5473336"/>
              <a:gd name="connsiteY2" fmla="*/ 2096552 h 5903281"/>
              <a:gd name="connsiteX3" fmla="*/ 5473336 w 5473336"/>
              <a:gd name="connsiteY3" fmla="*/ 3806731 h 5903281"/>
              <a:gd name="connsiteX4" fmla="*/ 5473336 w 5473336"/>
              <a:gd name="connsiteY4" fmla="*/ 4993882 h 5903281"/>
              <a:gd name="connsiteX5" fmla="*/ 966865 w 5473336"/>
              <a:gd name="connsiteY5" fmla="*/ 5882515 h 5903281"/>
              <a:gd name="connsiteX6" fmla="*/ 0 w 5473336"/>
              <a:gd name="connsiteY6" fmla="*/ 5159944 h 5903281"/>
              <a:gd name="connsiteX7" fmla="*/ 0 w 5473336"/>
              <a:gd name="connsiteY7" fmla="*/ 3806731 h 5903281"/>
              <a:gd name="connsiteX8" fmla="*/ 0 w 5473336"/>
              <a:gd name="connsiteY8" fmla="*/ 2096552 h 5903281"/>
              <a:gd name="connsiteX9" fmla="*/ 0 w 5473336"/>
              <a:gd name="connsiteY9" fmla="*/ 909401 h 5903281"/>
              <a:gd name="connsiteX10" fmla="*/ 4506471 w 5473336"/>
              <a:gd name="connsiteY10" fmla="*/ 20768 h 5903281"/>
              <a:gd name="connsiteX11" fmla="*/ 4676664 w 5473336"/>
              <a:gd name="connsiteY11" fmla="*/ 1449 h 5903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73336" h="5903281">
                <a:moveTo>
                  <a:pt x="4676664" y="1449"/>
                </a:moveTo>
                <a:cubicBezTo>
                  <a:pt x="5473336" y="-38045"/>
                  <a:pt x="5473336" y="743339"/>
                  <a:pt x="5473336" y="743339"/>
                </a:cubicBezTo>
                <a:lnTo>
                  <a:pt x="5473336" y="2096552"/>
                </a:lnTo>
                <a:lnTo>
                  <a:pt x="5473336" y="3806731"/>
                </a:lnTo>
                <a:lnTo>
                  <a:pt x="5473336" y="4993882"/>
                </a:lnTo>
                <a:lnTo>
                  <a:pt x="966865" y="5882515"/>
                </a:lnTo>
                <a:cubicBezTo>
                  <a:pt x="0" y="6048985"/>
                  <a:pt x="0" y="5159944"/>
                  <a:pt x="0" y="5159944"/>
                </a:cubicBezTo>
                <a:lnTo>
                  <a:pt x="0" y="3806731"/>
                </a:lnTo>
                <a:lnTo>
                  <a:pt x="0" y="2096552"/>
                </a:lnTo>
                <a:lnTo>
                  <a:pt x="0" y="909401"/>
                </a:lnTo>
                <a:lnTo>
                  <a:pt x="4506471" y="20768"/>
                </a:lnTo>
                <a:cubicBezTo>
                  <a:pt x="4566900" y="10364"/>
                  <a:pt x="4623552" y="4082"/>
                  <a:pt x="4676664" y="1449"/>
                </a:cubicBezTo>
                <a:close/>
              </a:path>
            </a:pathLst>
          </a:custGeom>
          <a:pattFill prst="pct20">
            <a:fgClr>
              <a:schemeClr val="accent3"/>
            </a:fgClr>
            <a:bgClr>
              <a:schemeClr val="bg1"/>
            </a:bgClr>
          </a:pattFill>
        </p:spPr>
        <p:txBody>
          <a:bodyPr vert="horz" wrap="square" lIns="72000" tIns="72000" rIns="72000" bIns="72000" rtlCol="0" anchor="ct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1600" baseline="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600"/>
              <a:t>Um ein Hintergrundbild einzufügen, markieren Sie bitte den Platzhalter und wählen entweder ein Bild aus der </a:t>
            </a:r>
            <a:r>
              <a:rPr lang="de-DE" sz="1600" err="1"/>
              <a:t>empower</a:t>
            </a:r>
            <a:r>
              <a:rPr lang="de-DE" sz="1600"/>
              <a:t> Bibliothek oder über den Reiter „Einfügen“, „Bilder“ aus. </a:t>
            </a:r>
          </a:p>
        </p:txBody>
      </p:sp>
      <p:sp>
        <p:nvSpPr>
          <p:cNvPr id="12" name="Textplatzhalter 3">
            <a:extLst>
              <a:ext uri="{FF2B5EF4-FFF2-40B4-BE49-F238E27FC236}">
                <a16:creationId xmlns:a16="http://schemas.microsoft.com/office/drawing/2014/main" id="{365C24DE-8F23-4E60-BD70-2594DC1790AF}"/>
              </a:ext>
            </a:extLst>
          </p:cNvPr>
          <p:cNvSpPr>
            <a:spLocks noGrp="1"/>
          </p:cNvSpPr>
          <p:nvPr>
            <p:ph type="body" sz="quarter" idx="20" hasCustomPrompt="1"/>
          </p:nvPr>
        </p:nvSpPr>
        <p:spPr bwMode="gray">
          <a:xfrm>
            <a:off x="418272" y="2498083"/>
            <a:ext cx="5464800" cy="246221"/>
          </a:xfrm>
        </p:spPr>
        <p:txBody>
          <a:bodyPr anchor="b" anchorCtr="0">
            <a:spAutoFit/>
          </a:bodyPr>
          <a:lstStyle>
            <a:lvl1pPr>
              <a:spcBef>
                <a:spcPts val="0"/>
              </a:spcBef>
              <a:defRPr sz="1600" b="1">
                <a:solidFill>
                  <a:schemeClr val="accent2"/>
                </a:solidFill>
              </a:defRPr>
            </a:lvl1pPr>
          </a:lstStyle>
          <a:p>
            <a:pPr lvl="0"/>
            <a:r>
              <a:rPr lang="de-DE"/>
              <a:t>Name Kunde / Veranstaltung</a:t>
            </a:r>
          </a:p>
        </p:txBody>
      </p:sp>
      <p:sp>
        <p:nvSpPr>
          <p:cNvPr id="13" name="Textplatzhalter 3">
            <a:extLst>
              <a:ext uri="{FF2B5EF4-FFF2-40B4-BE49-F238E27FC236}">
                <a16:creationId xmlns:a16="http://schemas.microsoft.com/office/drawing/2014/main" id="{F3453D81-6FEF-4159-93AE-FD993D2B9DAF}"/>
              </a:ext>
            </a:extLst>
          </p:cNvPr>
          <p:cNvSpPr>
            <a:spLocks noGrp="1"/>
          </p:cNvSpPr>
          <p:nvPr>
            <p:ph type="body" sz="quarter" idx="21" hasCustomPrompt="1"/>
          </p:nvPr>
        </p:nvSpPr>
        <p:spPr bwMode="gray">
          <a:xfrm>
            <a:off x="418272" y="4522877"/>
            <a:ext cx="5464800" cy="246221"/>
          </a:xfrm>
        </p:spPr>
        <p:txBody>
          <a:bodyPr anchor="b" anchorCtr="0">
            <a:spAutoFit/>
          </a:bodyPr>
          <a:lstStyle>
            <a:lvl1pPr>
              <a:spcBef>
                <a:spcPts val="0"/>
              </a:spcBef>
              <a:defRPr sz="1600" b="0">
                <a:solidFill>
                  <a:schemeClr val="tx2"/>
                </a:solidFill>
              </a:defRPr>
            </a:lvl1pPr>
          </a:lstStyle>
          <a:p>
            <a:pPr lvl="0"/>
            <a:r>
              <a:rPr lang="de-DE"/>
              <a:t>Ort, Datum – Referent Vorname Name</a:t>
            </a:r>
          </a:p>
        </p:txBody>
      </p:sp>
      <p:sp>
        <p:nvSpPr>
          <p:cNvPr id="14" name="Textplatzhalter 3">
            <a:extLst>
              <a:ext uri="{FF2B5EF4-FFF2-40B4-BE49-F238E27FC236}">
                <a16:creationId xmlns:a16="http://schemas.microsoft.com/office/drawing/2014/main" id="{E025037C-4493-467C-8B7B-A012A33B6D21}"/>
              </a:ext>
            </a:extLst>
          </p:cNvPr>
          <p:cNvSpPr>
            <a:spLocks noGrp="1"/>
          </p:cNvSpPr>
          <p:nvPr>
            <p:ph type="body" sz="quarter" idx="22" hasCustomPrompt="1"/>
          </p:nvPr>
        </p:nvSpPr>
        <p:spPr bwMode="gray">
          <a:xfrm>
            <a:off x="418272" y="4875803"/>
            <a:ext cx="5464800" cy="184666"/>
          </a:xfrm>
        </p:spPr>
        <p:txBody>
          <a:bodyPr>
            <a:spAutoFit/>
          </a:bodyPr>
          <a:lstStyle>
            <a:lvl1pPr>
              <a:spcBef>
                <a:spcPts val="0"/>
              </a:spcBef>
              <a:defRPr sz="1200" b="0">
                <a:solidFill>
                  <a:schemeClr val="tx2"/>
                </a:solidFill>
              </a:defRPr>
            </a:lvl1pPr>
          </a:lstStyle>
          <a:p>
            <a:pPr lvl="0"/>
            <a:r>
              <a:rPr lang="de-DE"/>
              <a:t>Vertraulichkeitshinweis durch Klicken bearbeiten</a:t>
            </a:r>
          </a:p>
        </p:txBody>
      </p:sp>
      <p:sp>
        <p:nvSpPr>
          <p:cNvPr id="2" name="Grafik 9">
            <a:extLst>
              <a:ext uri="{FF2B5EF4-FFF2-40B4-BE49-F238E27FC236}">
                <a16:creationId xmlns:a16="http://schemas.microsoft.com/office/drawing/2014/main" id="{454647D9-B36A-4E1A-B318-155B63CE1D3D}"/>
              </a:ext>
            </a:extLst>
          </p:cNvPr>
          <p:cNvSpPr txBox="1">
            <a:spLocks/>
          </p:cNvSpPr>
          <p:nvPr/>
        </p:nvSpPr>
        <p:spPr bwMode="gray">
          <a:xfrm>
            <a:off x="418272" y="6329316"/>
            <a:ext cx="1789200" cy="1980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vert="horz" lIns="0" tIns="0" rIns="0" bIns="0" rtlCol="0" anchor="ctr">
            <a:noAutofit/>
          </a:bodyPr>
          <a:lstStyle>
            <a:lvl1pPr marL="0" indent="0" algn="ctr" defTabSz="914400" rtl="0" eaLnBrk="1" latinLnBrk="0" hangingPunct="1">
              <a:spcBef>
                <a:spcPts val="1200"/>
              </a:spcBef>
              <a:buFont typeface="Arial" panose="020B0604020202020204" pitchFamily="34" charset="0"/>
              <a:buNone/>
              <a:defRPr lang="de-DE" sz="1200" b="0" kern="1200" baseline="0" dirty="0">
                <a:solidFill>
                  <a:schemeClr val="tx1"/>
                </a:solidFill>
                <a:latin typeface="+mn-lt"/>
                <a:ea typeface="+mn-ea"/>
                <a:cs typeface="+mn-cs"/>
              </a:defRPr>
            </a:lvl1pPr>
            <a:lvl2pPr marL="0" indent="0" algn="l" defTabSz="914400" rtl="0" eaLnBrk="1" latinLnBrk="0" hangingPunct="1">
              <a:spcBef>
                <a:spcPts val="600"/>
              </a:spcBef>
              <a:buFont typeface="Arial" panose="020B0604020202020204" pitchFamily="34" charset="0"/>
              <a:buNone/>
              <a:defRPr lang="de-DE" sz="1800" kern="1200" dirty="0">
                <a:solidFill>
                  <a:schemeClr val="tx1"/>
                </a:solidFill>
                <a:latin typeface="+mn-lt"/>
                <a:ea typeface="+mn-ea"/>
                <a:cs typeface="+mn-cs"/>
              </a:defRPr>
            </a:lvl2pPr>
            <a:lvl3pPr marL="180000" indent="-180000" algn="l" defTabSz="914400" rtl="0" eaLnBrk="1" latinLnBrk="0" hangingPunct="1">
              <a:spcBef>
                <a:spcPts val="600"/>
              </a:spcBef>
              <a:buClrTx/>
              <a:buFont typeface="Wingdings" panose="05000000000000000000" pitchFamily="2" charset="2"/>
              <a:buChar char=""/>
              <a:defRPr lang="de-DE" sz="1800" kern="1200" dirty="0">
                <a:solidFill>
                  <a:schemeClr val="tx1"/>
                </a:solidFill>
                <a:latin typeface="+mn-lt"/>
                <a:ea typeface="+mn-ea"/>
                <a:cs typeface="+mn-cs"/>
              </a:defRPr>
            </a:lvl3pPr>
            <a:lvl4pPr marL="360000" indent="-180000" algn="l" defTabSz="914400" rtl="0" eaLnBrk="1" latinLnBrk="0" hangingPunct="1">
              <a:spcBef>
                <a:spcPts val="400"/>
              </a:spcBef>
              <a:buClrTx/>
              <a:buFont typeface="Arial" panose="020B0604020202020204" pitchFamily="34" charset="0"/>
              <a:buChar char="•"/>
              <a:defRPr lang="de-DE" sz="1800" kern="1200" dirty="0">
                <a:solidFill>
                  <a:schemeClr val="tx1"/>
                </a:solidFill>
                <a:latin typeface="+mn-lt"/>
                <a:ea typeface="+mn-ea"/>
                <a:cs typeface="+mn-cs"/>
              </a:defRPr>
            </a:lvl4pPr>
            <a:lvl5pPr marL="576000" indent="-216000" algn="l" defTabSz="914400" rtl="0" eaLnBrk="1" latinLnBrk="0" hangingPunct="1">
              <a:spcBef>
                <a:spcPts val="400"/>
              </a:spcBef>
              <a:buFont typeface="Symbol" panose="05050102010706020507" pitchFamily="18" charset="2"/>
              <a:buChar char="-"/>
              <a:defRPr lang="de-DE" sz="1800" kern="1200" dirty="0">
                <a:solidFill>
                  <a:schemeClr val="tx1"/>
                </a:solidFill>
                <a:latin typeface="+mn-lt"/>
                <a:ea typeface="+mn-ea"/>
                <a:cs typeface="+mn-cs"/>
              </a:defRPr>
            </a:lvl5pPr>
            <a:lvl6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6pPr>
            <a:lvl7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7pPr>
            <a:lvl8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8pPr>
            <a:lvl9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9pPr>
          </a:lstStyle>
          <a:p>
            <a:pPr marL="342900" indent="-342900">
              <a:spcBef>
                <a:spcPts val="0"/>
              </a:spcBef>
            </a:pPr>
            <a:r>
              <a:rPr lang="de-DE"/>
              <a:t> </a:t>
            </a:r>
          </a:p>
        </p:txBody>
      </p:sp>
    </p:spTree>
    <p:extLst>
      <p:ext uri="{BB962C8B-B14F-4D97-AF65-F5344CB8AC3E}">
        <p14:creationId xmlns:p14="http://schemas.microsoft.com/office/powerpoint/2010/main" val="3941289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977">
          <p15:clr>
            <a:srgbClr val="FBAE40"/>
          </p15:clr>
        </p15:guide>
        <p15:guide id="2" pos="3705">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elfolie mit Bild rechts 02">
    <p:spTree>
      <p:nvGrpSpPr>
        <p:cNvPr id="1" name=""/>
        <p:cNvGrpSpPr/>
        <p:nvPr/>
      </p:nvGrpSpPr>
      <p:grpSpPr>
        <a:xfrm>
          <a:off x="0" y="0"/>
          <a:ext cx="0" cy="0"/>
          <a:chOff x="0" y="0"/>
          <a:chExt cx="0" cy="0"/>
        </a:xfrm>
      </p:grpSpPr>
      <p:sp>
        <p:nvSpPr>
          <p:cNvPr id="16" name="Textplatzhalter 2">
            <a:extLst>
              <a:ext uri="{FF2B5EF4-FFF2-40B4-BE49-F238E27FC236}">
                <a16:creationId xmlns:a16="http://schemas.microsoft.com/office/drawing/2014/main" id="{F4FDA422-946E-4E94-9A2A-DF3A8167EDE2}"/>
              </a:ext>
            </a:extLst>
          </p:cNvPr>
          <p:cNvSpPr>
            <a:spLocks noGrp="1"/>
          </p:cNvSpPr>
          <p:nvPr>
            <p:ph type="body" sz="quarter" idx="15" hasCustomPrompt="1"/>
          </p:nvPr>
        </p:nvSpPr>
        <p:spPr bwMode="gray">
          <a:xfrm>
            <a:off x="418272" y="2873814"/>
            <a:ext cx="5464800" cy="1440000"/>
          </a:xfrm>
          <a:prstGeom prst="rect">
            <a:avLst/>
          </a:prstGeom>
          <a:noFill/>
        </p:spPr>
        <p:txBody>
          <a:bodyPr wrap="square" lIns="0" tIns="0">
            <a:noAutofit/>
          </a:bodyPr>
          <a:lstStyle>
            <a:lvl1pPr marL="0" indent="0">
              <a:spcBef>
                <a:spcPts val="0"/>
              </a:spcBef>
              <a:buFont typeface="Arial" panose="020B0604020202020204" pitchFamily="34" charset="0"/>
              <a:buNone/>
              <a:defRPr sz="3000" b="1">
                <a:solidFill>
                  <a:schemeClr val="accent1"/>
                </a:solidFill>
              </a:defRPr>
            </a:lvl1pPr>
            <a:lvl2pPr marL="0" indent="0">
              <a:spcBef>
                <a:spcPts val="0"/>
              </a:spcBef>
              <a:buFont typeface="Arial" panose="020B0604020202020204" pitchFamily="34" charset="0"/>
              <a:buNone/>
              <a:defRPr sz="3000" b="1">
                <a:solidFill>
                  <a:schemeClr val="bg1"/>
                </a:solidFill>
              </a:defRPr>
            </a:lvl2pPr>
            <a:lvl3pPr marL="0" indent="0">
              <a:spcBef>
                <a:spcPts val="0"/>
              </a:spcBef>
              <a:buNone/>
              <a:defRPr sz="3000" b="1">
                <a:solidFill>
                  <a:schemeClr val="bg1"/>
                </a:solidFill>
              </a:defRPr>
            </a:lvl3pPr>
            <a:lvl4pPr marL="0" indent="0">
              <a:spcBef>
                <a:spcPts val="0"/>
              </a:spcBef>
              <a:buNone/>
              <a:defRPr sz="3000" b="1">
                <a:solidFill>
                  <a:schemeClr val="bg1"/>
                </a:solidFill>
              </a:defRPr>
            </a:lvl4pPr>
            <a:lvl5pPr marL="0" indent="0">
              <a:spcBef>
                <a:spcPts val="0"/>
              </a:spcBef>
              <a:buNone/>
              <a:defRPr sz="3000" b="1">
                <a:solidFill>
                  <a:schemeClr val="bg1"/>
                </a:solidFill>
              </a:defRPr>
            </a:lvl5pPr>
          </a:lstStyle>
          <a:p>
            <a:pPr lvl="0"/>
            <a:r>
              <a:rPr lang="de-DE"/>
              <a:t>Titelfolie (max. 3-zeilig)</a:t>
            </a:r>
          </a:p>
        </p:txBody>
      </p:sp>
      <p:pic>
        <p:nvPicPr>
          <p:cNvPr id="23" name="Grafik 10">
            <a:extLst>
              <a:ext uri="{FF2B5EF4-FFF2-40B4-BE49-F238E27FC236}">
                <a16:creationId xmlns:a16="http://schemas.microsoft.com/office/drawing/2014/main" id="{2F90E044-3115-466D-9C29-E40A066B546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418272" y="409422"/>
            <a:ext cx="2016000" cy="608729"/>
          </a:xfrm>
          <a:prstGeom prst="rect">
            <a:avLst/>
          </a:prstGeom>
        </p:spPr>
      </p:pic>
      <p:sp>
        <p:nvSpPr>
          <p:cNvPr id="11" name="Bildplatzhalter 13">
            <a:extLst>
              <a:ext uri="{FF2B5EF4-FFF2-40B4-BE49-F238E27FC236}">
                <a16:creationId xmlns:a16="http://schemas.microsoft.com/office/drawing/2014/main" id="{056AAA96-AD8F-412D-9611-336F7D59A3B0}"/>
              </a:ext>
            </a:extLst>
          </p:cNvPr>
          <p:cNvSpPr>
            <a:spLocks noGrp="1" noChangeAspect="1"/>
          </p:cNvSpPr>
          <p:nvPr>
            <p:ph type="pic" sz="quarter" idx="27" hasCustomPrompt="1"/>
          </p:nvPr>
        </p:nvSpPr>
        <p:spPr bwMode="gray">
          <a:xfrm>
            <a:off x="6313611" y="407400"/>
            <a:ext cx="5473336" cy="5903281"/>
          </a:xfrm>
          <a:custGeom>
            <a:avLst/>
            <a:gdLst>
              <a:gd name="connsiteX0" fmla="*/ 4676664 w 5473336"/>
              <a:gd name="connsiteY0" fmla="*/ 1449 h 5903281"/>
              <a:gd name="connsiteX1" fmla="*/ 5473336 w 5473336"/>
              <a:gd name="connsiteY1" fmla="*/ 743339 h 5903281"/>
              <a:gd name="connsiteX2" fmla="*/ 5473336 w 5473336"/>
              <a:gd name="connsiteY2" fmla="*/ 2096552 h 5903281"/>
              <a:gd name="connsiteX3" fmla="*/ 5473336 w 5473336"/>
              <a:gd name="connsiteY3" fmla="*/ 3806731 h 5903281"/>
              <a:gd name="connsiteX4" fmla="*/ 5473336 w 5473336"/>
              <a:gd name="connsiteY4" fmla="*/ 4993882 h 5903281"/>
              <a:gd name="connsiteX5" fmla="*/ 966865 w 5473336"/>
              <a:gd name="connsiteY5" fmla="*/ 5882515 h 5903281"/>
              <a:gd name="connsiteX6" fmla="*/ 0 w 5473336"/>
              <a:gd name="connsiteY6" fmla="*/ 5159944 h 5903281"/>
              <a:gd name="connsiteX7" fmla="*/ 0 w 5473336"/>
              <a:gd name="connsiteY7" fmla="*/ 3806731 h 5903281"/>
              <a:gd name="connsiteX8" fmla="*/ 0 w 5473336"/>
              <a:gd name="connsiteY8" fmla="*/ 2096552 h 5903281"/>
              <a:gd name="connsiteX9" fmla="*/ 0 w 5473336"/>
              <a:gd name="connsiteY9" fmla="*/ 909401 h 5903281"/>
              <a:gd name="connsiteX10" fmla="*/ 4506471 w 5473336"/>
              <a:gd name="connsiteY10" fmla="*/ 20768 h 5903281"/>
              <a:gd name="connsiteX11" fmla="*/ 4676664 w 5473336"/>
              <a:gd name="connsiteY11" fmla="*/ 1449 h 5903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73336" h="5903281">
                <a:moveTo>
                  <a:pt x="4676664" y="1449"/>
                </a:moveTo>
                <a:cubicBezTo>
                  <a:pt x="5473336" y="-38045"/>
                  <a:pt x="5473336" y="743339"/>
                  <a:pt x="5473336" y="743339"/>
                </a:cubicBezTo>
                <a:lnTo>
                  <a:pt x="5473336" y="2096552"/>
                </a:lnTo>
                <a:lnTo>
                  <a:pt x="5473336" y="3806731"/>
                </a:lnTo>
                <a:lnTo>
                  <a:pt x="5473336" y="4993882"/>
                </a:lnTo>
                <a:lnTo>
                  <a:pt x="966865" y="5882515"/>
                </a:lnTo>
                <a:cubicBezTo>
                  <a:pt x="0" y="6048985"/>
                  <a:pt x="0" y="5159944"/>
                  <a:pt x="0" y="5159944"/>
                </a:cubicBezTo>
                <a:lnTo>
                  <a:pt x="0" y="3806731"/>
                </a:lnTo>
                <a:lnTo>
                  <a:pt x="0" y="2096552"/>
                </a:lnTo>
                <a:lnTo>
                  <a:pt x="0" y="909401"/>
                </a:lnTo>
                <a:lnTo>
                  <a:pt x="4506471" y="20768"/>
                </a:lnTo>
                <a:cubicBezTo>
                  <a:pt x="4566900" y="10364"/>
                  <a:pt x="4623552" y="4082"/>
                  <a:pt x="4676664" y="1449"/>
                </a:cubicBezTo>
                <a:close/>
              </a:path>
            </a:pathLst>
          </a:custGeom>
          <a:pattFill prst="pct20">
            <a:fgClr>
              <a:schemeClr val="accent3"/>
            </a:fgClr>
            <a:bgClr>
              <a:schemeClr val="bg1"/>
            </a:bgClr>
          </a:pattFill>
        </p:spPr>
        <p:txBody>
          <a:bodyPr vert="horz" wrap="square" lIns="72000" tIns="72000" rIns="72000" bIns="72000" rtlCol="0" anchor="ct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1600" baseline="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600"/>
              <a:t>Um ein Hintergrundbild einzufügen, markieren Sie bitte den Platzhalter und wählen entweder ein Bild aus der </a:t>
            </a:r>
            <a:r>
              <a:rPr lang="de-DE" sz="1600" err="1"/>
              <a:t>empower</a:t>
            </a:r>
            <a:r>
              <a:rPr lang="de-DE" sz="1600"/>
              <a:t> Bibliothek oder über den Reiter „Einfügen“, „Bilder“ aus. </a:t>
            </a:r>
          </a:p>
        </p:txBody>
      </p:sp>
      <p:sp>
        <p:nvSpPr>
          <p:cNvPr id="12" name="Textplatzhalter 3">
            <a:extLst>
              <a:ext uri="{FF2B5EF4-FFF2-40B4-BE49-F238E27FC236}">
                <a16:creationId xmlns:a16="http://schemas.microsoft.com/office/drawing/2014/main" id="{365C24DE-8F23-4E60-BD70-2594DC1790AF}"/>
              </a:ext>
            </a:extLst>
          </p:cNvPr>
          <p:cNvSpPr>
            <a:spLocks noGrp="1"/>
          </p:cNvSpPr>
          <p:nvPr>
            <p:ph type="body" sz="quarter" idx="20" hasCustomPrompt="1"/>
          </p:nvPr>
        </p:nvSpPr>
        <p:spPr bwMode="gray">
          <a:xfrm>
            <a:off x="418272" y="2498083"/>
            <a:ext cx="5464800" cy="246221"/>
          </a:xfrm>
        </p:spPr>
        <p:txBody>
          <a:bodyPr anchor="b" anchorCtr="0">
            <a:spAutoFit/>
          </a:bodyPr>
          <a:lstStyle>
            <a:lvl1pPr>
              <a:spcBef>
                <a:spcPts val="0"/>
              </a:spcBef>
              <a:defRPr sz="1600" b="1">
                <a:solidFill>
                  <a:schemeClr val="accent2"/>
                </a:solidFill>
              </a:defRPr>
            </a:lvl1pPr>
          </a:lstStyle>
          <a:p>
            <a:pPr lvl="0"/>
            <a:r>
              <a:rPr lang="de-DE"/>
              <a:t>Name Kunde / Veranstaltung</a:t>
            </a:r>
          </a:p>
        </p:txBody>
      </p:sp>
      <p:sp>
        <p:nvSpPr>
          <p:cNvPr id="13" name="Textplatzhalter 3">
            <a:extLst>
              <a:ext uri="{FF2B5EF4-FFF2-40B4-BE49-F238E27FC236}">
                <a16:creationId xmlns:a16="http://schemas.microsoft.com/office/drawing/2014/main" id="{F3453D81-6FEF-4159-93AE-FD993D2B9DAF}"/>
              </a:ext>
            </a:extLst>
          </p:cNvPr>
          <p:cNvSpPr>
            <a:spLocks noGrp="1"/>
          </p:cNvSpPr>
          <p:nvPr>
            <p:ph type="body" sz="quarter" idx="21" hasCustomPrompt="1"/>
          </p:nvPr>
        </p:nvSpPr>
        <p:spPr bwMode="gray">
          <a:xfrm>
            <a:off x="418272" y="4522877"/>
            <a:ext cx="5464800" cy="246221"/>
          </a:xfrm>
        </p:spPr>
        <p:txBody>
          <a:bodyPr anchor="b" anchorCtr="0">
            <a:spAutoFit/>
          </a:bodyPr>
          <a:lstStyle>
            <a:lvl1pPr>
              <a:spcBef>
                <a:spcPts val="0"/>
              </a:spcBef>
              <a:defRPr sz="1600" b="0">
                <a:solidFill>
                  <a:schemeClr val="tx2"/>
                </a:solidFill>
              </a:defRPr>
            </a:lvl1pPr>
          </a:lstStyle>
          <a:p>
            <a:pPr lvl="0"/>
            <a:r>
              <a:rPr lang="de-DE"/>
              <a:t>Ort, Datum – Referent Vorname Name</a:t>
            </a:r>
          </a:p>
        </p:txBody>
      </p:sp>
      <p:sp>
        <p:nvSpPr>
          <p:cNvPr id="14" name="Textplatzhalter 3">
            <a:extLst>
              <a:ext uri="{FF2B5EF4-FFF2-40B4-BE49-F238E27FC236}">
                <a16:creationId xmlns:a16="http://schemas.microsoft.com/office/drawing/2014/main" id="{E025037C-4493-467C-8B7B-A012A33B6D21}"/>
              </a:ext>
            </a:extLst>
          </p:cNvPr>
          <p:cNvSpPr>
            <a:spLocks noGrp="1"/>
          </p:cNvSpPr>
          <p:nvPr>
            <p:ph type="body" sz="quarter" idx="22" hasCustomPrompt="1"/>
          </p:nvPr>
        </p:nvSpPr>
        <p:spPr bwMode="gray">
          <a:xfrm>
            <a:off x="418272" y="4875803"/>
            <a:ext cx="5464800" cy="184666"/>
          </a:xfrm>
        </p:spPr>
        <p:txBody>
          <a:bodyPr>
            <a:spAutoFit/>
          </a:bodyPr>
          <a:lstStyle>
            <a:lvl1pPr>
              <a:spcBef>
                <a:spcPts val="0"/>
              </a:spcBef>
              <a:defRPr sz="1200" b="0">
                <a:solidFill>
                  <a:schemeClr val="tx2"/>
                </a:solidFill>
              </a:defRPr>
            </a:lvl1pPr>
          </a:lstStyle>
          <a:p>
            <a:pPr lvl="0"/>
            <a:r>
              <a:rPr lang="de-DE"/>
              <a:t>Vertraulichkeitshinweis durch Klicken bearbeiten</a:t>
            </a:r>
          </a:p>
        </p:txBody>
      </p:sp>
      <p:sp>
        <p:nvSpPr>
          <p:cNvPr id="2" name="Grafik 9">
            <a:extLst>
              <a:ext uri="{FF2B5EF4-FFF2-40B4-BE49-F238E27FC236}">
                <a16:creationId xmlns:a16="http://schemas.microsoft.com/office/drawing/2014/main" id="{454647D9-B36A-4E1A-B318-155B63CE1D3D}"/>
              </a:ext>
            </a:extLst>
          </p:cNvPr>
          <p:cNvSpPr txBox="1">
            <a:spLocks/>
          </p:cNvSpPr>
          <p:nvPr/>
        </p:nvSpPr>
        <p:spPr bwMode="gray">
          <a:xfrm>
            <a:off x="418272" y="6329316"/>
            <a:ext cx="1789200" cy="198000"/>
          </a:xfrm>
          <a:prstGeom prst="rect">
            <a:avLst/>
          </a:prstGeom>
          <a:blipFill>
            <a:blip r:embed="rId3" cstate="screen">
              <a:extLst>
                <a:ext uri="{28A0092B-C50C-407E-A947-70E740481C1C}">
                  <a14:useLocalDpi xmlns:a14="http://schemas.microsoft.com/office/drawing/2010/main"/>
                </a:ext>
              </a:extLst>
            </a:blip>
            <a:stretch>
              <a:fillRect/>
            </a:stretch>
          </a:blipFill>
        </p:spPr>
        <p:txBody>
          <a:bodyPr vert="horz" lIns="0" tIns="0" rIns="0" bIns="0" rtlCol="0" anchor="ctr">
            <a:noAutofit/>
          </a:bodyPr>
          <a:lstStyle>
            <a:lvl1pPr marL="0" indent="0" algn="ctr" defTabSz="914400" rtl="0" eaLnBrk="1" latinLnBrk="0" hangingPunct="1">
              <a:spcBef>
                <a:spcPts val="1200"/>
              </a:spcBef>
              <a:buFont typeface="Arial" panose="020B0604020202020204" pitchFamily="34" charset="0"/>
              <a:buNone/>
              <a:defRPr lang="de-DE" sz="1200" b="0" kern="1200" baseline="0" dirty="0">
                <a:solidFill>
                  <a:schemeClr val="tx1"/>
                </a:solidFill>
                <a:latin typeface="+mn-lt"/>
                <a:ea typeface="+mn-ea"/>
                <a:cs typeface="+mn-cs"/>
              </a:defRPr>
            </a:lvl1pPr>
            <a:lvl2pPr marL="0" indent="0" algn="l" defTabSz="914400" rtl="0" eaLnBrk="1" latinLnBrk="0" hangingPunct="1">
              <a:spcBef>
                <a:spcPts val="600"/>
              </a:spcBef>
              <a:buFont typeface="Arial" panose="020B0604020202020204" pitchFamily="34" charset="0"/>
              <a:buNone/>
              <a:defRPr lang="de-DE" sz="1800" kern="1200" dirty="0">
                <a:solidFill>
                  <a:schemeClr val="tx1"/>
                </a:solidFill>
                <a:latin typeface="+mn-lt"/>
                <a:ea typeface="+mn-ea"/>
                <a:cs typeface="+mn-cs"/>
              </a:defRPr>
            </a:lvl2pPr>
            <a:lvl3pPr marL="180000" indent="-180000" algn="l" defTabSz="914400" rtl="0" eaLnBrk="1" latinLnBrk="0" hangingPunct="1">
              <a:spcBef>
                <a:spcPts val="600"/>
              </a:spcBef>
              <a:buClrTx/>
              <a:buFont typeface="Wingdings" panose="05000000000000000000" pitchFamily="2" charset="2"/>
              <a:buChar char=""/>
              <a:defRPr lang="de-DE" sz="1800" kern="1200" dirty="0">
                <a:solidFill>
                  <a:schemeClr val="tx1"/>
                </a:solidFill>
                <a:latin typeface="+mn-lt"/>
                <a:ea typeface="+mn-ea"/>
                <a:cs typeface="+mn-cs"/>
              </a:defRPr>
            </a:lvl3pPr>
            <a:lvl4pPr marL="360000" indent="-180000" algn="l" defTabSz="914400" rtl="0" eaLnBrk="1" latinLnBrk="0" hangingPunct="1">
              <a:spcBef>
                <a:spcPts val="400"/>
              </a:spcBef>
              <a:buClrTx/>
              <a:buFont typeface="Arial" panose="020B0604020202020204" pitchFamily="34" charset="0"/>
              <a:buChar char="•"/>
              <a:defRPr lang="de-DE" sz="1800" kern="1200" dirty="0">
                <a:solidFill>
                  <a:schemeClr val="tx1"/>
                </a:solidFill>
                <a:latin typeface="+mn-lt"/>
                <a:ea typeface="+mn-ea"/>
                <a:cs typeface="+mn-cs"/>
              </a:defRPr>
            </a:lvl4pPr>
            <a:lvl5pPr marL="576000" indent="-216000" algn="l" defTabSz="914400" rtl="0" eaLnBrk="1" latinLnBrk="0" hangingPunct="1">
              <a:spcBef>
                <a:spcPts val="400"/>
              </a:spcBef>
              <a:buFont typeface="Symbol" panose="05050102010706020507" pitchFamily="18" charset="2"/>
              <a:buChar char="-"/>
              <a:defRPr lang="de-DE" sz="1800" kern="1200" dirty="0">
                <a:solidFill>
                  <a:schemeClr val="tx1"/>
                </a:solidFill>
                <a:latin typeface="+mn-lt"/>
                <a:ea typeface="+mn-ea"/>
                <a:cs typeface="+mn-cs"/>
              </a:defRPr>
            </a:lvl5pPr>
            <a:lvl6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6pPr>
            <a:lvl7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7pPr>
            <a:lvl8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8pPr>
            <a:lvl9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9pPr>
          </a:lstStyle>
          <a:p>
            <a:pPr marL="342900" indent="-342900">
              <a:spcBef>
                <a:spcPts val="0"/>
              </a:spcBef>
            </a:pPr>
            <a:r>
              <a:rPr lang="de-DE"/>
              <a:t> </a:t>
            </a:r>
          </a:p>
        </p:txBody>
      </p:sp>
    </p:spTree>
    <p:extLst>
      <p:ext uri="{BB962C8B-B14F-4D97-AF65-F5344CB8AC3E}">
        <p14:creationId xmlns:p14="http://schemas.microsoft.com/office/powerpoint/2010/main" val="618198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977">
          <p15:clr>
            <a:srgbClr val="FBAE40"/>
          </p15:clr>
        </p15:guide>
        <p15:guide id="2" pos="3705">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Titelfolie mit vollflächigem Bild und positiv Logo">
    <p:spTree>
      <p:nvGrpSpPr>
        <p:cNvPr id="1" name=""/>
        <p:cNvGrpSpPr/>
        <p:nvPr/>
      </p:nvGrpSpPr>
      <p:grpSpPr>
        <a:xfrm>
          <a:off x="0" y="0"/>
          <a:ext cx="0" cy="0"/>
          <a:chOff x="0" y="0"/>
          <a:chExt cx="0" cy="0"/>
        </a:xfrm>
      </p:grpSpPr>
      <p:sp>
        <p:nvSpPr>
          <p:cNvPr id="40" name="Bildplatzhalter 36">
            <a:extLst>
              <a:ext uri="{FF2B5EF4-FFF2-40B4-BE49-F238E27FC236}">
                <a16:creationId xmlns:a16="http://schemas.microsoft.com/office/drawing/2014/main" id="{4870B9C8-84BA-4064-8D52-EB6D8BB2C906}"/>
              </a:ext>
            </a:extLst>
          </p:cNvPr>
          <p:cNvSpPr>
            <a:spLocks noGrp="1"/>
          </p:cNvSpPr>
          <p:nvPr>
            <p:ph type="pic" sz="quarter" idx="14" hasCustomPrompt="1"/>
          </p:nvPr>
        </p:nvSpPr>
        <p:spPr bwMode="gray">
          <a:xfrm>
            <a:off x="0" y="-1"/>
            <a:ext cx="12196763" cy="6858000"/>
          </a:xfrm>
          <a:prstGeom prst="rect">
            <a:avLst/>
          </a:prstGeom>
          <a:pattFill prst="pct20">
            <a:fgClr>
              <a:schemeClr val="accent3"/>
            </a:fgClr>
            <a:bgClr>
              <a:schemeClr val="bg1"/>
            </a:bgClr>
          </a:pattFill>
        </p:spPr>
        <p:txBody>
          <a:bodyPr vert="horz" wrap="square" lIns="2520000" tIns="72000" rIns="72000" bIns="72000" rtlCol="0" anchor="b">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1600" b="0" baseline="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a:t>Um ein Hintergrundbild einzufügen, markieren Sie bitte den Platzhalter und wählen entweder ein Bild aus der </a:t>
            </a:r>
            <a:r>
              <a:rPr lang="de-DE" err="1"/>
              <a:t>empower</a:t>
            </a:r>
            <a:r>
              <a:rPr lang="de-DE"/>
              <a:t> Bibliothek oder über den Reiter „Einfügen“, „Bilder“ aus. Dieses Layout steht in zwei Varianten zur Verfügung: mit positivem und negativem Partnerlogo. Bitte wählen Sie das Layout aus, welches den bestmöglichen Kontrast zwischen Bild und Logo erzeugt.</a:t>
            </a:r>
          </a:p>
        </p:txBody>
      </p:sp>
      <p:sp>
        <p:nvSpPr>
          <p:cNvPr id="37" name="Textplatzhalter 36">
            <a:extLst>
              <a:ext uri="{FF2B5EF4-FFF2-40B4-BE49-F238E27FC236}">
                <a16:creationId xmlns:a16="http://schemas.microsoft.com/office/drawing/2014/main" id="{DD62A635-A50B-4D06-8242-F16A7C749EF4}"/>
              </a:ext>
            </a:extLst>
          </p:cNvPr>
          <p:cNvSpPr>
            <a:spLocks noGrp="1" noChangeAspect="1"/>
          </p:cNvSpPr>
          <p:nvPr>
            <p:ph type="body" sz="quarter" idx="31" hasCustomPrompt="1"/>
          </p:nvPr>
        </p:nvSpPr>
        <p:spPr bwMode="gray">
          <a:xfrm rot="10800000" flipH="1" flipV="1">
            <a:off x="6105117" y="1016947"/>
            <a:ext cx="5678388" cy="4824104"/>
          </a:xfrm>
          <a:custGeom>
            <a:avLst/>
            <a:gdLst>
              <a:gd name="connsiteX0" fmla="*/ 826519 w 5678388"/>
              <a:gd name="connsiteY0" fmla="*/ 4822598 h 4824104"/>
              <a:gd name="connsiteX1" fmla="*/ 0 w 5678388"/>
              <a:gd name="connsiteY1" fmla="*/ 4050794 h 4824104"/>
              <a:gd name="connsiteX2" fmla="*/ 0 w 5678388"/>
              <a:gd name="connsiteY2" fmla="*/ 3078968 h 4824104"/>
              <a:gd name="connsiteX3" fmla="*/ 0 w 5678388"/>
              <a:gd name="connsiteY3" fmla="*/ 2945586 h 4824104"/>
              <a:gd name="connsiteX4" fmla="*/ 0 w 5678388"/>
              <a:gd name="connsiteY4" fmla="*/ 2938350 h 4824104"/>
              <a:gd name="connsiteX5" fmla="*/ 0 w 5678388"/>
              <a:gd name="connsiteY5" fmla="*/ 2893100 h 4824104"/>
              <a:gd name="connsiteX6" fmla="*/ 0 w 5678388"/>
              <a:gd name="connsiteY6" fmla="*/ 2786888 h 4824104"/>
              <a:gd name="connsiteX7" fmla="*/ 0 w 5678388"/>
              <a:gd name="connsiteY7" fmla="*/ 2732179 h 4824104"/>
              <a:gd name="connsiteX8" fmla="*/ 0 w 5678388"/>
              <a:gd name="connsiteY8" fmla="*/ 2646270 h 4824104"/>
              <a:gd name="connsiteX9" fmla="*/ 0 w 5678388"/>
              <a:gd name="connsiteY9" fmla="*/ 2643017 h 4824104"/>
              <a:gd name="connsiteX10" fmla="*/ 0 w 5678388"/>
              <a:gd name="connsiteY10" fmla="*/ 2607497 h 4824104"/>
              <a:gd name="connsiteX11" fmla="*/ 0 w 5678388"/>
              <a:gd name="connsiteY11" fmla="*/ 2473167 h 4824104"/>
              <a:gd name="connsiteX12" fmla="*/ 0 w 5678388"/>
              <a:gd name="connsiteY12" fmla="*/ 2350937 h 4824104"/>
              <a:gd name="connsiteX13" fmla="*/ 0 w 5678388"/>
              <a:gd name="connsiteY13" fmla="*/ 2216607 h 4824104"/>
              <a:gd name="connsiteX14" fmla="*/ 0 w 5678388"/>
              <a:gd name="connsiteY14" fmla="*/ 2181087 h 4824104"/>
              <a:gd name="connsiteX15" fmla="*/ 0 w 5678388"/>
              <a:gd name="connsiteY15" fmla="*/ 2177834 h 4824104"/>
              <a:gd name="connsiteX16" fmla="*/ 0 w 5678388"/>
              <a:gd name="connsiteY16" fmla="*/ 2103762 h 4824104"/>
              <a:gd name="connsiteX17" fmla="*/ 0 w 5678388"/>
              <a:gd name="connsiteY17" fmla="*/ 2091925 h 4824104"/>
              <a:gd name="connsiteX18" fmla="*/ 0 w 5678388"/>
              <a:gd name="connsiteY18" fmla="*/ 2037216 h 4824104"/>
              <a:gd name="connsiteX19" fmla="*/ 0 w 5678388"/>
              <a:gd name="connsiteY19" fmla="*/ 1885754 h 4824104"/>
              <a:gd name="connsiteX20" fmla="*/ 0 w 5678388"/>
              <a:gd name="connsiteY20" fmla="*/ 1878518 h 4824104"/>
              <a:gd name="connsiteX21" fmla="*/ 0 w 5678388"/>
              <a:gd name="connsiteY21" fmla="*/ 1745136 h 4824104"/>
              <a:gd name="connsiteX22" fmla="*/ 0 w 5678388"/>
              <a:gd name="connsiteY22" fmla="*/ 946068 h 4824104"/>
              <a:gd name="connsiteX23" fmla="*/ 4675300 w 5678388"/>
              <a:gd name="connsiteY23" fmla="*/ 21604 h 4824104"/>
              <a:gd name="connsiteX24" fmla="*/ 5678388 w 5678388"/>
              <a:gd name="connsiteY24" fmla="*/ 773310 h 4824104"/>
              <a:gd name="connsiteX25" fmla="*/ 5678388 w 5678388"/>
              <a:gd name="connsiteY25" fmla="*/ 1745136 h 4824104"/>
              <a:gd name="connsiteX26" fmla="*/ 5678388 w 5678388"/>
              <a:gd name="connsiteY26" fmla="*/ 1878518 h 4824104"/>
              <a:gd name="connsiteX27" fmla="*/ 5678388 w 5678388"/>
              <a:gd name="connsiteY27" fmla="*/ 1885754 h 4824104"/>
              <a:gd name="connsiteX28" fmla="*/ 5678388 w 5678388"/>
              <a:gd name="connsiteY28" fmla="*/ 1931004 h 4824104"/>
              <a:gd name="connsiteX29" fmla="*/ 5678388 w 5678388"/>
              <a:gd name="connsiteY29" fmla="*/ 2037216 h 4824104"/>
              <a:gd name="connsiteX30" fmla="*/ 5678388 w 5678388"/>
              <a:gd name="connsiteY30" fmla="*/ 2091925 h 4824104"/>
              <a:gd name="connsiteX31" fmla="*/ 5678388 w 5678388"/>
              <a:gd name="connsiteY31" fmla="*/ 2177834 h 4824104"/>
              <a:gd name="connsiteX32" fmla="*/ 5678388 w 5678388"/>
              <a:gd name="connsiteY32" fmla="*/ 2181087 h 4824104"/>
              <a:gd name="connsiteX33" fmla="*/ 5678388 w 5678388"/>
              <a:gd name="connsiteY33" fmla="*/ 2216607 h 4824104"/>
              <a:gd name="connsiteX34" fmla="*/ 5678388 w 5678388"/>
              <a:gd name="connsiteY34" fmla="*/ 2350937 h 4824104"/>
              <a:gd name="connsiteX35" fmla="*/ 5678388 w 5678388"/>
              <a:gd name="connsiteY35" fmla="*/ 2473167 h 4824104"/>
              <a:gd name="connsiteX36" fmla="*/ 5678388 w 5678388"/>
              <a:gd name="connsiteY36" fmla="*/ 2607497 h 4824104"/>
              <a:gd name="connsiteX37" fmla="*/ 5678388 w 5678388"/>
              <a:gd name="connsiteY37" fmla="*/ 2643017 h 4824104"/>
              <a:gd name="connsiteX38" fmla="*/ 5678388 w 5678388"/>
              <a:gd name="connsiteY38" fmla="*/ 2646270 h 4824104"/>
              <a:gd name="connsiteX39" fmla="*/ 5678388 w 5678388"/>
              <a:gd name="connsiteY39" fmla="*/ 2720342 h 4824104"/>
              <a:gd name="connsiteX40" fmla="*/ 5678388 w 5678388"/>
              <a:gd name="connsiteY40" fmla="*/ 2732179 h 4824104"/>
              <a:gd name="connsiteX41" fmla="*/ 5678388 w 5678388"/>
              <a:gd name="connsiteY41" fmla="*/ 2786888 h 4824104"/>
              <a:gd name="connsiteX42" fmla="*/ 5678388 w 5678388"/>
              <a:gd name="connsiteY42" fmla="*/ 2938350 h 4824104"/>
              <a:gd name="connsiteX43" fmla="*/ 5678388 w 5678388"/>
              <a:gd name="connsiteY43" fmla="*/ 2945586 h 4824104"/>
              <a:gd name="connsiteX44" fmla="*/ 5678388 w 5678388"/>
              <a:gd name="connsiteY44" fmla="*/ 3078968 h 4824104"/>
              <a:gd name="connsiteX45" fmla="*/ 5678388 w 5678388"/>
              <a:gd name="connsiteY45" fmla="*/ 3878036 h 4824104"/>
              <a:gd name="connsiteX46" fmla="*/ 1003088 w 5678388"/>
              <a:gd name="connsiteY46" fmla="*/ 4802500 h 4824104"/>
              <a:gd name="connsiteX47" fmla="*/ 826519 w 5678388"/>
              <a:gd name="connsiteY47" fmla="*/ 4822598 h 482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678388" h="4824104">
                <a:moveTo>
                  <a:pt x="826519" y="4822598"/>
                </a:moveTo>
                <a:cubicBezTo>
                  <a:pt x="0" y="4863684"/>
                  <a:pt x="0" y="4050794"/>
                  <a:pt x="0" y="4050794"/>
                </a:cubicBezTo>
                <a:lnTo>
                  <a:pt x="0" y="3078968"/>
                </a:lnTo>
                <a:lnTo>
                  <a:pt x="0" y="2945586"/>
                </a:lnTo>
                <a:lnTo>
                  <a:pt x="0" y="2938350"/>
                </a:lnTo>
                <a:lnTo>
                  <a:pt x="0" y="2893100"/>
                </a:lnTo>
                <a:lnTo>
                  <a:pt x="0" y="2786888"/>
                </a:lnTo>
                <a:lnTo>
                  <a:pt x="0" y="2732179"/>
                </a:lnTo>
                <a:lnTo>
                  <a:pt x="0" y="2646270"/>
                </a:lnTo>
                <a:lnTo>
                  <a:pt x="0" y="2643017"/>
                </a:lnTo>
                <a:lnTo>
                  <a:pt x="0" y="2607497"/>
                </a:lnTo>
                <a:lnTo>
                  <a:pt x="0" y="2473167"/>
                </a:lnTo>
                <a:lnTo>
                  <a:pt x="0" y="2350937"/>
                </a:lnTo>
                <a:lnTo>
                  <a:pt x="0" y="2216607"/>
                </a:lnTo>
                <a:lnTo>
                  <a:pt x="0" y="2181087"/>
                </a:lnTo>
                <a:lnTo>
                  <a:pt x="0" y="2177834"/>
                </a:lnTo>
                <a:lnTo>
                  <a:pt x="0" y="2103762"/>
                </a:lnTo>
                <a:lnTo>
                  <a:pt x="0" y="2091925"/>
                </a:lnTo>
                <a:lnTo>
                  <a:pt x="0" y="2037216"/>
                </a:lnTo>
                <a:lnTo>
                  <a:pt x="0" y="1885754"/>
                </a:lnTo>
                <a:lnTo>
                  <a:pt x="0" y="1878518"/>
                </a:lnTo>
                <a:lnTo>
                  <a:pt x="0" y="1745136"/>
                </a:lnTo>
                <a:lnTo>
                  <a:pt x="0" y="946068"/>
                </a:lnTo>
                <a:lnTo>
                  <a:pt x="4675300" y="21604"/>
                </a:lnTo>
                <a:cubicBezTo>
                  <a:pt x="5678388" y="-151578"/>
                  <a:pt x="5678388" y="773310"/>
                  <a:pt x="5678388" y="773310"/>
                </a:cubicBezTo>
                <a:lnTo>
                  <a:pt x="5678388" y="1745136"/>
                </a:lnTo>
                <a:lnTo>
                  <a:pt x="5678388" y="1878518"/>
                </a:lnTo>
                <a:lnTo>
                  <a:pt x="5678388" y="1885754"/>
                </a:lnTo>
                <a:lnTo>
                  <a:pt x="5678388" y="1931004"/>
                </a:lnTo>
                <a:lnTo>
                  <a:pt x="5678388" y="2037216"/>
                </a:lnTo>
                <a:lnTo>
                  <a:pt x="5678388" y="2091925"/>
                </a:lnTo>
                <a:lnTo>
                  <a:pt x="5678388" y="2177834"/>
                </a:lnTo>
                <a:lnTo>
                  <a:pt x="5678388" y="2181087"/>
                </a:lnTo>
                <a:lnTo>
                  <a:pt x="5678388" y="2216607"/>
                </a:lnTo>
                <a:lnTo>
                  <a:pt x="5678388" y="2350937"/>
                </a:lnTo>
                <a:lnTo>
                  <a:pt x="5678388" y="2473167"/>
                </a:lnTo>
                <a:lnTo>
                  <a:pt x="5678388" y="2607497"/>
                </a:lnTo>
                <a:lnTo>
                  <a:pt x="5678388" y="2643017"/>
                </a:lnTo>
                <a:lnTo>
                  <a:pt x="5678388" y="2646270"/>
                </a:lnTo>
                <a:lnTo>
                  <a:pt x="5678388" y="2720342"/>
                </a:lnTo>
                <a:lnTo>
                  <a:pt x="5678388" y="2732179"/>
                </a:lnTo>
                <a:lnTo>
                  <a:pt x="5678388" y="2786888"/>
                </a:lnTo>
                <a:lnTo>
                  <a:pt x="5678388" y="2938350"/>
                </a:lnTo>
                <a:lnTo>
                  <a:pt x="5678388" y="2945586"/>
                </a:lnTo>
                <a:lnTo>
                  <a:pt x="5678388" y="3078968"/>
                </a:lnTo>
                <a:lnTo>
                  <a:pt x="5678388" y="3878036"/>
                </a:lnTo>
                <a:lnTo>
                  <a:pt x="1003088" y="4802500"/>
                </a:lnTo>
                <a:cubicBezTo>
                  <a:pt x="940395" y="4813324"/>
                  <a:pt x="881620" y="4819858"/>
                  <a:pt x="826519" y="4822598"/>
                </a:cubicBezTo>
                <a:close/>
              </a:path>
            </a:pathLst>
          </a:custGeom>
          <a:solidFill>
            <a:schemeClr val="tx2">
              <a:alpha val="89000"/>
            </a:schemeClr>
          </a:solidFill>
        </p:spPr>
        <p:txBody>
          <a:bodyPr wrap="square" lIns="324000" tIns="1548000" rIns="324000">
            <a:noAutofit/>
          </a:bodyPr>
          <a:lstStyle>
            <a:lvl1pPr>
              <a:spcBef>
                <a:spcPts val="0"/>
              </a:spcBef>
              <a:defRPr sz="30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a:t>Titelfolie (max. 3-zeilig)</a:t>
            </a:r>
          </a:p>
        </p:txBody>
      </p:sp>
      <p:sp>
        <p:nvSpPr>
          <p:cNvPr id="46" name="Textplatzhalter 45">
            <a:extLst>
              <a:ext uri="{FF2B5EF4-FFF2-40B4-BE49-F238E27FC236}">
                <a16:creationId xmlns:a16="http://schemas.microsoft.com/office/drawing/2014/main" id="{502B336E-2768-432F-A8DB-0FB505A7D87D}"/>
              </a:ext>
            </a:extLst>
          </p:cNvPr>
          <p:cNvSpPr>
            <a:spLocks noGrp="1"/>
          </p:cNvSpPr>
          <p:nvPr>
            <p:ph type="body" sz="quarter" idx="17" hasCustomPrompt="1"/>
          </p:nvPr>
        </p:nvSpPr>
        <p:spPr bwMode="gray">
          <a:xfrm>
            <a:off x="630000" y="409422"/>
            <a:ext cx="2014538" cy="608013"/>
          </a:xfrm>
          <a:blipFill>
            <a:blip r:embed="rId2" cstate="print">
              <a:extLst>
                <a:ext uri="{28A0092B-C50C-407E-A947-70E740481C1C}">
                  <a14:useLocalDpi xmlns:a14="http://schemas.microsoft.com/office/drawing/2010/main"/>
                </a:ext>
              </a:extLst>
            </a:blip>
            <a:stretch>
              <a:fillRect/>
            </a:stretch>
          </a:blipFill>
        </p:spPr>
        <p:txBody>
          <a:bodyPr/>
          <a:lstStyle>
            <a:lvl1pPr marL="0" indent="0">
              <a:spcBef>
                <a:spcPts val="0"/>
              </a:spcBef>
              <a:spcAft>
                <a:spcPts val="0"/>
              </a:spcAft>
              <a:buFont typeface="Arial" panose="020B0604020202020204" pitchFamily="34" charset="0"/>
              <a:buNone/>
              <a:defRPr sz="100">
                <a:noFill/>
              </a:defRPr>
            </a:lvl1pPr>
            <a:lvl2pPr marL="0" indent="0">
              <a:spcBef>
                <a:spcPts val="0"/>
              </a:spcBef>
              <a:spcAft>
                <a:spcPts val="0"/>
              </a:spcAft>
              <a:buFont typeface="Arial" panose="020B0604020202020204" pitchFamily="34" charset="0"/>
              <a:buNone/>
              <a:defRPr sz="100">
                <a:noFill/>
              </a:defRPr>
            </a:lvl2pPr>
            <a:lvl3pPr marL="0" indent="0">
              <a:spcBef>
                <a:spcPts val="0"/>
              </a:spcBef>
              <a:spcAft>
                <a:spcPts val="0"/>
              </a:spcAft>
              <a:buFont typeface="Arial" panose="020B0604020202020204" pitchFamily="34" charset="0"/>
              <a:buNone/>
              <a:defRPr sz="100">
                <a:noFill/>
              </a:defRPr>
            </a:lvl3pPr>
            <a:lvl4pPr marL="0" indent="0">
              <a:spcBef>
                <a:spcPts val="0"/>
              </a:spcBef>
              <a:spcAft>
                <a:spcPts val="0"/>
              </a:spcAft>
              <a:buFont typeface="Arial" panose="020B0604020202020204" pitchFamily="34" charset="0"/>
              <a:buNone/>
              <a:defRPr sz="100">
                <a:noFill/>
              </a:defRPr>
            </a:lvl4pPr>
            <a:lvl5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
                <a:noFill/>
              </a:defRPr>
            </a:lvl5pPr>
            <a:lvl6pPr marL="360000" indent="0">
              <a:spcBef>
                <a:spcPts val="0"/>
              </a:spcBef>
              <a:spcAft>
                <a:spcPts val="0"/>
              </a:spcAft>
              <a:buFontTx/>
              <a:buNone/>
              <a:defRPr/>
            </a:lvl6pPr>
            <a:lvl7pPr marL="0" indent="0">
              <a:spcBef>
                <a:spcPts val="0"/>
              </a:spcBef>
              <a:spcAft>
                <a:spcPts val="0"/>
              </a:spcAft>
              <a:buNone/>
              <a:defRPr/>
            </a:lvl7pPr>
            <a:lvl8pPr marL="0" indent="0">
              <a:spcBef>
                <a:spcPts val="0"/>
              </a:spcBef>
              <a:spcAft>
                <a:spcPts val="0"/>
              </a:spcAft>
              <a:buNone/>
              <a:defRPr/>
            </a:lvl8pPr>
            <a:lvl9pPr marL="0" indent="0">
              <a:spcBef>
                <a:spcPts val="0"/>
              </a:spcBef>
              <a:spcAft>
                <a:spcPts val="0"/>
              </a:spcAft>
              <a:buNone/>
              <a:defRPr/>
            </a:lvl9pPr>
          </a:lstStyle>
          <a:p>
            <a:pPr lvl="0"/>
            <a:r>
              <a:rPr lang="de-DE"/>
              <a:t>x</a:t>
            </a:r>
          </a:p>
        </p:txBody>
      </p:sp>
      <p:sp>
        <p:nvSpPr>
          <p:cNvPr id="11" name="Textplatzhalter 2">
            <a:extLst>
              <a:ext uri="{FF2B5EF4-FFF2-40B4-BE49-F238E27FC236}">
                <a16:creationId xmlns:a16="http://schemas.microsoft.com/office/drawing/2014/main" id="{2E3D8BF4-3D98-4A0E-9022-DEBBAD27982A}"/>
              </a:ext>
            </a:extLst>
          </p:cNvPr>
          <p:cNvSpPr>
            <a:spLocks noGrp="1"/>
          </p:cNvSpPr>
          <p:nvPr>
            <p:ph type="body" sz="quarter" idx="18"/>
          </p:nvPr>
        </p:nvSpPr>
        <p:spPr bwMode="gray">
          <a:xfrm>
            <a:off x="630000" y="6329316"/>
            <a:ext cx="1789200" cy="198000"/>
          </a:xfrm>
          <a:blipFill>
            <a:blip r:embed="rId3" cstate="print">
              <a:extLst>
                <a:ext uri="{28A0092B-C50C-407E-A947-70E740481C1C}">
                  <a14:useLocalDpi xmlns:a14="http://schemas.microsoft.com/office/drawing/2010/main"/>
                </a:ext>
              </a:extLst>
            </a:blip>
            <a:stretch>
              <a:fillRect/>
            </a:stretch>
          </a:blipFill>
        </p:spPr>
        <p:txBody>
          <a:bodyPr/>
          <a:lstStyle>
            <a:lvl1pPr>
              <a:defRPr sz="100">
                <a:noFill/>
              </a:defRPr>
            </a:lvl1pPr>
          </a:lstStyle>
          <a:p>
            <a:pPr lvl="0"/>
            <a:r>
              <a:rPr lang="de-DE"/>
              <a:t>Mastertextformat bearbeiten</a:t>
            </a:r>
          </a:p>
        </p:txBody>
      </p:sp>
      <p:sp>
        <p:nvSpPr>
          <p:cNvPr id="10" name="Textplatzhalter 3">
            <a:extLst>
              <a:ext uri="{FF2B5EF4-FFF2-40B4-BE49-F238E27FC236}">
                <a16:creationId xmlns:a16="http://schemas.microsoft.com/office/drawing/2014/main" id="{B4C54DAF-104E-4D17-9617-35514BC0CF94}"/>
              </a:ext>
            </a:extLst>
          </p:cNvPr>
          <p:cNvSpPr>
            <a:spLocks noGrp="1"/>
          </p:cNvSpPr>
          <p:nvPr>
            <p:ph type="body" sz="quarter" idx="20" hasCustomPrompt="1"/>
          </p:nvPr>
        </p:nvSpPr>
        <p:spPr bwMode="gray">
          <a:xfrm>
            <a:off x="6425504" y="2192887"/>
            <a:ext cx="5148000" cy="246221"/>
          </a:xfrm>
        </p:spPr>
        <p:txBody>
          <a:bodyPr anchor="b" anchorCtr="0">
            <a:spAutoFit/>
          </a:bodyPr>
          <a:lstStyle>
            <a:lvl1pPr>
              <a:spcBef>
                <a:spcPts val="0"/>
              </a:spcBef>
              <a:defRPr sz="1600" b="1">
                <a:solidFill>
                  <a:schemeClr val="accent2"/>
                </a:solidFill>
              </a:defRPr>
            </a:lvl1pPr>
          </a:lstStyle>
          <a:p>
            <a:pPr lvl="0"/>
            <a:r>
              <a:rPr lang="de-DE"/>
              <a:t>Name Kunde / Veranstaltung</a:t>
            </a:r>
          </a:p>
        </p:txBody>
      </p:sp>
      <p:sp>
        <p:nvSpPr>
          <p:cNvPr id="12" name="Textplatzhalter 3">
            <a:extLst>
              <a:ext uri="{FF2B5EF4-FFF2-40B4-BE49-F238E27FC236}">
                <a16:creationId xmlns:a16="http://schemas.microsoft.com/office/drawing/2014/main" id="{08391FC7-524F-4A12-94F6-3C06C638CC1D}"/>
              </a:ext>
            </a:extLst>
          </p:cNvPr>
          <p:cNvSpPr>
            <a:spLocks noGrp="1"/>
          </p:cNvSpPr>
          <p:nvPr>
            <p:ph type="body" sz="quarter" idx="21" hasCustomPrompt="1"/>
          </p:nvPr>
        </p:nvSpPr>
        <p:spPr bwMode="gray">
          <a:xfrm>
            <a:off x="6425504" y="4217681"/>
            <a:ext cx="5148000" cy="246221"/>
          </a:xfrm>
        </p:spPr>
        <p:txBody>
          <a:bodyPr anchor="b" anchorCtr="0">
            <a:spAutoFit/>
          </a:bodyPr>
          <a:lstStyle>
            <a:lvl1pPr>
              <a:spcBef>
                <a:spcPts val="0"/>
              </a:spcBef>
              <a:defRPr sz="1600" b="0">
                <a:solidFill>
                  <a:schemeClr val="bg1"/>
                </a:solidFill>
              </a:defRPr>
            </a:lvl1pPr>
          </a:lstStyle>
          <a:p>
            <a:pPr lvl="0"/>
            <a:r>
              <a:rPr lang="de-DE"/>
              <a:t>Ort, Datum – Referent Vorname Name</a:t>
            </a:r>
          </a:p>
        </p:txBody>
      </p:sp>
      <p:sp>
        <p:nvSpPr>
          <p:cNvPr id="13" name="Textplatzhalter 3">
            <a:extLst>
              <a:ext uri="{FF2B5EF4-FFF2-40B4-BE49-F238E27FC236}">
                <a16:creationId xmlns:a16="http://schemas.microsoft.com/office/drawing/2014/main" id="{93F8EDDD-90E8-4B69-9152-0DB4319AE30C}"/>
              </a:ext>
            </a:extLst>
          </p:cNvPr>
          <p:cNvSpPr>
            <a:spLocks noGrp="1"/>
          </p:cNvSpPr>
          <p:nvPr>
            <p:ph type="body" sz="quarter" idx="22" hasCustomPrompt="1"/>
          </p:nvPr>
        </p:nvSpPr>
        <p:spPr bwMode="gray">
          <a:xfrm>
            <a:off x="6425504" y="4570607"/>
            <a:ext cx="5148000" cy="184666"/>
          </a:xfrm>
        </p:spPr>
        <p:txBody>
          <a:bodyPr>
            <a:spAutoFit/>
          </a:bodyPr>
          <a:lstStyle>
            <a:lvl1pPr>
              <a:spcBef>
                <a:spcPts val="0"/>
              </a:spcBef>
              <a:defRPr sz="1200" b="0">
                <a:solidFill>
                  <a:schemeClr val="bg1"/>
                </a:solidFill>
              </a:defRPr>
            </a:lvl1pPr>
          </a:lstStyle>
          <a:p>
            <a:pPr lvl="0"/>
            <a:r>
              <a:rPr lang="de-DE"/>
              <a:t>Vertraulichkeitshinweis durch Klicken bearbeiten</a:t>
            </a:r>
          </a:p>
        </p:txBody>
      </p:sp>
    </p:spTree>
    <p:extLst>
      <p:ext uri="{BB962C8B-B14F-4D97-AF65-F5344CB8AC3E}">
        <p14:creationId xmlns:p14="http://schemas.microsoft.com/office/powerpoint/2010/main" val="2994725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Titelfolie mit vollflächigem Bild und negativ Logo">
    <p:spTree>
      <p:nvGrpSpPr>
        <p:cNvPr id="1" name=""/>
        <p:cNvGrpSpPr/>
        <p:nvPr/>
      </p:nvGrpSpPr>
      <p:grpSpPr>
        <a:xfrm>
          <a:off x="0" y="0"/>
          <a:ext cx="0" cy="0"/>
          <a:chOff x="0" y="0"/>
          <a:chExt cx="0" cy="0"/>
        </a:xfrm>
      </p:grpSpPr>
      <p:sp>
        <p:nvSpPr>
          <p:cNvPr id="40" name="Bildplatzhalter 36">
            <a:extLst>
              <a:ext uri="{FF2B5EF4-FFF2-40B4-BE49-F238E27FC236}">
                <a16:creationId xmlns:a16="http://schemas.microsoft.com/office/drawing/2014/main" id="{4870B9C8-84BA-4064-8D52-EB6D8BB2C906}"/>
              </a:ext>
            </a:extLst>
          </p:cNvPr>
          <p:cNvSpPr>
            <a:spLocks noGrp="1"/>
          </p:cNvSpPr>
          <p:nvPr>
            <p:ph type="pic" sz="quarter" idx="14" hasCustomPrompt="1"/>
          </p:nvPr>
        </p:nvSpPr>
        <p:spPr bwMode="gray">
          <a:xfrm>
            <a:off x="0" y="-1"/>
            <a:ext cx="12196763" cy="6858000"/>
          </a:xfrm>
          <a:prstGeom prst="rect">
            <a:avLst/>
          </a:prstGeom>
          <a:pattFill prst="pct20">
            <a:fgClr>
              <a:schemeClr val="accent3"/>
            </a:fgClr>
            <a:bgClr>
              <a:schemeClr val="bg1"/>
            </a:bgClr>
          </a:pattFill>
        </p:spPr>
        <p:txBody>
          <a:bodyPr vert="horz" wrap="square" lIns="2520000" tIns="72000" rIns="72000" bIns="72000" rtlCol="0" anchor="b">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1600" b="0" baseline="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a:t>Um ein Hintergrundbild einzufügen, markieren Sie bitte den Platzhalter und wählen entweder ein Bild aus der </a:t>
            </a:r>
            <a:r>
              <a:rPr lang="de-DE" err="1"/>
              <a:t>empower</a:t>
            </a:r>
            <a:r>
              <a:rPr lang="de-DE"/>
              <a:t> Bibliothek oder über den Reiter „Einfügen“, „Bilder“ aus. Dieses Layout steht in zwei Varianten zur Verfügung: mit positivem und negativem Partnerlogo. Bitte wählen Sie das Layout aus, welches den bestmöglichen Kontrast zwischen Bild und Logo erzeugt.</a:t>
            </a:r>
          </a:p>
        </p:txBody>
      </p:sp>
      <p:sp>
        <p:nvSpPr>
          <p:cNvPr id="46" name="Textplatzhalter 45">
            <a:extLst>
              <a:ext uri="{FF2B5EF4-FFF2-40B4-BE49-F238E27FC236}">
                <a16:creationId xmlns:a16="http://schemas.microsoft.com/office/drawing/2014/main" id="{502B336E-2768-432F-A8DB-0FB505A7D87D}"/>
              </a:ext>
            </a:extLst>
          </p:cNvPr>
          <p:cNvSpPr>
            <a:spLocks noGrp="1"/>
          </p:cNvSpPr>
          <p:nvPr>
            <p:ph type="body" sz="quarter" idx="17" hasCustomPrompt="1"/>
          </p:nvPr>
        </p:nvSpPr>
        <p:spPr bwMode="gray">
          <a:xfrm>
            <a:off x="630000" y="409422"/>
            <a:ext cx="2014538" cy="608013"/>
          </a:xfrm>
          <a:blipFill>
            <a:blip r:embed="rId2" cstate="screen">
              <a:extLst>
                <a:ext uri="{28A0092B-C50C-407E-A947-70E740481C1C}">
                  <a14:useLocalDpi xmlns:a14="http://schemas.microsoft.com/office/drawing/2010/main"/>
                </a:ext>
              </a:extLst>
            </a:blip>
            <a:stretch>
              <a:fillRect/>
            </a:stretch>
          </a:blipFill>
        </p:spPr>
        <p:txBody>
          <a:bodyPr/>
          <a:lstStyle>
            <a:lvl1pPr marL="0" indent="0">
              <a:spcBef>
                <a:spcPts val="0"/>
              </a:spcBef>
              <a:spcAft>
                <a:spcPts val="0"/>
              </a:spcAft>
              <a:buFont typeface="Arial" panose="020B0604020202020204" pitchFamily="34" charset="0"/>
              <a:buNone/>
              <a:defRPr sz="100">
                <a:noFill/>
              </a:defRPr>
            </a:lvl1pPr>
            <a:lvl2pPr marL="0" indent="0">
              <a:spcBef>
                <a:spcPts val="0"/>
              </a:spcBef>
              <a:spcAft>
                <a:spcPts val="0"/>
              </a:spcAft>
              <a:buFont typeface="Arial" panose="020B0604020202020204" pitchFamily="34" charset="0"/>
              <a:buNone/>
              <a:defRPr sz="100">
                <a:noFill/>
              </a:defRPr>
            </a:lvl2pPr>
            <a:lvl3pPr marL="0" indent="0">
              <a:spcBef>
                <a:spcPts val="0"/>
              </a:spcBef>
              <a:spcAft>
                <a:spcPts val="0"/>
              </a:spcAft>
              <a:buFont typeface="Arial" panose="020B0604020202020204" pitchFamily="34" charset="0"/>
              <a:buNone/>
              <a:defRPr sz="100">
                <a:noFill/>
              </a:defRPr>
            </a:lvl3pPr>
            <a:lvl4pPr marL="0" indent="0">
              <a:spcBef>
                <a:spcPts val="0"/>
              </a:spcBef>
              <a:spcAft>
                <a:spcPts val="0"/>
              </a:spcAft>
              <a:buFont typeface="Arial" panose="020B0604020202020204" pitchFamily="34" charset="0"/>
              <a:buNone/>
              <a:defRPr sz="100">
                <a:noFill/>
              </a:defRPr>
            </a:lvl4pPr>
            <a:lvl5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
                <a:noFill/>
              </a:defRPr>
            </a:lvl5pPr>
            <a:lvl6pPr marL="360000" indent="0">
              <a:spcBef>
                <a:spcPts val="0"/>
              </a:spcBef>
              <a:spcAft>
                <a:spcPts val="0"/>
              </a:spcAft>
              <a:buFontTx/>
              <a:buNone/>
              <a:defRPr/>
            </a:lvl6pPr>
            <a:lvl7pPr marL="0" indent="0">
              <a:spcBef>
                <a:spcPts val="0"/>
              </a:spcBef>
              <a:spcAft>
                <a:spcPts val="0"/>
              </a:spcAft>
              <a:buNone/>
              <a:defRPr/>
            </a:lvl7pPr>
            <a:lvl8pPr marL="0" indent="0">
              <a:spcBef>
                <a:spcPts val="0"/>
              </a:spcBef>
              <a:spcAft>
                <a:spcPts val="0"/>
              </a:spcAft>
              <a:buNone/>
              <a:defRPr/>
            </a:lvl8pPr>
            <a:lvl9pPr marL="0" indent="0">
              <a:spcBef>
                <a:spcPts val="0"/>
              </a:spcBef>
              <a:spcAft>
                <a:spcPts val="0"/>
              </a:spcAft>
              <a:buNone/>
              <a:defRPr/>
            </a:lvl9pPr>
          </a:lstStyle>
          <a:p>
            <a:pPr lvl="0"/>
            <a:r>
              <a:rPr lang="de-DE"/>
              <a:t>x</a:t>
            </a:r>
          </a:p>
        </p:txBody>
      </p:sp>
      <p:sp>
        <p:nvSpPr>
          <p:cNvPr id="9" name="Textplatzhalter 2">
            <a:extLst>
              <a:ext uri="{FF2B5EF4-FFF2-40B4-BE49-F238E27FC236}">
                <a16:creationId xmlns:a16="http://schemas.microsoft.com/office/drawing/2014/main" id="{81D4B7A0-3950-46BA-B387-3F42017A93A9}"/>
              </a:ext>
            </a:extLst>
          </p:cNvPr>
          <p:cNvSpPr>
            <a:spLocks noGrp="1"/>
          </p:cNvSpPr>
          <p:nvPr>
            <p:ph type="body" sz="quarter" idx="18"/>
          </p:nvPr>
        </p:nvSpPr>
        <p:spPr bwMode="gray">
          <a:xfrm>
            <a:off x="630000" y="6329316"/>
            <a:ext cx="1789200" cy="198000"/>
          </a:xfrm>
          <a:blipFill>
            <a:blip r:embed="rId3" cstate="print">
              <a:extLst>
                <a:ext uri="{28A0092B-C50C-407E-A947-70E740481C1C}">
                  <a14:useLocalDpi xmlns:a14="http://schemas.microsoft.com/office/drawing/2010/main"/>
                </a:ext>
              </a:extLst>
            </a:blip>
            <a:stretch>
              <a:fillRect/>
            </a:stretch>
          </a:blipFill>
        </p:spPr>
        <p:txBody>
          <a:bodyPr/>
          <a:lstStyle>
            <a:lvl1pPr>
              <a:defRPr sz="100">
                <a:noFill/>
              </a:defRPr>
            </a:lvl1pPr>
          </a:lstStyle>
          <a:p>
            <a:pPr lvl="0"/>
            <a:r>
              <a:rPr lang="de-DE"/>
              <a:t>Mastertextformat bearbeiten</a:t>
            </a:r>
          </a:p>
        </p:txBody>
      </p:sp>
      <p:sp>
        <p:nvSpPr>
          <p:cNvPr id="38" name="Textplatzhalter 37">
            <a:extLst>
              <a:ext uri="{FF2B5EF4-FFF2-40B4-BE49-F238E27FC236}">
                <a16:creationId xmlns:a16="http://schemas.microsoft.com/office/drawing/2014/main" id="{D8424B1A-AED2-4D57-A7C4-56820EB3B910}"/>
              </a:ext>
            </a:extLst>
          </p:cNvPr>
          <p:cNvSpPr>
            <a:spLocks noGrp="1" noChangeAspect="1"/>
          </p:cNvSpPr>
          <p:nvPr>
            <p:ph type="body" sz="quarter" idx="31" hasCustomPrompt="1"/>
          </p:nvPr>
        </p:nvSpPr>
        <p:spPr bwMode="gray">
          <a:xfrm rot="10800000" flipH="1" flipV="1">
            <a:off x="6105117" y="1016947"/>
            <a:ext cx="5678388" cy="4824104"/>
          </a:xfrm>
          <a:custGeom>
            <a:avLst/>
            <a:gdLst>
              <a:gd name="connsiteX0" fmla="*/ 826519 w 5678388"/>
              <a:gd name="connsiteY0" fmla="*/ 4822598 h 4824104"/>
              <a:gd name="connsiteX1" fmla="*/ 0 w 5678388"/>
              <a:gd name="connsiteY1" fmla="*/ 4050794 h 4824104"/>
              <a:gd name="connsiteX2" fmla="*/ 0 w 5678388"/>
              <a:gd name="connsiteY2" fmla="*/ 3078968 h 4824104"/>
              <a:gd name="connsiteX3" fmla="*/ 0 w 5678388"/>
              <a:gd name="connsiteY3" fmla="*/ 2945586 h 4824104"/>
              <a:gd name="connsiteX4" fmla="*/ 0 w 5678388"/>
              <a:gd name="connsiteY4" fmla="*/ 2938350 h 4824104"/>
              <a:gd name="connsiteX5" fmla="*/ 0 w 5678388"/>
              <a:gd name="connsiteY5" fmla="*/ 2893100 h 4824104"/>
              <a:gd name="connsiteX6" fmla="*/ 0 w 5678388"/>
              <a:gd name="connsiteY6" fmla="*/ 2786888 h 4824104"/>
              <a:gd name="connsiteX7" fmla="*/ 0 w 5678388"/>
              <a:gd name="connsiteY7" fmla="*/ 2732179 h 4824104"/>
              <a:gd name="connsiteX8" fmla="*/ 0 w 5678388"/>
              <a:gd name="connsiteY8" fmla="*/ 2646270 h 4824104"/>
              <a:gd name="connsiteX9" fmla="*/ 0 w 5678388"/>
              <a:gd name="connsiteY9" fmla="*/ 2643017 h 4824104"/>
              <a:gd name="connsiteX10" fmla="*/ 0 w 5678388"/>
              <a:gd name="connsiteY10" fmla="*/ 2607497 h 4824104"/>
              <a:gd name="connsiteX11" fmla="*/ 0 w 5678388"/>
              <a:gd name="connsiteY11" fmla="*/ 2473167 h 4824104"/>
              <a:gd name="connsiteX12" fmla="*/ 0 w 5678388"/>
              <a:gd name="connsiteY12" fmla="*/ 2350937 h 4824104"/>
              <a:gd name="connsiteX13" fmla="*/ 0 w 5678388"/>
              <a:gd name="connsiteY13" fmla="*/ 2216607 h 4824104"/>
              <a:gd name="connsiteX14" fmla="*/ 0 w 5678388"/>
              <a:gd name="connsiteY14" fmla="*/ 2181087 h 4824104"/>
              <a:gd name="connsiteX15" fmla="*/ 0 w 5678388"/>
              <a:gd name="connsiteY15" fmla="*/ 2177834 h 4824104"/>
              <a:gd name="connsiteX16" fmla="*/ 0 w 5678388"/>
              <a:gd name="connsiteY16" fmla="*/ 2103762 h 4824104"/>
              <a:gd name="connsiteX17" fmla="*/ 0 w 5678388"/>
              <a:gd name="connsiteY17" fmla="*/ 2091925 h 4824104"/>
              <a:gd name="connsiteX18" fmla="*/ 0 w 5678388"/>
              <a:gd name="connsiteY18" fmla="*/ 2037216 h 4824104"/>
              <a:gd name="connsiteX19" fmla="*/ 0 w 5678388"/>
              <a:gd name="connsiteY19" fmla="*/ 1885754 h 4824104"/>
              <a:gd name="connsiteX20" fmla="*/ 0 w 5678388"/>
              <a:gd name="connsiteY20" fmla="*/ 1878518 h 4824104"/>
              <a:gd name="connsiteX21" fmla="*/ 0 w 5678388"/>
              <a:gd name="connsiteY21" fmla="*/ 1745136 h 4824104"/>
              <a:gd name="connsiteX22" fmla="*/ 0 w 5678388"/>
              <a:gd name="connsiteY22" fmla="*/ 946068 h 4824104"/>
              <a:gd name="connsiteX23" fmla="*/ 4675300 w 5678388"/>
              <a:gd name="connsiteY23" fmla="*/ 21604 h 4824104"/>
              <a:gd name="connsiteX24" fmla="*/ 5678388 w 5678388"/>
              <a:gd name="connsiteY24" fmla="*/ 773310 h 4824104"/>
              <a:gd name="connsiteX25" fmla="*/ 5678388 w 5678388"/>
              <a:gd name="connsiteY25" fmla="*/ 1745136 h 4824104"/>
              <a:gd name="connsiteX26" fmla="*/ 5678388 w 5678388"/>
              <a:gd name="connsiteY26" fmla="*/ 1878518 h 4824104"/>
              <a:gd name="connsiteX27" fmla="*/ 5678388 w 5678388"/>
              <a:gd name="connsiteY27" fmla="*/ 1885754 h 4824104"/>
              <a:gd name="connsiteX28" fmla="*/ 5678388 w 5678388"/>
              <a:gd name="connsiteY28" fmla="*/ 1931004 h 4824104"/>
              <a:gd name="connsiteX29" fmla="*/ 5678388 w 5678388"/>
              <a:gd name="connsiteY29" fmla="*/ 2037216 h 4824104"/>
              <a:gd name="connsiteX30" fmla="*/ 5678388 w 5678388"/>
              <a:gd name="connsiteY30" fmla="*/ 2091925 h 4824104"/>
              <a:gd name="connsiteX31" fmla="*/ 5678388 w 5678388"/>
              <a:gd name="connsiteY31" fmla="*/ 2177834 h 4824104"/>
              <a:gd name="connsiteX32" fmla="*/ 5678388 w 5678388"/>
              <a:gd name="connsiteY32" fmla="*/ 2181087 h 4824104"/>
              <a:gd name="connsiteX33" fmla="*/ 5678388 w 5678388"/>
              <a:gd name="connsiteY33" fmla="*/ 2216607 h 4824104"/>
              <a:gd name="connsiteX34" fmla="*/ 5678388 w 5678388"/>
              <a:gd name="connsiteY34" fmla="*/ 2350937 h 4824104"/>
              <a:gd name="connsiteX35" fmla="*/ 5678388 w 5678388"/>
              <a:gd name="connsiteY35" fmla="*/ 2473167 h 4824104"/>
              <a:gd name="connsiteX36" fmla="*/ 5678388 w 5678388"/>
              <a:gd name="connsiteY36" fmla="*/ 2607497 h 4824104"/>
              <a:gd name="connsiteX37" fmla="*/ 5678388 w 5678388"/>
              <a:gd name="connsiteY37" fmla="*/ 2643017 h 4824104"/>
              <a:gd name="connsiteX38" fmla="*/ 5678388 w 5678388"/>
              <a:gd name="connsiteY38" fmla="*/ 2646270 h 4824104"/>
              <a:gd name="connsiteX39" fmla="*/ 5678388 w 5678388"/>
              <a:gd name="connsiteY39" fmla="*/ 2720342 h 4824104"/>
              <a:gd name="connsiteX40" fmla="*/ 5678388 w 5678388"/>
              <a:gd name="connsiteY40" fmla="*/ 2732179 h 4824104"/>
              <a:gd name="connsiteX41" fmla="*/ 5678388 w 5678388"/>
              <a:gd name="connsiteY41" fmla="*/ 2786888 h 4824104"/>
              <a:gd name="connsiteX42" fmla="*/ 5678388 w 5678388"/>
              <a:gd name="connsiteY42" fmla="*/ 2938350 h 4824104"/>
              <a:gd name="connsiteX43" fmla="*/ 5678388 w 5678388"/>
              <a:gd name="connsiteY43" fmla="*/ 2945586 h 4824104"/>
              <a:gd name="connsiteX44" fmla="*/ 5678388 w 5678388"/>
              <a:gd name="connsiteY44" fmla="*/ 3078968 h 4824104"/>
              <a:gd name="connsiteX45" fmla="*/ 5678388 w 5678388"/>
              <a:gd name="connsiteY45" fmla="*/ 3878036 h 4824104"/>
              <a:gd name="connsiteX46" fmla="*/ 1003088 w 5678388"/>
              <a:gd name="connsiteY46" fmla="*/ 4802500 h 4824104"/>
              <a:gd name="connsiteX47" fmla="*/ 826519 w 5678388"/>
              <a:gd name="connsiteY47" fmla="*/ 4822598 h 482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678388" h="4824104">
                <a:moveTo>
                  <a:pt x="826519" y="4822598"/>
                </a:moveTo>
                <a:cubicBezTo>
                  <a:pt x="0" y="4863684"/>
                  <a:pt x="0" y="4050794"/>
                  <a:pt x="0" y="4050794"/>
                </a:cubicBezTo>
                <a:lnTo>
                  <a:pt x="0" y="3078968"/>
                </a:lnTo>
                <a:lnTo>
                  <a:pt x="0" y="2945586"/>
                </a:lnTo>
                <a:lnTo>
                  <a:pt x="0" y="2938350"/>
                </a:lnTo>
                <a:lnTo>
                  <a:pt x="0" y="2893100"/>
                </a:lnTo>
                <a:lnTo>
                  <a:pt x="0" y="2786888"/>
                </a:lnTo>
                <a:lnTo>
                  <a:pt x="0" y="2732179"/>
                </a:lnTo>
                <a:lnTo>
                  <a:pt x="0" y="2646270"/>
                </a:lnTo>
                <a:lnTo>
                  <a:pt x="0" y="2643017"/>
                </a:lnTo>
                <a:lnTo>
                  <a:pt x="0" y="2607497"/>
                </a:lnTo>
                <a:lnTo>
                  <a:pt x="0" y="2473167"/>
                </a:lnTo>
                <a:lnTo>
                  <a:pt x="0" y="2350937"/>
                </a:lnTo>
                <a:lnTo>
                  <a:pt x="0" y="2216607"/>
                </a:lnTo>
                <a:lnTo>
                  <a:pt x="0" y="2181087"/>
                </a:lnTo>
                <a:lnTo>
                  <a:pt x="0" y="2177834"/>
                </a:lnTo>
                <a:lnTo>
                  <a:pt x="0" y="2103762"/>
                </a:lnTo>
                <a:lnTo>
                  <a:pt x="0" y="2091925"/>
                </a:lnTo>
                <a:lnTo>
                  <a:pt x="0" y="2037216"/>
                </a:lnTo>
                <a:lnTo>
                  <a:pt x="0" y="1885754"/>
                </a:lnTo>
                <a:lnTo>
                  <a:pt x="0" y="1878518"/>
                </a:lnTo>
                <a:lnTo>
                  <a:pt x="0" y="1745136"/>
                </a:lnTo>
                <a:lnTo>
                  <a:pt x="0" y="946068"/>
                </a:lnTo>
                <a:lnTo>
                  <a:pt x="4675300" y="21604"/>
                </a:lnTo>
                <a:cubicBezTo>
                  <a:pt x="5678388" y="-151578"/>
                  <a:pt x="5678388" y="773310"/>
                  <a:pt x="5678388" y="773310"/>
                </a:cubicBezTo>
                <a:lnTo>
                  <a:pt x="5678388" y="1745136"/>
                </a:lnTo>
                <a:lnTo>
                  <a:pt x="5678388" y="1878518"/>
                </a:lnTo>
                <a:lnTo>
                  <a:pt x="5678388" y="1885754"/>
                </a:lnTo>
                <a:lnTo>
                  <a:pt x="5678388" y="1931004"/>
                </a:lnTo>
                <a:lnTo>
                  <a:pt x="5678388" y="2037216"/>
                </a:lnTo>
                <a:lnTo>
                  <a:pt x="5678388" y="2091925"/>
                </a:lnTo>
                <a:lnTo>
                  <a:pt x="5678388" y="2177834"/>
                </a:lnTo>
                <a:lnTo>
                  <a:pt x="5678388" y="2181087"/>
                </a:lnTo>
                <a:lnTo>
                  <a:pt x="5678388" y="2216607"/>
                </a:lnTo>
                <a:lnTo>
                  <a:pt x="5678388" y="2350937"/>
                </a:lnTo>
                <a:lnTo>
                  <a:pt x="5678388" y="2473167"/>
                </a:lnTo>
                <a:lnTo>
                  <a:pt x="5678388" y="2607497"/>
                </a:lnTo>
                <a:lnTo>
                  <a:pt x="5678388" y="2643017"/>
                </a:lnTo>
                <a:lnTo>
                  <a:pt x="5678388" y="2646270"/>
                </a:lnTo>
                <a:lnTo>
                  <a:pt x="5678388" y="2720342"/>
                </a:lnTo>
                <a:lnTo>
                  <a:pt x="5678388" y="2732179"/>
                </a:lnTo>
                <a:lnTo>
                  <a:pt x="5678388" y="2786888"/>
                </a:lnTo>
                <a:lnTo>
                  <a:pt x="5678388" y="2938350"/>
                </a:lnTo>
                <a:lnTo>
                  <a:pt x="5678388" y="2945586"/>
                </a:lnTo>
                <a:lnTo>
                  <a:pt x="5678388" y="3078968"/>
                </a:lnTo>
                <a:lnTo>
                  <a:pt x="5678388" y="3878036"/>
                </a:lnTo>
                <a:lnTo>
                  <a:pt x="1003088" y="4802500"/>
                </a:lnTo>
                <a:cubicBezTo>
                  <a:pt x="940395" y="4813324"/>
                  <a:pt x="881620" y="4819858"/>
                  <a:pt x="826519" y="4822598"/>
                </a:cubicBezTo>
                <a:close/>
              </a:path>
            </a:pathLst>
          </a:custGeom>
          <a:solidFill>
            <a:schemeClr val="tx2">
              <a:alpha val="89000"/>
            </a:schemeClr>
          </a:solidFill>
        </p:spPr>
        <p:txBody>
          <a:bodyPr wrap="square" lIns="324000" tIns="1548000" rIns="324000">
            <a:noAutofit/>
          </a:bodyPr>
          <a:lstStyle>
            <a:lvl1pPr>
              <a:spcBef>
                <a:spcPts val="0"/>
              </a:spcBef>
              <a:defRPr sz="30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a:t>Titelfolie (max. 3-zeilig)</a:t>
            </a:r>
          </a:p>
        </p:txBody>
      </p:sp>
      <p:sp>
        <p:nvSpPr>
          <p:cNvPr id="10" name="Textplatzhalter 3">
            <a:extLst>
              <a:ext uri="{FF2B5EF4-FFF2-40B4-BE49-F238E27FC236}">
                <a16:creationId xmlns:a16="http://schemas.microsoft.com/office/drawing/2014/main" id="{D8A1C109-9037-4034-9C00-6A16153E6834}"/>
              </a:ext>
            </a:extLst>
          </p:cNvPr>
          <p:cNvSpPr>
            <a:spLocks noGrp="1"/>
          </p:cNvSpPr>
          <p:nvPr>
            <p:ph type="body" sz="quarter" idx="20" hasCustomPrompt="1"/>
          </p:nvPr>
        </p:nvSpPr>
        <p:spPr bwMode="gray">
          <a:xfrm>
            <a:off x="6425504" y="2192887"/>
            <a:ext cx="5148000" cy="246221"/>
          </a:xfrm>
        </p:spPr>
        <p:txBody>
          <a:bodyPr anchor="b" anchorCtr="0">
            <a:spAutoFit/>
          </a:bodyPr>
          <a:lstStyle>
            <a:lvl1pPr>
              <a:spcBef>
                <a:spcPts val="0"/>
              </a:spcBef>
              <a:defRPr sz="1600" b="1">
                <a:solidFill>
                  <a:schemeClr val="accent2"/>
                </a:solidFill>
              </a:defRPr>
            </a:lvl1pPr>
          </a:lstStyle>
          <a:p>
            <a:pPr lvl="0"/>
            <a:r>
              <a:rPr lang="de-DE"/>
              <a:t>Name Kunde / Veranstaltung</a:t>
            </a:r>
          </a:p>
        </p:txBody>
      </p:sp>
      <p:sp>
        <p:nvSpPr>
          <p:cNvPr id="11" name="Textplatzhalter 3">
            <a:extLst>
              <a:ext uri="{FF2B5EF4-FFF2-40B4-BE49-F238E27FC236}">
                <a16:creationId xmlns:a16="http://schemas.microsoft.com/office/drawing/2014/main" id="{A3F31BC7-33D5-49A1-B782-C99EDC77468A}"/>
              </a:ext>
            </a:extLst>
          </p:cNvPr>
          <p:cNvSpPr>
            <a:spLocks noGrp="1"/>
          </p:cNvSpPr>
          <p:nvPr>
            <p:ph type="body" sz="quarter" idx="21" hasCustomPrompt="1"/>
          </p:nvPr>
        </p:nvSpPr>
        <p:spPr bwMode="gray">
          <a:xfrm>
            <a:off x="6425504" y="4217681"/>
            <a:ext cx="5148000" cy="246221"/>
          </a:xfrm>
        </p:spPr>
        <p:txBody>
          <a:bodyPr anchor="b" anchorCtr="0">
            <a:spAutoFit/>
          </a:bodyPr>
          <a:lstStyle>
            <a:lvl1pPr>
              <a:spcBef>
                <a:spcPts val="0"/>
              </a:spcBef>
              <a:defRPr sz="1600" b="0">
                <a:solidFill>
                  <a:schemeClr val="bg1"/>
                </a:solidFill>
              </a:defRPr>
            </a:lvl1pPr>
          </a:lstStyle>
          <a:p>
            <a:pPr lvl="0"/>
            <a:r>
              <a:rPr lang="de-DE"/>
              <a:t>Ort, Datum – Referent Vorname Name</a:t>
            </a:r>
          </a:p>
        </p:txBody>
      </p:sp>
      <p:sp>
        <p:nvSpPr>
          <p:cNvPr id="12" name="Textplatzhalter 3">
            <a:extLst>
              <a:ext uri="{FF2B5EF4-FFF2-40B4-BE49-F238E27FC236}">
                <a16:creationId xmlns:a16="http://schemas.microsoft.com/office/drawing/2014/main" id="{199A5009-2ACA-44C9-AD06-067BCE20ECF0}"/>
              </a:ext>
            </a:extLst>
          </p:cNvPr>
          <p:cNvSpPr>
            <a:spLocks noGrp="1"/>
          </p:cNvSpPr>
          <p:nvPr>
            <p:ph type="body" sz="quarter" idx="22" hasCustomPrompt="1"/>
          </p:nvPr>
        </p:nvSpPr>
        <p:spPr bwMode="gray">
          <a:xfrm>
            <a:off x="6425504" y="4570607"/>
            <a:ext cx="5148000" cy="184666"/>
          </a:xfrm>
        </p:spPr>
        <p:txBody>
          <a:bodyPr>
            <a:spAutoFit/>
          </a:bodyPr>
          <a:lstStyle>
            <a:lvl1pPr>
              <a:spcBef>
                <a:spcPts val="0"/>
              </a:spcBef>
              <a:defRPr sz="1200" b="0">
                <a:solidFill>
                  <a:schemeClr val="bg1"/>
                </a:solidFill>
              </a:defRPr>
            </a:lvl1pPr>
          </a:lstStyle>
          <a:p>
            <a:pPr lvl="0"/>
            <a:r>
              <a:rPr lang="de-DE"/>
              <a:t>Vertraulichkeitshinweis durch Klicken bearbeiten</a:t>
            </a:r>
          </a:p>
        </p:txBody>
      </p:sp>
    </p:spTree>
    <p:extLst>
      <p:ext uri="{BB962C8B-B14F-4D97-AF65-F5344CB8AC3E}">
        <p14:creationId xmlns:p14="http://schemas.microsoft.com/office/powerpoint/2010/main" val="2220490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Agenda mit Vollbild">
    <p:spTree>
      <p:nvGrpSpPr>
        <p:cNvPr id="1" name=""/>
        <p:cNvGrpSpPr/>
        <p:nvPr/>
      </p:nvGrpSpPr>
      <p:grpSpPr>
        <a:xfrm>
          <a:off x="0" y="0"/>
          <a:ext cx="0" cy="0"/>
          <a:chOff x="0" y="0"/>
          <a:chExt cx="0" cy="0"/>
        </a:xfrm>
      </p:grpSpPr>
      <p:sp>
        <p:nvSpPr>
          <p:cNvPr id="6" name="Bildplatzhalter 9">
            <a:extLst>
              <a:ext uri="{FF2B5EF4-FFF2-40B4-BE49-F238E27FC236}">
                <a16:creationId xmlns:a16="http://schemas.microsoft.com/office/drawing/2014/main" id="{61C4EC75-5F5C-47D8-AE19-1DBDC9528730}"/>
              </a:ext>
            </a:extLst>
          </p:cNvPr>
          <p:cNvSpPr>
            <a:spLocks noGrp="1"/>
          </p:cNvSpPr>
          <p:nvPr>
            <p:ph type="pic" sz="quarter" idx="10" hasCustomPrompt="1"/>
          </p:nvPr>
        </p:nvSpPr>
        <p:spPr bwMode="gray">
          <a:xfrm>
            <a:off x="-1" y="0"/>
            <a:ext cx="12195175" cy="6858000"/>
          </a:xfrm>
          <a:prstGeom prst="rect">
            <a:avLst/>
          </a:prstGeom>
          <a:pattFill prst="pct20">
            <a:fgClr>
              <a:schemeClr val="accent3"/>
            </a:fgClr>
            <a:bgClr>
              <a:schemeClr val="bg1"/>
            </a:bgClr>
          </a:pattFill>
        </p:spPr>
        <p:txBody>
          <a:bodyPr vert="horz" wrap="square" lIns="72000" tIns="72000" rIns="72000" bIns="72000" rtlCol="0" anchor="t">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1600" baseline="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600"/>
              <a:t>Um ein Hintergrundbild einzufügen, markieren Sie bitte den </a:t>
            </a:r>
            <a:br>
              <a:rPr lang="de-DE" sz="1600"/>
            </a:br>
            <a:r>
              <a:rPr lang="de-DE" sz="1600"/>
              <a:t>Platzhalter und wählen entweder ein Bild aus der </a:t>
            </a:r>
            <a:r>
              <a:rPr lang="de-DE" sz="1600" err="1"/>
              <a:t>empower</a:t>
            </a:r>
            <a:r>
              <a:rPr lang="de-DE" sz="1600"/>
              <a:t> </a:t>
            </a:r>
            <a:br>
              <a:rPr lang="de-DE" sz="1600"/>
            </a:br>
            <a:r>
              <a:rPr lang="de-DE" sz="1600"/>
              <a:t>Bibliothek oder über den Reiter „Einfügen“, „Bilder“ aus. </a:t>
            </a:r>
          </a:p>
        </p:txBody>
      </p:sp>
      <p:sp>
        <p:nvSpPr>
          <p:cNvPr id="7" name="Textplatzhalter 2">
            <a:extLst>
              <a:ext uri="{FF2B5EF4-FFF2-40B4-BE49-F238E27FC236}">
                <a16:creationId xmlns:a16="http://schemas.microsoft.com/office/drawing/2014/main" id="{93C93B80-10F8-4DC4-AAB2-00F234410632}"/>
              </a:ext>
            </a:extLst>
          </p:cNvPr>
          <p:cNvSpPr>
            <a:spLocks noGrp="1" noChangeAspect="1"/>
          </p:cNvSpPr>
          <p:nvPr>
            <p:ph type="body" sz="quarter" idx="15" hasCustomPrompt="1"/>
          </p:nvPr>
        </p:nvSpPr>
        <p:spPr bwMode="gray">
          <a:xfrm>
            <a:off x="6103895" y="-1"/>
            <a:ext cx="6091280" cy="6310680"/>
          </a:xfrm>
          <a:custGeom>
            <a:avLst/>
            <a:gdLst>
              <a:gd name="connsiteX0" fmla="*/ 0 w 6091280"/>
              <a:gd name="connsiteY0" fmla="*/ 0 h 6310680"/>
              <a:gd name="connsiteX1" fmla="*/ 6091280 w 6091280"/>
              <a:gd name="connsiteY1" fmla="*/ 0 h 6310680"/>
              <a:gd name="connsiteX2" fmla="*/ 6091280 w 6091280"/>
              <a:gd name="connsiteY2" fmla="*/ 5279428 h 6310680"/>
              <a:gd name="connsiteX3" fmla="*/ 966865 w 6091280"/>
              <a:gd name="connsiteY3" fmla="*/ 6289914 h 6310680"/>
              <a:gd name="connsiteX4" fmla="*/ 0 w 6091280"/>
              <a:gd name="connsiteY4" fmla="*/ 5567343 h 6310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1280" h="6310680">
                <a:moveTo>
                  <a:pt x="0" y="0"/>
                </a:moveTo>
                <a:lnTo>
                  <a:pt x="6091280" y="0"/>
                </a:lnTo>
                <a:lnTo>
                  <a:pt x="6091280" y="5279428"/>
                </a:lnTo>
                <a:lnTo>
                  <a:pt x="966865" y="6289914"/>
                </a:lnTo>
                <a:cubicBezTo>
                  <a:pt x="0" y="6456384"/>
                  <a:pt x="0" y="5567343"/>
                  <a:pt x="0" y="5567343"/>
                </a:cubicBezTo>
                <a:close/>
              </a:path>
            </a:pathLst>
          </a:custGeom>
          <a:solidFill>
            <a:schemeClr val="tx2">
              <a:alpha val="89000"/>
            </a:schemeClr>
          </a:solidFill>
        </p:spPr>
        <p:txBody>
          <a:bodyPr wrap="square" lIns="439200" tIns="403200" rIns="414000">
            <a:noAutofit/>
          </a:bodyPr>
          <a:lstStyle>
            <a:lvl1pPr marL="0" indent="0">
              <a:spcBef>
                <a:spcPts val="0"/>
              </a:spcBef>
              <a:buFont typeface="Arial" panose="020B0604020202020204" pitchFamily="34" charset="0"/>
              <a:buNone/>
              <a:defRPr sz="2600" b="1">
                <a:solidFill>
                  <a:schemeClr val="bg1"/>
                </a:solidFill>
              </a:defRPr>
            </a:lvl1pPr>
            <a:lvl2pPr marL="0" indent="0">
              <a:spcBef>
                <a:spcPts val="0"/>
              </a:spcBef>
              <a:buFont typeface="Arial" panose="020B0604020202020204" pitchFamily="34" charset="0"/>
              <a:buNone/>
              <a:defRPr sz="3000" b="1">
                <a:solidFill>
                  <a:schemeClr val="bg1"/>
                </a:solidFill>
              </a:defRPr>
            </a:lvl2pPr>
            <a:lvl3pPr marL="0" indent="0">
              <a:spcBef>
                <a:spcPts val="0"/>
              </a:spcBef>
              <a:buNone/>
              <a:defRPr sz="3000" b="1">
                <a:solidFill>
                  <a:schemeClr val="bg1"/>
                </a:solidFill>
              </a:defRPr>
            </a:lvl3pPr>
            <a:lvl4pPr marL="0" indent="0">
              <a:spcBef>
                <a:spcPts val="0"/>
              </a:spcBef>
              <a:buNone/>
              <a:defRPr sz="3000" b="1">
                <a:solidFill>
                  <a:schemeClr val="bg1"/>
                </a:solidFill>
              </a:defRPr>
            </a:lvl4pPr>
            <a:lvl5pPr marL="0" indent="0">
              <a:spcBef>
                <a:spcPts val="0"/>
              </a:spcBef>
              <a:buNone/>
              <a:defRPr sz="3000" b="1">
                <a:solidFill>
                  <a:schemeClr val="bg1"/>
                </a:solidFill>
              </a:defRPr>
            </a:lvl5pPr>
          </a:lstStyle>
          <a:p>
            <a:pPr lvl="0"/>
            <a:r>
              <a:rPr lang="de-DE"/>
              <a:t>Agenda durch Klicken bearbeiten</a:t>
            </a:r>
          </a:p>
        </p:txBody>
      </p:sp>
      <p:sp>
        <p:nvSpPr>
          <p:cNvPr id="2" name="Datumsplatzhalter 1" hidden="1">
            <a:extLst>
              <a:ext uri="{FF2B5EF4-FFF2-40B4-BE49-F238E27FC236}">
                <a16:creationId xmlns:a16="http://schemas.microsoft.com/office/drawing/2014/main" id="{1BB383ED-A0FD-4954-850C-072EFB776AD2}"/>
              </a:ext>
            </a:extLst>
          </p:cNvPr>
          <p:cNvSpPr>
            <a:spLocks noGrp="1"/>
          </p:cNvSpPr>
          <p:nvPr>
            <p:ph type="dt" sz="half" idx="16"/>
          </p:nvPr>
        </p:nvSpPr>
        <p:spPr/>
        <p:txBody>
          <a:bodyPr/>
          <a:lstStyle>
            <a:lvl1pPr>
              <a:defRPr>
                <a:noFill/>
              </a:defRPr>
            </a:lvl1pPr>
          </a:lstStyle>
          <a:p>
            <a:r>
              <a:rPr lang="de-DE"/>
              <a:t>Jan. 2023</a:t>
            </a:r>
          </a:p>
        </p:txBody>
      </p:sp>
      <p:sp>
        <p:nvSpPr>
          <p:cNvPr id="3" name="Fußzeilenplatzhalter 2" hidden="1">
            <a:extLst>
              <a:ext uri="{FF2B5EF4-FFF2-40B4-BE49-F238E27FC236}">
                <a16:creationId xmlns:a16="http://schemas.microsoft.com/office/drawing/2014/main" id="{478398C6-A877-4B44-95FB-39C3928E5BC5}"/>
              </a:ext>
            </a:extLst>
          </p:cNvPr>
          <p:cNvSpPr>
            <a:spLocks noGrp="1"/>
          </p:cNvSpPr>
          <p:nvPr>
            <p:ph type="ftr" sz="quarter" idx="17"/>
          </p:nvPr>
        </p:nvSpPr>
        <p:spPr/>
        <p:txBody>
          <a:bodyPr/>
          <a:lstStyle>
            <a:lvl1pPr>
              <a:defRPr>
                <a:noFill/>
              </a:defRPr>
            </a:lvl1pPr>
          </a:lstStyle>
          <a:p>
            <a:r>
              <a:rPr lang="de-DE"/>
              <a:t>UIP-EQ-CON  |  C0  |</a:t>
            </a:r>
          </a:p>
        </p:txBody>
      </p:sp>
      <p:sp>
        <p:nvSpPr>
          <p:cNvPr id="4" name="Foliennummernplatzhalter 3" hidden="1">
            <a:extLst>
              <a:ext uri="{FF2B5EF4-FFF2-40B4-BE49-F238E27FC236}">
                <a16:creationId xmlns:a16="http://schemas.microsoft.com/office/drawing/2014/main" id="{EC481EA9-EE5D-4728-BDA0-C1698C6C30E0}"/>
              </a:ext>
            </a:extLst>
          </p:cNvPr>
          <p:cNvSpPr>
            <a:spLocks noGrp="1"/>
          </p:cNvSpPr>
          <p:nvPr>
            <p:ph type="sldNum" sz="quarter" idx="18"/>
          </p:nvPr>
        </p:nvSpPr>
        <p:spPr/>
        <p:txBody>
          <a:bodyPr/>
          <a:lstStyle>
            <a:lvl1pPr>
              <a:defRPr>
                <a:noFill/>
              </a:defRPr>
            </a:lvl1pPr>
          </a:lstStyle>
          <a:p>
            <a:fld id="{9C89B081-1F44-4440-BC7B-989C90F97B77}" type="slidenum">
              <a:rPr lang="de-DE"/>
              <a:pPr/>
              <a:t>‹Nr.›</a:t>
            </a:fld>
            <a:endParaRPr lang="de-DE"/>
          </a:p>
        </p:txBody>
      </p:sp>
    </p:spTree>
    <p:extLst>
      <p:ext uri="{BB962C8B-B14F-4D97-AF65-F5344CB8AC3E}">
        <p14:creationId xmlns:p14="http://schemas.microsoft.com/office/powerpoint/2010/main" val="1349839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Agenda mit Bild">
    <p:spTree>
      <p:nvGrpSpPr>
        <p:cNvPr id="1" name=""/>
        <p:cNvGrpSpPr/>
        <p:nvPr/>
      </p:nvGrpSpPr>
      <p:grpSpPr>
        <a:xfrm>
          <a:off x="0" y="0"/>
          <a:ext cx="0" cy="0"/>
          <a:chOff x="0" y="0"/>
          <a:chExt cx="0" cy="0"/>
        </a:xfrm>
      </p:grpSpPr>
      <p:sp>
        <p:nvSpPr>
          <p:cNvPr id="11" name="Bildplatzhalter 9">
            <a:extLst>
              <a:ext uri="{FF2B5EF4-FFF2-40B4-BE49-F238E27FC236}">
                <a16:creationId xmlns:a16="http://schemas.microsoft.com/office/drawing/2014/main" id="{D798E5B9-D541-43DA-A3E7-65B072595C5B}"/>
              </a:ext>
            </a:extLst>
          </p:cNvPr>
          <p:cNvSpPr>
            <a:spLocks noGrp="1" noChangeAspect="1"/>
          </p:cNvSpPr>
          <p:nvPr>
            <p:ph type="pic" sz="quarter" idx="10" hasCustomPrompt="1"/>
          </p:nvPr>
        </p:nvSpPr>
        <p:spPr bwMode="gray">
          <a:xfrm>
            <a:off x="6103895" y="0"/>
            <a:ext cx="6091280" cy="6310680"/>
          </a:xfrm>
          <a:custGeom>
            <a:avLst/>
            <a:gdLst>
              <a:gd name="connsiteX0" fmla="*/ 0 w 6091280"/>
              <a:gd name="connsiteY0" fmla="*/ 0 h 6310680"/>
              <a:gd name="connsiteX1" fmla="*/ 6091280 w 6091280"/>
              <a:gd name="connsiteY1" fmla="*/ 0 h 6310680"/>
              <a:gd name="connsiteX2" fmla="*/ 6091280 w 6091280"/>
              <a:gd name="connsiteY2" fmla="*/ 5279428 h 6310680"/>
              <a:gd name="connsiteX3" fmla="*/ 966865 w 6091280"/>
              <a:gd name="connsiteY3" fmla="*/ 6289914 h 6310680"/>
              <a:gd name="connsiteX4" fmla="*/ 0 w 6091280"/>
              <a:gd name="connsiteY4" fmla="*/ 5567343 h 6310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1280" h="6310680">
                <a:moveTo>
                  <a:pt x="0" y="0"/>
                </a:moveTo>
                <a:lnTo>
                  <a:pt x="6091280" y="0"/>
                </a:lnTo>
                <a:lnTo>
                  <a:pt x="6091280" y="5279428"/>
                </a:lnTo>
                <a:lnTo>
                  <a:pt x="966865" y="6289914"/>
                </a:lnTo>
                <a:cubicBezTo>
                  <a:pt x="0" y="6456384"/>
                  <a:pt x="0" y="5567343"/>
                  <a:pt x="0" y="5567343"/>
                </a:cubicBezTo>
                <a:close/>
              </a:path>
            </a:pathLst>
          </a:custGeom>
          <a:pattFill prst="pct20">
            <a:fgClr>
              <a:schemeClr val="accent3"/>
            </a:fgClr>
            <a:bgClr>
              <a:schemeClr val="bg1"/>
            </a:bgClr>
          </a:pattFill>
        </p:spPr>
        <p:txBody>
          <a:bodyPr vert="horz" wrap="square" lIns="72000" tIns="72000" rIns="72000" bIns="72000" rtlCol="0" anchor="t">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1600" baseline="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600"/>
              <a:t>Um ein Hintergrundbild einzufügen, markieren Sie bitte den </a:t>
            </a:r>
            <a:br>
              <a:rPr lang="de-DE" sz="1600"/>
            </a:br>
            <a:r>
              <a:rPr lang="de-DE" sz="1600"/>
              <a:t>Platzhalter und wählen entweder ein Bild aus der </a:t>
            </a:r>
            <a:r>
              <a:rPr lang="de-DE" sz="1600" err="1"/>
              <a:t>empower</a:t>
            </a:r>
            <a:r>
              <a:rPr lang="de-DE" sz="1600"/>
              <a:t> </a:t>
            </a:r>
            <a:br>
              <a:rPr lang="de-DE" sz="1600"/>
            </a:br>
            <a:r>
              <a:rPr lang="de-DE" sz="1600"/>
              <a:t>Bibliothek oder über den Reiter „Einfügen“, „Bilder“ aus. </a:t>
            </a:r>
          </a:p>
        </p:txBody>
      </p:sp>
      <p:sp>
        <p:nvSpPr>
          <p:cNvPr id="4" name="Titel 3">
            <a:extLst>
              <a:ext uri="{FF2B5EF4-FFF2-40B4-BE49-F238E27FC236}">
                <a16:creationId xmlns:a16="http://schemas.microsoft.com/office/drawing/2014/main" id="{E67C7171-BD46-47C8-B444-7F23BB8F8942}"/>
              </a:ext>
            </a:extLst>
          </p:cNvPr>
          <p:cNvSpPr>
            <a:spLocks noGrp="1"/>
          </p:cNvSpPr>
          <p:nvPr>
            <p:ph type="title" hasCustomPrompt="1"/>
          </p:nvPr>
        </p:nvSpPr>
        <p:spPr bwMode="gray">
          <a:xfrm>
            <a:off x="409575" y="404664"/>
            <a:ext cx="5472113" cy="720000"/>
          </a:xfrm>
        </p:spPr>
        <p:txBody>
          <a:bodyPr/>
          <a:lstStyle>
            <a:lvl1pPr marL="0" indent="0" algn="l" defTabSz="914400" rtl="0" eaLnBrk="1" latinLnBrk="0" hangingPunct="1">
              <a:lnSpc>
                <a:spcPct val="100000"/>
              </a:lnSpc>
              <a:spcBef>
                <a:spcPct val="0"/>
              </a:spcBef>
              <a:buClr>
                <a:schemeClr val="accent1"/>
              </a:buClr>
              <a:buFont typeface="Arial" panose="020B0604020202020204" pitchFamily="34" charset="0"/>
              <a:buNone/>
              <a:defRPr/>
            </a:lvl1pPr>
          </a:lstStyle>
          <a:p>
            <a:pPr marL="0" indent="0" algn="l" defTabSz="914400" rtl="0" eaLnBrk="1" latinLnBrk="0" hangingPunct="1">
              <a:lnSpc>
                <a:spcPct val="100000"/>
              </a:lnSpc>
              <a:spcBef>
                <a:spcPct val="0"/>
              </a:spcBef>
              <a:buClr>
                <a:schemeClr val="accent1"/>
              </a:buClr>
              <a:buFont typeface="Arial" panose="020B0604020202020204" pitchFamily="34" charset="0"/>
              <a:buNone/>
            </a:pPr>
            <a:r>
              <a:rPr lang="de-DE" sz="2600" b="1" kern="1200">
                <a:solidFill>
                  <a:schemeClr val="tx2"/>
                </a:solidFill>
                <a:latin typeface="+mj-lt"/>
                <a:ea typeface="+mj-ea"/>
                <a:cs typeface="+mj-cs"/>
              </a:rPr>
              <a:t>Agenda durch Klicken bearbeiten</a:t>
            </a:r>
          </a:p>
        </p:txBody>
      </p:sp>
      <p:sp>
        <p:nvSpPr>
          <p:cNvPr id="5" name="Textfeld 4">
            <a:extLst>
              <a:ext uri="{FF2B5EF4-FFF2-40B4-BE49-F238E27FC236}">
                <a16:creationId xmlns:a16="http://schemas.microsoft.com/office/drawing/2014/main" id="{30199B8B-ECD0-4F50-8D46-7B6751A7E0A5}"/>
              </a:ext>
            </a:extLst>
          </p:cNvPr>
          <p:cNvSpPr txBox="1"/>
          <p:nvPr/>
        </p:nvSpPr>
        <p:spPr bwMode="gray">
          <a:xfrm>
            <a:off x="409575" y="6516000"/>
            <a:ext cx="11376000" cy="144000"/>
          </a:xfrm>
          <a:prstGeom prst="rect">
            <a:avLst/>
          </a:prstGeom>
          <a:noFill/>
        </p:spPr>
        <p:txBody>
          <a:bodyPr wrap="square" lIns="0" tIns="0" rIns="0" bIns="0" rtlCol="0" anchor="t">
            <a:noAutofit/>
          </a:bodyPr>
          <a:lstStyle/>
          <a:p>
            <a:pPr marL="0" marR="0" lvl="0" indent="0" defTabSz="914400" eaLnBrk="1" fontAlgn="auto" latinLnBrk="0" hangingPunct="1">
              <a:lnSpc>
                <a:spcPct val="100000"/>
              </a:lnSpc>
              <a:spcBef>
                <a:spcPts val="0"/>
              </a:spcBef>
              <a:spcAft>
                <a:spcPts val="0"/>
              </a:spcAft>
              <a:buClr>
                <a:srgbClr val="003F74"/>
              </a:buClr>
              <a:buSzTx/>
              <a:buFontTx/>
              <a:buNone/>
              <a:tabLst/>
              <a:defRPr/>
            </a:pPr>
            <a:r>
              <a:rPr kumimoji="0" lang="de-DE" sz="1000" b="0" i="0" u="none" strike="noStrike" kern="0" cap="none" spc="0" normalizeH="0" baseline="0" noProof="0">
                <a:ln>
                  <a:noFill/>
                </a:ln>
                <a:solidFill>
                  <a:schemeClr val="tx2"/>
                </a:solidFill>
                <a:effectLst/>
                <a:uLnTx/>
                <a:uFillTx/>
              </a:rPr>
              <a:t>Union Investment  </a:t>
            </a:r>
            <a:r>
              <a:rPr kumimoji="0" lang="de-DE" sz="1000" b="0" i="0" u="none" strike="noStrike" kern="0" cap="none" spc="0" normalizeH="0" baseline="0" noProof="0">
                <a:ln>
                  <a:noFill/>
                </a:ln>
                <a:solidFill>
                  <a:srgbClr val="888888"/>
                </a:solidFill>
                <a:effectLst/>
                <a:uLnTx/>
                <a:uFillTx/>
              </a:rPr>
              <a:t>|  Genossenschaftliche FinanzGruppe Volksbanken Raiffeisenbanken</a:t>
            </a:r>
          </a:p>
        </p:txBody>
      </p:sp>
      <p:sp>
        <p:nvSpPr>
          <p:cNvPr id="2" name="Datumsplatzhalter 1" hidden="1">
            <a:extLst>
              <a:ext uri="{FF2B5EF4-FFF2-40B4-BE49-F238E27FC236}">
                <a16:creationId xmlns:a16="http://schemas.microsoft.com/office/drawing/2014/main" id="{00409173-C04A-4417-A50D-99ED9A1E7FEB}"/>
              </a:ext>
            </a:extLst>
          </p:cNvPr>
          <p:cNvSpPr>
            <a:spLocks noGrp="1"/>
          </p:cNvSpPr>
          <p:nvPr>
            <p:ph type="dt" sz="half" idx="11"/>
          </p:nvPr>
        </p:nvSpPr>
        <p:spPr/>
        <p:txBody>
          <a:bodyPr/>
          <a:lstStyle>
            <a:lvl1pPr>
              <a:defRPr>
                <a:noFill/>
              </a:defRPr>
            </a:lvl1pPr>
          </a:lstStyle>
          <a:p>
            <a:r>
              <a:rPr lang="de-DE"/>
              <a:t>Jan. 2023</a:t>
            </a:r>
          </a:p>
        </p:txBody>
      </p:sp>
      <p:sp>
        <p:nvSpPr>
          <p:cNvPr id="3" name="Fußzeilenplatzhalter 2" hidden="1">
            <a:extLst>
              <a:ext uri="{FF2B5EF4-FFF2-40B4-BE49-F238E27FC236}">
                <a16:creationId xmlns:a16="http://schemas.microsoft.com/office/drawing/2014/main" id="{DDD2400C-9CD1-40F8-8C5C-311482818F96}"/>
              </a:ext>
            </a:extLst>
          </p:cNvPr>
          <p:cNvSpPr>
            <a:spLocks noGrp="1"/>
          </p:cNvSpPr>
          <p:nvPr>
            <p:ph type="ftr" sz="quarter" idx="12"/>
          </p:nvPr>
        </p:nvSpPr>
        <p:spPr/>
        <p:txBody>
          <a:bodyPr/>
          <a:lstStyle>
            <a:lvl1pPr>
              <a:defRPr>
                <a:noFill/>
              </a:defRPr>
            </a:lvl1pPr>
          </a:lstStyle>
          <a:p>
            <a:r>
              <a:rPr lang="de-DE"/>
              <a:t>UIP-EQ-CON  |  C0  |</a:t>
            </a:r>
          </a:p>
        </p:txBody>
      </p:sp>
      <p:sp>
        <p:nvSpPr>
          <p:cNvPr id="6" name="Foliennummernplatzhalter 5" hidden="1">
            <a:extLst>
              <a:ext uri="{FF2B5EF4-FFF2-40B4-BE49-F238E27FC236}">
                <a16:creationId xmlns:a16="http://schemas.microsoft.com/office/drawing/2014/main" id="{1B179B87-6033-4F04-9A6A-36C0829C02EE}"/>
              </a:ext>
            </a:extLst>
          </p:cNvPr>
          <p:cNvSpPr>
            <a:spLocks noGrp="1"/>
          </p:cNvSpPr>
          <p:nvPr>
            <p:ph type="sldNum" sz="quarter" idx="13"/>
          </p:nvPr>
        </p:nvSpPr>
        <p:spPr/>
        <p:txBody>
          <a:bodyPr/>
          <a:lstStyle>
            <a:lvl1pPr>
              <a:defRPr>
                <a:noFill/>
              </a:defRPr>
            </a:lvl1pPr>
          </a:lstStyle>
          <a:p>
            <a:fld id="{9C89B081-1F44-4440-BC7B-989C90F97B77}" type="slidenum">
              <a:rPr lang="de-DE"/>
              <a:pPr/>
              <a:t>‹Nr.›</a:t>
            </a:fld>
            <a:endParaRPr lang="de-DE"/>
          </a:p>
        </p:txBody>
      </p:sp>
    </p:spTree>
    <p:extLst>
      <p:ext uri="{BB962C8B-B14F-4D97-AF65-F5344CB8AC3E}">
        <p14:creationId xmlns:p14="http://schemas.microsoft.com/office/powerpoint/2010/main" val="3255156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977">
          <p15:clr>
            <a:srgbClr val="F26B43"/>
          </p15:clr>
        </p15:guide>
        <p15:guide id="2" pos="3705">
          <p15:clr>
            <a:srgbClr val="F26B43"/>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Agenda ohne Bild">
    <p:spTree>
      <p:nvGrpSpPr>
        <p:cNvPr id="1" name=""/>
        <p:cNvGrpSpPr/>
        <p:nvPr/>
      </p:nvGrpSpPr>
      <p:grpSpPr>
        <a:xfrm>
          <a:off x="0" y="0"/>
          <a:ext cx="0" cy="0"/>
          <a:chOff x="0" y="0"/>
          <a:chExt cx="0" cy="0"/>
        </a:xfrm>
      </p:grpSpPr>
      <p:sp>
        <p:nvSpPr>
          <p:cNvPr id="18" name="Titel 2">
            <a:extLst>
              <a:ext uri="{FF2B5EF4-FFF2-40B4-BE49-F238E27FC236}">
                <a16:creationId xmlns:a16="http://schemas.microsoft.com/office/drawing/2014/main" id="{48006391-F196-4C49-B1CF-51EA1F4C4287}"/>
              </a:ext>
            </a:extLst>
          </p:cNvPr>
          <p:cNvSpPr>
            <a:spLocks noGrp="1" noChangeAspect="1"/>
          </p:cNvSpPr>
          <p:nvPr>
            <p:ph type="body" sz="quarter" idx="15" hasCustomPrompt="1"/>
          </p:nvPr>
        </p:nvSpPr>
        <p:spPr bwMode="gray">
          <a:xfrm>
            <a:off x="630000" y="1"/>
            <a:ext cx="9545412" cy="1722335"/>
          </a:xfrm>
          <a:custGeom>
            <a:avLst/>
            <a:gdLst>
              <a:gd name="connsiteX0" fmla="*/ 0 w 9545412"/>
              <a:gd name="connsiteY0" fmla="*/ 0 h 1722335"/>
              <a:gd name="connsiteX1" fmla="*/ 9545412 w 9545412"/>
              <a:gd name="connsiteY1" fmla="*/ 0 h 1722335"/>
              <a:gd name="connsiteX2" fmla="*/ 910255 w 9545412"/>
              <a:gd name="connsiteY2" fmla="*/ 1702784 h 1722335"/>
              <a:gd name="connsiteX3" fmla="*/ 0 w 9545412"/>
              <a:gd name="connsiteY3" fmla="*/ 1022515 h 1722335"/>
            </a:gdLst>
            <a:ahLst/>
            <a:cxnLst>
              <a:cxn ang="0">
                <a:pos x="connsiteX0" y="connsiteY0"/>
              </a:cxn>
              <a:cxn ang="0">
                <a:pos x="connsiteX1" y="connsiteY1"/>
              </a:cxn>
              <a:cxn ang="0">
                <a:pos x="connsiteX2" y="connsiteY2"/>
              </a:cxn>
              <a:cxn ang="0">
                <a:pos x="connsiteX3" y="connsiteY3"/>
              </a:cxn>
            </a:cxnLst>
            <a:rect l="l" t="t" r="r" b="b"/>
            <a:pathLst>
              <a:path w="9545412" h="1722335">
                <a:moveTo>
                  <a:pt x="0" y="0"/>
                </a:moveTo>
                <a:lnTo>
                  <a:pt x="9545412" y="0"/>
                </a:lnTo>
                <a:lnTo>
                  <a:pt x="910255" y="1702784"/>
                </a:lnTo>
                <a:cubicBezTo>
                  <a:pt x="0" y="1859508"/>
                  <a:pt x="0" y="1022515"/>
                  <a:pt x="0" y="1022515"/>
                </a:cubicBezTo>
                <a:close/>
              </a:path>
            </a:pathLst>
          </a:custGeom>
          <a:solidFill>
            <a:schemeClr val="tx2"/>
          </a:solidFill>
        </p:spPr>
        <p:txBody>
          <a:bodyPr wrap="square" lIns="439200" tIns="403200" rIns="5760000">
            <a:noAutofit/>
          </a:bodyPr>
          <a:lstStyle>
            <a:lvl1pPr marL="0" indent="0">
              <a:spcBef>
                <a:spcPts val="0"/>
              </a:spcBef>
              <a:buFont typeface="Arial" panose="020B0604020202020204" pitchFamily="34" charset="0"/>
              <a:buNone/>
              <a:defRPr sz="2600" b="1">
                <a:solidFill>
                  <a:schemeClr val="bg1"/>
                </a:solidFill>
              </a:defRPr>
            </a:lvl1pPr>
            <a:lvl2pPr marL="0" indent="0">
              <a:spcBef>
                <a:spcPts val="0"/>
              </a:spcBef>
              <a:buFont typeface="Arial" panose="020B0604020202020204" pitchFamily="34" charset="0"/>
              <a:buNone/>
              <a:defRPr sz="3000" b="1">
                <a:solidFill>
                  <a:schemeClr val="bg1"/>
                </a:solidFill>
              </a:defRPr>
            </a:lvl2pPr>
            <a:lvl3pPr marL="0" indent="0">
              <a:spcBef>
                <a:spcPts val="0"/>
              </a:spcBef>
              <a:buNone/>
              <a:defRPr sz="3000" b="1">
                <a:solidFill>
                  <a:schemeClr val="bg1"/>
                </a:solidFill>
              </a:defRPr>
            </a:lvl3pPr>
            <a:lvl4pPr marL="0" indent="0">
              <a:spcBef>
                <a:spcPts val="0"/>
              </a:spcBef>
              <a:buNone/>
              <a:defRPr sz="3000" b="1">
                <a:solidFill>
                  <a:schemeClr val="bg1"/>
                </a:solidFill>
              </a:defRPr>
            </a:lvl4pPr>
            <a:lvl5pPr marL="0" indent="0">
              <a:spcBef>
                <a:spcPts val="0"/>
              </a:spcBef>
              <a:buNone/>
              <a:defRPr sz="3000" b="1">
                <a:solidFill>
                  <a:schemeClr val="bg1"/>
                </a:solidFill>
              </a:defRPr>
            </a:lvl5pPr>
          </a:lstStyle>
          <a:p>
            <a:pPr lvl="0"/>
            <a:r>
              <a:rPr lang="de-DE"/>
              <a:t>Agenda durch Klicken bearbeiten</a:t>
            </a:r>
          </a:p>
        </p:txBody>
      </p:sp>
      <p:sp>
        <p:nvSpPr>
          <p:cNvPr id="4" name="Textfeld 3">
            <a:extLst>
              <a:ext uri="{FF2B5EF4-FFF2-40B4-BE49-F238E27FC236}">
                <a16:creationId xmlns:a16="http://schemas.microsoft.com/office/drawing/2014/main" id="{A445E29F-38B6-4BAF-B30A-3C6592680EA8}"/>
              </a:ext>
            </a:extLst>
          </p:cNvPr>
          <p:cNvSpPr txBox="1"/>
          <p:nvPr/>
        </p:nvSpPr>
        <p:spPr bwMode="gray">
          <a:xfrm>
            <a:off x="409575" y="6516000"/>
            <a:ext cx="11376000" cy="144000"/>
          </a:xfrm>
          <a:prstGeom prst="rect">
            <a:avLst/>
          </a:prstGeom>
          <a:noFill/>
        </p:spPr>
        <p:txBody>
          <a:bodyPr wrap="square" lIns="0" tIns="0" rIns="0" bIns="0" rtlCol="0" anchor="t">
            <a:noAutofit/>
          </a:bodyPr>
          <a:lstStyle/>
          <a:p>
            <a:pPr marL="0" marR="0" lvl="0" indent="0" defTabSz="914400" eaLnBrk="1" fontAlgn="auto" latinLnBrk="0" hangingPunct="1">
              <a:lnSpc>
                <a:spcPct val="100000"/>
              </a:lnSpc>
              <a:spcBef>
                <a:spcPts val="0"/>
              </a:spcBef>
              <a:spcAft>
                <a:spcPts val="0"/>
              </a:spcAft>
              <a:buClr>
                <a:srgbClr val="003F74"/>
              </a:buClr>
              <a:buSzTx/>
              <a:buFontTx/>
              <a:buNone/>
              <a:tabLst/>
              <a:defRPr/>
            </a:pPr>
            <a:r>
              <a:rPr kumimoji="0" lang="de-DE" sz="1000" b="0" i="0" u="none" strike="noStrike" kern="0" cap="none" spc="0" normalizeH="0" baseline="0" noProof="0">
                <a:ln>
                  <a:noFill/>
                </a:ln>
                <a:solidFill>
                  <a:schemeClr val="tx2"/>
                </a:solidFill>
                <a:effectLst/>
                <a:uLnTx/>
                <a:uFillTx/>
              </a:rPr>
              <a:t>Union Investment  </a:t>
            </a:r>
            <a:r>
              <a:rPr kumimoji="0" lang="de-DE" sz="1000" b="0" i="0" u="none" strike="noStrike" kern="0" cap="none" spc="0" normalizeH="0" baseline="0" noProof="0">
                <a:ln>
                  <a:noFill/>
                </a:ln>
                <a:solidFill>
                  <a:srgbClr val="888888"/>
                </a:solidFill>
                <a:effectLst/>
                <a:uLnTx/>
                <a:uFillTx/>
              </a:rPr>
              <a:t>|  Genossenschaftliche FinanzGruppe Volksbanken Raiffeisenbanken</a:t>
            </a:r>
          </a:p>
        </p:txBody>
      </p:sp>
      <p:sp>
        <p:nvSpPr>
          <p:cNvPr id="2" name="Datumsplatzhalter 1" hidden="1">
            <a:extLst>
              <a:ext uri="{FF2B5EF4-FFF2-40B4-BE49-F238E27FC236}">
                <a16:creationId xmlns:a16="http://schemas.microsoft.com/office/drawing/2014/main" id="{AEC41FBF-BBD2-4694-8BFD-7693D2856315}"/>
              </a:ext>
            </a:extLst>
          </p:cNvPr>
          <p:cNvSpPr>
            <a:spLocks noGrp="1"/>
          </p:cNvSpPr>
          <p:nvPr>
            <p:ph type="dt" sz="half" idx="16"/>
          </p:nvPr>
        </p:nvSpPr>
        <p:spPr/>
        <p:txBody>
          <a:bodyPr/>
          <a:lstStyle>
            <a:lvl1pPr>
              <a:defRPr>
                <a:noFill/>
              </a:defRPr>
            </a:lvl1pPr>
          </a:lstStyle>
          <a:p>
            <a:r>
              <a:rPr lang="de-DE"/>
              <a:t>Jan. 2023</a:t>
            </a:r>
          </a:p>
        </p:txBody>
      </p:sp>
      <p:sp>
        <p:nvSpPr>
          <p:cNvPr id="3" name="Fußzeilenplatzhalter 2" hidden="1">
            <a:extLst>
              <a:ext uri="{FF2B5EF4-FFF2-40B4-BE49-F238E27FC236}">
                <a16:creationId xmlns:a16="http://schemas.microsoft.com/office/drawing/2014/main" id="{DEAAFD79-128F-4FEE-887D-835E2FB1F681}"/>
              </a:ext>
            </a:extLst>
          </p:cNvPr>
          <p:cNvSpPr>
            <a:spLocks noGrp="1"/>
          </p:cNvSpPr>
          <p:nvPr>
            <p:ph type="ftr" sz="quarter" idx="17"/>
          </p:nvPr>
        </p:nvSpPr>
        <p:spPr/>
        <p:txBody>
          <a:bodyPr/>
          <a:lstStyle>
            <a:lvl1pPr>
              <a:defRPr>
                <a:noFill/>
              </a:defRPr>
            </a:lvl1pPr>
          </a:lstStyle>
          <a:p>
            <a:r>
              <a:rPr lang="de-DE"/>
              <a:t>UIP-EQ-CON  |  C0  |</a:t>
            </a:r>
          </a:p>
        </p:txBody>
      </p:sp>
      <p:sp>
        <p:nvSpPr>
          <p:cNvPr id="5" name="Foliennummernplatzhalter 4" hidden="1">
            <a:extLst>
              <a:ext uri="{FF2B5EF4-FFF2-40B4-BE49-F238E27FC236}">
                <a16:creationId xmlns:a16="http://schemas.microsoft.com/office/drawing/2014/main" id="{74417BC1-7661-4571-9C7E-1EC7D7D71D72}"/>
              </a:ext>
            </a:extLst>
          </p:cNvPr>
          <p:cNvSpPr>
            <a:spLocks noGrp="1"/>
          </p:cNvSpPr>
          <p:nvPr>
            <p:ph type="sldNum" sz="quarter" idx="18"/>
          </p:nvPr>
        </p:nvSpPr>
        <p:spPr/>
        <p:txBody>
          <a:bodyPr/>
          <a:lstStyle>
            <a:lvl1pPr>
              <a:defRPr>
                <a:noFill/>
              </a:defRPr>
            </a:lvl1pPr>
          </a:lstStyle>
          <a:p>
            <a:fld id="{9C89B081-1F44-4440-BC7B-989C90F97B77}" type="slidenum">
              <a:rPr lang="de-DE"/>
              <a:pPr/>
              <a:t>‹Nr.›</a:t>
            </a:fld>
            <a:endParaRPr lang="de-DE"/>
          </a:p>
        </p:txBody>
      </p:sp>
    </p:spTree>
    <p:extLst>
      <p:ext uri="{BB962C8B-B14F-4D97-AF65-F5344CB8AC3E}">
        <p14:creationId xmlns:p14="http://schemas.microsoft.com/office/powerpoint/2010/main" val="1484081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977">
          <p15:clr>
            <a:srgbClr val="FBAE40"/>
          </p15:clr>
        </p15:guide>
        <p15:guide id="2" pos="3705">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Trennseite mit vollflächigem Bild 01">
    <p:spTree>
      <p:nvGrpSpPr>
        <p:cNvPr id="1" name=""/>
        <p:cNvGrpSpPr/>
        <p:nvPr/>
      </p:nvGrpSpPr>
      <p:grpSpPr>
        <a:xfrm>
          <a:off x="0" y="0"/>
          <a:ext cx="0" cy="0"/>
          <a:chOff x="0" y="0"/>
          <a:chExt cx="0" cy="0"/>
        </a:xfrm>
      </p:grpSpPr>
      <p:sp>
        <p:nvSpPr>
          <p:cNvPr id="6" name="Bildplatzhalter 9">
            <a:extLst>
              <a:ext uri="{FF2B5EF4-FFF2-40B4-BE49-F238E27FC236}">
                <a16:creationId xmlns:a16="http://schemas.microsoft.com/office/drawing/2014/main" id="{61C4EC75-5F5C-47D8-AE19-1DBDC9528730}"/>
              </a:ext>
            </a:extLst>
          </p:cNvPr>
          <p:cNvSpPr>
            <a:spLocks noGrp="1"/>
          </p:cNvSpPr>
          <p:nvPr>
            <p:ph type="pic" sz="quarter" idx="10" hasCustomPrompt="1"/>
          </p:nvPr>
        </p:nvSpPr>
        <p:spPr bwMode="gray">
          <a:xfrm>
            <a:off x="-1" y="0"/>
            <a:ext cx="12195175" cy="6858000"/>
          </a:xfrm>
          <a:prstGeom prst="rect">
            <a:avLst/>
          </a:prstGeom>
          <a:pattFill prst="pct20">
            <a:fgClr>
              <a:schemeClr val="accent3"/>
            </a:fgClr>
            <a:bgClr>
              <a:schemeClr val="bg1"/>
            </a:bgClr>
          </a:pattFill>
        </p:spPr>
        <p:txBody>
          <a:bodyPr vert="horz" wrap="square" lIns="72000" tIns="72000" rIns="72000" bIns="72000" rtlCol="0" anchor="t">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1600" baseline="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600"/>
              <a:t>Um ein Hintergrundbild einzufügen, markieren Sie bitte den </a:t>
            </a:r>
            <a:br>
              <a:rPr lang="de-DE" sz="1600"/>
            </a:br>
            <a:r>
              <a:rPr lang="de-DE" sz="1600"/>
              <a:t>Platzhalter und wählen entweder ein Bild aus der </a:t>
            </a:r>
            <a:r>
              <a:rPr lang="de-DE" sz="1600" err="1"/>
              <a:t>empower</a:t>
            </a:r>
            <a:r>
              <a:rPr lang="de-DE" sz="1600"/>
              <a:t> </a:t>
            </a:r>
            <a:br>
              <a:rPr lang="de-DE" sz="1600"/>
            </a:br>
            <a:r>
              <a:rPr lang="de-DE" sz="1600"/>
              <a:t>Bibliothek oder über den Reiter „Einfügen“, „Bilder“ aus. </a:t>
            </a:r>
          </a:p>
        </p:txBody>
      </p:sp>
      <p:sp>
        <p:nvSpPr>
          <p:cNvPr id="7" name="Textplatzhalter 9">
            <a:extLst>
              <a:ext uri="{FF2B5EF4-FFF2-40B4-BE49-F238E27FC236}">
                <a16:creationId xmlns:a16="http://schemas.microsoft.com/office/drawing/2014/main" id="{93C93B80-10F8-4DC4-AAB2-00F234410632}"/>
              </a:ext>
            </a:extLst>
          </p:cNvPr>
          <p:cNvSpPr>
            <a:spLocks noGrp="1" noChangeAspect="1"/>
          </p:cNvSpPr>
          <p:nvPr>
            <p:ph type="body" sz="quarter" idx="15" hasCustomPrompt="1"/>
          </p:nvPr>
        </p:nvSpPr>
        <p:spPr bwMode="gray">
          <a:xfrm>
            <a:off x="6103895" y="-1"/>
            <a:ext cx="6091280" cy="6310680"/>
          </a:xfrm>
          <a:custGeom>
            <a:avLst/>
            <a:gdLst>
              <a:gd name="connsiteX0" fmla="*/ 0 w 6091280"/>
              <a:gd name="connsiteY0" fmla="*/ 0 h 6310680"/>
              <a:gd name="connsiteX1" fmla="*/ 6091280 w 6091280"/>
              <a:gd name="connsiteY1" fmla="*/ 0 h 6310680"/>
              <a:gd name="connsiteX2" fmla="*/ 6091280 w 6091280"/>
              <a:gd name="connsiteY2" fmla="*/ 5279428 h 6310680"/>
              <a:gd name="connsiteX3" fmla="*/ 966865 w 6091280"/>
              <a:gd name="connsiteY3" fmla="*/ 6289914 h 6310680"/>
              <a:gd name="connsiteX4" fmla="*/ 0 w 6091280"/>
              <a:gd name="connsiteY4" fmla="*/ 5567343 h 6310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1280" h="6310680">
                <a:moveTo>
                  <a:pt x="0" y="0"/>
                </a:moveTo>
                <a:lnTo>
                  <a:pt x="6091280" y="0"/>
                </a:lnTo>
                <a:lnTo>
                  <a:pt x="6091280" y="5279428"/>
                </a:lnTo>
                <a:lnTo>
                  <a:pt x="966865" y="6289914"/>
                </a:lnTo>
                <a:cubicBezTo>
                  <a:pt x="0" y="6456384"/>
                  <a:pt x="0" y="5567343"/>
                  <a:pt x="0" y="5567343"/>
                </a:cubicBezTo>
                <a:close/>
              </a:path>
            </a:pathLst>
          </a:custGeom>
          <a:solidFill>
            <a:schemeClr val="tx2">
              <a:alpha val="89000"/>
            </a:schemeClr>
          </a:solidFill>
        </p:spPr>
        <p:txBody>
          <a:bodyPr wrap="square" lIns="435600" tIns="0" rIns="414000" bIns="3542400" anchor="b">
            <a:noAutofit/>
          </a:bodyPr>
          <a:lstStyle>
            <a:lvl1pPr marL="0" indent="0">
              <a:spcBef>
                <a:spcPts val="0"/>
              </a:spcBef>
              <a:buFont typeface="Arial" panose="020B0604020202020204" pitchFamily="34" charset="0"/>
              <a:buNone/>
              <a:defRPr sz="2600" b="1">
                <a:solidFill>
                  <a:schemeClr val="bg1"/>
                </a:solidFill>
              </a:defRPr>
            </a:lvl1pPr>
            <a:lvl2pPr marL="0" indent="0">
              <a:spcBef>
                <a:spcPts val="0"/>
              </a:spcBef>
              <a:buFont typeface="Arial" panose="020B0604020202020204" pitchFamily="34" charset="0"/>
              <a:buNone/>
              <a:defRPr sz="3000" b="1">
                <a:solidFill>
                  <a:schemeClr val="bg1"/>
                </a:solidFill>
              </a:defRPr>
            </a:lvl2pPr>
            <a:lvl3pPr marL="0" indent="0">
              <a:spcBef>
                <a:spcPts val="0"/>
              </a:spcBef>
              <a:buNone/>
              <a:defRPr sz="3000" b="1">
                <a:solidFill>
                  <a:schemeClr val="bg1"/>
                </a:solidFill>
              </a:defRPr>
            </a:lvl3pPr>
            <a:lvl4pPr marL="0" indent="0">
              <a:spcBef>
                <a:spcPts val="0"/>
              </a:spcBef>
              <a:buNone/>
              <a:defRPr sz="3000" b="1">
                <a:solidFill>
                  <a:schemeClr val="bg1"/>
                </a:solidFill>
              </a:defRPr>
            </a:lvl4pPr>
            <a:lvl5pPr marL="0" indent="0">
              <a:spcBef>
                <a:spcPts val="0"/>
              </a:spcBef>
              <a:buNone/>
              <a:defRPr sz="3000" b="1">
                <a:solidFill>
                  <a:schemeClr val="bg1"/>
                </a:solidFill>
              </a:defRPr>
            </a:lvl5pPr>
          </a:lstStyle>
          <a:p>
            <a:pPr lvl="0"/>
            <a:r>
              <a:rPr lang="de-DE"/>
              <a:t>Kapiteltrennseite (max. 2-zeilig)</a:t>
            </a:r>
          </a:p>
        </p:txBody>
      </p:sp>
      <p:sp>
        <p:nvSpPr>
          <p:cNvPr id="12" name="Textplatzhalter 11">
            <a:extLst>
              <a:ext uri="{FF2B5EF4-FFF2-40B4-BE49-F238E27FC236}">
                <a16:creationId xmlns:a16="http://schemas.microsoft.com/office/drawing/2014/main" id="{22AE4F05-50A3-4DCB-B5C1-E163C13DE46A}"/>
              </a:ext>
            </a:extLst>
          </p:cNvPr>
          <p:cNvSpPr>
            <a:spLocks noGrp="1"/>
          </p:cNvSpPr>
          <p:nvPr>
            <p:ph type="body" sz="quarter" idx="12" hasCustomPrompt="1"/>
          </p:nvPr>
        </p:nvSpPr>
        <p:spPr bwMode="gray">
          <a:xfrm>
            <a:off x="6538613" y="403200"/>
            <a:ext cx="461665" cy="830997"/>
          </a:xfrm>
          <a:prstGeom prst="rect">
            <a:avLst/>
          </a:prstGeom>
        </p:spPr>
        <p:txBody>
          <a:bodyPr wrap="none" anchor="ctr">
            <a:spAutoFit/>
          </a:bodyPr>
          <a:lstStyle>
            <a:lvl1pPr marL="0" indent="0">
              <a:spcBef>
                <a:spcPts val="0"/>
              </a:spcBef>
              <a:buNone/>
              <a:defRPr sz="5400" b="0">
                <a:solidFill>
                  <a:schemeClr val="accent2"/>
                </a:solidFill>
              </a:defRPr>
            </a:lvl1pPr>
            <a:lvl2pPr>
              <a:defRPr sz="4500"/>
            </a:lvl2pPr>
            <a:lvl3pPr>
              <a:defRPr sz="4500"/>
            </a:lvl3pPr>
            <a:lvl4pPr>
              <a:defRPr sz="4500"/>
            </a:lvl4pPr>
            <a:lvl5pPr>
              <a:defRPr sz="4500"/>
            </a:lvl5pPr>
          </a:lstStyle>
          <a:p>
            <a:pPr lvl="0"/>
            <a:r>
              <a:rPr lang="de-DE" noProof="0"/>
              <a:t>X</a:t>
            </a:r>
          </a:p>
        </p:txBody>
      </p:sp>
      <p:sp>
        <p:nvSpPr>
          <p:cNvPr id="13" name="Textplatzhalter 2">
            <a:extLst>
              <a:ext uri="{FF2B5EF4-FFF2-40B4-BE49-F238E27FC236}">
                <a16:creationId xmlns:a16="http://schemas.microsoft.com/office/drawing/2014/main" id="{82FE2016-08F1-473F-A608-61DC01DB69ED}"/>
              </a:ext>
            </a:extLst>
          </p:cNvPr>
          <p:cNvSpPr>
            <a:spLocks noGrp="1"/>
          </p:cNvSpPr>
          <p:nvPr>
            <p:ph type="body" sz="quarter" idx="13" hasCustomPrompt="1"/>
          </p:nvPr>
        </p:nvSpPr>
        <p:spPr bwMode="gray">
          <a:xfrm>
            <a:off x="6538613" y="2934424"/>
            <a:ext cx="5242907" cy="2016000"/>
          </a:xfrm>
        </p:spPr>
        <p:txBody>
          <a:bodyPr/>
          <a:lstStyle>
            <a:lvl1pPr marL="180000" indent="-180000">
              <a:spcBef>
                <a:spcPts val="600"/>
              </a:spcBef>
              <a:buClrTx/>
              <a:buFont typeface="Wingdings" panose="05000000000000000000" pitchFamily="2" charset="2"/>
              <a:buChar char=""/>
              <a:defRPr b="0">
                <a:solidFill>
                  <a:schemeClr val="bg1"/>
                </a:solidFill>
              </a:defRPr>
            </a:lvl1pPr>
          </a:lstStyle>
          <a:p>
            <a:pPr lvl="0"/>
            <a:r>
              <a:rPr lang="de-DE" noProof="0"/>
              <a:t>Erstes Unterthema</a:t>
            </a:r>
          </a:p>
          <a:p>
            <a:pPr lvl="0"/>
            <a:r>
              <a:rPr lang="de-DE" noProof="0"/>
              <a:t>Zweites Unterthema</a:t>
            </a:r>
          </a:p>
          <a:p>
            <a:pPr lvl="0"/>
            <a:endParaRPr lang="de-DE" noProof="0"/>
          </a:p>
          <a:p>
            <a:pPr lvl="0"/>
            <a:endParaRPr lang="de-DE" noProof="0"/>
          </a:p>
        </p:txBody>
      </p:sp>
      <p:sp>
        <p:nvSpPr>
          <p:cNvPr id="2" name="Datumsplatzhalter 1" hidden="1">
            <a:extLst>
              <a:ext uri="{FF2B5EF4-FFF2-40B4-BE49-F238E27FC236}">
                <a16:creationId xmlns:a16="http://schemas.microsoft.com/office/drawing/2014/main" id="{D31E90FE-4C0F-46DC-BB23-CFE8EF067FA0}"/>
              </a:ext>
            </a:extLst>
          </p:cNvPr>
          <p:cNvSpPr>
            <a:spLocks noGrp="1"/>
          </p:cNvSpPr>
          <p:nvPr>
            <p:ph type="dt" sz="half" idx="16"/>
          </p:nvPr>
        </p:nvSpPr>
        <p:spPr/>
        <p:txBody>
          <a:bodyPr/>
          <a:lstStyle>
            <a:lvl1pPr>
              <a:defRPr>
                <a:noFill/>
              </a:defRPr>
            </a:lvl1pPr>
          </a:lstStyle>
          <a:p>
            <a:r>
              <a:rPr lang="de-DE"/>
              <a:t>Jan. 2023</a:t>
            </a:r>
          </a:p>
        </p:txBody>
      </p:sp>
      <p:sp>
        <p:nvSpPr>
          <p:cNvPr id="3" name="Fußzeilenplatzhalter 2" hidden="1">
            <a:extLst>
              <a:ext uri="{FF2B5EF4-FFF2-40B4-BE49-F238E27FC236}">
                <a16:creationId xmlns:a16="http://schemas.microsoft.com/office/drawing/2014/main" id="{7FE96BE8-4D7F-4167-BF57-0839A28E751D}"/>
              </a:ext>
            </a:extLst>
          </p:cNvPr>
          <p:cNvSpPr>
            <a:spLocks noGrp="1"/>
          </p:cNvSpPr>
          <p:nvPr>
            <p:ph type="ftr" sz="quarter" idx="17"/>
          </p:nvPr>
        </p:nvSpPr>
        <p:spPr/>
        <p:txBody>
          <a:bodyPr/>
          <a:lstStyle>
            <a:lvl1pPr>
              <a:defRPr>
                <a:noFill/>
              </a:defRPr>
            </a:lvl1pPr>
          </a:lstStyle>
          <a:p>
            <a:r>
              <a:rPr lang="de-DE"/>
              <a:t>UIP-EQ-CON  |  C0  |</a:t>
            </a:r>
          </a:p>
        </p:txBody>
      </p:sp>
      <p:sp>
        <p:nvSpPr>
          <p:cNvPr id="4" name="Foliennummernplatzhalter 3" hidden="1">
            <a:extLst>
              <a:ext uri="{FF2B5EF4-FFF2-40B4-BE49-F238E27FC236}">
                <a16:creationId xmlns:a16="http://schemas.microsoft.com/office/drawing/2014/main" id="{3ED20BDB-0617-4D87-972C-813895C0EE1A}"/>
              </a:ext>
            </a:extLst>
          </p:cNvPr>
          <p:cNvSpPr>
            <a:spLocks noGrp="1"/>
          </p:cNvSpPr>
          <p:nvPr>
            <p:ph type="sldNum" sz="quarter" idx="18"/>
          </p:nvPr>
        </p:nvSpPr>
        <p:spPr/>
        <p:txBody>
          <a:bodyPr/>
          <a:lstStyle>
            <a:lvl1pPr>
              <a:defRPr>
                <a:noFill/>
              </a:defRPr>
            </a:lvl1pPr>
          </a:lstStyle>
          <a:p>
            <a:fld id="{9C89B081-1F44-4440-BC7B-989C90F97B77}" type="slidenum">
              <a:rPr lang="de-DE"/>
              <a:pPr/>
              <a:t>‹Nr.›</a:t>
            </a:fld>
            <a:endParaRPr lang="de-DE"/>
          </a:p>
        </p:txBody>
      </p:sp>
    </p:spTree>
    <p:extLst>
      <p:ext uri="{BB962C8B-B14F-4D97-AF65-F5344CB8AC3E}">
        <p14:creationId xmlns:p14="http://schemas.microsoft.com/office/powerpoint/2010/main" val="2838143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Trennseite mit vollflächigem Bild 02">
    <p:spTree>
      <p:nvGrpSpPr>
        <p:cNvPr id="1" name=""/>
        <p:cNvGrpSpPr/>
        <p:nvPr/>
      </p:nvGrpSpPr>
      <p:grpSpPr>
        <a:xfrm>
          <a:off x="0" y="0"/>
          <a:ext cx="0" cy="0"/>
          <a:chOff x="0" y="0"/>
          <a:chExt cx="0" cy="0"/>
        </a:xfrm>
      </p:grpSpPr>
      <p:sp>
        <p:nvSpPr>
          <p:cNvPr id="6" name="Bildplatzhalter 9">
            <a:extLst>
              <a:ext uri="{FF2B5EF4-FFF2-40B4-BE49-F238E27FC236}">
                <a16:creationId xmlns:a16="http://schemas.microsoft.com/office/drawing/2014/main" id="{61C4EC75-5F5C-47D8-AE19-1DBDC9528730}"/>
              </a:ext>
            </a:extLst>
          </p:cNvPr>
          <p:cNvSpPr>
            <a:spLocks noGrp="1"/>
          </p:cNvSpPr>
          <p:nvPr>
            <p:ph type="pic" sz="quarter" idx="10" hasCustomPrompt="1"/>
          </p:nvPr>
        </p:nvSpPr>
        <p:spPr bwMode="gray">
          <a:xfrm>
            <a:off x="-1" y="0"/>
            <a:ext cx="12195175" cy="6858000"/>
          </a:xfrm>
          <a:prstGeom prst="rect">
            <a:avLst/>
          </a:prstGeom>
          <a:pattFill prst="pct20">
            <a:fgClr>
              <a:schemeClr val="accent3"/>
            </a:fgClr>
            <a:bgClr>
              <a:schemeClr val="bg1"/>
            </a:bgClr>
          </a:pattFill>
        </p:spPr>
        <p:txBody>
          <a:bodyPr vert="horz" wrap="square" lIns="72000" tIns="72000" rIns="72000" bIns="72000" rtlCol="0" anchor="t">
            <a:noAutofit/>
          </a:bodyPr>
          <a:lstStyle>
            <a:lvl1pPr>
              <a:defRPr lang="de-DE" sz="1600" baseline="0" dirty="0">
                <a:solidFill>
                  <a:schemeClr val="tx1"/>
                </a:solidFill>
              </a:defRPr>
            </a:lvl1pPr>
          </a:lstStyle>
          <a:p>
            <a:pPr marR="0" lvl="0" fontAlgn="auto">
              <a:lnSpc>
                <a:spcPct val="100000"/>
              </a:lnSpc>
              <a:spcBef>
                <a:spcPts val="0"/>
              </a:spcBef>
              <a:spcAft>
                <a:spcPts val="0"/>
              </a:spcAft>
              <a:buClrTx/>
              <a:buSzTx/>
              <a:tabLst/>
            </a:pPr>
            <a:r>
              <a:rPr lang="de-DE" sz="1600"/>
              <a:t>Um ein Hintergrundbild einzufügen, markieren Sie bitte den Platzhalter und wählen entweder ein Bild aus der </a:t>
            </a:r>
            <a:r>
              <a:rPr lang="de-DE" sz="1600" err="1"/>
              <a:t>empower</a:t>
            </a:r>
            <a:r>
              <a:rPr lang="de-DE" sz="1600"/>
              <a:t> Bibliothek oder über den Reiter „Einfügen“, „Bilder“ aus. </a:t>
            </a:r>
          </a:p>
        </p:txBody>
      </p:sp>
      <p:sp>
        <p:nvSpPr>
          <p:cNvPr id="9" name="Textplatzhalter 9">
            <a:extLst>
              <a:ext uri="{FF2B5EF4-FFF2-40B4-BE49-F238E27FC236}">
                <a16:creationId xmlns:a16="http://schemas.microsoft.com/office/drawing/2014/main" id="{736F61B6-AA72-44FD-A2CD-3CEF9E01724E}"/>
              </a:ext>
            </a:extLst>
          </p:cNvPr>
          <p:cNvSpPr>
            <a:spLocks noGrp="1" noChangeAspect="1"/>
          </p:cNvSpPr>
          <p:nvPr>
            <p:ph type="body" sz="quarter" idx="15" hasCustomPrompt="1"/>
          </p:nvPr>
        </p:nvSpPr>
        <p:spPr bwMode="gray">
          <a:xfrm>
            <a:off x="0" y="547319"/>
            <a:ext cx="6091280" cy="6310681"/>
          </a:xfrm>
          <a:custGeom>
            <a:avLst/>
            <a:gdLst>
              <a:gd name="connsiteX0" fmla="*/ 5294608 w 6091280"/>
              <a:gd name="connsiteY0" fmla="*/ 1449 h 6310681"/>
              <a:gd name="connsiteX1" fmla="*/ 6091280 w 6091280"/>
              <a:gd name="connsiteY1" fmla="*/ 743338 h 6310681"/>
              <a:gd name="connsiteX2" fmla="*/ 6091280 w 6091280"/>
              <a:gd name="connsiteY2" fmla="*/ 6310681 h 6310681"/>
              <a:gd name="connsiteX3" fmla="*/ 0 w 6091280"/>
              <a:gd name="connsiteY3" fmla="*/ 6310681 h 6310681"/>
              <a:gd name="connsiteX4" fmla="*/ 0 w 6091280"/>
              <a:gd name="connsiteY4" fmla="*/ 1031253 h 6310681"/>
              <a:gd name="connsiteX5" fmla="*/ 5124415 w 6091280"/>
              <a:gd name="connsiteY5" fmla="*/ 20767 h 6310681"/>
              <a:gd name="connsiteX6" fmla="*/ 5294608 w 6091280"/>
              <a:gd name="connsiteY6" fmla="*/ 1449 h 6310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1280" h="6310681">
                <a:moveTo>
                  <a:pt x="5294608" y="1449"/>
                </a:moveTo>
                <a:cubicBezTo>
                  <a:pt x="6091280" y="-38046"/>
                  <a:pt x="6091280" y="743338"/>
                  <a:pt x="6091280" y="743338"/>
                </a:cubicBezTo>
                <a:lnTo>
                  <a:pt x="6091280" y="6310681"/>
                </a:lnTo>
                <a:lnTo>
                  <a:pt x="0" y="6310681"/>
                </a:lnTo>
                <a:lnTo>
                  <a:pt x="0" y="1031253"/>
                </a:lnTo>
                <a:lnTo>
                  <a:pt x="5124415" y="20767"/>
                </a:lnTo>
                <a:cubicBezTo>
                  <a:pt x="5184844" y="10363"/>
                  <a:pt x="5241497" y="4081"/>
                  <a:pt x="5294608" y="1449"/>
                </a:cubicBezTo>
                <a:close/>
              </a:path>
            </a:pathLst>
          </a:custGeom>
          <a:solidFill>
            <a:schemeClr val="tx2">
              <a:alpha val="89000"/>
            </a:schemeClr>
          </a:solidFill>
        </p:spPr>
        <p:txBody>
          <a:bodyPr wrap="square" lIns="640800" tIns="0" rIns="414000" bIns="2419200" anchor="b">
            <a:noAutofit/>
          </a:bodyPr>
          <a:lstStyle>
            <a:lvl1pPr marL="0" indent="0">
              <a:spcBef>
                <a:spcPts val="0"/>
              </a:spcBef>
              <a:buFont typeface="Arial" panose="020B0604020202020204" pitchFamily="34" charset="0"/>
              <a:buNone/>
              <a:defRPr sz="2600" b="1">
                <a:solidFill>
                  <a:schemeClr val="bg1"/>
                </a:solidFill>
              </a:defRPr>
            </a:lvl1pPr>
            <a:lvl2pPr marL="0" indent="0">
              <a:spcBef>
                <a:spcPts val="0"/>
              </a:spcBef>
              <a:buFont typeface="Arial" panose="020B0604020202020204" pitchFamily="34" charset="0"/>
              <a:buNone/>
              <a:defRPr sz="3000" b="1">
                <a:solidFill>
                  <a:schemeClr val="bg1"/>
                </a:solidFill>
              </a:defRPr>
            </a:lvl2pPr>
            <a:lvl3pPr marL="0" indent="0">
              <a:spcBef>
                <a:spcPts val="0"/>
              </a:spcBef>
              <a:buNone/>
              <a:defRPr sz="3000" b="1">
                <a:solidFill>
                  <a:schemeClr val="bg1"/>
                </a:solidFill>
              </a:defRPr>
            </a:lvl3pPr>
            <a:lvl4pPr marL="0" indent="0">
              <a:spcBef>
                <a:spcPts val="0"/>
              </a:spcBef>
              <a:buNone/>
              <a:defRPr sz="3000" b="1">
                <a:solidFill>
                  <a:schemeClr val="bg1"/>
                </a:solidFill>
              </a:defRPr>
            </a:lvl4pPr>
            <a:lvl5pPr marL="0" indent="0">
              <a:spcBef>
                <a:spcPts val="0"/>
              </a:spcBef>
              <a:buNone/>
              <a:defRPr sz="3000" b="1">
                <a:solidFill>
                  <a:schemeClr val="bg1"/>
                </a:solidFill>
              </a:defRPr>
            </a:lvl5pPr>
          </a:lstStyle>
          <a:p>
            <a:pPr lvl="0"/>
            <a:r>
              <a:rPr lang="de-DE"/>
              <a:t>Kapiteltrennseite (max. 2-zeilig)</a:t>
            </a:r>
          </a:p>
        </p:txBody>
      </p:sp>
      <p:sp>
        <p:nvSpPr>
          <p:cNvPr id="12" name="Textplatzhalter 11">
            <a:extLst>
              <a:ext uri="{FF2B5EF4-FFF2-40B4-BE49-F238E27FC236}">
                <a16:creationId xmlns:a16="http://schemas.microsoft.com/office/drawing/2014/main" id="{22AE4F05-50A3-4DCB-B5C1-E163C13DE46A}"/>
              </a:ext>
            </a:extLst>
          </p:cNvPr>
          <p:cNvSpPr>
            <a:spLocks noGrp="1"/>
          </p:cNvSpPr>
          <p:nvPr>
            <p:ph type="body" sz="quarter" idx="12" hasCustomPrompt="1"/>
          </p:nvPr>
        </p:nvSpPr>
        <p:spPr bwMode="gray">
          <a:xfrm>
            <a:off x="638782" y="2073548"/>
            <a:ext cx="461665" cy="830997"/>
          </a:xfrm>
          <a:prstGeom prst="rect">
            <a:avLst/>
          </a:prstGeom>
        </p:spPr>
        <p:txBody>
          <a:bodyPr wrap="none" anchor="ctr">
            <a:spAutoFit/>
          </a:bodyPr>
          <a:lstStyle>
            <a:lvl1pPr marL="0" indent="0">
              <a:spcBef>
                <a:spcPts val="0"/>
              </a:spcBef>
              <a:buNone/>
              <a:defRPr sz="5400" b="0">
                <a:solidFill>
                  <a:schemeClr val="accent2"/>
                </a:solidFill>
              </a:defRPr>
            </a:lvl1pPr>
            <a:lvl2pPr>
              <a:defRPr sz="4500"/>
            </a:lvl2pPr>
            <a:lvl3pPr>
              <a:defRPr sz="4500"/>
            </a:lvl3pPr>
            <a:lvl4pPr>
              <a:defRPr sz="4500"/>
            </a:lvl4pPr>
            <a:lvl5pPr>
              <a:defRPr sz="4500"/>
            </a:lvl5pPr>
          </a:lstStyle>
          <a:p>
            <a:pPr lvl="0"/>
            <a:r>
              <a:rPr lang="de-DE" noProof="0"/>
              <a:t>X</a:t>
            </a:r>
          </a:p>
        </p:txBody>
      </p:sp>
      <p:sp>
        <p:nvSpPr>
          <p:cNvPr id="13" name="Textplatzhalter 2">
            <a:extLst>
              <a:ext uri="{FF2B5EF4-FFF2-40B4-BE49-F238E27FC236}">
                <a16:creationId xmlns:a16="http://schemas.microsoft.com/office/drawing/2014/main" id="{82FE2016-08F1-473F-A608-61DC01DB69ED}"/>
              </a:ext>
            </a:extLst>
          </p:cNvPr>
          <p:cNvSpPr>
            <a:spLocks noGrp="1"/>
          </p:cNvSpPr>
          <p:nvPr>
            <p:ph type="body" sz="quarter" idx="13" hasCustomPrompt="1"/>
          </p:nvPr>
        </p:nvSpPr>
        <p:spPr bwMode="gray">
          <a:xfrm>
            <a:off x="638782" y="4604772"/>
            <a:ext cx="5242907" cy="1703953"/>
          </a:xfrm>
        </p:spPr>
        <p:txBody>
          <a:bodyPr/>
          <a:lstStyle>
            <a:lvl1pPr marL="180000" indent="-180000">
              <a:spcBef>
                <a:spcPts val="600"/>
              </a:spcBef>
              <a:buClrTx/>
              <a:buFont typeface="Wingdings" panose="05000000000000000000" pitchFamily="2" charset="2"/>
              <a:buChar char=""/>
              <a:defRPr b="0">
                <a:solidFill>
                  <a:schemeClr val="bg1"/>
                </a:solidFill>
              </a:defRPr>
            </a:lvl1pPr>
          </a:lstStyle>
          <a:p>
            <a:pPr lvl="0"/>
            <a:r>
              <a:rPr lang="de-DE" noProof="0"/>
              <a:t>Erstes Unterthema</a:t>
            </a:r>
          </a:p>
          <a:p>
            <a:pPr lvl="0"/>
            <a:r>
              <a:rPr lang="de-DE" noProof="0"/>
              <a:t>Zweites Unterthema</a:t>
            </a:r>
          </a:p>
          <a:p>
            <a:pPr lvl="0"/>
            <a:endParaRPr lang="de-DE" noProof="0"/>
          </a:p>
          <a:p>
            <a:pPr lvl="0"/>
            <a:endParaRPr lang="de-DE" noProof="0"/>
          </a:p>
        </p:txBody>
      </p:sp>
      <p:sp>
        <p:nvSpPr>
          <p:cNvPr id="2" name="Datumsplatzhalter 1" hidden="1">
            <a:extLst>
              <a:ext uri="{FF2B5EF4-FFF2-40B4-BE49-F238E27FC236}">
                <a16:creationId xmlns:a16="http://schemas.microsoft.com/office/drawing/2014/main" id="{B51C3C61-46B6-4C12-A96C-6E15209A5650}"/>
              </a:ext>
            </a:extLst>
          </p:cNvPr>
          <p:cNvSpPr>
            <a:spLocks noGrp="1"/>
          </p:cNvSpPr>
          <p:nvPr>
            <p:ph type="dt" sz="half" idx="16"/>
          </p:nvPr>
        </p:nvSpPr>
        <p:spPr/>
        <p:txBody>
          <a:bodyPr/>
          <a:lstStyle>
            <a:lvl1pPr>
              <a:defRPr>
                <a:noFill/>
              </a:defRPr>
            </a:lvl1pPr>
          </a:lstStyle>
          <a:p>
            <a:r>
              <a:rPr lang="de-DE"/>
              <a:t>Jan. 2023</a:t>
            </a:r>
          </a:p>
        </p:txBody>
      </p:sp>
      <p:sp>
        <p:nvSpPr>
          <p:cNvPr id="3" name="Fußzeilenplatzhalter 2" hidden="1">
            <a:extLst>
              <a:ext uri="{FF2B5EF4-FFF2-40B4-BE49-F238E27FC236}">
                <a16:creationId xmlns:a16="http://schemas.microsoft.com/office/drawing/2014/main" id="{0BC7319A-E469-4F6B-82A6-E147FCCCCC20}"/>
              </a:ext>
            </a:extLst>
          </p:cNvPr>
          <p:cNvSpPr>
            <a:spLocks noGrp="1"/>
          </p:cNvSpPr>
          <p:nvPr>
            <p:ph type="ftr" sz="quarter" idx="17"/>
          </p:nvPr>
        </p:nvSpPr>
        <p:spPr/>
        <p:txBody>
          <a:bodyPr/>
          <a:lstStyle>
            <a:lvl1pPr>
              <a:defRPr>
                <a:noFill/>
              </a:defRPr>
            </a:lvl1pPr>
          </a:lstStyle>
          <a:p>
            <a:r>
              <a:rPr lang="de-DE"/>
              <a:t>UIP-EQ-CON  |  C0  |</a:t>
            </a:r>
          </a:p>
        </p:txBody>
      </p:sp>
      <p:sp>
        <p:nvSpPr>
          <p:cNvPr id="4" name="Foliennummernplatzhalter 3" hidden="1">
            <a:extLst>
              <a:ext uri="{FF2B5EF4-FFF2-40B4-BE49-F238E27FC236}">
                <a16:creationId xmlns:a16="http://schemas.microsoft.com/office/drawing/2014/main" id="{D9CE1915-9E92-4B06-885F-E32D44658DB5}"/>
              </a:ext>
            </a:extLst>
          </p:cNvPr>
          <p:cNvSpPr>
            <a:spLocks noGrp="1"/>
          </p:cNvSpPr>
          <p:nvPr>
            <p:ph type="sldNum" sz="quarter" idx="18"/>
          </p:nvPr>
        </p:nvSpPr>
        <p:spPr/>
        <p:txBody>
          <a:bodyPr/>
          <a:lstStyle>
            <a:lvl1pPr>
              <a:defRPr>
                <a:noFill/>
              </a:defRPr>
            </a:lvl1pPr>
          </a:lstStyle>
          <a:p>
            <a:fld id="{9C89B081-1F44-4440-BC7B-989C90F97B77}" type="slidenum">
              <a:rPr lang="de-DE"/>
              <a:pPr/>
              <a:t>‹Nr.›</a:t>
            </a:fld>
            <a:endParaRPr lang="de-DE"/>
          </a:p>
        </p:txBody>
      </p:sp>
    </p:spTree>
    <p:extLst>
      <p:ext uri="{BB962C8B-B14F-4D97-AF65-F5344CB8AC3E}">
        <p14:creationId xmlns:p14="http://schemas.microsoft.com/office/powerpoint/2010/main" val="3748646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Trennseite mit Bild">
    <p:spTree>
      <p:nvGrpSpPr>
        <p:cNvPr id="1" name=""/>
        <p:cNvGrpSpPr/>
        <p:nvPr/>
      </p:nvGrpSpPr>
      <p:grpSpPr>
        <a:xfrm>
          <a:off x="0" y="0"/>
          <a:ext cx="0" cy="0"/>
          <a:chOff x="0" y="0"/>
          <a:chExt cx="0" cy="0"/>
        </a:xfrm>
      </p:grpSpPr>
      <p:sp>
        <p:nvSpPr>
          <p:cNvPr id="8" name="Bildplatzhalter 9">
            <a:extLst>
              <a:ext uri="{FF2B5EF4-FFF2-40B4-BE49-F238E27FC236}">
                <a16:creationId xmlns:a16="http://schemas.microsoft.com/office/drawing/2014/main" id="{416ECB76-69DA-4DC8-828F-074046CA47F4}"/>
              </a:ext>
            </a:extLst>
          </p:cNvPr>
          <p:cNvSpPr>
            <a:spLocks noGrp="1" noChangeAspect="1"/>
          </p:cNvSpPr>
          <p:nvPr>
            <p:ph type="pic" sz="quarter" idx="10" hasCustomPrompt="1"/>
          </p:nvPr>
        </p:nvSpPr>
        <p:spPr bwMode="gray">
          <a:xfrm>
            <a:off x="6103895" y="0"/>
            <a:ext cx="6091280" cy="6310680"/>
          </a:xfrm>
          <a:custGeom>
            <a:avLst/>
            <a:gdLst>
              <a:gd name="connsiteX0" fmla="*/ 0 w 6091280"/>
              <a:gd name="connsiteY0" fmla="*/ 0 h 6310680"/>
              <a:gd name="connsiteX1" fmla="*/ 6091280 w 6091280"/>
              <a:gd name="connsiteY1" fmla="*/ 0 h 6310680"/>
              <a:gd name="connsiteX2" fmla="*/ 6091280 w 6091280"/>
              <a:gd name="connsiteY2" fmla="*/ 5279428 h 6310680"/>
              <a:gd name="connsiteX3" fmla="*/ 966865 w 6091280"/>
              <a:gd name="connsiteY3" fmla="*/ 6289914 h 6310680"/>
              <a:gd name="connsiteX4" fmla="*/ 0 w 6091280"/>
              <a:gd name="connsiteY4" fmla="*/ 5567343 h 6310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1280" h="6310680">
                <a:moveTo>
                  <a:pt x="0" y="0"/>
                </a:moveTo>
                <a:lnTo>
                  <a:pt x="6091280" y="0"/>
                </a:lnTo>
                <a:lnTo>
                  <a:pt x="6091280" y="5279428"/>
                </a:lnTo>
                <a:lnTo>
                  <a:pt x="966865" y="6289914"/>
                </a:lnTo>
                <a:cubicBezTo>
                  <a:pt x="0" y="6456384"/>
                  <a:pt x="0" y="5567343"/>
                  <a:pt x="0" y="5567343"/>
                </a:cubicBezTo>
                <a:close/>
              </a:path>
            </a:pathLst>
          </a:custGeom>
          <a:pattFill prst="pct20">
            <a:fgClr>
              <a:schemeClr val="accent3"/>
            </a:fgClr>
            <a:bgClr>
              <a:schemeClr val="bg1"/>
            </a:bgClr>
          </a:pattFill>
        </p:spPr>
        <p:txBody>
          <a:bodyPr vert="horz" wrap="square" lIns="72000" tIns="72000" rIns="72000" bIns="72000" rtlCol="0" anchor="t">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1600" baseline="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600"/>
              <a:t>Um ein Hintergrundbild einzufügen, markieren Sie bitte den </a:t>
            </a:r>
            <a:br>
              <a:rPr lang="de-DE" sz="1600"/>
            </a:br>
            <a:r>
              <a:rPr lang="de-DE" sz="1600"/>
              <a:t>Platzhalter und wählen entweder ein Bild aus der </a:t>
            </a:r>
            <a:r>
              <a:rPr lang="de-DE" sz="1600" err="1"/>
              <a:t>empower</a:t>
            </a:r>
            <a:r>
              <a:rPr lang="de-DE" sz="1600"/>
              <a:t> </a:t>
            </a:r>
            <a:br>
              <a:rPr lang="de-DE" sz="1600"/>
            </a:br>
            <a:r>
              <a:rPr lang="de-DE" sz="1600"/>
              <a:t>Bibliothek oder über den Reiter „Einfügen“, „Bilder“ aus. </a:t>
            </a:r>
          </a:p>
        </p:txBody>
      </p:sp>
      <p:sp>
        <p:nvSpPr>
          <p:cNvPr id="13" name="Textplatzhalter 9"/>
          <p:cNvSpPr>
            <a:spLocks noGrp="1"/>
          </p:cNvSpPr>
          <p:nvPr>
            <p:ph type="body" sz="quarter" idx="11" hasCustomPrompt="1"/>
          </p:nvPr>
        </p:nvSpPr>
        <p:spPr bwMode="gray">
          <a:xfrm>
            <a:off x="409575" y="3351256"/>
            <a:ext cx="5472112" cy="400110"/>
          </a:xfrm>
          <a:prstGeom prst="rect">
            <a:avLst/>
          </a:prstGeom>
        </p:spPr>
        <p:txBody>
          <a:bodyPr wrap="square" anchor="b">
            <a:spAutoFit/>
          </a:bodyPr>
          <a:lstStyle>
            <a:lvl1pPr marL="0" indent="0" algn="l" defTabSz="914400" rtl="0" eaLnBrk="1" latinLnBrk="0" hangingPunct="1">
              <a:lnSpc>
                <a:spcPct val="100000"/>
              </a:lnSpc>
              <a:spcBef>
                <a:spcPts val="0"/>
              </a:spcBef>
              <a:buFont typeface="Arial" panose="020B0604020202020204" pitchFamily="34" charset="0"/>
              <a:buNone/>
              <a:defRPr lang="de-DE" sz="2600" b="1" kern="1200" dirty="0">
                <a:solidFill>
                  <a:schemeClr val="tx2"/>
                </a:solidFill>
                <a:latin typeface="+mn-lt"/>
                <a:ea typeface="+mn-ea"/>
                <a:cs typeface="+mn-cs"/>
              </a:defRPr>
            </a:lvl1pPr>
            <a:lvl2pPr>
              <a:defRPr sz="2600"/>
            </a:lvl2pPr>
            <a:lvl3pPr>
              <a:defRPr sz="2600"/>
            </a:lvl3pPr>
            <a:lvl4pPr>
              <a:defRPr sz="2600"/>
            </a:lvl4pPr>
            <a:lvl5pPr>
              <a:defRPr sz="2600"/>
            </a:lvl5pPr>
          </a:lstStyle>
          <a:p>
            <a:pPr lvl="0"/>
            <a:r>
              <a:rPr lang="de-DE" sz="2600" kern="0" noProof="0"/>
              <a:t>Kapiteltrennseite (max. 2-zeilig)</a:t>
            </a:r>
          </a:p>
        </p:txBody>
      </p:sp>
      <p:sp>
        <p:nvSpPr>
          <p:cNvPr id="14" name="Textplatzhalter 11"/>
          <p:cNvSpPr>
            <a:spLocks noGrp="1"/>
          </p:cNvSpPr>
          <p:nvPr>
            <p:ph type="body" sz="quarter" idx="12" hasCustomPrompt="1"/>
          </p:nvPr>
        </p:nvSpPr>
        <p:spPr bwMode="gray">
          <a:xfrm>
            <a:off x="409575" y="1389472"/>
            <a:ext cx="461665" cy="830997"/>
          </a:xfrm>
          <a:prstGeom prst="rect">
            <a:avLst/>
          </a:prstGeom>
        </p:spPr>
        <p:txBody>
          <a:bodyPr wrap="none" anchor="ctr">
            <a:spAutoFit/>
          </a:bodyPr>
          <a:lstStyle>
            <a:lvl1pPr marL="0" indent="0">
              <a:spcBef>
                <a:spcPts val="0"/>
              </a:spcBef>
              <a:buNone/>
              <a:defRPr sz="5400" b="0">
                <a:solidFill>
                  <a:schemeClr val="accent2"/>
                </a:solidFill>
              </a:defRPr>
            </a:lvl1pPr>
            <a:lvl2pPr>
              <a:defRPr sz="4500"/>
            </a:lvl2pPr>
            <a:lvl3pPr>
              <a:defRPr sz="4500"/>
            </a:lvl3pPr>
            <a:lvl4pPr>
              <a:defRPr sz="4500"/>
            </a:lvl4pPr>
            <a:lvl5pPr>
              <a:defRPr sz="4500"/>
            </a:lvl5pPr>
          </a:lstStyle>
          <a:p>
            <a:pPr lvl="0"/>
            <a:r>
              <a:rPr lang="de-DE" noProof="0"/>
              <a:t>X</a:t>
            </a:r>
          </a:p>
        </p:txBody>
      </p:sp>
      <p:sp>
        <p:nvSpPr>
          <p:cNvPr id="3" name="Textplatzhalter 2"/>
          <p:cNvSpPr>
            <a:spLocks noGrp="1"/>
          </p:cNvSpPr>
          <p:nvPr>
            <p:ph type="body" sz="quarter" idx="13" hasCustomPrompt="1"/>
          </p:nvPr>
        </p:nvSpPr>
        <p:spPr bwMode="gray">
          <a:xfrm>
            <a:off x="409575" y="3920696"/>
            <a:ext cx="5472113" cy="2389984"/>
          </a:xfrm>
        </p:spPr>
        <p:txBody>
          <a:bodyPr/>
          <a:lstStyle>
            <a:lvl1pPr marL="180000" indent="-180000">
              <a:spcBef>
                <a:spcPts val="600"/>
              </a:spcBef>
              <a:buClrTx/>
              <a:buFont typeface="Wingdings" panose="05000000000000000000" pitchFamily="2" charset="2"/>
              <a:buChar char=""/>
              <a:defRPr b="0"/>
            </a:lvl1pPr>
          </a:lstStyle>
          <a:p>
            <a:pPr lvl="0"/>
            <a:r>
              <a:rPr lang="de-DE" noProof="0"/>
              <a:t>Erstes Unterthema</a:t>
            </a:r>
          </a:p>
          <a:p>
            <a:pPr lvl="0"/>
            <a:r>
              <a:rPr lang="de-DE" noProof="0"/>
              <a:t>Zweites Unterthema</a:t>
            </a:r>
          </a:p>
          <a:p>
            <a:pPr lvl="0"/>
            <a:endParaRPr lang="de-DE" noProof="0"/>
          </a:p>
          <a:p>
            <a:pPr lvl="0"/>
            <a:endParaRPr lang="de-DE" noProof="0"/>
          </a:p>
        </p:txBody>
      </p:sp>
      <p:sp>
        <p:nvSpPr>
          <p:cNvPr id="9" name="Textfeld 8">
            <a:extLst>
              <a:ext uri="{FF2B5EF4-FFF2-40B4-BE49-F238E27FC236}">
                <a16:creationId xmlns:a16="http://schemas.microsoft.com/office/drawing/2014/main" id="{D81266AE-6E9D-4E5B-A1C1-1AB193785CCB}"/>
              </a:ext>
            </a:extLst>
          </p:cNvPr>
          <p:cNvSpPr txBox="1"/>
          <p:nvPr/>
        </p:nvSpPr>
        <p:spPr bwMode="gray">
          <a:xfrm>
            <a:off x="409575" y="6516000"/>
            <a:ext cx="11376000" cy="144000"/>
          </a:xfrm>
          <a:prstGeom prst="rect">
            <a:avLst/>
          </a:prstGeom>
          <a:noFill/>
        </p:spPr>
        <p:txBody>
          <a:bodyPr wrap="square" lIns="0" tIns="0" rIns="0" bIns="0" rtlCol="0" anchor="t">
            <a:noAutofit/>
          </a:bodyPr>
          <a:lstStyle/>
          <a:p>
            <a:pPr marL="0" marR="0" lvl="0" indent="0" defTabSz="914400" eaLnBrk="1" fontAlgn="auto" latinLnBrk="0" hangingPunct="1">
              <a:lnSpc>
                <a:spcPct val="100000"/>
              </a:lnSpc>
              <a:spcBef>
                <a:spcPts val="0"/>
              </a:spcBef>
              <a:spcAft>
                <a:spcPts val="0"/>
              </a:spcAft>
              <a:buClr>
                <a:srgbClr val="003F74"/>
              </a:buClr>
              <a:buSzTx/>
              <a:buFontTx/>
              <a:buNone/>
              <a:tabLst/>
              <a:defRPr/>
            </a:pPr>
            <a:r>
              <a:rPr kumimoji="0" lang="de-DE" sz="1000" b="0" i="0" u="none" strike="noStrike" kern="0" cap="none" spc="0" normalizeH="0" baseline="0" noProof="0">
                <a:ln>
                  <a:noFill/>
                </a:ln>
                <a:solidFill>
                  <a:schemeClr val="tx2"/>
                </a:solidFill>
                <a:effectLst/>
                <a:uLnTx/>
                <a:uFillTx/>
              </a:rPr>
              <a:t>Union Investment  </a:t>
            </a:r>
            <a:r>
              <a:rPr kumimoji="0" lang="de-DE" sz="1000" b="0" i="0" u="none" strike="noStrike" kern="0" cap="none" spc="0" normalizeH="0" baseline="0" noProof="0">
                <a:ln>
                  <a:noFill/>
                </a:ln>
                <a:solidFill>
                  <a:srgbClr val="888888"/>
                </a:solidFill>
                <a:effectLst/>
                <a:uLnTx/>
                <a:uFillTx/>
              </a:rPr>
              <a:t>|  Genossenschaftliche FinanzGruppe Volksbanken Raiffeisenbanken</a:t>
            </a:r>
          </a:p>
        </p:txBody>
      </p:sp>
      <p:sp>
        <p:nvSpPr>
          <p:cNvPr id="2" name="Datumsplatzhalter 1" hidden="1">
            <a:extLst>
              <a:ext uri="{FF2B5EF4-FFF2-40B4-BE49-F238E27FC236}">
                <a16:creationId xmlns:a16="http://schemas.microsoft.com/office/drawing/2014/main" id="{3B6472E5-0A63-477D-8DFA-339821C3C5DE}"/>
              </a:ext>
            </a:extLst>
          </p:cNvPr>
          <p:cNvSpPr>
            <a:spLocks noGrp="1"/>
          </p:cNvSpPr>
          <p:nvPr>
            <p:ph type="dt" sz="half" idx="14"/>
          </p:nvPr>
        </p:nvSpPr>
        <p:spPr/>
        <p:txBody>
          <a:bodyPr/>
          <a:lstStyle>
            <a:lvl1pPr>
              <a:defRPr>
                <a:noFill/>
              </a:defRPr>
            </a:lvl1pPr>
          </a:lstStyle>
          <a:p>
            <a:r>
              <a:rPr lang="de-DE"/>
              <a:t>Jan. 2023</a:t>
            </a:r>
          </a:p>
        </p:txBody>
      </p:sp>
      <p:sp>
        <p:nvSpPr>
          <p:cNvPr id="4" name="Fußzeilenplatzhalter 3" hidden="1">
            <a:extLst>
              <a:ext uri="{FF2B5EF4-FFF2-40B4-BE49-F238E27FC236}">
                <a16:creationId xmlns:a16="http://schemas.microsoft.com/office/drawing/2014/main" id="{9D435B6E-46AD-4CD3-921C-A8C4A5A6E678}"/>
              </a:ext>
            </a:extLst>
          </p:cNvPr>
          <p:cNvSpPr>
            <a:spLocks noGrp="1"/>
          </p:cNvSpPr>
          <p:nvPr>
            <p:ph type="ftr" sz="quarter" idx="15"/>
          </p:nvPr>
        </p:nvSpPr>
        <p:spPr/>
        <p:txBody>
          <a:bodyPr/>
          <a:lstStyle>
            <a:lvl1pPr>
              <a:defRPr>
                <a:noFill/>
              </a:defRPr>
            </a:lvl1pPr>
          </a:lstStyle>
          <a:p>
            <a:r>
              <a:rPr lang="de-DE"/>
              <a:t>UIP-EQ-CON  |  C0  |</a:t>
            </a:r>
          </a:p>
        </p:txBody>
      </p:sp>
      <p:sp>
        <p:nvSpPr>
          <p:cNvPr id="5" name="Foliennummernplatzhalter 4" hidden="1">
            <a:extLst>
              <a:ext uri="{FF2B5EF4-FFF2-40B4-BE49-F238E27FC236}">
                <a16:creationId xmlns:a16="http://schemas.microsoft.com/office/drawing/2014/main" id="{1DE2A707-2701-4F3F-8CBF-9B4B71338A35}"/>
              </a:ext>
            </a:extLst>
          </p:cNvPr>
          <p:cNvSpPr>
            <a:spLocks noGrp="1"/>
          </p:cNvSpPr>
          <p:nvPr>
            <p:ph type="sldNum" sz="quarter" idx="16"/>
          </p:nvPr>
        </p:nvSpPr>
        <p:spPr/>
        <p:txBody>
          <a:bodyPr/>
          <a:lstStyle>
            <a:lvl1pPr>
              <a:defRPr>
                <a:noFill/>
              </a:defRPr>
            </a:lvl1pPr>
          </a:lstStyle>
          <a:p>
            <a:fld id="{9C89B081-1F44-4440-BC7B-989C90F97B77}" type="slidenum">
              <a:rPr lang="de-DE"/>
              <a:pPr/>
              <a:t>‹Nr.›</a:t>
            </a:fld>
            <a:endParaRPr lang="de-DE"/>
          </a:p>
        </p:txBody>
      </p:sp>
    </p:spTree>
    <p:extLst>
      <p:ext uri="{BB962C8B-B14F-4D97-AF65-F5344CB8AC3E}">
        <p14:creationId xmlns:p14="http://schemas.microsoft.com/office/powerpoint/2010/main" val="1545809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05">
          <p15:clr>
            <a:srgbClr val="F26B43"/>
          </p15:clr>
        </p15:guide>
        <p15:guide id="2" pos="3977">
          <p15:clr>
            <a:srgbClr val="F26B43"/>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Trennseite ohne Bild">
    <p:spTree>
      <p:nvGrpSpPr>
        <p:cNvPr id="1" name=""/>
        <p:cNvGrpSpPr/>
        <p:nvPr/>
      </p:nvGrpSpPr>
      <p:grpSpPr>
        <a:xfrm>
          <a:off x="0" y="0"/>
          <a:ext cx="0" cy="0"/>
          <a:chOff x="0" y="0"/>
          <a:chExt cx="0" cy="0"/>
        </a:xfrm>
      </p:grpSpPr>
      <p:sp>
        <p:nvSpPr>
          <p:cNvPr id="6" name="Textplatzhalter 9"/>
          <p:cNvSpPr>
            <a:spLocks noGrp="1"/>
          </p:cNvSpPr>
          <p:nvPr>
            <p:ph type="body" sz="quarter" idx="13" hasCustomPrompt="1"/>
          </p:nvPr>
        </p:nvSpPr>
        <p:spPr bwMode="gray">
          <a:xfrm>
            <a:off x="1030048" y="3588191"/>
            <a:ext cx="10755551" cy="400110"/>
          </a:xfrm>
          <a:prstGeom prst="rect">
            <a:avLst/>
          </a:prstGeom>
        </p:spPr>
        <p:txBody>
          <a:bodyPr wrap="square" anchor="b">
            <a:spAutoFit/>
          </a:bodyPr>
          <a:lstStyle>
            <a:lvl1pPr marL="0" indent="0" algn="l" defTabSz="914400" rtl="0" eaLnBrk="1" latinLnBrk="0" hangingPunct="1">
              <a:lnSpc>
                <a:spcPct val="100000"/>
              </a:lnSpc>
              <a:spcBef>
                <a:spcPts val="0"/>
              </a:spcBef>
              <a:buFont typeface="Arial" panose="020B0604020202020204" pitchFamily="34" charset="0"/>
              <a:buNone/>
              <a:defRPr lang="de-DE" sz="2600" b="1" kern="1200" dirty="0">
                <a:solidFill>
                  <a:schemeClr val="tx2"/>
                </a:solidFill>
                <a:latin typeface="+mn-lt"/>
                <a:ea typeface="+mn-ea"/>
                <a:cs typeface="+mn-cs"/>
              </a:defRPr>
            </a:lvl1pPr>
            <a:lvl2pPr>
              <a:defRPr sz="2600"/>
            </a:lvl2pPr>
            <a:lvl3pPr>
              <a:defRPr sz="2600"/>
            </a:lvl3pPr>
            <a:lvl4pPr>
              <a:defRPr sz="2600"/>
            </a:lvl4pPr>
            <a:lvl5pPr>
              <a:defRPr sz="2600"/>
            </a:lvl5pPr>
          </a:lstStyle>
          <a:p>
            <a:pPr>
              <a:spcBef>
                <a:spcPts val="600"/>
              </a:spcBef>
              <a:buClr>
                <a:schemeClr val="accent1"/>
              </a:buClr>
            </a:pPr>
            <a:r>
              <a:rPr lang="de-DE" sz="2600" b="1" noProof="0">
                <a:solidFill>
                  <a:srgbClr val="00358E"/>
                </a:solidFill>
              </a:rPr>
              <a:t>Kapiteltrennseite (max. 2-zeilig)</a:t>
            </a:r>
          </a:p>
        </p:txBody>
      </p:sp>
      <p:sp>
        <p:nvSpPr>
          <p:cNvPr id="8" name="Textplatzhalter 11">
            <a:extLst>
              <a:ext uri="{FF2B5EF4-FFF2-40B4-BE49-F238E27FC236}">
                <a16:creationId xmlns:a16="http://schemas.microsoft.com/office/drawing/2014/main" id="{FF5CDA3A-768F-4B1D-A104-C4CE0260977F}"/>
              </a:ext>
            </a:extLst>
          </p:cNvPr>
          <p:cNvSpPr>
            <a:spLocks noGrp="1" noChangeAspect="1"/>
          </p:cNvSpPr>
          <p:nvPr>
            <p:ph type="body" sz="quarter" idx="16" hasCustomPrompt="1"/>
          </p:nvPr>
        </p:nvSpPr>
        <p:spPr bwMode="gray">
          <a:xfrm>
            <a:off x="630000" y="1"/>
            <a:ext cx="9545412" cy="1722335"/>
          </a:xfrm>
          <a:custGeom>
            <a:avLst/>
            <a:gdLst>
              <a:gd name="connsiteX0" fmla="*/ 0 w 9545412"/>
              <a:gd name="connsiteY0" fmla="*/ 0 h 1722335"/>
              <a:gd name="connsiteX1" fmla="*/ 9545412 w 9545412"/>
              <a:gd name="connsiteY1" fmla="*/ 0 h 1722335"/>
              <a:gd name="connsiteX2" fmla="*/ 910255 w 9545412"/>
              <a:gd name="connsiteY2" fmla="*/ 1702784 h 1722335"/>
              <a:gd name="connsiteX3" fmla="*/ 0 w 9545412"/>
              <a:gd name="connsiteY3" fmla="*/ 1022515 h 1722335"/>
            </a:gdLst>
            <a:ahLst/>
            <a:cxnLst>
              <a:cxn ang="0">
                <a:pos x="connsiteX0" y="connsiteY0"/>
              </a:cxn>
              <a:cxn ang="0">
                <a:pos x="connsiteX1" y="connsiteY1"/>
              </a:cxn>
              <a:cxn ang="0">
                <a:pos x="connsiteX2" y="connsiteY2"/>
              </a:cxn>
              <a:cxn ang="0">
                <a:pos x="connsiteX3" y="connsiteY3"/>
              </a:cxn>
            </a:cxnLst>
            <a:rect l="l" t="t" r="r" b="b"/>
            <a:pathLst>
              <a:path w="9545412" h="1722335">
                <a:moveTo>
                  <a:pt x="0" y="0"/>
                </a:moveTo>
                <a:lnTo>
                  <a:pt x="9545412" y="0"/>
                </a:lnTo>
                <a:lnTo>
                  <a:pt x="910255" y="1702784"/>
                </a:lnTo>
                <a:cubicBezTo>
                  <a:pt x="0" y="1859508"/>
                  <a:pt x="0" y="1022515"/>
                  <a:pt x="0" y="1022515"/>
                </a:cubicBezTo>
                <a:close/>
              </a:path>
            </a:pathLst>
          </a:custGeom>
          <a:solidFill>
            <a:schemeClr val="tx2"/>
          </a:solidFill>
        </p:spPr>
        <p:txBody>
          <a:bodyPr wrap="square" lIns="399600" tIns="403200" rIns="5760000">
            <a:noAutofit/>
          </a:bodyPr>
          <a:lstStyle>
            <a:lvl1pPr marL="0" indent="0">
              <a:spcBef>
                <a:spcPts val="0"/>
              </a:spcBef>
              <a:buFont typeface="Arial" panose="020B0604020202020204" pitchFamily="34" charset="0"/>
              <a:buNone/>
              <a:defRPr sz="5400" b="0">
                <a:solidFill>
                  <a:schemeClr val="accent2"/>
                </a:solidFill>
              </a:defRPr>
            </a:lvl1pPr>
            <a:lvl2pPr marL="0" indent="0">
              <a:spcBef>
                <a:spcPts val="0"/>
              </a:spcBef>
              <a:buFont typeface="Arial" panose="020B0604020202020204" pitchFamily="34" charset="0"/>
              <a:buNone/>
              <a:defRPr sz="3000" b="1">
                <a:solidFill>
                  <a:schemeClr val="bg1"/>
                </a:solidFill>
              </a:defRPr>
            </a:lvl2pPr>
            <a:lvl3pPr marL="0" indent="0">
              <a:spcBef>
                <a:spcPts val="0"/>
              </a:spcBef>
              <a:buNone/>
              <a:defRPr sz="3000" b="1">
                <a:solidFill>
                  <a:schemeClr val="bg1"/>
                </a:solidFill>
              </a:defRPr>
            </a:lvl3pPr>
            <a:lvl4pPr marL="0" indent="0">
              <a:spcBef>
                <a:spcPts val="0"/>
              </a:spcBef>
              <a:buNone/>
              <a:defRPr sz="3000" b="1">
                <a:solidFill>
                  <a:schemeClr val="bg1"/>
                </a:solidFill>
              </a:defRPr>
            </a:lvl4pPr>
            <a:lvl5pPr marL="0" indent="0">
              <a:spcBef>
                <a:spcPts val="0"/>
              </a:spcBef>
              <a:buNone/>
              <a:defRPr sz="3000" b="1">
                <a:solidFill>
                  <a:schemeClr val="bg1"/>
                </a:solidFill>
              </a:defRPr>
            </a:lvl5pPr>
          </a:lstStyle>
          <a:p>
            <a:pPr lvl="0"/>
            <a:r>
              <a:rPr lang="de-DE"/>
              <a:t>X</a:t>
            </a:r>
          </a:p>
        </p:txBody>
      </p:sp>
      <p:sp>
        <p:nvSpPr>
          <p:cNvPr id="3" name="Textplatzhalter 2"/>
          <p:cNvSpPr>
            <a:spLocks noGrp="1"/>
          </p:cNvSpPr>
          <p:nvPr>
            <p:ph type="body" sz="quarter" idx="15" hasCustomPrompt="1"/>
          </p:nvPr>
        </p:nvSpPr>
        <p:spPr bwMode="gray">
          <a:xfrm>
            <a:off x="1030048" y="4154658"/>
            <a:ext cx="10755552" cy="2154067"/>
          </a:xfrm>
        </p:spPr>
        <p:txBody>
          <a:bodyPr/>
          <a:lstStyle>
            <a:lvl1pPr marL="180000" indent="-180000">
              <a:spcBef>
                <a:spcPts val="600"/>
              </a:spcBef>
              <a:buClrTx/>
              <a:buFont typeface="Wingdings" panose="05000000000000000000" pitchFamily="2" charset="2"/>
              <a:buChar char=""/>
              <a:defRPr b="0"/>
            </a:lvl1pPr>
          </a:lstStyle>
          <a:p>
            <a:pPr lvl="0"/>
            <a:r>
              <a:rPr lang="de-DE" noProof="0"/>
              <a:t>Erstes Unterthema</a:t>
            </a:r>
          </a:p>
          <a:p>
            <a:pPr lvl="0"/>
            <a:r>
              <a:rPr lang="de-DE" noProof="0"/>
              <a:t>Zweites Unterthema</a:t>
            </a:r>
          </a:p>
          <a:p>
            <a:pPr lvl="0"/>
            <a:endParaRPr lang="de-DE" noProof="0"/>
          </a:p>
          <a:p>
            <a:pPr lvl="0"/>
            <a:endParaRPr lang="de-DE" noProof="0"/>
          </a:p>
        </p:txBody>
      </p:sp>
      <p:sp>
        <p:nvSpPr>
          <p:cNvPr id="9" name="Textfeld 8">
            <a:extLst>
              <a:ext uri="{FF2B5EF4-FFF2-40B4-BE49-F238E27FC236}">
                <a16:creationId xmlns:a16="http://schemas.microsoft.com/office/drawing/2014/main" id="{C1FECC2E-0C69-48E4-AAC3-98612966742E}"/>
              </a:ext>
            </a:extLst>
          </p:cNvPr>
          <p:cNvSpPr txBox="1"/>
          <p:nvPr/>
        </p:nvSpPr>
        <p:spPr bwMode="gray">
          <a:xfrm>
            <a:off x="409575" y="6516000"/>
            <a:ext cx="11376000" cy="144000"/>
          </a:xfrm>
          <a:prstGeom prst="rect">
            <a:avLst/>
          </a:prstGeom>
          <a:noFill/>
        </p:spPr>
        <p:txBody>
          <a:bodyPr wrap="square" lIns="0" tIns="0" rIns="0" bIns="0" rtlCol="0" anchor="t">
            <a:noAutofit/>
          </a:bodyPr>
          <a:lstStyle/>
          <a:p>
            <a:pPr marL="0" marR="0" lvl="0" indent="0" defTabSz="914400" eaLnBrk="1" fontAlgn="auto" latinLnBrk="0" hangingPunct="1">
              <a:lnSpc>
                <a:spcPct val="100000"/>
              </a:lnSpc>
              <a:spcBef>
                <a:spcPts val="0"/>
              </a:spcBef>
              <a:spcAft>
                <a:spcPts val="0"/>
              </a:spcAft>
              <a:buClr>
                <a:srgbClr val="003F74"/>
              </a:buClr>
              <a:buSzTx/>
              <a:buFontTx/>
              <a:buNone/>
              <a:tabLst/>
              <a:defRPr/>
            </a:pPr>
            <a:r>
              <a:rPr kumimoji="0" lang="de-DE" sz="1000" b="0" i="0" u="none" strike="noStrike" kern="0" cap="none" spc="0" normalizeH="0" baseline="0" noProof="0">
                <a:ln>
                  <a:noFill/>
                </a:ln>
                <a:solidFill>
                  <a:schemeClr val="tx2"/>
                </a:solidFill>
                <a:effectLst/>
                <a:uLnTx/>
                <a:uFillTx/>
              </a:rPr>
              <a:t>Union Investment  </a:t>
            </a:r>
            <a:r>
              <a:rPr kumimoji="0" lang="de-DE" sz="1000" b="0" i="0" u="none" strike="noStrike" kern="0" cap="none" spc="0" normalizeH="0" baseline="0" noProof="0">
                <a:ln>
                  <a:noFill/>
                </a:ln>
                <a:solidFill>
                  <a:srgbClr val="888888"/>
                </a:solidFill>
                <a:effectLst/>
                <a:uLnTx/>
                <a:uFillTx/>
              </a:rPr>
              <a:t>|  Genossenschaftliche FinanzGruppe Volksbanken Raiffeisenbanken</a:t>
            </a:r>
          </a:p>
        </p:txBody>
      </p:sp>
      <p:sp>
        <p:nvSpPr>
          <p:cNvPr id="2" name="Datumsplatzhalter 1" hidden="1">
            <a:extLst>
              <a:ext uri="{FF2B5EF4-FFF2-40B4-BE49-F238E27FC236}">
                <a16:creationId xmlns:a16="http://schemas.microsoft.com/office/drawing/2014/main" id="{457F5F2C-8505-420A-B99D-B577E24DCF2D}"/>
              </a:ext>
            </a:extLst>
          </p:cNvPr>
          <p:cNvSpPr>
            <a:spLocks noGrp="1"/>
          </p:cNvSpPr>
          <p:nvPr>
            <p:ph type="dt" sz="half" idx="17"/>
          </p:nvPr>
        </p:nvSpPr>
        <p:spPr/>
        <p:txBody>
          <a:bodyPr/>
          <a:lstStyle>
            <a:lvl1pPr>
              <a:defRPr>
                <a:noFill/>
              </a:defRPr>
            </a:lvl1pPr>
          </a:lstStyle>
          <a:p>
            <a:r>
              <a:rPr lang="de-DE"/>
              <a:t>Jan. 2023</a:t>
            </a:r>
          </a:p>
        </p:txBody>
      </p:sp>
      <p:sp>
        <p:nvSpPr>
          <p:cNvPr id="4" name="Fußzeilenplatzhalter 3" hidden="1">
            <a:extLst>
              <a:ext uri="{FF2B5EF4-FFF2-40B4-BE49-F238E27FC236}">
                <a16:creationId xmlns:a16="http://schemas.microsoft.com/office/drawing/2014/main" id="{FE2A117C-4F9D-4297-8E39-1844B3F9A0BA}"/>
              </a:ext>
            </a:extLst>
          </p:cNvPr>
          <p:cNvSpPr>
            <a:spLocks noGrp="1"/>
          </p:cNvSpPr>
          <p:nvPr>
            <p:ph type="ftr" sz="quarter" idx="18"/>
          </p:nvPr>
        </p:nvSpPr>
        <p:spPr/>
        <p:txBody>
          <a:bodyPr/>
          <a:lstStyle>
            <a:lvl1pPr>
              <a:defRPr>
                <a:noFill/>
              </a:defRPr>
            </a:lvl1pPr>
          </a:lstStyle>
          <a:p>
            <a:r>
              <a:rPr lang="de-DE"/>
              <a:t>UIP-EQ-CON  |  C0  |</a:t>
            </a:r>
          </a:p>
        </p:txBody>
      </p:sp>
      <p:sp>
        <p:nvSpPr>
          <p:cNvPr id="5" name="Foliennummernplatzhalter 4" hidden="1">
            <a:extLst>
              <a:ext uri="{FF2B5EF4-FFF2-40B4-BE49-F238E27FC236}">
                <a16:creationId xmlns:a16="http://schemas.microsoft.com/office/drawing/2014/main" id="{2E7E3FCB-9B10-41D2-BC38-37380ED8D769}"/>
              </a:ext>
            </a:extLst>
          </p:cNvPr>
          <p:cNvSpPr>
            <a:spLocks noGrp="1"/>
          </p:cNvSpPr>
          <p:nvPr>
            <p:ph type="sldNum" sz="quarter" idx="19"/>
          </p:nvPr>
        </p:nvSpPr>
        <p:spPr/>
        <p:txBody>
          <a:bodyPr/>
          <a:lstStyle>
            <a:lvl1pPr>
              <a:defRPr>
                <a:noFill/>
              </a:defRPr>
            </a:lvl1pPr>
          </a:lstStyle>
          <a:p>
            <a:fld id="{9C89B081-1F44-4440-BC7B-989C90F97B77}" type="slidenum">
              <a:rPr lang="de-DE"/>
              <a:pPr/>
              <a:t>‹Nr.›</a:t>
            </a:fld>
            <a:endParaRPr lang="de-DE"/>
          </a:p>
        </p:txBody>
      </p:sp>
    </p:spTree>
    <p:extLst>
      <p:ext uri="{BB962C8B-B14F-4D97-AF65-F5344CB8AC3E}">
        <p14:creationId xmlns:p14="http://schemas.microsoft.com/office/powerpoint/2010/main" val="3791527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Einspaltig mit Quelle">
    <p:spTree>
      <p:nvGrpSpPr>
        <p:cNvPr id="1" name=""/>
        <p:cNvGrpSpPr/>
        <p:nvPr/>
      </p:nvGrpSpPr>
      <p:grpSpPr>
        <a:xfrm>
          <a:off x="0" y="0"/>
          <a:ext cx="0" cy="0"/>
          <a:chOff x="0" y="0"/>
          <a:chExt cx="0" cy="0"/>
        </a:xfrm>
      </p:grpSpPr>
      <p:sp>
        <p:nvSpPr>
          <p:cNvPr id="11" name="Inhaltsplatzhalter 2"/>
          <p:cNvSpPr>
            <a:spLocks noGrp="1"/>
          </p:cNvSpPr>
          <p:nvPr>
            <p:ph sz="quarter" idx="14" hasCustomPrompt="1"/>
          </p:nvPr>
        </p:nvSpPr>
        <p:spPr bwMode="gray">
          <a:xfrm>
            <a:off x="409575" y="1412776"/>
            <a:ext cx="11376025" cy="4895852"/>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7" name="Textplatzhalter 3"/>
          <p:cNvSpPr>
            <a:spLocks noGrp="1"/>
          </p:cNvSpPr>
          <p:nvPr>
            <p:ph type="body" sz="quarter" idx="23" hasCustomPrompt="1"/>
          </p:nvPr>
        </p:nvSpPr>
        <p:spPr bwMode="gray">
          <a:xfrm>
            <a:off x="409575" y="6001543"/>
            <a:ext cx="11376025"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a:t>Quelle:</a:t>
            </a:r>
          </a:p>
        </p:txBody>
      </p:sp>
      <p:sp>
        <p:nvSpPr>
          <p:cNvPr id="5" name="Titel 4">
            <a:extLst>
              <a:ext uri="{FF2B5EF4-FFF2-40B4-BE49-F238E27FC236}">
                <a16:creationId xmlns:a16="http://schemas.microsoft.com/office/drawing/2014/main" id="{405D4415-C263-412A-998C-C17487DF1D0D}"/>
              </a:ext>
            </a:extLst>
          </p:cNvPr>
          <p:cNvSpPr>
            <a:spLocks noGrp="1"/>
          </p:cNvSpPr>
          <p:nvPr>
            <p:ph type="title" hasCustomPrompt="1"/>
          </p:nvPr>
        </p:nvSpPr>
        <p:spPr bwMode="gray"/>
        <p:txBody>
          <a:bodyPr/>
          <a:lstStyle/>
          <a:p>
            <a:r>
              <a:rPr lang="de-DE"/>
              <a:t>Titel durch Klicken bearbeiten</a:t>
            </a:r>
          </a:p>
        </p:txBody>
      </p:sp>
      <p:sp>
        <p:nvSpPr>
          <p:cNvPr id="2" name="Datumsplatzhalter 1">
            <a:extLst>
              <a:ext uri="{FF2B5EF4-FFF2-40B4-BE49-F238E27FC236}">
                <a16:creationId xmlns:a16="http://schemas.microsoft.com/office/drawing/2014/main" id="{CCE438C2-C56B-467E-8638-23A1B7F54228}"/>
              </a:ext>
            </a:extLst>
          </p:cNvPr>
          <p:cNvSpPr>
            <a:spLocks noGrp="1"/>
          </p:cNvSpPr>
          <p:nvPr>
            <p:ph type="dt" sz="half" idx="24"/>
          </p:nvPr>
        </p:nvSpPr>
        <p:spPr bwMode="gray">
          <a:xfrm>
            <a:off x="10709631" y="151200"/>
            <a:ext cx="748800" cy="180000"/>
          </a:xfrm>
          <a:prstGeom prst="rect">
            <a:avLst/>
          </a:prstGeom>
        </p:spPr>
        <p:txBody>
          <a:bodyPr/>
          <a:lstStyle/>
          <a:p>
            <a:r>
              <a:rPr lang="de-DE"/>
              <a:t>Jan. 2023</a:t>
            </a:r>
          </a:p>
        </p:txBody>
      </p:sp>
      <p:sp>
        <p:nvSpPr>
          <p:cNvPr id="3" name="Fußzeilenplatzhalter 2">
            <a:extLst>
              <a:ext uri="{FF2B5EF4-FFF2-40B4-BE49-F238E27FC236}">
                <a16:creationId xmlns:a16="http://schemas.microsoft.com/office/drawing/2014/main" id="{733EB7E9-49EE-4B34-B6A9-3B63D299D3DA}"/>
              </a:ext>
            </a:extLst>
          </p:cNvPr>
          <p:cNvSpPr>
            <a:spLocks noGrp="1"/>
          </p:cNvSpPr>
          <p:nvPr>
            <p:ph type="ftr" sz="quarter" idx="25"/>
          </p:nvPr>
        </p:nvSpPr>
        <p:spPr bwMode="gray">
          <a:xfrm>
            <a:off x="6313488" y="151200"/>
            <a:ext cx="4393761" cy="180000"/>
          </a:xfrm>
          <a:prstGeom prst="rect">
            <a:avLst/>
          </a:prstGeom>
        </p:spPr>
        <p:txBody>
          <a:bodyPr/>
          <a:lstStyle/>
          <a:p>
            <a:r>
              <a:rPr lang="de-DE"/>
              <a:t>UIP-EQ-CON  |  C0  |</a:t>
            </a:r>
          </a:p>
        </p:txBody>
      </p:sp>
      <p:sp>
        <p:nvSpPr>
          <p:cNvPr id="8" name="Foliennummernplatzhalter 7">
            <a:extLst>
              <a:ext uri="{FF2B5EF4-FFF2-40B4-BE49-F238E27FC236}">
                <a16:creationId xmlns:a16="http://schemas.microsoft.com/office/drawing/2014/main" id="{ACCEEA2B-6678-48D3-BAA7-B6E6832EF7D2}"/>
              </a:ext>
            </a:extLst>
          </p:cNvPr>
          <p:cNvSpPr>
            <a:spLocks noGrp="1"/>
          </p:cNvSpPr>
          <p:nvPr>
            <p:ph type="sldNum" sz="quarter" idx="26"/>
          </p:nvPr>
        </p:nvSpPr>
        <p:spPr bwMode="gray">
          <a:xfrm>
            <a:off x="11504750" y="151200"/>
            <a:ext cx="280800" cy="180000"/>
          </a:xfrm>
          <a:prstGeom prst="rect">
            <a:avLst/>
          </a:prstGeom>
        </p:spPr>
        <p:txBody>
          <a:bodyPr/>
          <a:lstStyle/>
          <a:p>
            <a:fld id="{9C89B081-1F44-4440-BC7B-989C90F97B77}" type="slidenum">
              <a:rPr lang="de-DE"/>
              <a:pPr/>
              <a:t>‹Nr.›</a:t>
            </a:fld>
            <a:endParaRPr lang="de-DE"/>
          </a:p>
        </p:txBody>
      </p:sp>
    </p:spTree>
    <p:extLst>
      <p:ext uri="{BB962C8B-B14F-4D97-AF65-F5344CB8AC3E}">
        <p14:creationId xmlns:p14="http://schemas.microsoft.com/office/powerpoint/2010/main" val="835711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elfolie mit vollflächigem Bild und positiv Logo">
    <p:spTree>
      <p:nvGrpSpPr>
        <p:cNvPr id="1" name=""/>
        <p:cNvGrpSpPr/>
        <p:nvPr/>
      </p:nvGrpSpPr>
      <p:grpSpPr>
        <a:xfrm>
          <a:off x="0" y="0"/>
          <a:ext cx="0" cy="0"/>
          <a:chOff x="0" y="0"/>
          <a:chExt cx="0" cy="0"/>
        </a:xfrm>
      </p:grpSpPr>
      <p:sp>
        <p:nvSpPr>
          <p:cNvPr id="40" name="Bildplatzhalter 36">
            <a:extLst>
              <a:ext uri="{FF2B5EF4-FFF2-40B4-BE49-F238E27FC236}">
                <a16:creationId xmlns:a16="http://schemas.microsoft.com/office/drawing/2014/main" id="{4870B9C8-84BA-4064-8D52-EB6D8BB2C906}"/>
              </a:ext>
            </a:extLst>
          </p:cNvPr>
          <p:cNvSpPr>
            <a:spLocks noGrp="1"/>
          </p:cNvSpPr>
          <p:nvPr>
            <p:ph type="pic" sz="quarter" idx="14" hasCustomPrompt="1"/>
          </p:nvPr>
        </p:nvSpPr>
        <p:spPr bwMode="gray">
          <a:xfrm>
            <a:off x="0" y="-1"/>
            <a:ext cx="12196763" cy="6858000"/>
          </a:xfrm>
          <a:prstGeom prst="rect">
            <a:avLst/>
          </a:prstGeom>
          <a:pattFill prst="pct20">
            <a:fgClr>
              <a:schemeClr val="accent3"/>
            </a:fgClr>
            <a:bgClr>
              <a:schemeClr val="bg1"/>
            </a:bgClr>
          </a:pattFill>
        </p:spPr>
        <p:txBody>
          <a:bodyPr vert="horz" wrap="square" lIns="2520000" tIns="72000" rIns="72000" bIns="72000" rtlCol="0" anchor="b">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1600" b="0" baseline="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a:t>Um ein Hintergrundbild einzufügen, markieren Sie bitte den Platzhalter und wählen entweder ein Bild aus der </a:t>
            </a:r>
            <a:r>
              <a:rPr lang="de-DE" err="1"/>
              <a:t>empower</a:t>
            </a:r>
            <a:r>
              <a:rPr lang="de-DE"/>
              <a:t> Bibliothek oder über den Reiter „Einfügen“, „Bilder“ aus. Dieses Layout steht in zwei Varianten zur Verfügung: mit positivem und negativem Partnerlogo. Bitte wählen Sie das Layout aus, welches den bestmöglichen Kontrast zwischen Bild und Logo erzeugt.</a:t>
            </a:r>
          </a:p>
        </p:txBody>
      </p:sp>
      <p:sp>
        <p:nvSpPr>
          <p:cNvPr id="37" name="Textplatzhalter 36">
            <a:extLst>
              <a:ext uri="{FF2B5EF4-FFF2-40B4-BE49-F238E27FC236}">
                <a16:creationId xmlns:a16="http://schemas.microsoft.com/office/drawing/2014/main" id="{DD62A635-A50B-4D06-8242-F16A7C749EF4}"/>
              </a:ext>
            </a:extLst>
          </p:cNvPr>
          <p:cNvSpPr>
            <a:spLocks noGrp="1" noChangeAspect="1"/>
          </p:cNvSpPr>
          <p:nvPr>
            <p:ph type="body" sz="quarter" idx="31" hasCustomPrompt="1"/>
          </p:nvPr>
        </p:nvSpPr>
        <p:spPr bwMode="gray">
          <a:xfrm rot="10800000" flipH="1" flipV="1">
            <a:off x="6105117" y="1016947"/>
            <a:ext cx="5678388" cy="4824104"/>
          </a:xfrm>
          <a:custGeom>
            <a:avLst/>
            <a:gdLst>
              <a:gd name="connsiteX0" fmla="*/ 826519 w 5678388"/>
              <a:gd name="connsiteY0" fmla="*/ 4822598 h 4824104"/>
              <a:gd name="connsiteX1" fmla="*/ 0 w 5678388"/>
              <a:gd name="connsiteY1" fmla="*/ 4050794 h 4824104"/>
              <a:gd name="connsiteX2" fmla="*/ 0 w 5678388"/>
              <a:gd name="connsiteY2" fmla="*/ 3078968 h 4824104"/>
              <a:gd name="connsiteX3" fmla="*/ 0 w 5678388"/>
              <a:gd name="connsiteY3" fmla="*/ 2945586 h 4824104"/>
              <a:gd name="connsiteX4" fmla="*/ 0 w 5678388"/>
              <a:gd name="connsiteY4" fmla="*/ 2938350 h 4824104"/>
              <a:gd name="connsiteX5" fmla="*/ 0 w 5678388"/>
              <a:gd name="connsiteY5" fmla="*/ 2893100 h 4824104"/>
              <a:gd name="connsiteX6" fmla="*/ 0 w 5678388"/>
              <a:gd name="connsiteY6" fmla="*/ 2786888 h 4824104"/>
              <a:gd name="connsiteX7" fmla="*/ 0 w 5678388"/>
              <a:gd name="connsiteY7" fmla="*/ 2732179 h 4824104"/>
              <a:gd name="connsiteX8" fmla="*/ 0 w 5678388"/>
              <a:gd name="connsiteY8" fmla="*/ 2646270 h 4824104"/>
              <a:gd name="connsiteX9" fmla="*/ 0 w 5678388"/>
              <a:gd name="connsiteY9" fmla="*/ 2643017 h 4824104"/>
              <a:gd name="connsiteX10" fmla="*/ 0 w 5678388"/>
              <a:gd name="connsiteY10" fmla="*/ 2607497 h 4824104"/>
              <a:gd name="connsiteX11" fmla="*/ 0 w 5678388"/>
              <a:gd name="connsiteY11" fmla="*/ 2473167 h 4824104"/>
              <a:gd name="connsiteX12" fmla="*/ 0 w 5678388"/>
              <a:gd name="connsiteY12" fmla="*/ 2350937 h 4824104"/>
              <a:gd name="connsiteX13" fmla="*/ 0 w 5678388"/>
              <a:gd name="connsiteY13" fmla="*/ 2216607 h 4824104"/>
              <a:gd name="connsiteX14" fmla="*/ 0 w 5678388"/>
              <a:gd name="connsiteY14" fmla="*/ 2181087 h 4824104"/>
              <a:gd name="connsiteX15" fmla="*/ 0 w 5678388"/>
              <a:gd name="connsiteY15" fmla="*/ 2177834 h 4824104"/>
              <a:gd name="connsiteX16" fmla="*/ 0 w 5678388"/>
              <a:gd name="connsiteY16" fmla="*/ 2103762 h 4824104"/>
              <a:gd name="connsiteX17" fmla="*/ 0 w 5678388"/>
              <a:gd name="connsiteY17" fmla="*/ 2091925 h 4824104"/>
              <a:gd name="connsiteX18" fmla="*/ 0 w 5678388"/>
              <a:gd name="connsiteY18" fmla="*/ 2037216 h 4824104"/>
              <a:gd name="connsiteX19" fmla="*/ 0 w 5678388"/>
              <a:gd name="connsiteY19" fmla="*/ 1885754 h 4824104"/>
              <a:gd name="connsiteX20" fmla="*/ 0 w 5678388"/>
              <a:gd name="connsiteY20" fmla="*/ 1878518 h 4824104"/>
              <a:gd name="connsiteX21" fmla="*/ 0 w 5678388"/>
              <a:gd name="connsiteY21" fmla="*/ 1745136 h 4824104"/>
              <a:gd name="connsiteX22" fmla="*/ 0 w 5678388"/>
              <a:gd name="connsiteY22" fmla="*/ 946068 h 4824104"/>
              <a:gd name="connsiteX23" fmla="*/ 4675300 w 5678388"/>
              <a:gd name="connsiteY23" fmla="*/ 21604 h 4824104"/>
              <a:gd name="connsiteX24" fmla="*/ 5678388 w 5678388"/>
              <a:gd name="connsiteY24" fmla="*/ 773310 h 4824104"/>
              <a:gd name="connsiteX25" fmla="*/ 5678388 w 5678388"/>
              <a:gd name="connsiteY25" fmla="*/ 1745136 h 4824104"/>
              <a:gd name="connsiteX26" fmla="*/ 5678388 w 5678388"/>
              <a:gd name="connsiteY26" fmla="*/ 1878518 h 4824104"/>
              <a:gd name="connsiteX27" fmla="*/ 5678388 w 5678388"/>
              <a:gd name="connsiteY27" fmla="*/ 1885754 h 4824104"/>
              <a:gd name="connsiteX28" fmla="*/ 5678388 w 5678388"/>
              <a:gd name="connsiteY28" fmla="*/ 1931004 h 4824104"/>
              <a:gd name="connsiteX29" fmla="*/ 5678388 w 5678388"/>
              <a:gd name="connsiteY29" fmla="*/ 2037216 h 4824104"/>
              <a:gd name="connsiteX30" fmla="*/ 5678388 w 5678388"/>
              <a:gd name="connsiteY30" fmla="*/ 2091925 h 4824104"/>
              <a:gd name="connsiteX31" fmla="*/ 5678388 w 5678388"/>
              <a:gd name="connsiteY31" fmla="*/ 2177834 h 4824104"/>
              <a:gd name="connsiteX32" fmla="*/ 5678388 w 5678388"/>
              <a:gd name="connsiteY32" fmla="*/ 2181087 h 4824104"/>
              <a:gd name="connsiteX33" fmla="*/ 5678388 w 5678388"/>
              <a:gd name="connsiteY33" fmla="*/ 2216607 h 4824104"/>
              <a:gd name="connsiteX34" fmla="*/ 5678388 w 5678388"/>
              <a:gd name="connsiteY34" fmla="*/ 2350937 h 4824104"/>
              <a:gd name="connsiteX35" fmla="*/ 5678388 w 5678388"/>
              <a:gd name="connsiteY35" fmla="*/ 2473167 h 4824104"/>
              <a:gd name="connsiteX36" fmla="*/ 5678388 w 5678388"/>
              <a:gd name="connsiteY36" fmla="*/ 2607497 h 4824104"/>
              <a:gd name="connsiteX37" fmla="*/ 5678388 w 5678388"/>
              <a:gd name="connsiteY37" fmla="*/ 2643017 h 4824104"/>
              <a:gd name="connsiteX38" fmla="*/ 5678388 w 5678388"/>
              <a:gd name="connsiteY38" fmla="*/ 2646270 h 4824104"/>
              <a:gd name="connsiteX39" fmla="*/ 5678388 w 5678388"/>
              <a:gd name="connsiteY39" fmla="*/ 2720342 h 4824104"/>
              <a:gd name="connsiteX40" fmla="*/ 5678388 w 5678388"/>
              <a:gd name="connsiteY40" fmla="*/ 2732179 h 4824104"/>
              <a:gd name="connsiteX41" fmla="*/ 5678388 w 5678388"/>
              <a:gd name="connsiteY41" fmla="*/ 2786888 h 4824104"/>
              <a:gd name="connsiteX42" fmla="*/ 5678388 w 5678388"/>
              <a:gd name="connsiteY42" fmla="*/ 2938350 h 4824104"/>
              <a:gd name="connsiteX43" fmla="*/ 5678388 w 5678388"/>
              <a:gd name="connsiteY43" fmla="*/ 2945586 h 4824104"/>
              <a:gd name="connsiteX44" fmla="*/ 5678388 w 5678388"/>
              <a:gd name="connsiteY44" fmla="*/ 3078968 h 4824104"/>
              <a:gd name="connsiteX45" fmla="*/ 5678388 w 5678388"/>
              <a:gd name="connsiteY45" fmla="*/ 3878036 h 4824104"/>
              <a:gd name="connsiteX46" fmla="*/ 1003088 w 5678388"/>
              <a:gd name="connsiteY46" fmla="*/ 4802500 h 4824104"/>
              <a:gd name="connsiteX47" fmla="*/ 826519 w 5678388"/>
              <a:gd name="connsiteY47" fmla="*/ 4822598 h 4824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678388" h="4824104">
                <a:moveTo>
                  <a:pt x="826519" y="4822598"/>
                </a:moveTo>
                <a:cubicBezTo>
                  <a:pt x="0" y="4863684"/>
                  <a:pt x="0" y="4050794"/>
                  <a:pt x="0" y="4050794"/>
                </a:cubicBezTo>
                <a:lnTo>
                  <a:pt x="0" y="3078968"/>
                </a:lnTo>
                <a:lnTo>
                  <a:pt x="0" y="2945586"/>
                </a:lnTo>
                <a:lnTo>
                  <a:pt x="0" y="2938350"/>
                </a:lnTo>
                <a:lnTo>
                  <a:pt x="0" y="2893100"/>
                </a:lnTo>
                <a:lnTo>
                  <a:pt x="0" y="2786888"/>
                </a:lnTo>
                <a:lnTo>
                  <a:pt x="0" y="2732179"/>
                </a:lnTo>
                <a:lnTo>
                  <a:pt x="0" y="2646270"/>
                </a:lnTo>
                <a:lnTo>
                  <a:pt x="0" y="2643017"/>
                </a:lnTo>
                <a:lnTo>
                  <a:pt x="0" y="2607497"/>
                </a:lnTo>
                <a:lnTo>
                  <a:pt x="0" y="2473167"/>
                </a:lnTo>
                <a:lnTo>
                  <a:pt x="0" y="2350937"/>
                </a:lnTo>
                <a:lnTo>
                  <a:pt x="0" y="2216607"/>
                </a:lnTo>
                <a:lnTo>
                  <a:pt x="0" y="2181087"/>
                </a:lnTo>
                <a:lnTo>
                  <a:pt x="0" y="2177834"/>
                </a:lnTo>
                <a:lnTo>
                  <a:pt x="0" y="2103762"/>
                </a:lnTo>
                <a:lnTo>
                  <a:pt x="0" y="2091925"/>
                </a:lnTo>
                <a:lnTo>
                  <a:pt x="0" y="2037216"/>
                </a:lnTo>
                <a:lnTo>
                  <a:pt x="0" y="1885754"/>
                </a:lnTo>
                <a:lnTo>
                  <a:pt x="0" y="1878518"/>
                </a:lnTo>
                <a:lnTo>
                  <a:pt x="0" y="1745136"/>
                </a:lnTo>
                <a:lnTo>
                  <a:pt x="0" y="946068"/>
                </a:lnTo>
                <a:lnTo>
                  <a:pt x="4675300" y="21604"/>
                </a:lnTo>
                <a:cubicBezTo>
                  <a:pt x="5678388" y="-151578"/>
                  <a:pt x="5678388" y="773310"/>
                  <a:pt x="5678388" y="773310"/>
                </a:cubicBezTo>
                <a:lnTo>
                  <a:pt x="5678388" y="1745136"/>
                </a:lnTo>
                <a:lnTo>
                  <a:pt x="5678388" y="1878518"/>
                </a:lnTo>
                <a:lnTo>
                  <a:pt x="5678388" y="1885754"/>
                </a:lnTo>
                <a:lnTo>
                  <a:pt x="5678388" y="1931004"/>
                </a:lnTo>
                <a:lnTo>
                  <a:pt x="5678388" y="2037216"/>
                </a:lnTo>
                <a:lnTo>
                  <a:pt x="5678388" y="2091925"/>
                </a:lnTo>
                <a:lnTo>
                  <a:pt x="5678388" y="2177834"/>
                </a:lnTo>
                <a:lnTo>
                  <a:pt x="5678388" y="2181087"/>
                </a:lnTo>
                <a:lnTo>
                  <a:pt x="5678388" y="2216607"/>
                </a:lnTo>
                <a:lnTo>
                  <a:pt x="5678388" y="2350937"/>
                </a:lnTo>
                <a:lnTo>
                  <a:pt x="5678388" y="2473167"/>
                </a:lnTo>
                <a:lnTo>
                  <a:pt x="5678388" y="2607497"/>
                </a:lnTo>
                <a:lnTo>
                  <a:pt x="5678388" y="2643017"/>
                </a:lnTo>
                <a:lnTo>
                  <a:pt x="5678388" y="2646270"/>
                </a:lnTo>
                <a:lnTo>
                  <a:pt x="5678388" y="2720342"/>
                </a:lnTo>
                <a:lnTo>
                  <a:pt x="5678388" y="2732179"/>
                </a:lnTo>
                <a:lnTo>
                  <a:pt x="5678388" y="2786888"/>
                </a:lnTo>
                <a:lnTo>
                  <a:pt x="5678388" y="2938350"/>
                </a:lnTo>
                <a:lnTo>
                  <a:pt x="5678388" y="2945586"/>
                </a:lnTo>
                <a:lnTo>
                  <a:pt x="5678388" y="3078968"/>
                </a:lnTo>
                <a:lnTo>
                  <a:pt x="5678388" y="3878036"/>
                </a:lnTo>
                <a:lnTo>
                  <a:pt x="1003088" y="4802500"/>
                </a:lnTo>
                <a:cubicBezTo>
                  <a:pt x="940395" y="4813324"/>
                  <a:pt x="881620" y="4819858"/>
                  <a:pt x="826519" y="4822598"/>
                </a:cubicBezTo>
                <a:close/>
              </a:path>
            </a:pathLst>
          </a:custGeom>
          <a:solidFill>
            <a:schemeClr val="tx2">
              <a:alpha val="89000"/>
            </a:schemeClr>
          </a:solidFill>
        </p:spPr>
        <p:txBody>
          <a:bodyPr wrap="square" lIns="324000" tIns="1548000" rIns="324000">
            <a:noAutofit/>
          </a:bodyPr>
          <a:lstStyle>
            <a:lvl1pPr>
              <a:spcBef>
                <a:spcPts val="0"/>
              </a:spcBef>
              <a:defRPr sz="30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a:t>Titelfolie (max. 3-zeilig)</a:t>
            </a:r>
          </a:p>
        </p:txBody>
      </p:sp>
      <p:sp>
        <p:nvSpPr>
          <p:cNvPr id="46" name="Textplatzhalter 45">
            <a:extLst>
              <a:ext uri="{FF2B5EF4-FFF2-40B4-BE49-F238E27FC236}">
                <a16:creationId xmlns:a16="http://schemas.microsoft.com/office/drawing/2014/main" id="{502B336E-2768-432F-A8DB-0FB505A7D87D}"/>
              </a:ext>
            </a:extLst>
          </p:cNvPr>
          <p:cNvSpPr>
            <a:spLocks noGrp="1"/>
          </p:cNvSpPr>
          <p:nvPr>
            <p:ph type="body" sz="quarter" idx="17" hasCustomPrompt="1"/>
          </p:nvPr>
        </p:nvSpPr>
        <p:spPr bwMode="gray">
          <a:xfrm>
            <a:off x="630000" y="409422"/>
            <a:ext cx="2014538" cy="608013"/>
          </a:xfrm>
          <a:blipFill>
            <a:blip r:embed="rId2"/>
            <a:stretch>
              <a:fillRect/>
            </a:stretch>
          </a:blipFill>
        </p:spPr>
        <p:txBody>
          <a:bodyPr/>
          <a:lstStyle>
            <a:lvl1pPr marL="0" indent="0">
              <a:spcBef>
                <a:spcPts val="0"/>
              </a:spcBef>
              <a:spcAft>
                <a:spcPts val="0"/>
              </a:spcAft>
              <a:buFont typeface="Arial" panose="020B0604020202020204" pitchFamily="34" charset="0"/>
              <a:buNone/>
              <a:defRPr sz="100">
                <a:noFill/>
              </a:defRPr>
            </a:lvl1pPr>
            <a:lvl2pPr marL="0" indent="0">
              <a:spcBef>
                <a:spcPts val="0"/>
              </a:spcBef>
              <a:spcAft>
                <a:spcPts val="0"/>
              </a:spcAft>
              <a:buFont typeface="Arial" panose="020B0604020202020204" pitchFamily="34" charset="0"/>
              <a:buNone/>
              <a:defRPr sz="100">
                <a:noFill/>
              </a:defRPr>
            </a:lvl2pPr>
            <a:lvl3pPr marL="0" indent="0">
              <a:spcBef>
                <a:spcPts val="0"/>
              </a:spcBef>
              <a:spcAft>
                <a:spcPts val="0"/>
              </a:spcAft>
              <a:buFont typeface="Arial" panose="020B0604020202020204" pitchFamily="34" charset="0"/>
              <a:buNone/>
              <a:defRPr sz="100">
                <a:noFill/>
              </a:defRPr>
            </a:lvl3pPr>
            <a:lvl4pPr marL="0" indent="0">
              <a:spcBef>
                <a:spcPts val="0"/>
              </a:spcBef>
              <a:spcAft>
                <a:spcPts val="0"/>
              </a:spcAft>
              <a:buFont typeface="Arial" panose="020B0604020202020204" pitchFamily="34" charset="0"/>
              <a:buNone/>
              <a:defRPr sz="100">
                <a:noFill/>
              </a:defRPr>
            </a:lvl4pPr>
            <a:lvl5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00">
                <a:noFill/>
              </a:defRPr>
            </a:lvl5pPr>
            <a:lvl6pPr marL="360000" indent="0">
              <a:spcBef>
                <a:spcPts val="0"/>
              </a:spcBef>
              <a:spcAft>
                <a:spcPts val="0"/>
              </a:spcAft>
              <a:buFontTx/>
              <a:buNone/>
              <a:defRPr/>
            </a:lvl6pPr>
            <a:lvl7pPr marL="0" indent="0">
              <a:spcBef>
                <a:spcPts val="0"/>
              </a:spcBef>
              <a:spcAft>
                <a:spcPts val="0"/>
              </a:spcAft>
              <a:buNone/>
              <a:defRPr/>
            </a:lvl7pPr>
            <a:lvl8pPr marL="0" indent="0">
              <a:spcBef>
                <a:spcPts val="0"/>
              </a:spcBef>
              <a:spcAft>
                <a:spcPts val="0"/>
              </a:spcAft>
              <a:buNone/>
              <a:defRPr/>
            </a:lvl8pPr>
            <a:lvl9pPr marL="0" indent="0">
              <a:spcBef>
                <a:spcPts val="0"/>
              </a:spcBef>
              <a:spcAft>
                <a:spcPts val="0"/>
              </a:spcAft>
              <a:buNone/>
              <a:defRPr/>
            </a:lvl9pPr>
          </a:lstStyle>
          <a:p>
            <a:pPr lvl="0"/>
            <a:r>
              <a:rPr lang="de-DE"/>
              <a:t>x</a:t>
            </a:r>
          </a:p>
        </p:txBody>
      </p:sp>
      <p:sp>
        <p:nvSpPr>
          <p:cNvPr id="11" name="Textplatzhalter 2">
            <a:extLst>
              <a:ext uri="{FF2B5EF4-FFF2-40B4-BE49-F238E27FC236}">
                <a16:creationId xmlns:a16="http://schemas.microsoft.com/office/drawing/2014/main" id="{2E3D8BF4-3D98-4A0E-9022-DEBBAD27982A}"/>
              </a:ext>
            </a:extLst>
          </p:cNvPr>
          <p:cNvSpPr>
            <a:spLocks noGrp="1"/>
          </p:cNvSpPr>
          <p:nvPr>
            <p:ph type="body" sz="quarter" idx="18"/>
          </p:nvPr>
        </p:nvSpPr>
        <p:spPr bwMode="gray">
          <a:xfrm>
            <a:off x="630000" y="6329316"/>
            <a:ext cx="1789200" cy="198000"/>
          </a:xfrm>
          <a:blipFill>
            <a:blip r:embed="rId3"/>
            <a:stretch>
              <a:fillRect/>
            </a:stretch>
          </a:blipFill>
        </p:spPr>
        <p:txBody>
          <a:bodyPr/>
          <a:lstStyle>
            <a:lvl1pPr>
              <a:defRPr sz="100">
                <a:noFill/>
              </a:defRPr>
            </a:lvl1pPr>
          </a:lstStyle>
          <a:p>
            <a:pPr lvl="0"/>
            <a:r>
              <a:rPr lang="de-DE"/>
              <a:t>Mastertextformat bearbeiten</a:t>
            </a:r>
          </a:p>
        </p:txBody>
      </p:sp>
      <p:sp>
        <p:nvSpPr>
          <p:cNvPr id="10" name="Textplatzhalter 3">
            <a:extLst>
              <a:ext uri="{FF2B5EF4-FFF2-40B4-BE49-F238E27FC236}">
                <a16:creationId xmlns:a16="http://schemas.microsoft.com/office/drawing/2014/main" id="{B4C54DAF-104E-4D17-9617-35514BC0CF94}"/>
              </a:ext>
            </a:extLst>
          </p:cNvPr>
          <p:cNvSpPr>
            <a:spLocks noGrp="1"/>
          </p:cNvSpPr>
          <p:nvPr>
            <p:ph type="body" sz="quarter" idx="20" hasCustomPrompt="1"/>
          </p:nvPr>
        </p:nvSpPr>
        <p:spPr bwMode="gray">
          <a:xfrm>
            <a:off x="6425504" y="2192887"/>
            <a:ext cx="5148000" cy="246221"/>
          </a:xfrm>
        </p:spPr>
        <p:txBody>
          <a:bodyPr anchor="b" anchorCtr="0">
            <a:spAutoFit/>
          </a:bodyPr>
          <a:lstStyle>
            <a:lvl1pPr>
              <a:spcBef>
                <a:spcPts val="0"/>
              </a:spcBef>
              <a:defRPr sz="1600" b="1">
                <a:solidFill>
                  <a:schemeClr val="accent2"/>
                </a:solidFill>
              </a:defRPr>
            </a:lvl1pPr>
          </a:lstStyle>
          <a:p>
            <a:pPr lvl="0"/>
            <a:r>
              <a:rPr lang="de-DE"/>
              <a:t>Name Kunde / Veranstaltung</a:t>
            </a:r>
          </a:p>
        </p:txBody>
      </p:sp>
      <p:sp>
        <p:nvSpPr>
          <p:cNvPr id="12" name="Textplatzhalter 3">
            <a:extLst>
              <a:ext uri="{FF2B5EF4-FFF2-40B4-BE49-F238E27FC236}">
                <a16:creationId xmlns:a16="http://schemas.microsoft.com/office/drawing/2014/main" id="{08391FC7-524F-4A12-94F6-3C06C638CC1D}"/>
              </a:ext>
            </a:extLst>
          </p:cNvPr>
          <p:cNvSpPr>
            <a:spLocks noGrp="1"/>
          </p:cNvSpPr>
          <p:nvPr>
            <p:ph type="body" sz="quarter" idx="21" hasCustomPrompt="1"/>
          </p:nvPr>
        </p:nvSpPr>
        <p:spPr bwMode="gray">
          <a:xfrm>
            <a:off x="6425504" y="4217681"/>
            <a:ext cx="5148000" cy="246221"/>
          </a:xfrm>
        </p:spPr>
        <p:txBody>
          <a:bodyPr anchor="b" anchorCtr="0">
            <a:spAutoFit/>
          </a:bodyPr>
          <a:lstStyle>
            <a:lvl1pPr>
              <a:spcBef>
                <a:spcPts val="0"/>
              </a:spcBef>
              <a:defRPr sz="1600" b="0">
                <a:solidFill>
                  <a:schemeClr val="bg1"/>
                </a:solidFill>
              </a:defRPr>
            </a:lvl1pPr>
          </a:lstStyle>
          <a:p>
            <a:pPr lvl="0"/>
            <a:r>
              <a:rPr lang="de-DE"/>
              <a:t>Ort, Datum – Referent Vorname Name</a:t>
            </a:r>
          </a:p>
        </p:txBody>
      </p:sp>
      <p:sp>
        <p:nvSpPr>
          <p:cNvPr id="13" name="Textplatzhalter 3">
            <a:extLst>
              <a:ext uri="{FF2B5EF4-FFF2-40B4-BE49-F238E27FC236}">
                <a16:creationId xmlns:a16="http://schemas.microsoft.com/office/drawing/2014/main" id="{93F8EDDD-90E8-4B69-9152-0DB4319AE30C}"/>
              </a:ext>
            </a:extLst>
          </p:cNvPr>
          <p:cNvSpPr>
            <a:spLocks noGrp="1"/>
          </p:cNvSpPr>
          <p:nvPr>
            <p:ph type="body" sz="quarter" idx="22" hasCustomPrompt="1"/>
          </p:nvPr>
        </p:nvSpPr>
        <p:spPr bwMode="gray">
          <a:xfrm>
            <a:off x="6425504" y="4570607"/>
            <a:ext cx="5148000" cy="184666"/>
          </a:xfrm>
        </p:spPr>
        <p:txBody>
          <a:bodyPr>
            <a:spAutoFit/>
          </a:bodyPr>
          <a:lstStyle>
            <a:lvl1pPr>
              <a:spcBef>
                <a:spcPts val="0"/>
              </a:spcBef>
              <a:defRPr sz="1200" b="0">
                <a:solidFill>
                  <a:schemeClr val="bg1"/>
                </a:solidFill>
              </a:defRPr>
            </a:lvl1pPr>
          </a:lstStyle>
          <a:p>
            <a:pPr lvl="0"/>
            <a:r>
              <a:rPr lang="de-DE"/>
              <a:t>Vertraulichkeitshinweis durch Klicken bearbeiten</a:t>
            </a:r>
          </a:p>
        </p:txBody>
      </p:sp>
    </p:spTree>
    <p:extLst>
      <p:ext uri="{BB962C8B-B14F-4D97-AF65-F5344CB8AC3E}">
        <p14:creationId xmlns:p14="http://schemas.microsoft.com/office/powerpoint/2010/main" val="4017989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Einspaltig mit Untertitel und Quelle">
    <p:spTree>
      <p:nvGrpSpPr>
        <p:cNvPr id="1" name=""/>
        <p:cNvGrpSpPr/>
        <p:nvPr/>
      </p:nvGrpSpPr>
      <p:grpSpPr>
        <a:xfrm>
          <a:off x="0" y="0"/>
          <a:ext cx="0" cy="0"/>
          <a:chOff x="0" y="0"/>
          <a:chExt cx="0" cy="0"/>
        </a:xfrm>
      </p:grpSpPr>
      <p:sp>
        <p:nvSpPr>
          <p:cNvPr id="11" name="Inhaltsplatzhalter 2"/>
          <p:cNvSpPr>
            <a:spLocks noGrp="1"/>
          </p:cNvSpPr>
          <p:nvPr>
            <p:ph sz="quarter" idx="14" hasCustomPrompt="1"/>
          </p:nvPr>
        </p:nvSpPr>
        <p:spPr bwMode="gray">
          <a:xfrm>
            <a:off x="409575" y="2060848"/>
            <a:ext cx="11375975" cy="4248745"/>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3" name="Textplatzhalter 11"/>
          <p:cNvSpPr>
            <a:spLocks noGrp="1"/>
          </p:cNvSpPr>
          <p:nvPr>
            <p:ph type="body" sz="quarter" idx="19" hasCustomPrompt="1"/>
          </p:nvPr>
        </p:nvSpPr>
        <p:spPr bwMode="gray">
          <a:xfrm>
            <a:off x="409575" y="1412776"/>
            <a:ext cx="11375975" cy="276999"/>
          </a:xfrm>
          <a:prstGeom prst="rect">
            <a:avLst/>
          </a:prstGeom>
        </p:spPr>
        <p:txBody>
          <a:bodyPr vert="horz" lIns="0" tIns="0" rIns="0" bIns="0" rtlCol="0">
            <a:noAutofit/>
          </a:bodyPr>
          <a:lstStyle>
            <a:lvl1pPr marL="0" indent="0">
              <a:lnSpc>
                <a:spcPct val="100000"/>
              </a:lnSpc>
              <a:spcBef>
                <a:spcPts val="0"/>
              </a:spcBef>
              <a:buNone/>
              <a:defRPr lang="de-DE" dirty="0">
                <a:solidFill>
                  <a:schemeClr val="accent2"/>
                </a:solidFill>
              </a:defRPr>
            </a:lvl1pPr>
          </a:lstStyle>
          <a:p>
            <a:pPr marL="0" lvl="0" indent="0">
              <a:lnSpc>
                <a:spcPct val="100000"/>
              </a:lnSpc>
              <a:spcBef>
                <a:spcPts val="0"/>
              </a:spcBef>
              <a:buNone/>
            </a:pPr>
            <a:r>
              <a:rPr lang="de-DE"/>
              <a:t>Untertitel 1</a:t>
            </a:r>
          </a:p>
        </p:txBody>
      </p:sp>
      <p:sp>
        <p:nvSpPr>
          <p:cNvPr id="14" name="Textplatzhalter 3"/>
          <p:cNvSpPr>
            <a:spLocks noGrp="1"/>
          </p:cNvSpPr>
          <p:nvPr>
            <p:ph type="body" sz="quarter" idx="21" hasCustomPrompt="1"/>
          </p:nvPr>
        </p:nvSpPr>
        <p:spPr bwMode="gray">
          <a:xfrm>
            <a:off x="409575" y="1700708"/>
            <a:ext cx="11375975" cy="215444"/>
          </a:xfrm>
          <a:prstGeom prst="rect">
            <a:avLst/>
          </a:prstGeom>
        </p:spPr>
        <p:txBody>
          <a:bodyPr vert="horz" lIns="0" tIns="0" rIns="0" bIns="0" rtlCol="0">
            <a:noAutofit/>
          </a:bodyPr>
          <a:lstStyle>
            <a:lvl1pPr>
              <a:spcBef>
                <a:spcPts val="0"/>
              </a:spcBef>
              <a:defRPr lang="de-DE" sz="1400" b="0" dirty="0"/>
            </a:lvl1pPr>
          </a:lstStyle>
          <a:p>
            <a:r>
              <a:rPr lang="de-DE" sz="1400" b="0"/>
              <a:t>Untertitel 2</a:t>
            </a:r>
            <a:endParaRPr lang="de-DE" b="0"/>
          </a:p>
        </p:txBody>
      </p:sp>
      <p:sp>
        <p:nvSpPr>
          <p:cNvPr id="7" name="Textplatzhalter 3"/>
          <p:cNvSpPr>
            <a:spLocks noGrp="1"/>
          </p:cNvSpPr>
          <p:nvPr>
            <p:ph type="body" sz="quarter" idx="23" hasCustomPrompt="1"/>
          </p:nvPr>
        </p:nvSpPr>
        <p:spPr bwMode="gray">
          <a:xfrm>
            <a:off x="409575" y="6001543"/>
            <a:ext cx="11375975"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a:t>Quelle:</a:t>
            </a:r>
          </a:p>
        </p:txBody>
      </p:sp>
      <p:sp>
        <p:nvSpPr>
          <p:cNvPr id="4" name="Titel 3">
            <a:extLst>
              <a:ext uri="{FF2B5EF4-FFF2-40B4-BE49-F238E27FC236}">
                <a16:creationId xmlns:a16="http://schemas.microsoft.com/office/drawing/2014/main" id="{A4E7D873-772C-4013-B401-AF4DA0BD5173}"/>
              </a:ext>
            </a:extLst>
          </p:cNvPr>
          <p:cNvSpPr>
            <a:spLocks noGrp="1"/>
          </p:cNvSpPr>
          <p:nvPr>
            <p:ph type="title" hasCustomPrompt="1"/>
          </p:nvPr>
        </p:nvSpPr>
        <p:spPr bwMode="gray"/>
        <p:txBody>
          <a:bodyPr/>
          <a:lstStyle>
            <a:lvl1pPr>
              <a:defRPr/>
            </a:lvl1pPr>
          </a:lstStyle>
          <a:p>
            <a:r>
              <a:rPr lang="de-DE"/>
              <a:t>Titel durch Klicken bearbeiten</a:t>
            </a:r>
          </a:p>
        </p:txBody>
      </p:sp>
      <p:sp>
        <p:nvSpPr>
          <p:cNvPr id="2" name="Datumsplatzhalter 1">
            <a:extLst>
              <a:ext uri="{FF2B5EF4-FFF2-40B4-BE49-F238E27FC236}">
                <a16:creationId xmlns:a16="http://schemas.microsoft.com/office/drawing/2014/main" id="{E5B84E82-D5E4-43FA-9771-2F8E94792037}"/>
              </a:ext>
            </a:extLst>
          </p:cNvPr>
          <p:cNvSpPr>
            <a:spLocks noGrp="1"/>
          </p:cNvSpPr>
          <p:nvPr>
            <p:ph type="dt" sz="half" idx="24"/>
          </p:nvPr>
        </p:nvSpPr>
        <p:spPr bwMode="gray">
          <a:xfrm>
            <a:off x="10709631" y="151200"/>
            <a:ext cx="748800" cy="180000"/>
          </a:xfrm>
          <a:prstGeom prst="rect">
            <a:avLst/>
          </a:prstGeom>
        </p:spPr>
        <p:txBody>
          <a:bodyPr/>
          <a:lstStyle/>
          <a:p>
            <a:r>
              <a:rPr lang="de-DE"/>
              <a:t>Jan. 2023</a:t>
            </a:r>
          </a:p>
        </p:txBody>
      </p:sp>
      <p:sp>
        <p:nvSpPr>
          <p:cNvPr id="3" name="Fußzeilenplatzhalter 2">
            <a:extLst>
              <a:ext uri="{FF2B5EF4-FFF2-40B4-BE49-F238E27FC236}">
                <a16:creationId xmlns:a16="http://schemas.microsoft.com/office/drawing/2014/main" id="{78D1C485-5C84-4892-BB20-6FB861EC83ED}"/>
              </a:ext>
            </a:extLst>
          </p:cNvPr>
          <p:cNvSpPr>
            <a:spLocks noGrp="1"/>
          </p:cNvSpPr>
          <p:nvPr>
            <p:ph type="ftr" sz="quarter" idx="25"/>
          </p:nvPr>
        </p:nvSpPr>
        <p:spPr bwMode="gray">
          <a:xfrm>
            <a:off x="6313488" y="151200"/>
            <a:ext cx="4393761" cy="180000"/>
          </a:xfrm>
          <a:prstGeom prst="rect">
            <a:avLst/>
          </a:prstGeom>
        </p:spPr>
        <p:txBody>
          <a:bodyPr/>
          <a:lstStyle/>
          <a:p>
            <a:r>
              <a:rPr lang="de-DE"/>
              <a:t>UIP-EQ-CON  |  C0  |</a:t>
            </a:r>
          </a:p>
        </p:txBody>
      </p:sp>
      <p:sp>
        <p:nvSpPr>
          <p:cNvPr id="8" name="Foliennummernplatzhalter 7">
            <a:extLst>
              <a:ext uri="{FF2B5EF4-FFF2-40B4-BE49-F238E27FC236}">
                <a16:creationId xmlns:a16="http://schemas.microsoft.com/office/drawing/2014/main" id="{247D4368-4934-4508-81B8-7FFD4AA8496D}"/>
              </a:ext>
            </a:extLst>
          </p:cNvPr>
          <p:cNvSpPr>
            <a:spLocks noGrp="1"/>
          </p:cNvSpPr>
          <p:nvPr>
            <p:ph type="sldNum" sz="quarter" idx="26"/>
          </p:nvPr>
        </p:nvSpPr>
        <p:spPr bwMode="gray">
          <a:xfrm>
            <a:off x="11504750" y="151200"/>
            <a:ext cx="280800" cy="180000"/>
          </a:xfrm>
          <a:prstGeom prst="rect">
            <a:avLst/>
          </a:prstGeom>
        </p:spPr>
        <p:txBody>
          <a:bodyPr/>
          <a:lstStyle/>
          <a:p>
            <a:fld id="{9C89B081-1F44-4440-BC7B-989C90F97B77}" type="slidenum">
              <a:rPr lang="de-DE"/>
              <a:pPr/>
              <a:t>‹Nr.›</a:t>
            </a:fld>
            <a:endParaRPr lang="de-DE"/>
          </a:p>
        </p:txBody>
      </p:sp>
    </p:spTree>
    <p:extLst>
      <p:ext uri="{BB962C8B-B14F-4D97-AF65-F5344CB8AC3E}">
        <p14:creationId xmlns:p14="http://schemas.microsoft.com/office/powerpoint/2010/main" val="3239752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98">
          <p15:clr>
            <a:srgbClr val="C35E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Zweispaltig mit Quelle">
    <p:spTree>
      <p:nvGrpSpPr>
        <p:cNvPr id="1" name=""/>
        <p:cNvGrpSpPr/>
        <p:nvPr/>
      </p:nvGrpSpPr>
      <p:grpSpPr>
        <a:xfrm>
          <a:off x="0" y="0"/>
          <a:ext cx="0" cy="0"/>
          <a:chOff x="0" y="0"/>
          <a:chExt cx="0" cy="0"/>
        </a:xfrm>
      </p:grpSpPr>
      <p:sp>
        <p:nvSpPr>
          <p:cNvPr id="16" name="Inhaltsplatzhalter 2"/>
          <p:cNvSpPr>
            <a:spLocks noGrp="1"/>
          </p:cNvSpPr>
          <p:nvPr>
            <p:ph sz="quarter" idx="24" hasCustomPrompt="1"/>
          </p:nvPr>
        </p:nvSpPr>
        <p:spPr bwMode="gray">
          <a:xfrm>
            <a:off x="409575" y="1412776"/>
            <a:ext cx="5471380" cy="4896445"/>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8" name="Inhaltsplatzhalter 2"/>
          <p:cNvSpPr>
            <a:spLocks noGrp="1"/>
          </p:cNvSpPr>
          <p:nvPr>
            <p:ph sz="quarter" idx="26" hasCustomPrompt="1"/>
          </p:nvPr>
        </p:nvSpPr>
        <p:spPr bwMode="gray">
          <a:xfrm>
            <a:off x="6313611" y="1412776"/>
            <a:ext cx="5471344" cy="4896445"/>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5" name="Textplatzhalter 3"/>
          <p:cNvSpPr>
            <a:spLocks noGrp="1"/>
          </p:cNvSpPr>
          <p:nvPr>
            <p:ph type="body" sz="quarter" idx="23" hasCustomPrompt="1"/>
          </p:nvPr>
        </p:nvSpPr>
        <p:spPr bwMode="gray">
          <a:xfrm>
            <a:off x="409575" y="6001543"/>
            <a:ext cx="11375380"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a:t>Quelle:</a:t>
            </a:r>
          </a:p>
        </p:txBody>
      </p:sp>
      <p:sp>
        <p:nvSpPr>
          <p:cNvPr id="4" name="Titel 3">
            <a:extLst>
              <a:ext uri="{FF2B5EF4-FFF2-40B4-BE49-F238E27FC236}">
                <a16:creationId xmlns:a16="http://schemas.microsoft.com/office/drawing/2014/main" id="{0EE3A4A6-59E1-4B7B-B514-3F752F280AB3}"/>
              </a:ext>
            </a:extLst>
          </p:cNvPr>
          <p:cNvSpPr>
            <a:spLocks noGrp="1"/>
          </p:cNvSpPr>
          <p:nvPr>
            <p:ph type="title" hasCustomPrompt="1"/>
          </p:nvPr>
        </p:nvSpPr>
        <p:spPr bwMode="gray"/>
        <p:txBody>
          <a:bodyPr/>
          <a:lstStyle>
            <a:lvl1pPr>
              <a:defRPr/>
            </a:lvl1pPr>
          </a:lstStyle>
          <a:p>
            <a:r>
              <a:rPr lang="de-DE"/>
              <a:t>Titel durch Klicken bearbeiten</a:t>
            </a:r>
          </a:p>
        </p:txBody>
      </p:sp>
      <p:sp>
        <p:nvSpPr>
          <p:cNvPr id="2" name="Datumsplatzhalter 1">
            <a:extLst>
              <a:ext uri="{FF2B5EF4-FFF2-40B4-BE49-F238E27FC236}">
                <a16:creationId xmlns:a16="http://schemas.microsoft.com/office/drawing/2014/main" id="{8386EEF1-AC41-4778-BBD7-116FAEF6D28C}"/>
              </a:ext>
            </a:extLst>
          </p:cNvPr>
          <p:cNvSpPr>
            <a:spLocks noGrp="1"/>
          </p:cNvSpPr>
          <p:nvPr>
            <p:ph type="dt" sz="half" idx="27"/>
          </p:nvPr>
        </p:nvSpPr>
        <p:spPr bwMode="gray">
          <a:xfrm>
            <a:off x="10709631" y="151200"/>
            <a:ext cx="748800" cy="180000"/>
          </a:xfrm>
          <a:prstGeom prst="rect">
            <a:avLst/>
          </a:prstGeom>
        </p:spPr>
        <p:txBody>
          <a:bodyPr/>
          <a:lstStyle/>
          <a:p>
            <a:r>
              <a:rPr lang="de-DE"/>
              <a:t>Jan. 2023</a:t>
            </a:r>
          </a:p>
        </p:txBody>
      </p:sp>
      <p:sp>
        <p:nvSpPr>
          <p:cNvPr id="3" name="Fußzeilenplatzhalter 2">
            <a:extLst>
              <a:ext uri="{FF2B5EF4-FFF2-40B4-BE49-F238E27FC236}">
                <a16:creationId xmlns:a16="http://schemas.microsoft.com/office/drawing/2014/main" id="{6E61E87C-49DB-4099-8EEC-CCD9F0C4915F}"/>
              </a:ext>
            </a:extLst>
          </p:cNvPr>
          <p:cNvSpPr>
            <a:spLocks noGrp="1"/>
          </p:cNvSpPr>
          <p:nvPr>
            <p:ph type="ftr" sz="quarter" idx="28"/>
          </p:nvPr>
        </p:nvSpPr>
        <p:spPr bwMode="gray">
          <a:xfrm>
            <a:off x="6313488" y="151200"/>
            <a:ext cx="4393761" cy="180000"/>
          </a:xfrm>
          <a:prstGeom prst="rect">
            <a:avLst/>
          </a:prstGeom>
        </p:spPr>
        <p:txBody>
          <a:bodyPr/>
          <a:lstStyle/>
          <a:p>
            <a:r>
              <a:rPr lang="de-DE"/>
              <a:t>UIP-EQ-CON  |  C0  |</a:t>
            </a:r>
          </a:p>
        </p:txBody>
      </p:sp>
      <p:sp>
        <p:nvSpPr>
          <p:cNvPr id="7" name="Foliennummernplatzhalter 6">
            <a:extLst>
              <a:ext uri="{FF2B5EF4-FFF2-40B4-BE49-F238E27FC236}">
                <a16:creationId xmlns:a16="http://schemas.microsoft.com/office/drawing/2014/main" id="{17E7BD72-3FB4-4983-8305-EFB8CE80CD76}"/>
              </a:ext>
            </a:extLst>
          </p:cNvPr>
          <p:cNvSpPr>
            <a:spLocks noGrp="1"/>
          </p:cNvSpPr>
          <p:nvPr>
            <p:ph type="sldNum" sz="quarter" idx="29"/>
          </p:nvPr>
        </p:nvSpPr>
        <p:spPr bwMode="gray">
          <a:xfrm>
            <a:off x="11504750" y="151200"/>
            <a:ext cx="280800" cy="180000"/>
          </a:xfrm>
          <a:prstGeom prst="rect">
            <a:avLst/>
          </a:prstGeom>
        </p:spPr>
        <p:txBody>
          <a:bodyPr/>
          <a:lstStyle/>
          <a:p>
            <a:fld id="{9C89B081-1F44-4440-BC7B-989C90F97B77}" type="slidenum">
              <a:rPr lang="de-DE"/>
              <a:pPr/>
              <a:t>‹Nr.›</a:t>
            </a:fld>
            <a:endParaRPr lang="de-DE"/>
          </a:p>
        </p:txBody>
      </p:sp>
    </p:spTree>
    <p:extLst>
      <p:ext uri="{BB962C8B-B14F-4D97-AF65-F5344CB8AC3E}">
        <p14:creationId xmlns:p14="http://schemas.microsoft.com/office/powerpoint/2010/main" val="2262563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57">
          <p15:clr>
            <a:srgbClr val="F26B43"/>
          </p15:clr>
        </p15:guide>
        <p15:guide id="3" orient="horz" pos="255">
          <p15:clr>
            <a:srgbClr val="F26B43"/>
          </p15:clr>
        </p15:guide>
        <p15:guide id="6" orient="horz" pos="890">
          <p15:clr>
            <a:srgbClr val="F26B43"/>
          </p15:clr>
        </p15:guide>
        <p15:guide id="9" pos="3977">
          <p15:clr>
            <a:srgbClr val="F26B43"/>
          </p15:clr>
        </p15:guide>
        <p15:guide id="10" pos="3705">
          <p15:clr>
            <a:srgbClr val="F26B43"/>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Zweispaltig mit Untertitel und Quelle">
    <p:spTree>
      <p:nvGrpSpPr>
        <p:cNvPr id="1" name=""/>
        <p:cNvGrpSpPr/>
        <p:nvPr/>
      </p:nvGrpSpPr>
      <p:grpSpPr>
        <a:xfrm>
          <a:off x="0" y="0"/>
          <a:ext cx="0" cy="0"/>
          <a:chOff x="0" y="0"/>
          <a:chExt cx="0" cy="0"/>
        </a:xfrm>
      </p:grpSpPr>
      <p:sp>
        <p:nvSpPr>
          <p:cNvPr id="16" name="Inhaltsplatzhalter 2"/>
          <p:cNvSpPr>
            <a:spLocks noGrp="1"/>
          </p:cNvSpPr>
          <p:nvPr>
            <p:ph sz="quarter" idx="24" hasCustomPrompt="1"/>
          </p:nvPr>
        </p:nvSpPr>
        <p:spPr bwMode="gray">
          <a:xfrm>
            <a:off x="409575" y="2060848"/>
            <a:ext cx="5471380" cy="4248745"/>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8" name="Inhaltsplatzhalter 2"/>
          <p:cNvSpPr>
            <a:spLocks noGrp="1"/>
          </p:cNvSpPr>
          <p:nvPr>
            <p:ph sz="quarter" idx="26" hasCustomPrompt="1"/>
          </p:nvPr>
        </p:nvSpPr>
        <p:spPr bwMode="gray">
          <a:xfrm>
            <a:off x="6313611" y="2060848"/>
            <a:ext cx="5472000" cy="4248745"/>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0" name="Textplatzhalter 11"/>
          <p:cNvSpPr>
            <a:spLocks noGrp="1"/>
          </p:cNvSpPr>
          <p:nvPr>
            <p:ph type="body" sz="quarter" idx="19" hasCustomPrompt="1"/>
          </p:nvPr>
        </p:nvSpPr>
        <p:spPr bwMode="gray">
          <a:xfrm>
            <a:off x="409575" y="1412776"/>
            <a:ext cx="5471380" cy="276999"/>
          </a:xfrm>
          <a:prstGeom prst="rect">
            <a:avLst/>
          </a:prstGeom>
        </p:spPr>
        <p:txBody>
          <a:bodyPr vert="horz" lIns="0" tIns="0" rIns="0" bIns="0" rtlCol="0">
            <a:noAutofit/>
          </a:bodyPr>
          <a:lstStyle>
            <a:lvl1pPr marL="0" indent="0">
              <a:lnSpc>
                <a:spcPct val="100000"/>
              </a:lnSpc>
              <a:spcBef>
                <a:spcPts val="0"/>
              </a:spcBef>
              <a:buNone/>
              <a:defRPr lang="de-DE" dirty="0">
                <a:solidFill>
                  <a:schemeClr val="accent2"/>
                </a:solidFill>
              </a:defRPr>
            </a:lvl1pPr>
          </a:lstStyle>
          <a:p>
            <a:pPr marL="0" lvl="0" indent="0">
              <a:lnSpc>
                <a:spcPct val="100000"/>
              </a:lnSpc>
              <a:spcBef>
                <a:spcPts val="0"/>
              </a:spcBef>
              <a:buNone/>
            </a:pPr>
            <a:r>
              <a:rPr lang="de-DE"/>
              <a:t>Untertitel 1</a:t>
            </a:r>
          </a:p>
        </p:txBody>
      </p:sp>
      <p:sp>
        <p:nvSpPr>
          <p:cNvPr id="11" name="Textplatzhalter 3"/>
          <p:cNvSpPr>
            <a:spLocks noGrp="1"/>
          </p:cNvSpPr>
          <p:nvPr>
            <p:ph type="body" sz="quarter" idx="21" hasCustomPrompt="1"/>
          </p:nvPr>
        </p:nvSpPr>
        <p:spPr bwMode="gray">
          <a:xfrm>
            <a:off x="409575" y="1700708"/>
            <a:ext cx="5471380" cy="215444"/>
          </a:xfrm>
          <a:prstGeom prst="rect">
            <a:avLst/>
          </a:prstGeom>
        </p:spPr>
        <p:txBody>
          <a:bodyPr vert="horz" lIns="0" tIns="0" rIns="0" bIns="0" rtlCol="0">
            <a:noAutofit/>
          </a:bodyPr>
          <a:lstStyle>
            <a:lvl1pPr>
              <a:spcBef>
                <a:spcPts val="0"/>
              </a:spcBef>
              <a:defRPr lang="de-DE" sz="1400" b="0" dirty="0"/>
            </a:lvl1pPr>
          </a:lstStyle>
          <a:p>
            <a:r>
              <a:rPr lang="de-DE" sz="1400" b="0"/>
              <a:t>Untertitel 2</a:t>
            </a:r>
            <a:endParaRPr lang="de-DE" b="0"/>
          </a:p>
        </p:txBody>
      </p:sp>
      <p:sp>
        <p:nvSpPr>
          <p:cNvPr id="13" name="Textplatzhalter 11"/>
          <p:cNvSpPr>
            <a:spLocks noGrp="1"/>
          </p:cNvSpPr>
          <p:nvPr>
            <p:ph type="body" sz="quarter" idx="27" hasCustomPrompt="1"/>
          </p:nvPr>
        </p:nvSpPr>
        <p:spPr bwMode="gray">
          <a:xfrm>
            <a:off x="6313611" y="1412776"/>
            <a:ext cx="5472000" cy="276999"/>
          </a:xfrm>
          <a:prstGeom prst="rect">
            <a:avLst/>
          </a:prstGeom>
        </p:spPr>
        <p:txBody>
          <a:bodyPr vert="horz" lIns="0" tIns="0" rIns="0" bIns="0" rtlCol="0">
            <a:noAutofit/>
          </a:bodyPr>
          <a:lstStyle>
            <a:lvl1pPr marL="0" indent="0">
              <a:lnSpc>
                <a:spcPct val="100000"/>
              </a:lnSpc>
              <a:spcBef>
                <a:spcPts val="0"/>
              </a:spcBef>
              <a:buNone/>
              <a:defRPr lang="de-DE" dirty="0">
                <a:solidFill>
                  <a:schemeClr val="accent2"/>
                </a:solidFill>
              </a:defRPr>
            </a:lvl1pPr>
          </a:lstStyle>
          <a:p>
            <a:pPr marL="0" lvl="0" indent="0">
              <a:lnSpc>
                <a:spcPct val="100000"/>
              </a:lnSpc>
              <a:spcBef>
                <a:spcPts val="0"/>
              </a:spcBef>
              <a:buNone/>
            </a:pPr>
            <a:r>
              <a:rPr lang="de-DE"/>
              <a:t>Untertitel 1</a:t>
            </a:r>
          </a:p>
        </p:txBody>
      </p:sp>
      <p:sp>
        <p:nvSpPr>
          <p:cNvPr id="14" name="Textplatzhalter 3"/>
          <p:cNvSpPr>
            <a:spLocks noGrp="1"/>
          </p:cNvSpPr>
          <p:nvPr>
            <p:ph type="body" sz="quarter" idx="28" hasCustomPrompt="1"/>
          </p:nvPr>
        </p:nvSpPr>
        <p:spPr bwMode="gray">
          <a:xfrm>
            <a:off x="6313611" y="1700708"/>
            <a:ext cx="5472000" cy="215444"/>
          </a:xfrm>
          <a:prstGeom prst="rect">
            <a:avLst/>
          </a:prstGeom>
        </p:spPr>
        <p:txBody>
          <a:bodyPr vert="horz" lIns="0" tIns="0" rIns="0" bIns="0" rtlCol="0">
            <a:noAutofit/>
          </a:bodyPr>
          <a:lstStyle>
            <a:lvl1pPr>
              <a:spcBef>
                <a:spcPts val="0"/>
              </a:spcBef>
              <a:defRPr lang="de-DE" sz="1400" b="0" dirty="0"/>
            </a:lvl1pPr>
          </a:lstStyle>
          <a:p>
            <a:r>
              <a:rPr lang="de-DE" sz="1400" b="0"/>
              <a:t>Untertitel 2</a:t>
            </a:r>
            <a:endParaRPr lang="de-DE" b="0"/>
          </a:p>
        </p:txBody>
      </p:sp>
      <p:sp>
        <p:nvSpPr>
          <p:cNvPr id="15" name="Textplatzhalter 3"/>
          <p:cNvSpPr>
            <a:spLocks noGrp="1"/>
          </p:cNvSpPr>
          <p:nvPr>
            <p:ph type="body" sz="quarter" idx="23" hasCustomPrompt="1"/>
          </p:nvPr>
        </p:nvSpPr>
        <p:spPr bwMode="gray">
          <a:xfrm>
            <a:off x="409575" y="6001543"/>
            <a:ext cx="11374438"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a:t>Quelle:</a:t>
            </a:r>
          </a:p>
        </p:txBody>
      </p:sp>
      <p:sp>
        <p:nvSpPr>
          <p:cNvPr id="4" name="Titel 3">
            <a:extLst>
              <a:ext uri="{FF2B5EF4-FFF2-40B4-BE49-F238E27FC236}">
                <a16:creationId xmlns:a16="http://schemas.microsoft.com/office/drawing/2014/main" id="{BC8ED0AC-12B9-494D-AF0D-9DA5C00CE04A}"/>
              </a:ext>
            </a:extLst>
          </p:cNvPr>
          <p:cNvSpPr>
            <a:spLocks noGrp="1"/>
          </p:cNvSpPr>
          <p:nvPr>
            <p:ph type="title" hasCustomPrompt="1"/>
          </p:nvPr>
        </p:nvSpPr>
        <p:spPr bwMode="gray"/>
        <p:txBody>
          <a:bodyPr/>
          <a:lstStyle>
            <a:lvl1pPr>
              <a:defRPr/>
            </a:lvl1pPr>
          </a:lstStyle>
          <a:p>
            <a:r>
              <a:rPr lang="de-DE"/>
              <a:t>Titel durch Klicken bearbeiten</a:t>
            </a:r>
          </a:p>
        </p:txBody>
      </p:sp>
      <p:sp>
        <p:nvSpPr>
          <p:cNvPr id="2" name="Datumsplatzhalter 1">
            <a:extLst>
              <a:ext uri="{FF2B5EF4-FFF2-40B4-BE49-F238E27FC236}">
                <a16:creationId xmlns:a16="http://schemas.microsoft.com/office/drawing/2014/main" id="{FF6F5F25-D3A1-4DAF-84BB-627B213A32B6}"/>
              </a:ext>
            </a:extLst>
          </p:cNvPr>
          <p:cNvSpPr>
            <a:spLocks noGrp="1"/>
          </p:cNvSpPr>
          <p:nvPr>
            <p:ph type="dt" sz="half" idx="29"/>
          </p:nvPr>
        </p:nvSpPr>
        <p:spPr bwMode="gray">
          <a:xfrm>
            <a:off x="10709631" y="151200"/>
            <a:ext cx="748800" cy="180000"/>
          </a:xfrm>
          <a:prstGeom prst="rect">
            <a:avLst/>
          </a:prstGeom>
        </p:spPr>
        <p:txBody>
          <a:bodyPr/>
          <a:lstStyle/>
          <a:p>
            <a:r>
              <a:rPr lang="de-DE"/>
              <a:t>Jan. 2023</a:t>
            </a:r>
          </a:p>
        </p:txBody>
      </p:sp>
      <p:sp>
        <p:nvSpPr>
          <p:cNvPr id="3" name="Fußzeilenplatzhalter 2">
            <a:extLst>
              <a:ext uri="{FF2B5EF4-FFF2-40B4-BE49-F238E27FC236}">
                <a16:creationId xmlns:a16="http://schemas.microsoft.com/office/drawing/2014/main" id="{EFA81794-25E1-48C3-A9ED-A0B3F6CB2BC6}"/>
              </a:ext>
            </a:extLst>
          </p:cNvPr>
          <p:cNvSpPr>
            <a:spLocks noGrp="1"/>
          </p:cNvSpPr>
          <p:nvPr>
            <p:ph type="ftr" sz="quarter" idx="30"/>
          </p:nvPr>
        </p:nvSpPr>
        <p:spPr bwMode="gray">
          <a:xfrm>
            <a:off x="6313488" y="151200"/>
            <a:ext cx="4393761" cy="180000"/>
          </a:xfrm>
          <a:prstGeom prst="rect">
            <a:avLst/>
          </a:prstGeom>
        </p:spPr>
        <p:txBody>
          <a:bodyPr/>
          <a:lstStyle/>
          <a:p>
            <a:r>
              <a:rPr lang="de-DE"/>
              <a:t>UIP-EQ-CON  |  C0  |</a:t>
            </a:r>
          </a:p>
        </p:txBody>
      </p:sp>
      <p:sp>
        <p:nvSpPr>
          <p:cNvPr id="7" name="Foliennummernplatzhalter 6">
            <a:extLst>
              <a:ext uri="{FF2B5EF4-FFF2-40B4-BE49-F238E27FC236}">
                <a16:creationId xmlns:a16="http://schemas.microsoft.com/office/drawing/2014/main" id="{B31E850C-ECA2-4F5F-A6A5-A7D3ED58EC97}"/>
              </a:ext>
            </a:extLst>
          </p:cNvPr>
          <p:cNvSpPr>
            <a:spLocks noGrp="1"/>
          </p:cNvSpPr>
          <p:nvPr>
            <p:ph type="sldNum" sz="quarter" idx="31"/>
          </p:nvPr>
        </p:nvSpPr>
        <p:spPr bwMode="gray">
          <a:xfrm>
            <a:off x="11504750" y="151200"/>
            <a:ext cx="280800" cy="180000"/>
          </a:xfrm>
          <a:prstGeom prst="rect">
            <a:avLst/>
          </a:prstGeom>
        </p:spPr>
        <p:txBody>
          <a:bodyPr/>
          <a:lstStyle/>
          <a:p>
            <a:fld id="{9C89B081-1F44-4440-BC7B-989C90F97B77}" type="slidenum">
              <a:rPr lang="de-DE"/>
              <a:pPr/>
              <a:t>‹Nr.›</a:t>
            </a:fld>
            <a:endParaRPr lang="de-DE"/>
          </a:p>
        </p:txBody>
      </p:sp>
    </p:spTree>
    <p:extLst>
      <p:ext uri="{BB962C8B-B14F-4D97-AF65-F5344CB8AC3E}">
        <p14:creationId xmlns:p14="http://schemas.microsoft.com/office/powerpoint/2010/main" val="4201454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57">
          <p15:clr>
            <a:srgbClr val="F26B43"/>
          </p15:clr>
        </p15:guide>
        <p15:guide id="3" orient="horz" pos="255">
          <p15:clr>
            <a:srgbClr val="F26B43"/>
          </p15:clr>
        </p15:guide>
        <p15:guide id="6" orient="horz" pos="890">
          <p15:clr>
            <a:srgbClr val="F26B43"/>
          </p15:clr>
        </p15:guide>
        <p15:guide id="9" pos="3977">
          <p15:clr>
            <a:srgbClr val="F26B43"/>
          </p15:clr>
        </p15:guide>
        <p15:guide id="10" pos="3705">
          <p15:clr>
            <a:srgbClr val="F26B43"/>
          </p15:clr>
        </p15:guide>
        <p15:guide id="11" orient="horz" pos="1298">
          <p15:clr>
            <a:srgbClr val="C35EA4"/>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Dreispaltig mit Quelle">
    <p:spTree>
      <p:nvGrpSpPr>
        <p:cNvPr id="1" name=""/>
        <p:cNvGrpSpPr/>
        <p:nvPr/>
      </p:nvGrpSpPr>
      <p:grpSpPr>
        <a:xfrm>
          <a:off x="0" y="0"/>
          <a:ext cx="0" cy="0"/>
          <a:chOff x="0" y="0"/>
          <a:chExt cx="0" cy="0"/>
        </a:xfrm>
      </p:grpSpPr>
      <p:sp>
        <p:nvSpPr>
          <p:cNvPr id="14" name="Inhaltsplatzhalter 2"/>
          <p:cNvSpPr>
            <a:spLocks noGrp="1"/>
          </p:cNvSpPr>
          <p:nvPr>
            <p:ph sz="quarter" idx="26" hasCustomPrompt="1"/>
          </p:nvPr>
        </p:nvSpPr>
        <p:spPr bwMode="gray">
          <a:xfrm>
            <a:off x="409575" y="1412776"/>
            <a:ext cx="3527379" cy="4895851"/>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5" name="Inhaltsplatzhalter 2"/>
          <p:cNvSpPr>
            <a:spLocks noGrp="1"/>
          </p:cNvSpPr>
          <p:nvPr>
            <p:ph sz="quarter" idx="27" hasCustomPrompt="1"/>
          </p:nvPr>
        </p:nvSpPr>
        <p:spPr bwMode="gray">
          <a:xfrm>
            <a:off x="8258175" y="1412776"/>
            <a:ext cx="3527375" cy="4895851"/>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8" name="Inhaltsplatzhalter 2"/>
          <p:cNvSpPr>
            <a:spLocks noGrp="1"/>
          </p:cNvSpPr>
          <p:nvPr>
            <p:ph sz="quarter" idx="28" hasCustomPrompt="1"/>
          </p:nvPr>
        </p:nvSpPr>
        <p:spPr bwMode="gray">
          <a:xfrm>
            <a:off x="4333875" y="1412776"/>
            <a:ext cx="3527379" cy="4895851"/>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1" name="Textplatzhalter 3"/>
          <p:cNvSpPr>
            <a:spLocks noGrp="1"/>
          </p:cNvSpPr>
          <p:nvPr>
            <p:ph type="body" sz="quarter" idx="25" hasCustomPrompt="1"/>
          </p:nvPr>
        </p:nvSpPr>
        <p:spPr bwMode="gray">
          <a:xfrm>
            <a:off x="409575" y="6001543"/>
            <a:ext cx="11375354"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a:t>Quelle:</a:t>
            </a:r>
          </a:p>
        </p:txBody>
      </p:sp>
      <p:sp>
        <p:nvSpPr>
          <p:cNvPr id="4" name="Titel 3">
            <a:extLst>
              <a:ext uri="{FF2B5EF4-FFF2-40B4-BE49-F238E27FC236}">
                <a16:creationId xmlns:a16="http://schemas.microsoft.com/office/drawing/2014/main" id="{75BE83B1-2458-4EF8-968B-9C0334204552}"/>
              </a:ext>
            </a:extLst>
          </p:cNvPr>
          <p:cNvSpPr>
            <a:spLocks noGrp="1"/>
          </p:cNvSpPr>
          <p:nvPr>
            <p:ph type="title" hasCustomPrompt="1"/>
          </p:nvPr>
        </p:nvSpPr>
        <p:spPr bwMode="gray"/>
        <p:txBody>
          <a:bodyPr/>
          <a:lstStyle/>
          <a:p>
            <a:r>
              <a:rPr lang="de-DE"/>
              <a:t>Titel durch Klicken bearbeiten</a:t>
            </a:r>
          </a:p>
        </p:txBody>
      </p:sp>
      <p:sp>
        <p:nvSpPr>
          <p:cNvPr id="2" name="Datumsplatzhalter 1">
            <a:extLst>
              <a:ext uri="{FF2B5EF4-FFF2-40B4-BE49-F238E27FC236}">
                <a16:creationId xmlns:a16="http://schemas.microsoft.com/office/drawing/2014/main" id="{5A59AB60-4B38-4E95-AB8B-146BCCEA63E2}"/>
              </a:ext>
            </a:extLst>
          </p:cNvPr>
          <p:cNvSpPr>
            <a:spLocks noGrp="1"/>
          </p:cNvSpPr>
          <p:nvPr>
            <p:ph type="dt" sz="half" idx="29"/>
          </p:nvPr>
        </p:nvSpPr>
        <p:spPr bwMode="gray">
          <a:xfrm>
            <a:off x="10709631" y="151200"/>
            <a:ext cx="748800" cy="180000"/>
          </a:xfrm>
          <a:prstGeom prst="rect">
            <a:avLst/>
          </a:prstGeom>
        </p:spPr>
        <p:txBody>
          <a:bodyPr/>
          <a:lstStyle/>
          <a:p>
            <a:r>
              <a:rPr lang="de-DE"/>
              <a:t>Jan. 2023</a:t>
            </a:r>
          </a:p>
        </p:txBody>
      </p:sp>
      <p:sp>
        <p:nvSpPr>
          <p:cNvPr id="3" name="Fußzeilenplatzhalter 2">
            <a:extLst>
              <a:ext uri="{FF2B5EF4-FFF2-40B4-BE49-F238E27FC236}">
                <a16:creationId xmlns:a16="http://schemas.microsoft.com/office/drawing/2014/main" id="{CBD139B5-09CB-41FF-8C16-41101AD606DF}"/>
              </a:ext>
            </a:extLst>
          </p:cNvPr>
          <p:cNvSpPr>
            <a:spLocks noGrp="1"/>
          </p:cNvSpPr>
          <p:nvPr>
            <p:ph type="ftr" sz="quarter" idx="30"/>
          </p:nvPr>
        </p:nvSpPr>
        <p:spPr bwMode="gray">
          <a:xfrm>
            <a:off x="6313488" y="151200"/>
            <a:ext cx="4393761" cy="180000"/>
          </a:xfrm>
          <a:prstGeom prst="rect">
            <a:avLst/>
          </a:prstGeom>
        </p:spPr>
        <p:txBody>
          <a:bodyPr/>
          <a:lstStyle/>
          <a:p>
            <a:r>
              <a:rPr lang="de-DE"/>
              <a:t>UIP-EQ-CON  |  C0  |</a:t>
            </a:r>
          </a:p>
        </p:txBody>
      </p:sp>
      <p:sp>
        <p:nvSpPr>
          <p:cNvPr id="7" name="Foliennummernplatzhalter 6">
            <a:extLst>
              <a:ext uri="{FF2B5EF4-FFF2-40B4-BE49-F238E27FC236}">
                <a16:creationId xmlns:a16="http://schemas.microsoft.com/office/drawing/2014/main" id="{3FF18CCE-78BF-4E21-93E0-6ED91C0B9130}"/>
              </a:ext>
            </a:extLst>
          </p:cNvPr>
          <p:cNvSpPr>
            <a:spLocks noGrp="1"/>
          </p:cNvSpPr>
          <p:nvPr>
            <p:ph type="sldNum" sz="quarter" idx="31"/>
          </p:nvPr>
        </p:nvSpPr>
        <p:spPr bwMode="gray">
          <a:xfrm>
            <a:off x="11504750" y="151200"/>
            <a:ext cx="280800" cy="180000"/>
          </a:xfrm>
          <a:prstGeom prst="rect">
            <a:avLst/>
          </a:prstGeom>
        </p:spPr>
        <p:txBody>
          <a:bodyPr/>
          <a:lstStyle/>
          <a:p>
            <a:fld id="{9C89B081-1F44-4440-BC7B-989C90F97B77}" type="slidenum">
              <a:rPr lang="de-DE"/>
              <a:pPr/>
              <a:t>‹Nr.›</a:t>
            </a:fld>
            <a:endParaRPr lang="de-DE"/>
          </a:p>
        </p:txBody>
      </p:sp>
    </p:spTree>
    <p:extLst>
      <p:ext uri="{BB962C8B-B14F-4D97-AF65-F5344CB8AC3E}">
        <p14:creationId xmlns:p14="http://schemas.microsoft.com/office/powerpoint/2010/main" val="1781454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80">
          <p15:clr>
            <a:srgbClr val="F26B43"/>
          </p15:clr>
        </p15:guide>
        <p15:guide id="2" pos="2730">
          <p15:clr>
            <a:srgbClr val="F26B43"/>
          </p15:clr>
        </p15:guide>
        <p15:guide id="3" pos="4952">
          <p15:clr>
            <a:srgbClr val="F26B43"/>
          </p15:clr>
        </p15:guide>
        <p15:guide id="4" pos="5202">
          <p15:clr>
            <a:srgbClr val="F26B43"/>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Dreispaltig mit Untertitel und Quelle">
    <p:spTree>
      <p:nvGrpSpPr>
        <p:cNvPr id="1" name=""/>
        <p:cNvGrpSpPr/>
        <p:nvPr/>
      </p:nvGrpSpPr>
      <p:grpSpPr>
        <a:xfrm>
          <a:off x="0" y="0"/>
          <a:ext cx="0" cy="0"/>
          <a:chOff x="0" y="0"/>
          <a:chExt cx="0" cy="0"/>
        </a:xfrm>
      </p:grpSpPr>
      <p:sp>
        <p:nvSpPr>
          <p:cNvPr id="14" name="Inhaltsplatzhalter 2"/>
          <p:cNvSpPr>
            <a:spLocks noGrp="1"/>
          </p:cNvSpPr>
          <p:nvPr>
            <p:ph sz="quarter" idx="26" hasCustomPrompt="1"/>
          </p:nvPr>
        </p:nvSpPr>
        <p:spPr bwMode="gray">
          <a:xfrm>
            <a:off x="409575" y="2060848"/>
            <a:ext cx="3527379" cy="4248151"/>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5" name="Inhaltsplatzhalter 2"/>
          <p:cNvSpPr>
            <a:spLocks noGrp="1"/>
          </p:cNvSpPr>
          <p:nvPr>
            <p:ph sz="quarter" idx="27" hasCustomPrompt="1"/>
          </p:nvPr>
        </p:nvSpPr>
        <p:spPr bwMode="gray">
          <a:xfrm>
            <a:off x="8258175" y="2060848"/>
            <a:ext cx="3527375" cy="4248151"/>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8" name="Inhaltsplatzhalter 2"/>
          <p:cNvSpPr>
            <a:spLocks noGrp="1"/>
          </p:cNvSpPr>
          <p:nvPr>
            <p:ph sz="quarter" idx="28" hasCustomPrompt="1"/>
          </p:nvPr>
        </p:nvSpPr>
        <p:spPr bwMode="gray">
          <a:xfrm>
            <a:off x="4333875" y="2060848"/>
            <a:ext cx="3527379" cy="4248151"/>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6" name="Textplatzhalter 11"/>
          <p:cNvSpPr>
            <a:spLocks noGrp="1"/>
          </p:cNvSpPr>
          <p:nvPr>
            <p:ph type="body" sz="quarter" idx="19" hasCustomPrompt="1"/>
          </p:nvPr>
        </p:nvSpPr>
        <p:spPr bwMode="gray">
          <a:xfrm>
            <a:off x="409575" y="1412776"/>
            <a:ext cx="3527379" cy="276999"/>
          </a:xfrm>
          <a:prstGeom prst="rect">
            <a:avLst/>
          </a:prstGeom>
        </p:spPr>
        <p:txBody>
          <a:bodyPr vert="horz" lIns="0" tIns="0" rIns="0" bIns="0" rtlCol="0">
            <a:noAutofit/>
          </a:bodyPr>
          <a:lstStyle>
            <a:lvl1pPr marL="0" indent="0">
              <a:lnSpc>
                <a:spcPct val="100000"/>
              </a:lnSpc>
              <a:spcBef>
                <a:spcPts val="0"/>
              </a:spcBef>
              <a:buNone/>
              <a:defRPr lang="de-DE" dirty="0">
                <a:solidFill>
                  <a:schemeClr val="accent2"/>
                </a:solidFill>
              </a:defRPr>
            </a:lvl1pPr>
          </a:lstStyle>
          <a:p>
            <a:pPr marL="0" lvl="0" indent="0">
              <a:lnSpc>
                <a:spcPct val="100000"/>
              </a:lnSpc>
              <a:spcBef>
                <a:spcPts val="0"/>
              </a:spcBef>
              <a:buNone/>
            </a:pPr>
            <a:r>
              <a:rPr lang="de-DE"/>
              <a:t>Untertitel 1</a:t>
            </a:r>
          </a:p>
        </p:txBody>
      </p:sp>
      <p:sp>
        <p:nvSpPr>
          <p:cNvPr id="17" name="Textplatzhalter 3"/>
          <p:cNvSpPr>
            <a:spLocks noGrp="1"/>
          </p:cNvSpPr>
          <p:nvPr>
            <p:ph type="body" sz="quarter" idx="21" hasCustomPrompt="1"/>
          </p:nvPr>
        </p:nvSpPr>
        <p:spPr bwMode="gray">
          <a:xfrm>
            <a:off x="409575" y="1700708"/>
            <a:ext cx="3527379" cy="215444"/>
          </a:xfrm>
          <a:prstGeom prst="rect">
            <a:avLst/>
          </a:prstGeom>
        </p:spPr>
        <p:txBody>
          <a:bodyPr vert="horz" lIns="0" tIns="0" rIns="0" bIns="0" rtlCol="0">
            <a:noAutofit/>
          </a:bodyPr>
          <a:lstStyle>
            <a:lvl1pPr>
              <a:spcBef>
                <a:spcPts val="0"/>
              </a:spcBef>
              <a:defRPr lang="de-DE" sz="1400" b="0" dirty="0"/>
            </a:lvl1pPr>
          </a:lstStyle>
          <a:p>
            <a:r>
              <a:rPr lang="de-DE" sz="1400" b="0"/>
              <a:t>Untertitel 2</a:t>
            </a:r>
            <a:endParaRPr lang="de-DE" b="0"/>
          </a:p>
        </p:txBody>
      </p:sp>
      <p:sp>
        <p:nvSpPr>
          <p:cNvPr id="20" name="Textplatzhalter 11"/>
          <p:cNvSpPr>
            <a:spLocks noGrp="1"/>
          </p:cNvSpPr>
          <p:nvPr>
            <p:ph type="body" sz="quarter" idx="31" hasCustomPrompt="1"/>
          </p:nvPr>
        </p:nvSpPr>
        <p:spPr bwMode="gray">
          <a:xfrm>
            <a:off x="4333875" y="1412776"/>
            <a:ext cx="3527379" cy="276999"/>
          </a:xfrm>
          <a:prstGeom prst="rect">
            <a:avLst/>
          </a:prstGeom>
        </p:spPr>
        <p:txBody>
          <a:bodyPr vert="horz" lIns="0" tIns="0" rIns="0" bIns="0" rtlCol="0">
            <a:noAutofit/>
          </a:bodyPr>
          <a:lstStyle>
            <a:lvl1pPr marL="0" indent="0">
              <a:lnSpc>
                <a:spcPct val="100000"/>
              </a:lnSpc>
              <a:spcBef>
                <a:spcPts val="0"/>
              </a:spcBef>
              <a:buNone/>
              <a:defRPr lang="de-DE" dirty="0">
                <a:solidFill>
                  <a:schemeClr val="accent2"/>
                </a:solidFill>
              </a:defRPr>
            </a:lvl1pPr>
          </a:lstStyle>
          <a:p>
            <a:pPr marL="0" lvl="0" indent="0">
              <a:lnSpc>
                <a:spcPct val="100000"/>
              </a:lnSpc>
              <a:spcBef>
                <a:spcPts val="0"/>
              </a:spcBef>
              <a:buNone/>
            </a:pPr>
            <a:r>
              <a:rPr lang="de-DE"/>
              <a:t>Untertitel 1</a:t>
            </a:r>
          </a:p>
        </p:txBody>
      </p:sp>
      <p:sp>
        <p:nvSpPr>
          <p:cNvPr id="21" name="Textplatzhalter 3"/>
          <p:cNvSpPr>
            <a:spLocks noGrp="1"/>
          </p:cNvSpPr>
          <p:nvPr>
            <p:ph type="body" sz="quarter" idx="32" hasCustomPrompt="1"/>
          </p:nvPr>
        </p:nvSpPr>
        <p:spPr bwMode="gray">
          <a:xfrm>
            <a:off x="4333875" y="1700708"/>
            <a:ext cx="3527379" cy="215444"/>
          </a:xfrm>
          <a:prstGeom prst="rect">
            <a:avLst/>
          </a:prstGeom>
        </p:spPr>
        <p:txBody>
          <a:bodyPr vert="horz" lIns="0" tIns="0" rIns="0" bIns="0" rtlCol="0">
            <a:noAutofit/>
          </a:bodyPr>
          <a:lstStyle>
            <a:lvl1pPr>
              <a:spcBef>
                <a:spcPts val="0"/>
              </a:spcBef>
              <a:defRPr lang="de-DE" sz="1400" b="0" dirty="0"/>
            </a:lvl1pPr>
          </a:lstStyle>
          <a:p>
            <a:r>
              <a:rPr lang="de-DE" sz="1400" b="0"/>
              <a:t>Untertitel 2</a:t>
            </a:r>
            <a:endParaRPr lang="de-DE" b="0"/>
          </a:p>
        </p:txBody>
      </p:sp>
      <p:sp>
        <p:nvSpPr>
          <p:cNvPr id="22" name="Textplatzhalter 11"/>
          <p:cNvSpPr>
            <a:spLocks noGrp="1"/>
          </p:cNvSpPr>
          <p:nvPr>
            <p:ph type="body" sz="quarter" idx="33" hasCustomPrompt="1"/>
          </p:nvPr>
        </p:nvSpPr>
        <p:spPr bwMode="gray">
          <a:xfrm>
            <a:off x="8258175" y="1412776"/>
            <a:ext cx="3527375" cy="276999"/>
          </a:xfrm>
          <a:prstGeom prst="rect">
            <a:avLst/>
          </a:prstGeom>
        </p:spPr>
        <p:txBody>
          <a:bodyPr vert="horz" lIns="0" tIns="0" rIns="0" bIns="0" rtlCol="0">
            <a:noAutofit/>
          </a:bodyPr>
          <a:lstStyle>
            <a:lvl1pPr marL="0" indent="0">
              <a:lnSpc>
                <a:spcPct val="100000"/>
              </a:lnSpc>
              <a:spcBef>
                <a:spcPts val="0"/>
              </a:spcBef>
              <a:buNone/>
              <a:defRPr lang="de-DE" dirty="0">
                <a:solidFill>
                  <a:schemeClr val="accent2"/>
                </a:solidFill>
              </a:defRPr>
            </a:lvl1pPr>
          </a:lstStyle>
          <a:p>
            <a:pPr marL="0" lvl="0" indent="0">
              <a:lnSpc>
                <a:spcPct val="100000"/>
              </a:lnSpc>
              <a:spcBef>
                <a:spcPts val="0"/>
              </a:spcBef>
              <a:buNone/>
            </a:pPr>
            <a:r>
              <a:rPr lang="de-DE"/>
              <a:t>Untertitel 1</a:t>
            </a:r>
          </a:p>
        </p:txBody>
      </p:sp>
      <p:sp>
        <p:nvSpPr>
          <p:cNvPr id="23" name="Textplatzhalter 3"/>
          <p:cNvSpPr>
            <a:spLocks noGrp="1"/>
          </p:cNvSpPr>
          <p:nvPr>
            <p:ph type="body" sz="quarter" idx="34" hasCustomPrompt="1"/>
          </p:nvPr>
        </p:nvSpPr>
        <p:spPr bwMode="gray">
          <a:xfrm>
            <a:off x="8258175" y="1700708"/>
            <a:ext cx="3527375" cy="215444"/>
          </a:xfrm>
          <a:prstGeom prst="rect">
            <a:avLst/>
          </a:prstGeom>
        </p:spPr>
        <p:txBody>
          <a:bodyPr vert="horz" lIns="0" tIns="0" rIns="0" bIns="0" rtlCol="0">
            <a:noAutofit/>
          </a:bodyPr>
          <a:lstStyle>
            <a:lvl1pPr>
              <a:spcBef>
                <a:spcPts val="0"/>
              </a:spcBef>
              <a:defRPr lang="de-DE" sz="1400" b="0" dirty="0"/>
            </a:lvl1pPr>
          </a:lstStyle>
          <a:p>
            <a:r>
              <a:rPr lang="de-DE" sz="1400" b="0"/>
              <a:t>Untertitel 2</a:t>
            </a:r>
            <a:endParaRPr lang="de-DE" b="0"/>
          </a:p>
        </p:txBody>
      </p:sp>
      <p:sp>
        <p:nvSpPr>
          <p:cNvPr id="11" name="Textplatzhalter 3"/>
          <p:cNvSpPr>
            <a:spLocks noGrp="1"/>
          </p:cNvSpPr>
          <p:nvPr>
            <p:ph type="body" sz="quarter" idx="25" hasCustomPrompt="1"/>
          </p:nvPr>
        </p:nvSpPr>
        <p:spPr bwMode="gray">
          <a:xfrm>
            <a:off x="409576" y="6001543"/>
            <a:ext cx="11375974"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a:t>Quelle:</a:t>
            </a:r>
          </a:p>
        </p:txBody>
      </p:sp>
      <p:sp>
        <p:nvSpPr>
          <p:cNvPr id="4" name="Titel 3">
            <a:extLst>
              <a:ext uri="{FF2B5EF4-FFF2-40B4-BE49-F238E27FC236}">
                <a16:creationId xmlns:a16="http://schemas.microsoft.com/office/drawing/2014/main" id="{EFF755ED-A961-4AB8-BBDA-1948B43FBB19}"/>
              </a:ext>
            </a:extLst>
          </p:cNvPr>
          <p:cNvSpPr>
            <a:spLocks noGrp="1"/>
          </p:cNvSpPr>
          <p:nvPr>
            <p:ph type="title" hasCustomPrompt="1"/>
          </p:nvPr>
        </p:nvSpPr>
        <p:spPr bwMode="gray"/>
        <p:txBody>
          <a:bodyPr/>
          <a:lstStyle/>
          <a:p>
            <a:r>
              <a:rPr lang="de-DE"/>
              <a:t>Titel durch Klicken bearbeiten</a:t>
            </a:r>
          </a:p>
        </p:txBody>
      </p:sp>
      <p:sp>
        <p:nvSpPr>
          <p:cNvPr id="2" name="Datumsplatzhalter 1">
            <a:extLst>
              <a:ext uri="{FF2B5EF4-FFF2-40B4-BE49-F238E27FC236}">
                <a16:creationId xmlns:a16="http://schemas.microsoft.com/office/drawing/2014/main" id="{FE964BE4-B4EF-4A95-8010-A1A2C84EFB2F}"/>
              </a:ext>
            </a:extLst>
          </p:cNvPr>
          <p:cNvSpPr>
            <a:spLocks noGrp="1"/>
          </p:cNvSpPr>
          <p:nvPr>
            <p:ph type="dt" sz="half" idx="35"/>
          </p:nvPr>
        </p:nvSpPr>
        <p:spPr bwMode="gray">
          <a:xfrm>
            <a:off x="10709631" y="151200"/>
            <a:ext cx="748800" cy="180000"/>
          </a:xfrm>
          <a:prstGeom prst="rect">
            <a:avLst/>
          </a:prstGeom>
        </p:spPr>
        <p:txBody>
          <a:bodyPr/>
          <a:lstStyle/>
          <a:p>
            <a:r>
              <a:rPr lang="de-DE"/>
              <a:t>Jan. 2023</a:t>
            </a:r>
          </a:p>
        </p:txBody>
      </p:sp>
      <p:sp>
        <p:nvSpPr>
          <p:cNvPr id="3" name="Fußzeilenplatzhalter 2">
            <a:extLst>
              <a:ext uri="{FF2B5EF4-FFF2-40B4-BE49-F238E27FC236}">
                <a16:creationId xmlns:a16="http://schemas.microsoft.com/office/drawing/2014/main" id="{DFE17E14-7C08-4315-870F-013D72D2017C}"/>
              </a:ext>
            </a:extLst>
          </p:cNvPr>
          <p:cNvSpPr>
            <a:spLocks noGrp="1"/>
          </p:cNvSpPr>
          <p:nvPr>
            <p:ph type="ftr" sz="quarter" idx="36"/>
          </p:nvPr>
        </p:nvSpPr>
        <p:spPr bwMode="gray">
          <a:xfrm>
            <a:off x="6313488" y="151200"/>
            <a:ext cx="4393761" cy="180000"/>
          </a:xfrm>
          <a:prstGeom prst="rect">
            <a:avLst/>
          </a:prstGeom>
        </p:spPr>
        <p:txBody>
          <a:bodyPr/>
          <a:lstStyle/>
          <a:p>
            <a:r>
              <a:rPr lang="de-DE"/>
              <a:t>UIP-EQ-CON  |  C0  |</a:t>
            </a:r>
          </a:p>
        </p:txBody>
      </p:sp>
      <p:sp>
        <p:nvSpPr>
          <p:cNvPr id="7" name="Foliennummernplatzhalter 6">
            <a:extLst>
              <a:ext uri="{FF2B5EF4-FFF2-40B4-BE49-F238E27FC236}">
                <a16:creationId xmlns:a16="http://schemas.microsoft.com/office/drawing/2014/main" id="{2297D823-4BEC-41E9-A01D-353176FC0484}"/>
              </a:ext>
            </a:extLst>
          </p:cNvPr>
          <p:cNvSpPr>
            <a:spLocks noGrp="1"/>
          </p:cNvSpPr>
          <p:nvPr>
            <p:ph type="sldNum" sz="quarter" idx="37"/>
          </p:nvPr>
        </p:nvSpPr>
        <p:spPr bwMode="gray">
          <a:xfrm>
            <a:off x="11504750" y="151200"/>
            <a:ext cx="280800" cy="180000"/>
          </a:xfrm>
          <a:prstGeom prst="rect">
            <a:avLst/>
          </a:prstGeom>
        </p:spPr>
        <p:txBody>
          <a:bodyPr/>
          <a:lstStyle/>
          <a:p>
            <a:fld id="{9C89B081-1F44-4440-BC7B-989C90F97B77}" type="slidenum">
              <a:rPr lang="de-DE"/>
              <a:pPr/>
              <a:t>‹Nr.›</a:t>
            </a:fld>
            <a:endParaRPr lang="de-DE"/>
          </a:p>
        </p:txBody>
      </p:sp>
    </p:spTree>
    <p:extLst>
      <p:ext uri="{BB962C8B-B14F-4D97-AF65-F5344CB8AC3E}">
        <p14:creationId xmlns:p14="http://schemas.microsoft.com/office/powerpoint/2010/main" val="1964790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480">
          <p15:clr>
            <a:srgbClr val="F26B43"/>
          </p15:clr>
        </p15:guide>
        <p15:guide id="3" pos="4952">
          <p15:clr>
            <a:srgbClr val="F26B43"/>
          </p15:clr>
        </p15:guide>
        <p15:guide id="4" pos="5202">
          <p15:clr>
            <a:srgbClr val="F26B43"/>
          </p15:clr>
        </p15:guide>
        <p15:guide id="5" orient="horz" pos="1298">
          <p15:clr>
            <a:srgbClr val="C35EA4"/>
          </p15:clr>
        </p15:guide>
        <p15:guide id="6" pos="2730">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Vierspaltig mit Quelle">
    <p:spTree>
      <p:nvGrpSpPr>
        <p:cNvPr id="1" name=""/>
        <p:cNvGrpSpPr/>
        <p:nvPr/>
      </p:nvGrpSpPr>
      <p:grpSpPr>
        <a:xfrm>
          <a:off x="0" y="0"/>
          <a:ext cx="0" cy="0"/>
          <a:chOff x="0" y="0"/>
          <a:chExt cx="0" cy="0"/>
        </a:xfrm>
      </p:grpSpPr>
      <p:sp>
        <p:nvSpPr>
          <p:cNvPr id="21" name="Inhaltsplatzhalter 2"/>
          <p:cNvSpPr>
            <a:spLocks noGrp="1"/>
          </p:cNvSpPr>
          <p:nvPr>
            <p:ph sz="quarter" idx="27" hasCustomPrompt="1"/>
          </p:nvPr>
        </p:nvSpPr>
        <p:spPr bwMode="gray">
          <a:xfrm>
            <a:off x="409576" y="1412874"/>
            <a:ext cx="2519362" cy="4896446"/>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22" name="Inhaltsplatzhalter 2"/>
          <p:cNvSpPr>
            <a:spLocks noGrp="1"/>
          </p:cNvSpPr>
          <p:nvPr>
            <p:ph sz="quarter" idx="28" hasCustomPrompt="1"/>
          </p:nvPr>
        </p:nvSpPr>
        <p:spPr bwMode="gray">
          <a:xfrm>
            <a:off x="3360738" y="1412874"/>
            <a:ext cx="2520950" cy="4896446"/>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23" name="Inhaltsplatzhalter 2"/>
          <p:cNvSpPr>
            <a:spLocks noGrp="1"/>
          </p:cNvSpPr>
          <p:nvPr>
            <p:ph sz="quarter" idx="29" hasCustomPrompt="1"/>
          </p:nvPr>
        </p:nvSpPr>
        <p:spPr bwMode="gray">
          <a:xfrm>
            <a:off x="6313488" y="1412874"/>
            <a:ext cx="2520951" cy="4896446"/>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24" name="Inhaltsplatzhalter 2"/>
          <p:cNvSpPr>
            <a:spLocks noGrp="1"/>
          </p:cNvSpPr>
          <p:nvPr>
            <p:ph sz="quarter" idx="30" hasCustomPrompt="1"/>
          </p:nvPr>
        </p:nvSpPr>
        <p:spPr bwMode="gray">
          <a:xfrm>
            <a:off x="9266238" y="1412874"/>
            <a:ext cx="2519981" cy="4896446"/>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1" name="Textplatzhalter 3"/>
          <p:cNvSpPr>
            <a:spLocks noGrp="1"/>
          </p:cNvSpPr>
          <p:nvPr>
            <p:ph type="body" sz="quarter" idx="25" hasCustomPrompt="1"/>
          </p:nvPr>
        </p:nvSpPr>
        <p:spPr bwMode="gray">
          <a:xfrm>
            <a:off x="409575" y="6001543"/>
            <a:ext cx="11375379"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a:t>Quelle:</a:t>
            </a:r>
          </a:p>
        </p:txBody>
      </p:sp>
      <p:sp>
        <p:nvSpPr>
          <p:cNvPr id="4" name="Titel 3">
            <a:extLst>
              <a:ext uri="{FF2B5EF4-FFF2-40B4-BE49-F238E27FC236}">
                <a16:creationId xmlns:a16="http://schemas.microsoft.com/office/drawing/2014/main" id="{46D73C63-4341-4690-BD8A-273D37E8DD06}"/>
              </a:ext>
            </a:extLst>
          </p:cNvPr>
          <p:cNvSpPr>
            <a:spLocks noGrp="1"/>
          </p:cNvSpPr>
          <p:nvPr>
            <p:ph type="title" hasCustomPrompt="1"/>
          </p:nvPr>
        </p:nvSpPr>
        <p:spPr bwMode="gray"/>
        <p:txBody>
          <a:bodyPr/>
          <a:lstStyle/>
          <a:p>
            <a:r>
              <a:rPr lang="de-DE"/>
              <a:t>Titel durch Klicken bearbeiten</a:t>
            </a:r>
          </a:p>
        </p:txBody>
      </p:sp>
      <p:sp>
        <p:nvSpPr>
          <p:cNvPr id="2" name="Datumsplatzhalter 1">
            <a:extLst>
              <a:ext uri="{FF2B5EF4-FFF2-40B4-BE49-F238E27FC236}">
                <a16:creationId xmlns:a16="http://schemas.microsoft.com/office/drawing/2014/main" id="{3A3DEEEA-F19F-4C71-AA1F-5F25917455A4}"/>
              </a:ext>
            </a:extLst>
          </p:cNvPr>
          <p:cNvSpPr>
            <a:spLocks noGrp="1"/>
          </p:cNvSpPr>
          <p:nvPr>
            <p:ph type="dt" sz="half" idx="31"/>
          </p:nvPr>
        </p:nvSpPr>
        <p:spPr bwMode="gray">
          <a:xfrm>
            <a:off x="10709631" y="151200"/>
            <a:ext cx="748800" cy="180000"/>
          </a:xfrm>
          <a:prstGeom prst="rect">
            <a:avLst/>
          </a:prstGeom>
        </p:spPr>
        <p:txBody>
          <a:bodyPr/>
          <a:lstStyle/>
          <a:p>
            <a:r>
              <a:rPr lang="de-DE"/>
              <a:t>Jan. 2023</a:t>
            </a:r>
          </a:p>
        </p:txBody>
      </p:sp>
      <p:sp>
        <p:nvSpPr>
          <p:cNvPr id="3" name="Fußzeilenplatzhalter 2">
            <a:extLst>
              <a:ext uri="{FF2B5EF4-FFF2-40B4-BE49-F238E27FC236}">
                <a16:creationId xmlns:a16="http://schemas.microsoft.com/office/drawing/2014/main" id="{3045F34B-6618-449D-A8FE-B88511BF55E0}"/>
              </a:ext>
            </a:extLst>
          </p:cNvPr>
          <p:cNvSpPr>
            <a:spLocks noGrp="1"/>
          </p:cNvSpPr>
          <p:nvPr>
            <p:ph type="ftr" sz="quarter" idx="32"/>
          </p:nvPr>
        </p:nvSpPr>
        <p:spPr bwMode="gray">
          <a:xfrm>
            <a:off x="6313488" y="151200"/>
            <a:ext cx="4393761" cy="180000"/>
          </a:xfrm>
          <a:prstGeom prst="rect">
            <a:avLst/>
          </a:prstGeom>
        </p:spPr>
        <p:txBody>
          <a:bodyPr/>
          <a:lstStyle/>
          <a:p>
            <a:r>
              <a:rPr lang="de-DE"/>
              <a:t>UIP-EQ-CON  |  C0  |</a:t>
            </a:r>
          </a:p>
        </p:txBody>
      </p:sp>
      <p:sp>
        <p:nvSpPr>
          <p:cNvPr id="7" name="Foliennummernplatzhalter 6">
            <a:extLst>
              <a:ext uri="{FF2B5EF4-FFF2-40B4-BE49-F238E27FC236}">
                <a16:creationId xmlns:a16="http://schemas.microsoft.com/office/drawing/2014/main" id="{0682081D-6BAC-4259-A25C-0CB149D9F31B}"/>
              </a:ext>
            </a:extLst>
          </p:cNvPr>
          <p:cNvSpPr>
            <a:spLocks noGrp="1"/>
          </p:cNvSpPr>
          <p:nvPr>
            <p:ph type="sldNum" sz="quarter" idx="33"/>
          </p:nvPr>
        </p:nvSpPr>
        <p:spPr bwMode="gray">
          <a:xfrm>
            <a:off x="11504750" y="151200"/>
            <a:ext cx="280800" cy="180000"/>
          </a:xfrm>
          <a:prstGeom prst="rect">
            <a:avLst/>
          </a:prstGeom>
        </p:spPr>
        <p:txBody>
          <a:bodyPr/>
          <a:lstStyle/>
          <a:p>
            <a:fld id="{9C89B081-1F44-4440-BC7B-989C90F97B77}" type="slidenum">
              <a:rPr lang="de-DE"/>
              <a:pPr/>
              <a:t>‹Nr.›</a:t>
            </a:fld>
            <a:endParaRPr lang="de-DE"/>
          </a:p>
        </p:txBody>
      </p:sp>
    </p:spTree>
    <p:extLst>
      <p:ext uri="{BB962C8B-B14F-4D97-AF65-F5344CB8AC3E}">
        <p14:creationId xmlns:p14="http://schemas.microsoft.com/office/powerpoint/2010/main" val="571400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845">
          <p15:clr>
            <a:srgbClr val="F26B43"/>
          </p15:clr>
        </p15:guide>
        <p15:guide id="2" pos="2117">
          <p15:clr>
            <a:srgbClr val="F26B43"/>
          </p15:clr>
        </p15:guide>
        <p15:guide id="3" pos="3705">
          <p15:clr>
            <a:srgbClr val="F26B43"/>
          </p15:clr>
        </p15:guide>
        <p15:guide id="4" pos="3977">
          <p15:clr>
            <a:srgbClr val="F26B43"/>
          </p15:clr>
        </p15:guide>
        <p15:guide id="5" pos="5565">
          <p15:clr>
            <a:srgbClr val="F26B43"/>
          </p15:clr>
        </p15:guide>
        <p15:guide id="6" pos="5837">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Einspaltig mit Bild 01">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EEBE60E-DB8D-49DD-AD9C-2421D3EC2228}"/>
              </a:ext>
            </a:extLst>
          </p:cNvPr>
          <p:cNvSpPr>
            <a:spLocks noGrp="1"/>
          </p:cNvSpPr>
          <p:nvPr>
            <p:ph type="title" hasCustomPrompt="1"/>
          </p:nvPr>
        </p:nvSpPr>
        <p:spPr bwMode="gray"/>
        <p:txBody>
          <a:bodyPr/>
          <a:lstStyle/>
          <a:p>
            <a:r>
              <a:rPr lang="de-DE"/>
              <a:t>Titel durch Klicken bearbeiten</a:t>
            </a:r>
          </a:p>
        </p:txBody>
      </p:sp>
      <p:sp>
        <p:nvSpPr>
          <p:cNvPr id="16" name="Inhaltsplatzhalter 2"/>
          <p:cNvSpPr>
            <a:spLocks noGrp="1"/>
          </p:cNvSpPr>
          <p:nvPr>
            <p:ph sz="quarter" idx="24" hasCustomPrompt="1"/>
          </p:nvPr>
        </p:nvSpPr>
        <p:spPr bwMode="gray">
          <a:xfrm>
            <a:off x="409575" y="1412776"/>
            <a:ext cx="5471491" cy="4896445"/>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4" name="Bildplatzhalter 13">
            <a:extLst>
              <a:ext uri="{FF2B5EF4-FFF2-40B4-BE49-F238E27FC236}">
                <a16:creationId xmlns:a16="http://schemas.microsoft.com/office/drawing/2014/main" id="{EB12C414-E7AF-455D-922A-9CBEC695DDA8}"/>
              </a:ext>
            </a:extLst>
          </p:cNvPr>
          <p:cNvSpPr>
            <a:spLocks noGrp="1" noChangeAspect="1"/>
          </p:cNvSpPr>
          <p:nvPr>
            <p:ph type="pic" sz="quarter" idx="27" hasCustomPrompt="1"/>
          </p:nvPr>
        </p:nvSpPr>
        <p:spPr bwMode="gray">
          <a:xfrm>
            <a:off x="6313611" y="407400"/>
            <a:ext cx="5473336" cy="5903281"/>
          </a:xfrm>
          <a:custGeom>
            <a:avLst/>
            <a:gdLst>
              <a:gd name="connsiteX0" fmla="*/ 4676664 w 5473336"/>
              <a:gd name="connsiteY0" fmla="*/ 1449 h 5903281"/>
              <a:gd name="connsiteX1" fmla="*/ 5473336 w 5473336"/>
              <a:gd name="connsiteY1" fmla="*/ 743339 h 5903281"/>
              <a:gd name="connsiteX2" fmla="*/ 5473336 w 5473336"/>
              <a:gd name="connsiteY2" fmla="*/ 2096552 h 5903281"/>
              <a:gd name="connsiteX3" fmla="*/ 5473336 w 5473336"/>
              <a:gd name="connsiteY3" fmla="*/ 3806731 h 5903281"/>
              <a:gd name="connsiteX4" fmla="*/ 5473336 w 5473336"/>
              <a:gd name="connsiteY4" fmla="*/ 4993882 h 5903281"/>
              <a:gd name="connsiteX5" fmla="*/ 966865 w 5473336"/>
              <a:gd name="connsiteY5" fmla="*/ 5882515 h 5903281"/>
              <a:gd name="connsiteX6" fmla="*/ 0 w 5473336"/>
              <a:gd name="connsiteY6" fmla="*/ 5159944 h 5903281"/>
              <a:gd name="connsiteX7" fmla="*/ 0 w 5473336"/>
              <a:gd name="connsiteY7" fmla="*/ 3806731 h 5903281"/>
              <a:gd name="connsiteX8" fmla="*/ 0 w 5473336"/>
              <a:gd name="connsiteY8" fmla="*/ 2096552 h 5903281"/>
              <a:gd name="connsiteX9" fmla="*/ 0 w 5473336"/>
              <a:gd name="connsiteY9" fmla="*/ 909401 h 5903281"/>
              <a:gd name="connsiteX10" fmla="*/ 4506471 w 5473336"/>
              <a:gd name="connsiteY10" fmla="*/ 20768 h 5903281"/>
              <a:gd name="connsiteX11" fmla="*/ 4676664 w 5473336"/>
              <a:gd name="connsiteY11" fmla="*/ 1449 h 5903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73336" h="5903281">
                <a:moveTo>
                  <a:pt x="4676664" y="1449"/>
                </a:moveTo>
                <a:cubicBezTo>
                  <a:pt x="5473336" y="-38045"/>
                  <a:pt x="5473336" y="743339"/>
                  <a:pt x="5473336" y="743339"/>
                </a:cubicBezTo>
                <a:lnTo>
                  <a:pt x="5473336" y="2096552"/>
                </a:lnTo>
                <a:lnTo>
                  <a:pt x="5473336" y="3806731"/>
                </a:lnTo>
                <a:lnTo>
                  <a:pt x="5473336" y="4993882"/>
                </a:lnTo>
                <a:lnTo>
                  <a:pt x="966865" y="5882515"/>
                </a:lnTo>
                <a:cubicBezTo>
                  <a:pt x="0" y="6048985"/>
                  <a:pt x="0" y="5159944"/>
                  <a:pt x="0" y="5159944"/>
                </a:cubicBezTo>
                <a:lnTo>
                  <a:pt x="0" y="3806731"/>
                </a:lnTo>
                <a:lnTo>
                  <a:pt x="0" y="2096552"/>
                </a:lnTo>
                <a:lnTo>
                  <a:pt x="0" y="909401"/>
                </a:lnTo>
                <a:lnTo>
                  <a:pt x="4506471" y="20768"/>
                </a:lnTo>
                <a:cubicBezTo>
                  <a:pt x="4566900" y="10364"/>
                  <a:pt x="4623552" y="4082"/>
                  <a:pt x="4676664" y="1449"/>
                </a:cubicBezTo>
                <a:close/>
              </a:path>
            </a:pathLst>
          </a:custGeom>
          <a:pattFill prst="pct20">
            <a:fgClr>
              <a:schemeClr val="accent3"/>
            </a:fgClr>
            <a:bgClr>
              <a:schemeClr val="bg1"/>
            </a:bgClr>
          </a:pattFill>
        </p:spPr>
        <p:txBody>
          <a:bodyPr vert="horz" wrap="square" lIns="72000" tIns="72000" rIns="72000" bIns="72000" rtlCol="0" anchor="ct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1600" baseline="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600"/>
              <a:t>Um ein Hintergrundbild einzufügen, markieren Sie bitte den </a:t>
            </a:r>
            <a:br>
              <a:rPr lang="de-DE" sz="1600"/>
            </a:br>
            <a:r>
              <a:rPr lang="de-DE" sz="1600"/>
              <a:t>Platzhalter und wählen entweder ein Bild aus der </a:t>
            </a:r>
            <a:r>
              <a:rPr lang="de-DE" sz="1600" err="1"/>
              <a:t>empower</a:t>
            </a:r>
            <a:r>
              <a:rPr lang="de-DE" sz="1600"/>
              <a:t> </a:t>
            </a:r>
            <a:br>
              <a:rPr lang="de-DE" sz="1600"/>
            </a:br>
            <a:r>
              <a:rPr lang="de-DE" sz="1600"/>
              <a:t>Bibliothek oder über den Reiter „Einfügen“, „Bilder“ aus. </a:t>
            </a:r>
          </a:p>
        </p:txBody>
      </p:sp>
      <p:sp>
        <p:nvSpPr>
          <p:cNvPr id="15" name="Textplatzhalter 3"/>
          <p:cNvSpPr>
            <a:spLocks noGrp="1"/>
          </p:cNvSpPr>
          <p:nvPr>
            <p:ph type="body" sz="quarter" idx="23" hasCustomPrompt="1"/>
          </p:nvPr>
        </p:nvSpPr>
        <p:spPr bwMode="gray">
          <a:xfrm>
            <a:off x="409575" y="6001543"/>
            <a:ext cx="5472112"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a:t>Quelle:</a:t>
            </a:r>
          </a:p>
        </p:txBody>
      </p:sp>
      <p:sp>
        <p:nvSpPr>
          <p:cNvPr id="2" name="Datumsplatzhalter 1">
            <a:extLst>
              <a:ext uri="{FF2B5EF4-FFF2-40B4-BE49-F238E27FC236}">
                <a16:creationId xmlns:a16="http://schemas.microsoft.com/office/drawing/2014/main" id="{C5205EA1-1639-4F30-AF68-7B22600A88EF}"/>
              </a:ext>
            </a:extLst>
          </p:cNvPr>
          <p:cNvSpPr>
            <a:spLocks noGrp="1"/>
          </p:cNvSpPr>
          <p:nvPr>
            <p:ph type="dt" sz="half" idx="28"/>
          </p:nvPr>
        </p:nvSpPr>
        <p:spPr bwMode="gray">
          <a:xfrm>
            <a:off x="10709631" y="151200"/>
            <a:ext cx="748800" cy="180000"/>
          </a:xfrm>
          <a:prstGeom prst="rect">
            <a:avLst/>
          </a:prstGeom>
        </p:spPr>
        <p:txBody>
          <a:bodyPr/>
          <a:lstStyle/>
          <a:p>
            <a:r>
              <a:rPr lang="de-DE"/>
              <a:t>Jan. 2023</a:t>
            </a:r>
          </a:p>
        </p:txBody>
      </p:sp>
      <p:sp>
        <p:nvSpPr>
          <p:cNvPr id="3" name="Fußzeilenplatzhalter 2">
            <a:extLst>
              <a:ext uri="{FF2B5EF4-FFF2-40B4-BE49-F238E27FC236}">
                <a16:creationId xmlns:a16="http://schemas.microsoft.com/office/drawing/2014/main" id="{B26FFBD5-254C-4569-AEC0-62518BE0B146}"/>
              </a:ext>
            </a:extLst>
          </p:cNvPr>
          <p:cNvSpPr>
            <a:spLocks noGrp="1"/>
          </p:cNvSpPr>
          <p:nvPr>
            <p:ph type="ftr" sz="quarter" idx="29"/>
          </p:nvPr>
        </p:nvSpPr>
        <p:spPr bwMode="gray">
          <a:xfrm>
            <a:off x="6313488" y="151200"/>
            <a:ext cx="4393761" cy="180000"/>
          </a:xfrm>
          <a:prstGeom prst="rect">
            <a:avLst/>
          </a:prstGeom>
        </p:spPr>
        <p:txBody>
          <a:bodyPr/>
          <a:lstStyle/>
          <a:p>
            <a:r>
              <a:rPr lang="de-DE"/>
              <a:t>UIP-EQ-CON  |  C0  |</a:t>
            </a:r>
          </a:p>
        </p:txBody>
      </p:sp>
      <p:sp>
        <p:nvSpPr>
          <p:cNvPr id="7" name="Foliennummernplatzhalter 6">
            <a:extLst>
              <a:ext uri="{FF2B5EF4-FFF2-40B4-BE49-F238E27FC236}">
                <a16:creationId xmlns:a16="http://schemas.microsoft.com/office/drawing/2014/main" id="{891DA30A-614F-471D-ADA9-5B8FA487254A}"/>
              </a:ext>
            </a:extLst>
          </p:cNvPr>
          <p:cNvSpPr>
            <a:spLocks noGrp="1"/>
          </p:cNvSpPr>
          <p:nvPr>
            <p:ph type="sldNum" sz="quarter" idx="30"/>
          </p:nvPr>
        </p:nvSpPr>
        <p:spPr bwMode="gray">
          <a:xfrm>
            <a:off x="11504750" y="151200"/>
            <a:ext cx="280800" cy="180000"/>
          </a:xfrm>
          <a:prstGeom prst="rect">
            <a:avLst/>
          </a:prstGeom>
        </p:spPr>
        <p:txBody>
          <a:bodyPr/>
          <a:lstStyle/>
          <a:p>
            <a:fld id="{9C89B081-1F44-4440-BC7B-989C90F97B77}" type="slidenum">
              <a:rPr lang="de-DE"/>
              <a:pPr/>
              <a:t>‹Nr.›</a:t>
            </a:fld>
            <a:endParaRPr lang="de-DE"/>
          </a:p>
        </p:txBody>
      </p:sp>
    </p:spTree>
    <p:extLst>
      <p:ext uri="{BB962C8B-B14F-4D97-AF65-F5344CB8AC3E}">
        <p14:creationId xmlns:p14="http://schemas.microsoft.com/office/powerpoint/2010/main" val="3988940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57">
          <p15:clr>
            <a:srgbClr val="F26B43"/>
          </p15:clr>
        </p15:guide>
        <p15:guide id="3" orient="horz" pos="255">
          <p15:clr>
            <a:srgbClr val="F26B43"/>
          </p15:clr>
        </p15:guide>
        <p15:guide id="6" orient="horz" pos="890">
          <p15:clr>
            <a:srgbClr val="F26B43"/>
          </p15:clr>
        </p15:guide>
        <p15:guide id="9" pos="3977">
          <p15:clr>
            <a:srgbClr val="F26B43"/>
          </p15:clr>
        </p15:guide>
        <p15:guide id="10" pos="3705">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Einspaltig mit Bild 02">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850631F5-C5A4-4332-ADBE-F5BC82829315}"/>
              </a:ext>
            </a:extLst>
          </p:cNvPr>
          <p:cNvSpPr>
            <a:spLocks noGrp="1" noChangeAspect="1"/>
          </p:cNvSpPr>
          <p:nvPr>
            <p:ph type="pic" sz="quarter" idx="27" hasCustomPrompt="1"/>
          </p:nvPr>
        </p:nvSpPr>
        <p:spPr bwMode="gray">
          <a:xfrm>
            <a:off x="6103895" y="-1"/>
            <a:ext cx="6091280" cy="6310680"/>
          </a:xfrm>
          <a:custGeom>
            <a:avLst/>
            <a:gdLst>
              <a:gd name="connsiteX0" fmla="*/ 0 w 6091280"/>
              <a:gd name="connsiteY0" fmla="*/ 0 h 6310680"/>
              <a:gd name="connsiteX1" fmla="*/ 6091280 w 6091280"/>
              <a:gd name="connsiteY1" fmla="*/ 0 h 6310680"/>
              <a:gd name="connsiteX2" fmla="*/ 6091280 w 6091280"/>
              <a:gd name="connsiteY2" fmla="*/ 5279428 h 6310680"/>
              <a:gd name="connsiteX3" fmla="*/ 966865 w 6091280"/>
              <a:gd name="connsiteY3" fmla="*/ 6289914 h 6310680"/>
              <a:gd name="connsiteX4" fmla="*/ 0 w 6091280"/>
              <a:gd name="connsiteY4" fmla="*/ 5567343 h 6310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1280" h="6310680">
                <a:moveTo>
                  <a:pt x="0" y="0"/>
                </a:moveTo>
                <a:lnTo>
                  <a:pt x="6091280" y="0"/>
                </a:lnTo>
                <a:lnTo>
                  <a:pt x="6091280" y="5279428"/>
                </a:lnTo>
                <a:lnTo>
                  <a:pt x="966865" y="6289914"/>
                </a:lnTo>
                <a:cubicBezTo>
                  <a:pt x="0" y="6456384"/>
                  <a:pt x="0" y="5567343"/>
                  <a:pt x="0" y="5567343"/>
                </a:cubicBezTo>
                <a:close/>
              </a:path>
            </a:pathLst>
          </a:custGeom>
          <a:pattFill prst="pct20">
            <a:fgClr>
              <a:schemeClr val="accent3"/>
            </a:fgClr>
            <a:bgClr>
              <a:schemeClr val="bg1"/>
            </a:bgClr>
          </a:pattFill>
        </p:spPr>
        <p:txBody>
          <a:bodyPr vert="horz" wrap="square" lIns="72000" tIns="72000" rIns="72000" bIns="72000" rtlCol="0" anchor="t">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1600" baseline="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600"/>
              <a:t>Um ein Hintergrundbild einzufügen, markieren Sie bitte den </a:t>
            </a:r>
            <a:br>
              <a:rPr lang="de-DE" sz="1600"/>
            </a:br>
            <a:r>
              <a:rPr lang="de-DE" sz="1600"/>
              <a:t>Platzhalter und wählen entweder ein Bild aus der </a:t>
            </a:r>
            <a:r>
              <a:rPr lang="de-DE" sz="1600" err="1"/>
              <a:t>empower</a:t>
            </a:r>
            <a:r>
              <a:rPr lang="de-DE" sz="1600"/>
              <a:t> </a:t>
            </a:r>
            <a:br>
              <a:rPr lang="de-DE" sz="1600"/>
            </a:br>
            <a:r>
              <a:rPr lang="de-DE" sz="1600"/>
              <a:t>Bibliothek oder über den Reiter „Einfügen“, „Bilder“ aus. </a:t>
            </a:r>
          </a:p>
        </p:txBody>
      </p:sp>
      <p:sp>
        <p:nvSpPr>
          <p:cNvPr id="16" name="Inhaltsplatzhalter 2"/>
          <p:cNvSpPr>
            <a:spLocks noGrp="1"/>
          </p:cNvSpPr>
          <p:nvPr>
            <p:ph sz="quarter" idx="24" hasCustomPrompt="1"/>
          </p:nvPr>
        </p:nvSpPr>
        <p:spPr bwMode="gray">
          <a:xfrm>
            <a:off x="409575" y="1412776"/>
            <a:ext cx="5472113" cy="4896445"/>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5" name="Textplatzhalter 3"/>
          <p:cNvSpPr>
            <a:spLocks noGrp="1"/>
          </p:cNvSpPr>
          <p:nvPr>
            <p:ph type="body" sz="quarter" idx="23" hasCustomPrompt="1"/>
          </p:nvPr>
        </p:nvSpPr>
        <p:spPr bwMode="gray">
          <a:xfrm>
            <a:off x="409576" y="6001543"/>
            <a:ext cx="5472112"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a:t>Quelle:</a:t>
            </a:r>
          </a:p>
        </p:txBody>
      </p:sp>
      <p:sp>
        <p:nvSpPr>
          <p:cNvPr id="4" name="Titel 3">
            <a:extLst>
              <a:ext uri="{FF2B5EF4-FFF2-40B4-BE49-F238E27FC236}">
                <a16:creationId xmlns:a16="http://schemas.microsoft.com/office/drawing/2014/main" id="{459DFFE7-845B-4F17-9659-3E651A67BF87}"/>
              </a:ext>
            </a:extLst>
          </p:cNvPr>
          <p:cNvSpPr>
            <a:spLocks noGrp="1"/>
          </p:cNvSpPr>
          <p:nvPr>
            <p:ph type="title" hasCustomPrompt="1"/>
          </p:nvPr>
        </p:nvSpPr>
        <p:spPr bwMode="gray">
          <a:xfrm>
            <a:off x="409575" y="404664"/>
            <a:ext cx="5472113" cy="720000"/>
          </a:xfrm>
        </p:spPr>
        <p:txBody>
          <a:bodyPr/>
          <a:lstStyle/>
          <a:p>
            <a:r>
              <a:rPr lang="de-DE"/>
              <a:t>Titel durch Klicken bearbeiten</a:t>
            </a:r>
          </a:p>
        </p:txBody>
      </p:sp>
      <p:sp>
        <p:nvSpPr>
          <p:cNvPr id="6" name="Textfeld 5">
            <a:extLst>
              <a:ext uri="{FF2B5EF4-FFF2-40B4-BE49-F238E27FC236}">
                <a16:creationId xmlns:a16="http://schemas.microsoft.com/office/drawing/2014/main" id="{E359EBD7-A581-4999-A836-29FDB72FBDC2}"/>
              </a:ext>
            </a:extLst>
          </p:cNvPr>
          <p:cNvSpPr txBox="1"/>
          <p:nvPr userDrawn="1"/>
        </p:nvSpPr>
        <p:spPr bwMode="gray">
          <a:xfrm>
            <a:off x="409575" y="6516000"/>
            <a:ext cx="11376000" cy="144000"/>
          </a:xfrm>
          <a:prstGeom prst="rect">
            <a:avLst/>
          </a:prstGeom>
          <a:noFill/>
        </p:spPr>
        <p:txBody>
          <a:bodyPr wrap="square" lIns="0" tIns="0" rIns="0" bIns="0" rtlCol="0" anchor="t">
            <a:noAutofit/>
          </a:bodyPr>
          <a:lstStyle/>
          <a:p>
            <a:pPr marL="0" marR="0" lvl="0" indent="0" defTabSz="914400" eaLnBrk="1" fontAlgn="auto" latinLnBrk="0" hangingPunct="1">
              <a:lnSpc>
                <a:spcPct val="100000"/>
              </a:lnSpc>
              <a:spcBef>
                <a:spcPts val="0"/>
              </a:spcBef>
              <a:spcAft>
                <a:spcPts val="0"/>
              </a:spcAft>
              <a:buClr>
                <a:srgbClr val="003F74"/>
              </a:buClr>
              <a:buSzTx/>
              <a:buFontTx/>
              <a:buNone/>
              <a:tabLst/>
              <a:defRPr/>
            </a:pPr>
            <a:r>
              <a:rPr kumimoji="0" lang="de-DE" sz="1000" b="0" i="0" u="none" strike="noStrike" kern="0" cap="none" spc="0" normalizeH="0" baseline="0" noProof="0">
                <a:ln>
                  <a:noFill/>
                </a:ln>
                <a:solidFill>
                  <a:schemeClr val="tx2"/>
                </a:solidFill>
                <a:effectLst/>
                <a:uLnTx/>
                <a:uFillTx/>
              </a:rPr>
              <a:t>Union Investment  </a:t>
            </a:r>
            <a:r>
              <a:rPr kumimoji="0" lang="de-DE" sz="1000" b="0" i="0" u="none" strike="noStrike" kern="0" cap="none" spc="0" normalizeH="0" baseline="0" noProof="0">
                <a:ln>
                  <a:noFill/>
                </a:ln>
                <a:solidFill>
                  <a:srgbClr val="888888"/>
                </a:solidFill>
                <a:effectLst/>
                <a:uLnTx/>
                <a:uFillTx/>
              </a:rPr>
              <a:t>|  Genossenschaftliche FinanzGruppe Volksbanken Raiffeisenbanken</a:t>
            </a:r>
          </a:p>
        </p:txBody>
      </p:sp>
    </p:spTree>
    <p:extLst>
      <p:ext uri="{BB962C8B-B14F-4D97-AF65-F5344CB8AC3E}">
        <p14:creationId xmlns:p14="http://schemas.microsoft.com/office/powerpoint/2010/main" val="4203816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57">
          <p15:clr>
            <a:srgbClr val="F26B43"/>
          </p15:clr>
        </p15:guide>
        <p15:guide id="3" orient="horz" pos="255">
          <p15:clr>
            <a:srgbClr val="F26B43"/>
          </p15:clr>
        </p15:guide>
        <p15:guide id="6" orient="horz" pos="890">
          <p15:clr>
            <a:srgbClr val="F26B43"/>
          </p15:clr>
        </p15:guide>
        <p15:guide id="9" pos="3977">
          <p15:clr>
            <a:srgbClr val="F26B43"/>
          </p15:clr>
        </p15:guide>
        <p15:guide id="10" pos="3705">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Zweispaltig mit Markenform rechts 01">
    <p:spTree>
      <p:nvGrpSpPr>
        <p:cNvPr id="1" name=""/>
        <p:cNvGrpSpPr/>
        <p:nvPr/>
      </p:nvGrpSpPr>
      <p:grpSpPr>
        <a:xfrm>
          <a:off x="0" y="0"/>
          <a:ext cx="0" cy="0"/>
          <a:chOff x="0" y="0"/>
          <a:chExt cx="0" cy="0"/>
        </a:xfrm>
      </p:grpSpPr>
      <p:sp>
        <p:nvSpPr>
          <p:cNvPr id="14" name="Textplatzhalter 13">
            <a:extLst>
              <a:ext uri="{FF2B5EF4-FFF2-40B4-BE49-F238E27FC236}">
                <a16:creationId xmlns:a16="http://schemas.microsoft.com/office/drawing/2014/main" id="{CC732F23-55C0-48E6-AC0A-1EA089022695}"/>
              </a:ext>
            </a:extLst>
          </p:cNvPr>
          <p:cNvSpPr>
            <a:spLocks noGrp="1" noChangeAspect="1"/>
          </p:cNvSpPr>
          <p:nvPr>
            <p:ph type="body" sz="quarter" idx="28" hasCustomPrompt="1"/>
          </p:nvPr>
        </p:nvSpPr>
        <p:spPr bwMode="gray">
          <a:xfrm>
            <a:off x="6103895" y="-1"/>
            <a:ext cx="6091280" cy="6310680"/>
          </a:xfrm>
          <a:custGeom>
            <a:avLst/>
            <a:gdLst>
              <a:gd name="connsiteX0" fmla="*/ 0 w 6091280"/>
              <a:gd name="connsiteY0" fmla="*/ 0 h 6310680"/>
              <a:gd name="connsiteX1" fmla="*/ 6091280 w 6091280"/>
              <a:gd name="connsiteY1" fmla="*/ 0 h 6310680"/>
              <a:gd name="connsiteX2" fmla="*/ 6091280 w 6091280"/>
              <a:gd name="connsiteY2" fmla="*/ 5279428 h 6310680"/>
              <a:gd name="connsiteX3" fmla="*/ 966865 w 6091280"/>
              <a:gd name="connsiteY3" fmla="*/ 6289914 h 6310680"/>
              <a:gd name="connsiteX4" fmla="*/ 0 w 6091280"/>
              <a:gd name="connsiteY4" fmla="*/ 5567343 h 6310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1280" h="6310680">
                <a:moveTo>
                  <a:pt x="0" y="0"/>
                </a:moveTo>
                <a:lnTo>
                  <a:pt x="6091280" y="0"/>
                </a:lnTo>
                <a:lnTo>
                  <a:pt x="6091280" y="5279428"/>
                </a:lnTo>
                <a:lnTo>
                  <a:pt x="966865" y="6289914"/>
                </a:lnTo>
                <a:cubicBezTo>
                  <a:pt x="0" y="6456384"/>
                  <a:pt x="0" y="5567343"/>
                  <a:pt x="0" y="5567343"/>
                </a:cubicBezTo>
                <a:close/>
              </a:path>
            </a:pathLst>
          </a:custGeom>
          <a:solidFill>
            <a:schemeClr val="tx2"/>
          </a:solidFill>
        </p:spPr>
        <p:txBody>
          <a:bodyPr wrap="square" lIns="568800" tIns="1411200" rIns="39600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6" name="Inhaltsplatzhalter 2"/>
          <p:cNvSpPr>
            <a:spLocks noGrp="1"/>
          </p:cNvSpPr>
          <p:nvPr>
            <p:ph sz="quarter" idx="24" hasCustomPrompt="1"/>
          </p:nvPr>
        </p:nvSpPr>
        <p:spPr bwMode="gray">
          <a:xfrm>
            <a:off x="409575" y="1412776"/>
            <a:ext cx="5472113" cy="4896445"/>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5" name="Textplatzhalter 3"/>
          <p:cNvSpPr>
            <a:spLocks noGrp="1"/>
          </p:cNvSpPr>
          <p:nvPr>
            <p:ph type="body" sz="quarter" idx="23" hasCustomPrompt="1"/>
          </p:nvPr>
        </p:nvSpPr>
        <p:spPr bwMode="gray">
          <a:xfrm>
            <a:off x="409575" y="6001543"/>
            <a:ext cx="5472112"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a:t>Quelle:</a:t>
            </a:r>
          </a:p>
        </p:txBody>
      </p:sp>
      <p:sp>
        <p:nvSpPr>
          <p:cNvPr id="4" name="Titel 3">
            <a:extLst>
              <a:ext uri="{FF2B5EF4-FFF2-40B4-BE49-F238E27FC236}">
                <a16:creationId xmlns:a16="http://schemas.microsoft.com/office/drawing/2014/main" id="{EF550B05-BBDA-4484-9C99-1A5177950AB4}"/>
              </a:ext>
            </a:extLst>
          </p:cNvPr>
          <p:cNvSpPr>
            <a:spLocks noGrp="1"/>
          </p:cNvSpPr>
          <p:nvPr>
            <p:ph type="title" hasCustomPrompt="1"/>
          </p:nvPr>
        </p:nvSpPr>
        <p:spPr bwMode="gray">
          <a:xfrm>
            <a:off x="409575" y="404664"/>
            <a:ext cx="5472113" cy="720000"/>
          </a:xfrm>
        </p:spPr>
        <p:txBody>
          <a:bodyPr/>
          <a:lstStyle>
            <a:lvl1pPr>
              <a:defRPr/>
            </a:lvl1pPr>
          </a:lstStyle>
          <a:p>
            <a:r>
              <a:rPr lang="de-DE"/>
              <a:t>Titel durch Klicken bearbeiten</a:t>
            </a:r>
          </a:p>
        </p:txBody>
      </p:sp>
      <p:sp>
        <p:nvSpPr>
          <p:cNvPr id="6" name="Textfeld 5">
            <a:extLst>
              <a:ext uri="{FF2B5EF4-FFF2-40B4-BE49-F238E27FC236}">
                <a16:creationId xmlns:a16="http://schemas.microsoft.com/office/drawing/2014/main" id="{9576FE83-F2CB-4E92-8837-1E4F1A1A0E1D}"/>
              </a:ext>
            </a:extLst>
          </p:cNvPr>
          <p:cNvSpPr txBox="1"/>
          <p:nvPr userDrawn="1"/>
        </p:nvSpPr>
        <p:spPr bwMode="gray">
          <a:xfrm>
            <a:off x="409575" y="6516000"/>
            <a:ext cx="11376000" cy="144000"/>
          </a:xfrm>
          <a:prstGeom prst="rect">
            <a:avLst/>
          </a:prstGeom>
          <a:noFill/>
        </p:spPr>
        <p:txBody>
          <a:bodyPr wrap="square" lIns="0" tIns="0" rIns="0" bIns="0" rtlCol="0" anchor="t">
            <a:noAutofit/>
          </a:bodyPr>
          <a:lstStyle/>
          <a:p>
            <a:pPr marL="0" marR="0" lvl="0" indent="0" defTabSz="914400" eaLnBrk="1" fontAlgn="auto" latinLnBrk="0" hangingPunct="1">
              <a:lnSpc>
                <a:spcPct val="100000"/>
              </a:lnSpc>
              <a:spcBef>
                <a:spcPts val="0"/>
              </a:spcBef>
              <a:spcAft>
                <a:spcPts val="0"/>
              </a:spcAft>
              <a:buClr>
                <a:srgbClr val="003F74"/>
              </a:buClr>
              <a:buSzTx/>
              <a:buFontTx/>
              <a:buNone/>
              <a:tabLst/>
              <a:defRPr/>
            </a:pPr>
            <a:r>
              <a:rPr kumimoji="0" lang="de-DE" sz="1000" b="0" i="0" u="none" strike="noStrike" kern="0" cap="none" spc="0" normalizeH="0" baseline="0" noProof="0">
                <a:ln>
                  <a:noFill/>
                </a:ln>
                <a:solidFill>
                  <a:schemeClr val="tx2"/>
                </a:solidFill>
                <a:effectLst/>
                <a:uLnTx/>
                <a:uFillTx/>
              </a:rPr>
              <a:t>Union Investment  </a:t>
            </a:r>
            <a:r>
              <a:rPr kumimoji="0" lang="de-DE" sz="1000" b="0" i="0" u="none" strike="noStrike" kern="0" cap="none" spc="0" normalizeH="0" baseline="0" noProof="0">
                <a:ln>
                  <a:noFill/>
                </a:ln>
                <a:solidFill>
                  <a:srgbClr val="888888"/>
                </a:solidFill>
                <a:effectLst/>
                <a:uLnTx/>
                <a:uFillTx/>
              </a:rPr>
              <a:t>|  Genossenschaftliche FinanzGruppe Volksbanken Raiffeisenbanken</a:t>
            </a:r>
          </a:p>
        </p:txBody>
      </p:sp>
    </p:spTree>
    <p:extLst>
      <p:ext uri="{BB962C8B-B14F-4D97-AF65-F5344CB8AC3E}">
        <p14:creationId xmlns:p14="http://schemas.microsoft.com/office/powerpoint/2010/main" val="2779244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57">
          <p15:clr>
            <a:srgbClr val="F26B43"/>
          </p15:clr>
        </p15:guide>
        <p15:guide id="3" orient="horz" pos="255">
          <p15:clr>
            <a:srgbClr val="F26B43"/>
          </p15:clr>
        </p15:guide>
        <p15:guide id="6" orient="horz" pos="890">
          <p15:clr>
            <a:srgbClr val="F26B43"/>
          </p15:clr>
        </p15:guide>
        <p15:guide id="9" pos="3977">
          <p15:clr>
            <a:srgbClr val="F26B43"/>
          </p15:clr>
        </p15:guide>
        <p15:guide id="10" pos="3705">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Zweispaltig mit Markenform rechts 02">
    <p:spTree>
      <p:nvGrpSpPr>
        <p:cNvPr id="1" name=""/>
        <p:cNvGrpSpPr/>
        <p:nvPr/>
      </p:nvGrpSpPr>
      <p:grpSpPr>
        <a:xfrm>
          <a:off x="0" y="0"/>
          <a:ext cx="0" cy="0"/>
          <a:chOff x="0" y="0"/>
          <a:chExt cx="0" cy="0"/>
        </a:xfrm>
      </p:grpSpPr>
      <p:sp>
        <p:nvSpPr>
          <p:cNvPr id="16" name="Inhaltsplatzhalter 2"/>
          <p:cNvSpPr>
            <a:spLocks noGrp="1"/>
          </p:cNvSpPr>
          <p:nvPr>
            <p:ph sz="quarter" idx="24" hasCustomPrompt="1"/>
          </p:nvPr>
        </p:nvSpPr>
        <p:spPr bwMode="gray">
          <a:xfrm>
            <a:off x="409575" y="1412776"/>
            <a:ext cx="5472113" cy="4896445"/>
          </a:xfrm>
          <a:noFill/>
        </p:spPr>
        <p:txBody>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15" name="Textplatzhalter 3"/>
          <p:cNvSpPr>
            <a:spLocks noGrp="1"/>
          </p:cNvSpPr>
          <p:nvPr>
            <p:ph type="body" sz="quarter" idx="23" hasCustomPrompt="1"/>
          </p:nvPr>
        </p:nvSpPr>
        <p:spPr bwMode="gray">
          <a:xfrm>
            <a:off x="409575" y="6001543"/>
            <a:ext cx="5472112" cy="307777"/>
          </a:xfrm>
          <a:prstGeom prst="rect">
            <a:avLst/>
          </a:prstGeom>
        </p:spPr>
        <p:txBody>
          <a:bodyPr anchor="b">
            <a:noAutofit/>
          </a:bodyPr>
          <a:lstStyle>
            <a:lvl1pPr marL="0" indent="0">
              <a:spcBef>
                <a:spcPts val="0"/>
              </a:spcBef>
              <a:buNone/>
              <a:defRPr sz="1000" b="0">
                <a:solidFill>
                  <a:schemeClr val="tx1"/>
                </a:solidFill>
              </a:defRPr>
            </a:lvl1pPr>
            <a:lvl2pPr>
              <a:defRPr sz="1000"/>
            </a:lvl2pPr>
            <a:lvl3pPr>
              <a:defRPr sz="1000"/>
            </a:lvl3pPr>
            <a:lvl4pPr>
              <a:defRPr sz="1000"/>
            </a:lvl4pPr>
            <a:lvl5pPr>
              <a:defRPr sz="1000"/>
            </a:lvl5pPr>
          </a:lstStyle>
          <a:p>
            <a:pPr lvl="0"/>
            <a:r>
              <a:rPr lang="de-DE"/>
              <a:t>Quelle:</a:t>
            </a:r>
          </a:p>
        </p:txBody>
      </p:sp>
      <p:sp>
        <p:nvSpPr>
          <p:cNvPr id="19" name="Textplatzhalter 18">
            <a:extLst>
              <a:ext uri="{FF2B5EF4-FFF2-40B4-BE49-F238E27FC236}">
                <a16:creationId xmlns:a16="http://schemas.microsoft.com/office/drawing/2014/main" id="{626B7158-D84B-4F29-8031-12791937C4A2}"/>
              </a:ext>
            </a:extLst>
          </p:cNvPr>
          <p:cNvSpPr>
            <a:spLocks noGrp="1" noChangeAspect="1"/>
          </p:cNvSpPr>
          <p:nvPr>
            <p:ph type="body" sz="quarter" idx="30" hasCustomPrompt="1"/>
          </p:nvPr>
        </p:nvSpPr>
        <p:spPr bwMode="gray">
          <a:xfrm>
            <a:off x="6313611" y="1412776"/>
            <a:ext cx="5471989" cy="4896000"/>
          </a:xfrm>
          <a:custGeom>
            <a:avLst/>
            <a:gdLst>
              <a:gd name="connsiteX0" fmla="*/ 4676664 w 5473336"/>
              <a:gd name="connsiteY0" fmla="*/ 1448 h 4883744"/>
              <a:gd name="connsiteX1" fmla="*/ 5473336 w 5473336"/>
              <a:gd name="connsiteY1" fmla="*/ 743338 h 4883744"/>
              <a:gd name="connsiteX2" fmla="*/ 5473336 w 5473336"/>
              <a:gd name="connsiteY2" fmla="*/ 1633637 h 4883744"/>
              <a:gd name="connsiteX3" fmla="*/ 5473336 w 5473336"/>
              <a:gd name="connsiteY3" fmla="*/ 1674371 h 4883744"/>
              <a:gd name="connsiteX4" fmla="*/ 5473336 w 5473336"/>
              <a:gd name="connsiteY4" fmla="*/ 1677497 h 4883744"/>
              <a:gd name="connsiteX5" fmla="*/ 5473336 w 5473336"/>
              <a:gd name="connsiteY5" fmla="*/ 1812665 h 4883744"/>
              <a:gd name="connsiteX6" fmla="*/ 5473336 w 5473336"/>
              <a:gd name="connsiteY6" fmla="*/ 1856161 h 4883744"/>
              <a:gd name="connsiteX7" fmla="*/ 5473336 w 5473336"/>
              <a:gd name="connsiteY7" fmla="*/ 1958257 h 4883744"/>
              <a:gd name="connsiteX8" fmla="*/ 5473336 w 5473336"/>
              <a:gd name="connsiteY8" fmla="*/ 2093425 h 4883744"/>
              <a:gd name="connsiteX9" fmla="*/ 5473336 w 5473336"/>
              <a:gd name="connsiteY9" fmla="*/ 2096551 h 4883744"/>
              <a:gd name="connsiteX10" fmla="*/ 5473336 w 5473336"/>
              <a:gd name="connsiteY10" fmla="*/ 2377311 h 4883744"/>
              <a:gd name="connsiteX11" fmla="*/ 5473336 w 5473336"/>
              <a:gd name="connsiteY11" fmla="*/ 2506434 h 4883744"/>
              <a:gd name="connsiteX12" fmla="*/ 5473336 w 5473336"/>
              <a:gd name="connsiteY12" fmla="*/ 2787194 h 4883744"/>
              <a:gd name="connsiteX13" fmla="*/ 5473336 w 5473336"/>
              <a:gd name="connsiteY13" fmla="*/ 2790320 h 4883744"/>
              <a:gd name="connsiteX14" fmla="*/ 5473336 w 5473336"/>
              <a:gd name="connsiteY14" fmla="*/ 2861522 h 4883744"/>
              <a:gd name="connsiteX15" fmla="*/ 5473336 w 5473336"/>
              <a:gd name="connsiteY15" fmla="*/ 2925488 h 4883744"/>
              <a:gd name="connsiteX16" fmla="*/ 5473336 w 5473336"/>
              <a:gd name="connsiteY16" fmla="*/ 3071080 h 4883744"/>
              <a:gd name="connsiteX17" fmla="*/ 5473336 w 5473336"/>
              <a:gd name="connsiteY17" fmla="*/ 3078035 h 4883744"/>
              <a:gd name="connsiteX18" fmla="*/ 5473336 w 5473336"/>
              <a:gd name="connsiteY18" fmla="*/ 3206248 h 4883744"/>
              <a:gd name="connsiteX19" fmla="*/ 5473336 w 5473336"/>
              <a:gd name="connsiteY19" fmla="*/ 3974345 h 4883744"/>
              <a:gd name="connsiteX20" fmla="*/ 966865 w 5473336"/>
              <a:gd name="connsiteY20" fmla="*/ 4862978 h 4883744"/>
              <a:gd name="connsiteX21" fmla="*/ 0 w 5473336"/>
              <a:gd name="connsiteY21" fmla="*/ 4140407 h 4883744"/>
              <a:gd name="connsiteX22" fmla="*/ 0 w 5473336"/>
              <a:gd name="connsiteY22" fmla="*/ 3206248 h 4883744"/>
              <a:gd name="connsiteX23" fmla="*/ 0 w 5473336"/>
              <a:gd name="connsiteY23" fmla="*/ 3078035 h 4883744"/>
              <a:gd name="connsiteX24" fmla="*/ 0 w 5473336"/>
              <a:gd name="connsiteY24" fmla="*/ 3071080 h 4883744"/>
              <a:gd name="connsiteX25" fmla="*/ 0 w 5473336"/>
              <a:gd name="connsiteY25" fmla="*/ 3027584 h 4883744"/>
              <a:gd name="connsiteX26" fmla="*/ 0 w 5473336"/>
              <a:gd name="connsiteY26" fmla="*/ 2925488 h 4883744"/>
              <a:gd name="connsiteX27" fmla="*/ 0 w 5473336"/>
              <a:gd name="connsiteY27" fmla="*/ 2790320 h 4883744"/>
              <a:gd name="connsiteX28" fmla="*/ 0 w 5473336"/>
              <a:gd name="connsiteY28" fmla="*/ 2787194 h 4883744"/>
              <a:gd name="connsiteX29" fmla="*/ 0 w 5473336"/>
              <a:gd name="connsiteY29" fmla="*/ 2506434 h 4883744"/>
              <a:gd name="connsiteX30" fmla="*/ 0 w 5473336"/>
              <a:gd name="connsiteY30" fmla="*/ 2377311 h 4883744"/>
              <a:gd name="connsiteX31" fmla="*/ 0 w 5473336"/>
              <a:gd name="connsiteY31" fmla="*/ 2096551 h 4883744"/>
              <a:gd name="connsiteX32" fmla="*/ 0 w 5473336"/>
              <a:gd name="connsiteY32" fmla="*/ 2093425 h 4883744"/>
              <a:gd name="connsiteX33" fmla="*/ 0 w 5473336"/>
              <a:gd name="connsiteY33" fmla="*/ 2022223 h 4883744"/>
              <a:gd name="connsiteX34" fmla="*/ 0 w 5473336"/>
              <a:gd name="connsiteY34" fmla="*/ 1958257 h 4883744"/>
              <a:gd name="connsiteX35" fmla="*/ 0 w 5473336"/>
              <a:gd name="connsiteY35" fmla="*/ 1812665 h 4883744"/>
              <a:gd name="connsiteX36" fmla="*/ 0 w 5473336"/>
              <a:gd name="connsiteY36" fmla="*/ 1738337 h 4883744"/>
              <a:gd name="connsiteX37" fmla="*/ 0 w 5473336"/>
              <a:gd name="connsiteY37" fmla="*/ 1677497 h 4883744"/>
              <a:gd name="connsiteX38" fmla="*/ 0 w 5473336"/>
              <a:gd name="connsiteY38" fmla="*/ 1674371 h 4883744"/>
              <a:gd name="connsiteX39" fmla="*/ 0 w 5473336"/>
              <a:gd name="connsiteY39" fmla="*/ 1633637 h 4883744"/>
              <a:gd name="connsiteX40" fmla="*/ 0 w 5473336"/>
              <a:gd name="connsiteY40" fmla="*/ 909400 h 4883744"/>
              <a:gd name="connsiteX41" fmla="*/ 4506471 w 5473336"/>
              <a:gd name="connsiteY41" fmla="*/ 20767 h 4883744"/>
              <a:gd name="connsiteX42" fmla="*/ 4676664 w 5473336"/>
              <a:gd name="connsiteY42" fmla="*/ 1448 h 4883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473336" h="4883744">
                <a:moveTo>
                  <a:pt x="4676664" y="1448"/>
                </a:moveTo>
                <a:cubicBezTo>
                  <a:pt x="5473336" y="-38046"/>
                  <a:pt x="5473336" y="743338"/>
                  <a:pt x="5473336" y="743338"/>
                </a:cubicBezTo>
                <a:lnTo>
                  <a:pt x="5473336" y="1633637"/>
                </a:lnTo>
                <a:lnTo>
                  <a:pt x="5473336" y="1674371"/>
                </a:lnTo>
                <a:lnTo>
                  <a:pt x="5473336" y="1677497"/>
                </a:lnTo>
                <a:lnTo>
                  <a:pt x="5473336" y="1812665"/>
                </a:lnTo>
                <a:lnTo>
                  <a:pt x="5473336" y="1856161"/>
                </a:lnTo>
                <a:lnTo>
                  <a:pt x="5473336" y="1958257"/>
                </a:lnTo>
                <a:lnTo>
                  <a:pt x="5473336" y="2093425"/>
                </a:lnTo>
                <a:lnTo>
                  <a:pt x="5473336" y="2096551"/>
                </a:lnTo>
                <a:lnTo>
                  <a:pt x="5473336" y="2377311"/>
                </a:lnTo>
                <a:lnTo>
                  <a:pt x="5473336" y="2506434"/>
                </a:lnTo>
                <a:lnTo>
                  <a:pt x="5473336" y="2787194"/>
                </a:lnTo>
                <a:lnTo>
                  <a:pt x="5473336" y="2790320"/>
                </a:lnTo>
                <a:lnTo>
                  <a:pt x="5473336" y="2861522"/>
                </a:lnTo>
                <a:lnTo>
                  <a:pt x="5473336" y="2925488"/>
                </a:lnTo>
                <a:lnTo>
                  <a:pt x="5473336" y="3071080"/>
                </a:lnTo>
                <a:lnTo>
                  <a:pt x="5473336" y="3078035"/>
                </a:lnTo>
                <a:lnTo>
                  <a:pt x="5473336" y="3206248"/>
                </a:lnTo>
                <a:lnTo>
                  <a:pt x="5473336" y="3974345"/>
                </a:lnTo>
                <a:lnTo>
                  <a:pt x="966865" y="4862978"/>
                </a:lnTo>
                <a:cubicBezTo>
                  <a:pt x="0" y="5029448"/>
                  <a:pt x="0" y="4140407"/>
                  <a:pt x="0" y="4140407"/>
                </a:cubicBezTo>
                <a:lnTo>
                  <a:pt x="0" y="3206248"/>
                </a:lnTo>
                <a:lnTo>
                  <a:pt x="0" y="3078035"/>
                </a:lnTo>
                <a:lnTo>
                  <a:pt x="0" y="3071080"/>
                </a:lnTo>
                <a:lnTo>
                  <a:pt x="0" y="3027584"/>
                </a:lnTo>
                <a:lnTo>
                  <a:pt x="0" y="2925488"/>
                </a:lnTo>
                <a:lnTo>
                  <a:pt x="0" y="2790320"/>
                </a:lnTo>
                <a:lnTo>
                  <a:pt x="0" y="2787194"/>
                </a:lnTo>
                <a:lnTo>
                  <a:pt x="0" y="2506434"/>
                </a:lnTo>
                <a:lnTo>
                  <a:pt x="0" y="2377311"/>
                </a:lnTo>
                <a:lnTo>
                  <a:pt x="0" y="2096551"/>
                </a:lnTo>
                <a:lnTo>
                  <a:pt x="0" y="2093425"/>
                </a:lnTo>
                <a:lnTo>
                  <a:pt x="0" y="2022223"/>
                </a:lnTo>
                <a:lnTo>
                  <a:pt x="0" y="1958257"/>
                </a:lnTo>
                <a:lnTo>
                  <a:pt x="0" y="1812665"/>
                </a:lnTo>
                <a:lnTo>
                  <a:pt x="0" y="1738337"/>
                </a:lnTo>
                <a:lnTo>
                  <a:pt x="0" y="1677497"/>
                </a:lnTo>
                <a:lnTo>
                  <a:pt x="0" y="1674371"/>
                </a:lnTo>
                <a:lnTo>
                  <a:pt x="0" y="1633637"/>
                </a:lnTo>
                <a:lnTo>
                  <a:pt x="0" y="909400"/>
                </a:lnTo>
                <a:lnTo>
                  <a:pt x="4506471" y="20767"/>
                </a:lnTo>
                <a:cubicBezTo>
                  <a:pt x="4566900" y="10363"/>
                  <a:pt x="4623552" y="4081"/>
                  <a:pt x="4676664" y="1448"/>
                </a:cubicBezTo>
                <a:close/>
              </a:path>
            </a:pathLst>
          </a:custGeom>
          <a:solidFill>
            <a:schemeClr val="tx2"/>
          </a:solidFill>
        </p:spPr>
        <p:txBody>
          <a:bodyPr wrap="square" lIns="324000" tIns="1224000" rIns="32400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4" name="Titel 3">
            <a:extLst>
              <a:ext uri="{FF2B5EF4-FFF2-40B4-BE49-F238E27FC236}">
                <a16:creationId xmlns:a16="http://schemas.microsoft.com/office/drawing/2014/main" id="{FE974D80-B87D-44B1-875D-F9BA8E8FAC8D}"/>
              </a:ext>
            </a:extLst>
          </p:cNvPr>
          <p:cNvSpPr>
            <a:spLocks noGrp="1"/>
          </p:cNvSpPr>
          <p:nvPr>
            <p:ph type="title" hasCustomPrompt="1"/>
          </p:nvPr>
        </p:nvSpPr>
        <p:spPr bwMode="gray"/>
        <p:txBody>
          <a:bodyPr/>
          <a:lstStyle>
            <a:lvl1pPr>
              <a:defRPr/>
            </a:lvl1pPr>
          </a:lstStyle>
          <a:p>
            <a:r>
              <a:rPr lang="de-DE"/>
              <a:t>Titel durch Klicken bearbeiten</a:t>
            </a:r>
          </a:p>
        </p:txBody>
      </p:sp>
      <p:sp>
        <p:nvSpPr>
          <p:cNvPr id="2" name="Datumsplatzhalter 1">
            <a:extLst>
              <a:ext uri="{FF2B5EF4-FFF2-40B4-BE49-F238E27FC236}">
                <a16:creationId xmlns:a16="http://schemas.microsoft.com/office/drawing/2014/main" id="{007DB49D-3556-4083-AAC4-9B636E769AD5}"/>
              </a:ext>
            </a:extLst>
          </p:cNvPr>
          <p:cNvSpPr>
            <a:spLocks noGrp="1"/>
          </p:cNvSpPr>
          <p:nvPr>
            <p:ph type="dt" sz="half" idx="31"/>
          </p:nvPr>
        </p:nvSpPr>
        <p:spPr bwMode="gray">
          <a:xfrm>
            <a:off x="10709631" y="151200"/>
            <a:ext cx="748800" cy="180000"/>
          </a:xfrm>
          <a:prstGeom prst="rect">
            <a:avLst/>
          </a:prstGeom>
        </p:spPr>
        <p:txBody>
          <a:bodyPr/>
          <a:lstStyle/>
          <a:p>
            <a:r>
              <a:rPr lang="de-DE"/>
              <a:t>Jan. 2023</a:t>
            </a:r>
          </a:p>
        </p:txBody>
      </p:sp>
      <p:sp>
        <p:nvSpPr>
          <p:cNvPr id="3" name="Fußzeilenplatzhalter 2">
            <a:extLst>
              <a:ext uri="{FF2B5EF4-FFF2-40B4-BE49-F238E27FC236}">
                <a16:creationId xmlns:a16="http://schemas.microsoft.com/office/drawing/2014/main" id="{E04A1ABA-44D1-40D6-BBA8-3E08CE643430}"/>
              </a:ext>
            </a:extLst>
          </p:cNvPr>
          <p:cNvSpPr>
            <a:spLocks noGrp="1"/>
          </p:cNvSpPr>
          <p:nvPr>
            <p:ph type="ftr" sz="quarter" idx="32"/>
          </p:nvPr>
        </p:nvSpPr>
        <p:spPr bwMode="gray">
          <a:xfrm>
            <a:off x="6313488" y="151200"/>
            <a:ext cx="4393761" cy="180000"/>
          </a:xfrm>
          <a:prstGeom prst="rect">
            <a:avLst/>
          </a:prstGeom>
        </p:spPr>
        <p:txBody>
          <a:bodyPr/>
          <a:lstStyle/>
          <a:p>
            <a:r>
              <a:rPr lang="de-DE"/>
              <a:t>UIP-EQ-CON  |  C0  |</a:t>
            </a:r>
          </a:p>
        </p:txBody>
      </p:sp>
      <p:sp>
        <p:nvSpPr>
          <p:cNvPr id="7" name="Foliennummernplatzhalter 6">
            <a:extLst>
              <a:ext uri="{FF2B5EF4-FFF2-40B4-BE49-F238E27FC236}">
                <a16:creationId xmlns:a16="http://schemas.microsoft.com/office/drawing/2014/main" id="{3EA5F89F-26B8-4C5D-A30C-DE9350F837DD}"/>
              </a:ext>
            </a:extLst>
          </p:cNvPr>
          <p:cNvSpPr>
            <a:spLocks noGrp="1"/>
          </p:cNvSpPr>
          <p:nvPr>
            <p:ph type="sldNum" sz="quarter" idx="33"/>
          </p:nvPr>
        </p:nvSpPr>
        <p:spPr bwMode="gray">
          <a:xfrm>
            <a:off x="11504750" y="151200"/>
            <a:ext cx="280800" cy="180000"/>
          </a:xfrm>
          <a:prstGeom prst="rect">
            <a:avLst/>
          </a:prstGeom>
        </p:spPr>
        <p:txBody>
          <a:bodyPr/>
          <a:lstStyle/>
          <a:p>
            <a:fld id="{9C89B081-1F44-4440-BC7B-989C90F97B77}" type="slidenum">
              <a:rPr lang="de-DE"/>
              <a:pPr/>
              <a:t>‹Nr.›</a:t>
            </a:fld>
            <a:endParaRPr lang="de-DE"/>
          </a:p>
        </p:txBody>
      </p:sp>
    </p:spTree>
    <p:extLst>
      <p:ext uri="{BB962C8B-B14F-4D97-AF65-F5344CB8AC3E}">
        <p14:creationId xmlns:p14="http://schemas.microsoft.com/office/powerpoint/2010/main" val="207054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57">
          <p15:clr>
            <a:srgbClr val="F26B43"/>
          </p15:clr>
        </p15:guide>
        <p15:guide id="3" orient="horz" pos="255">
          <p15:clr>
            <a:srgbClr val="F26B43"/>
          </p15:clr>
        </p15:guide>
        <p15:guide id="6" orient="horz" pos="890">
          <p15:clr>
            <a:srgbClr val="F26B43"/>
          </p15:clr>
        </p15:guide>
        <p15:guide id="9" pos="3977">
          <p15:clr>
            <a:srgbClr val="F26B43"/>
          </p15:clr>
        </p15:guide>
        <p15:guide id="10" pos="3705">
          <p15:clr>
            <a:srgbClr val="F26B43"/>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34" Type="http://schemas.openxmlformats.org/officeDocument/2006/relationships/slideLayout" Target="../slideLayouts/slideLayout70.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slideLayout" Target="../slideLayouts/slideLayout69.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slideLayout" Target="../slideLayouts/slideLayout68.xml"/><Relationship Id="rId37" Type="http://schemas.openxmlformats.org/officeDocument/2006/relationships/tags" Target="../tags/tag3.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36" Type="http://schemas.openxmlformats.org/officeDocument/2006/relationships/theme" Target="../theme/theme2.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slideLayout" Target="../slideLayouts/slideLayout67.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 Id="rId35" Type="http://schemas.openxmlformats.org/officeDocument/2006/relationships/slideLayout" Target="../slideLayouts/slideLayout7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34" Type="http://schemas.openxmlformats.org/officeDocument/2006/relationships/slideLayout" Target="../slideLayouts/slideLayout105.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33" Type="http://schemas.openxmlformats.org/officeDocument/2006/relationships/slideLayout" Target="../slideLayouts/slideLayout104.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slideLayout" Target="../slideLayouts/slideLayout100.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32" Type="http://schemas.openxmlformats.org/officeDocument/2006/relationships/slideLayout" Target="../slideLayouts/slideLayout103.xml"/><Relationship Id="rId37" Type="http://schemas.openxmlformats.org/officeDocument/2006/relationships/tags" Target="../tags/tag4.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36" Type="http://schemas.openxmlformats.org/officeDocument/2006/relationships/theme" Target="../theme/theme3.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31" Type="http://schemas.openxmlformats.org/officeDocument/2006/relationships/slideLayout" Target="../slideLayouts/slideLayout102.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slideLayout" Target="../slideLayouts/slideLayout101.xml"/><Relationship Id="rId35" Type="http://schemas.openxmlformats.org/officeDocument/2006/relationships/slideLayout" Target="../slideLayouts/slideLayout10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7" name="Textplatzhalter 16"/>
          <p:cNvSpPr>
            <a:spLocks noGrp="1"/>
          </p:cNvSpPr>
          <p:nvPr>
            <p:ph type="body" idx="1"/>
          </p:nvPr>
        </p:nvSpPr>
        <p:spPr bwMode="gray">
          <a:xfrm>
            <a:off x="409575" y="1412776"/>
            <a:ext cx="11374760" cy="4895850"/>
          </a:xfrm>
          <a:prstGeom prst="rect">
            <a:avLst/>
          </a:prstGeom>
        </p:spPr>
        <p:txBody>
          <a:bodyPr vert="horz" lIns="0" tIns="0" rIns="0" bIns="0" rtlCol="0">
            <a:noAutofit/>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3" name="Titelplatzhalter 2"/>
          <p:cNvSpPr>
            <a:spLocks noGrp="1"/>
          </p:cNvSpPr>
          <p:nvPr>
            <p:ph type="title"/>
          </p:nvPr>
        </p:nvSpPr>
        <p:spPr bwMode="gray">
          <a:xfrm>
            <a:off x="409575" y="404664"/>
            <a:ext cx="11376024" cy="720000"/>
          </a:xfrm>
          <a:prstGeom prst="rect">
            <a:avLst/>
          </a:prstGeom>
        </p:spPr>
        <p:txBody>
          <a:bodyPr vert="horz" lIns="0" tIns="0" rIns="0" bIns="0" rtlCol="0" anchor="t">
            <a:noAutofit/>
          </a:bodyPr>
          <a:lstStyle/>
          <a:p>
            <a:r>
              <a:rPr lang="de-DE"/>
              <a:t>Titel durch Klicken bearbeiten</a:t>
            </a:r>
          </a:p>
        </p:txBody>
      </p:sp>
      <p:sp>
        <p:nvSpPr>
          <p:cNvPr id="2" name="empower - DO NOT DELETE!!!" hidden="1"/>
          <p:cNvSpPr/>
          <p:nvPr>
            <p:custDataLst>
              <p:tags r:id="rId38"/>
            </p:custDataLst>
          </p:nvPr>
        </p:nvSpPr>
        <p:spPr>
          <a:xfrm>
            <a:off x="0" y="0"/>
            <a:ext cx="0" cy="0"/>
          </a:xfrm>
          <a:prstGeom prst="ellipse">
            <a:avLst/>
          </a:prstGeom>
          <a:solidFill>
            <a:srgbClr val="A6AAA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000" lvl="0" indent="-180000" algn="ctr">
              <a:spcBef>
                <a:spcPts val="600"/>
              </a:spcBef>
              <a:buClrTx/>
              <a:buFont typeface="Wingdings" panose="05000000000000000000" pitchFamily="2" charset="2"/>
              <a:buChar char=""/>
            </a:pPr>
            <a:endParaRPr lang="de-DE" sz="1400">
              <a:solidFill>
                <a:schemeClr val="tx1"/>
              </a:solidFill>
            </a:endParaRPr>
          </a:p>
        </p:txBody>
      </p:sp>
      <p:sp>
        <p:nvSpPr>
          <p:cNvPr id="13" name="Foliennummernplatzhalter 5">
            <a:extLst>
              <a:ext uri="{FF2B5EF4-FFF2-40B4-BE49-F238E27FC236}">
                <a16:creationId xmlns:a16="http://schemas.microsoft.com/office/drawing/2014/main" id="{80CA4171-6D99-48E6-9F0F-CE88B6579C89}"/>
              </a:ext>
            </a:extLst>
          </p:cNvPr>
          <p:cNvSpPr>
            <a:spLocks noGrp="1"/>
          </p:cNvSpPr>
          <p:nvPr>
            <p:ph type="sldNum" sz="quarter" idx="4"/>
          </p:nvPr>
        </p:nvSpPr>
        <p:spPr bwMode="gray">
          <a:xfrm>
            <a:off x="11504750" y="151200"/>
            <a:ext cx="280800" cy="180000"/>
          </a:xfrm>
          <a:prstGeom prst="rect">
            <a:avLst/>
          </a:prstGeom>
        </p:spPr>
        <p:txBody>
          <a:bodyPr vert="horz" lIns="0" tIns="0" rIns="0" bIns="0" rtlCol="0" anchor="t"/>
          <a:lstStyle>
            <a:lvl1pPr algn="r">
              <a:defRPr sz="1000">
                <a:solidFill>
                  <a:srgbClr val="888888"/>
                </a:solidFill>
              </a:defRPr>
            </a:lvl1pPr>
          </a:lstStyle>
          <a:p>
            <a:fld id="{9C89B081-1F44-4440-BC7B-989C90F97B77}" type="slidenum">
              <a:rPr lang="de-DE"/>
              <a:pPr/>
              <a:t>‹Nr.›</a:t>
            </a:fld>
            <a:endParaRPr lang="de-DE"/>
          </a:p>
        </p:txBody>
      </p:sp>
      <p:sp>
        <p:nvSpPr>
          <p:cNvPr id="14" name="Textfeld 21">
            <a:extLst>
              <a:ext uri="{FF2B5EF4-FFF2-40B4-BE49-F238E27FC236}">
                <a16:creationId xmlns:a16="http://schemas.microsoft.com/office/drawing/2014/main" id="{15832723-6E6A-4D2E-9CD0-4F42482C4DBA}"/>
              </a:ext>
            </a:extLst>
          </p:cNvPr>
          <p:cNvSpPr txBox="1"/>
          <p:nvPr/>
        </p:nvSpPr>
        <p:spPr bwMode="gray">
          <a:xfrm>
            <a:off x="11462400" y="151200"/>
            <a:ext cx="36000" cy="180020"/>
          </a:xfrm>
          <a:prstGeom prst="rect">
            <a:avLst/>
          </a:prstGeom>
        </p:spPr>
        <p:txBody>
          <a:bodyPr vert="horz" wrap="square" lIns="0" tIns="0" rIns="0" bIns="0" rtlCol="0" anchor="t">
            <a:noAutofit/>
          </a:bodyPr>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fontAlgn="auto">
              <a:spcAft>
                <a:spcPts val="0"/>
              </a:spcAft>
            </a:pPr>
            <a:r>
              <a:rPr lang="de-DE" sz="1000">
                <a:solidFill>
                  <a:srgbClr val="888888"/>
                </a:solidFill>
              </a:rPr>
              <a:t>|</a:t>
            </a:r>
            <a:endParaRPr kumimoji="0" lang="de-DE" sz="1600" i="0" u="none" strike="noStrike" kern="0" cap="none" spc="0" normalizeH="0" baseline="0" noProof="0">
              <a:ln>
                <a:noFill/>
              </a:ln>
              <a:solidFill>
                <a:srgbClr val="888888"/>
              </a:solidFill>
              <a:effectLst/>
              <a:uLnTx/>
              <a:uFillTx/>
              <a:latin typeface="+mj-lt"/>
            </a:endParaRPr>
          </a:p>
        </p:txBody>
      </p:sp>
      <p:sp>
        <p:nvSpPr>
          <p:cNvPr id="4" name="Datumsplatzhalter 3">
            <a:extLst>
              <a:ext uri="{FF2B5EF4-FFF2-40B4-BE49-F238E27FC236}">
                <a16:creationId xmlns:a16="http://schemas.microsoft.com/office/drawing/2014/main" id="{BBD5502F-296A-410B-A424-0FD8D874283B}"/>
              </a:ext>
            </a:extLst>
          </p:cNvPr>
          <p:cNvSpPr>
            <a:spLocks noGrp="1"/>
          </p:cNvSpPr>
          <p:nvPr>
            <p:ph type="dt" sz="half" idx="2"/>
          </p:nvPr>
        </p:nvSpPr>
        <p:spPr bwMode="gray">
          <a:xfrm>
            <a:off x="10709631" y="151200"/>
            <a:ext cx="748800" cy="180000"/>
          </a:xfrm>
          <a:prstGeom prst="rect">
            <a:avLst/>
          </a:prstGeom>
        </p:spPr>
        <p:txBody>
          <a:bodyPr vert="horz" wrap="none" lIns="0" tIns="0" rIns="0" bIns="0" rtlCol="0" anchor="t"/>
          <a:lstStyle>
            <a:lvl1pPr algn="ctr">
              <a:defRPr sz="1000">
                <a:solidFill>
                  <a:srgbClr val="888888"/>
                </a:solidFill>
              </a:defRPr>
            </a:lvl1pPr>
          </a:lstStyle>
          <a:p>
            <a:r>
              <a:rPr lang="de-DE"/>
              <a:t>13.10.2021</a:t>
            </a:r>
          </a:p>
        </p:txBody>
      </p:sp>
      <p:sp>
        <p:nvSpPr>
          <p:cNvPr id="10" name="Textfeld 9">
            <a:extLst>
              <a:ext uri="{FF2B5EF4-FFF2-40B4-BE49-F238E27FC236}">
                <a16:creationId xmlns:a16="http://schemas.microsoft.com/office/drawing/2014/main" id="{0C6CFE9E-BC91-48DE-AE56-501AD947C518}"/>
              </a:ext>
            </a:extLst>
          </p:cNvPr>
          <p:cNvSpPr txBox="1"/>
          <p:nvPr/>
        </p:nvSpPr>
        <p:spPr bwMode="gray">
          <a:xfrm>
            <a:off x="409575" y="6516000"/>
            <a:ext cx="11376000" cy="144000"/>
          </a:xfrm>
          <a:prstGeom prst="rect">
            <a:avLst/>
          </a:prstGeom>
          <a:noFill/>
        </p:spPr>
        <p:txBody>
          <a:bodyPr wrap="square" lIns="0" tIns="0" rIns="0" bIns="0" rtlCol="0" anchor="t">
            <a:noAutofit/>
          </a:bodyPr>
          <a:lstStyle/>
          <a:p>
            <a:pPr marL="0" marR="0" lvl="0" indent="0" algn="l" defTabSz="914400" eaLnBrk="1" fontAlgn="auto" latinLnBrk="0" hangingPunct="1">
              <a:lnSpc>
                <a:spcPct val="100000"/>
              </a:lnSpc>
              <a:spcBef>
                <a:spcPts val="600"/>
              </a:spcBef>
              <a:spcAft>
                <a:spcPts val="0"/>
              </a:spcAft>
              <a:buClr>
                <a:srgbClr val="003F74"/>
              </a:buClr>
              <a:buSzTx/>
              <a:buFontTx/>
              <a:buNone/>
              <a:tabLst/>
              <a:defRPr/>
            </a:pPr>
            <a:r>
              <a:rPr kumimoji="0" lang="de-DE" sz="1000" b="0" i="0" u="none" strike="noStrike" kern="0" cap="none" spc="0" normalizeH="0" baseline="0" noProof="0" dirty="0">
                <a:ln>
                  <a:noFill/>
                </a:ln>
                <a:solidFill>
                  <a:schemeClr val="tx2"/>
                </a:solidFill>
                <a:effectLst/>
                <a:uLnTx/>
                <a:uFillTx/>
              </a:rPr>
              <a:t>Union Investment  </a:t>
            </a:r>
            <a:r>
              <a:rPr kumimoji="0" lang="de-DE" sz="1000" b="0" i="0" u="none" strike="noStrike" kern="0" cap="none" spc="0" normalizeH="0" baseline="0" noProof="0" dirty="0">
                <a:ln>
                  <a:noFill/>
                </a:ln>
                <a:solidFill>
                  <a:srgbClr val="888888"/>
                </a:solidFill>
                <a:effectLst/>
                <a:uLnTx/>
                <a:uFillTx/>
              </a:rPr>
              <a:t>|  In Kooperation mit VOLKSBANK					Beachten Sie die rechtlichen Hinweise am Ende der Präsentation</a:t>
            </a:r>
          </a:p>
        </p:txBody>
      </p:sp>
      <p:sp>
        <p:nvSpPr>
          <p:cNvPr id="12" name="Fußzeilenplatzhalter 1">
            <a:extLst>
              <a:ext uri="{FF2B5EF4-FFF2-40B4-BE49-F238E27FC236}">
                <a16:creationId xmlns:a16="http://schemas.microsoft.com/office/drawing/2014/main" id="{C40412C3-3B71-40E6-9836-6306040B5A0B}"/>
              </a:ext>
            </a:extLst>
          </p:cNvPr>
          <p:cNvSpPr>
            <a:spLocks noGrp="1"/>
          </p:cNvSpPr>
          <p:nvPr>
            <p:ph type="ftr" sz="quarter" idx="3"/>
          </p:nvPr>
        </p:nvSpPr>
        <p:spPr>
          <a:xfrm>
            <a:off x="8658519" y="116632"/>
            <a:ext cx="2016233" cy="210223"/>
          </a:xfrm>
          <a:prstGeom prst="rect">
            <a:avLst/>
          </a:prstGeom>
        </p:spPr>
        <p:txBody>
          <a:bodyPr/>
          <a:lstStyle>
            <a:lvl1pPr>
              <a:defRPr lang="de-DE" sz="1000" kern="1200" dirty="0">
                <a:solidFill>
                  <a:srgbClr val="888888"/>
                </a:solidFill>
                <a:latin typeface="+mn-lt"/>
                <a:ea typeface="+mn-ea"/>
                <a:cs typeface="+mn-cs"/>
              </a:defRPr>
            </a:lvl1pPr>
          </a:lstStyle>
          <a:p>
            <a:r>
              <a:rPr lang="de-DE"/>
              <a:t>Union Investment Austria GmbH</a:t>
            </a:r>
          </a:p>
        </p:txBody>
      </p:sp>
    </p:spTree>
    <p:extLst>
      <p:ext uri="{BB962C8B-B14F-4D97-AF65-F5344CB8AC3E}">
        <p14:creationId xmlns:p14="http://schemas.microsoft.com/office/powerpoint/2010/main" val="3153179858"/>
      </p:ext>
    </p:extLst>
  </p:cSld>
  <p:clrMap bg1="lt1" tx1="dk1" bg2="lt2" tx2="dk2" accent1="accent1" accent2="accent2" accent3="accent3" accent4="accent4" accent5="accent5" accent6="accent6" hlink="hlink" folHlink="folHlink"/>
  <p:sldLayoutIdLst>
    <p:sldLayoutId id="2147483775" r:id="rId1"/>
    <p:sldLayoutId id="2147483789" r:id="rId2"/>
    <p:sldLayoutId id="2147483771" r:id="rId3"/>
    <p:sldLayoutId id="2147483733" r:id="rId4"/>
    <p:sldLayoutId id="2147483790" r:id="rId5"/>
    <p:sldLayoutId id="2147483774" r:id="rId6"/>
    <p:sldLayoutId id="2147483793" r:id="rId7"/>
    <p:sldLayoutId id="2147483794" r:id="rId8"/>
    <p:sldLayoutId id="2147483796" r:id="rId9"/>
    <p:sldLayoutId id="2147483795" r:id="rId10"/>
    <p:sldLayoutId id="2147483737" r:id="rId11"/>
    <p:sldLayoutId id="2147483777" r:id="rId12"/>
    <p:sldLayoutId id="2147483778" r:id="rId13"/>
    <p:sldLayoutId id="2147483779" r:id="rId14"/>
    <p:sldLayoutId id="2147483780" r:id="rId15"/>
    <p:sldLayoutId id="2147483776" r:id="rId16"/>
    <p:sldLayoutId id="2147483738" r:id="rId17"/>
    <p:sldLayoutId id="2147483758" r:id="rId18"/>
    <p:sldLayoutId id="2147483759" r:id="rId19"/>
    <p:sldLayoutId id="2147483760" r:id="rId20"/>
    <p:sldLayoutId id="2147483761" r:id="rId21"/>
    <p:sldLayoutId id="2147483764" r:id="rId22"/>
    <p:sldLayoutId id="2147483765" r:id="rId23"/>
    <p:sldLayoutId id="2147483766" r:id="rId24"/>
    <p:sldLayoutId id="2147483781" r:id="rId25"/>
    <p:sldLayoutId id="2147483782" r:id="rId26"/>
    <p:sldLayoutId id="2147483784" r:id="rId27"/>
    <p:sldLayoutId id="2147483783" r:id="rId28"/>
    <p:sldLayoutId id="2147483785" r:id="rId29"/>
    <p:sldLayoutId id="2147483792" r:id="rId30"/>
    <p:sldLayoutId id="2147483791" r:id="rId31"/>
    <p:sldLayoutId id="2147483786" r:id="rId32"/>
    <p:sldLayoutId id="2147483770" r:id="rId33"/>
    <p:sldLayoutId id="2147483787" r:id="rId34"/>
    <p:sldLayoutId id="2147483788" r:id="rId35"/>
    <p:sldLayoutId id="2147483799" r:id="rId3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spcBef>
          <a:spcPct val="0"/>
        </a:spcBef>
        <a:buNone/>
        <a:defRPr lang="de-DE" sz="2600" b="1" kern="1200" dirty="0">
          <a:solidFill>
            <a:schemeClr val="tx2"/>
          </a:solidFill>
          <a:latin typeface="+mj-lt"/>
          <a:ea typeface="+mj-ea"/>
          <a:cs typeface="+mj-cs"/>
        </a:defRPr>
      </a:lvl1pPr>
    </p:titleStyle>
    <p:bodyStyle>
      <a:lvl1pPr marL="0" indent="0" algn="l" defTabSz="914400" rtl="0" eaLnBrk="1" latinLnBrk="0" hangingPunct="1">
        <a:spcBef>
          <a:spcPts val="1200"/>
        </a:spcBef>
        <a:buFont typeface="Arial" panose="020B0604020202020204" pitchFamily="34" charset="0"/>
        <a:buNone/>
        <a:defRPr lang="de-DE" sz="1800" b="0" kern="1200" dirty="0">
          <a:solidFill>
            <a:schemeClr val="tx2"/>
          </a:solidFill>
          <a:latin typeface="+mn-lt"/>
          <a:ea typeface="+mn-ea"/>
          <a:cs typeface="+mn-cs"/>
        </a:defRPr>
      </a:lvl1pPr>
      <a:lvl2pPr marL="0" indent="0" algn="l" defTabSz="914400" rtl="0" eaLnBrk="1" latinLnBrk="0" hangingPunct="1">
        <a:spcBef>
          <a:spcPts val="600"/>
        </a:spcBef>
        <a:buFont typeface="Arial" panose="020B0604020202020204" pitchFamily="34" charset="0"/>
        <a:buNone/>
        <a:defRPr lang="de-DE" sz="1800" kern="1200" dirty="0">
          <a:solidFill>
            <a:schemeClr val="tx1"/>
          </a:solidFill>
          <a:latin typeface="+mn-lt"/>
          <a:ea typeface="+mn-ea"/>
          <a:cs typeface="+mn-cs"/>
        </a:defRPr>
      </a:lvl2pPr>
      <a:lvl3pPr marL="180000" indent="-180000" algn="l" defTabSz="914400" rtl="0" eaLnBrk="1" latinLnBrk="0" hangingPunct="1">
        <a:spcBef>
          <a:spcPts val="600"/>
        </a:spcBef>
        <a:buClrTx/>
        <a:buFont typeface="Wingdings" panose="05000000000000000000" pitchFamily="2" charset="2"/>
        <a:buChar char=""/>
        <a:defRPr lang="de-DE" sz="1800" kern="1200" dirty="0">
          <a:solidFill>
            <a:schemeClr val="tx1"/>
          </a:solidFill>
          <a:latin typeface="+mn-lt"/>
          <a:ea typeface="+mn-ea"/>
          <a:cs typeface="+mn-cs"/>
        </a:defRPr>
      </a:lvl3pPr>
      <a:lvl4pPr marL="360000" indent="-180000" algn="l" defTabSz="914400" rtl="0" eaLnBrk="1" latinLnBrk="0" hangingPunct="1">
        <a:spcBef>
          <a:spcPts val="400"/>
        </a:spcBef>
        <a:buClrTx/>
        <a:buFont typeface="Arial" panose="020B0604020202020204" pitchFamily="34" charset="0"/>
        <a:buChar char="•"/>
        <a:defRPr lang="de-DE" sz="1800" kern="1200" dirty="0">
          <a:solidFill>
            <a:schemeClr val="tx1"/>
          </a:solidFill>
          <a:latin typeface="+mn-lt"/>
          <a:ea typeface="+mn-ea"/>
          <a:cs typeface="+mn-cs"/>
        </a:defRPr>
      </a:lvl4pPr>
      <a:lvl5pPr marL="576000" indent="-216000" algn="l" defTabSz="914400" rtl="0" eaLnBrk="1" latinLnBrk="0" hangingPunct="1">
        <a:spcBef>
          <a:spcPts val="400"/>
        </a:spcBef>
        <a:buFont typeface="Symbol" panose="05050102010706020507" pitchFamily="18" charset="2"/>
        <a:buChar char="-"/>
        <a:defRPr lang="de-DE" sz="1800" kern="1200" dirty="0">
          <a:solidFill>
            <a:schemeClr val="tx1"/>
          </a:solidFill>
          <a:latin typeface="+mn-lt"/>
          <a:ea typeface="+mn-ea"/>
          <a:cs typeface="+mn-cs"/>
        </a:defRPr>
      </a:lvl5pPr>
      <a:lvl6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6pPr>
      <a:lvl7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7pPr>
      <a:lvl8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8pPr>
      <a:lvl9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8">
          <p15:clr>
            <a:srgbClr val="F26B43"/>
          </p15:clr>
        </p15:guide>
        <p15:guide id="2" orient="horz" pos="255">
          <p15:clr>
            <a:srgbClr val="F26B43"/>
          </p15:clr>
        </p15:guide>
        <p15:guide id="3" pos="7424">
          <p15:clr>
            <a:srgbClr val="F26B43"/>
          </p15:clr>
        </p15:guide>
        <p15:guide id="7" orient="horz" pos="890">
          <p15:clr>
            <a:srgbClr val="F26B43"/>
          </p15:clr>
        </p15:guide>
        <p15:guide id="8" orient="horz" pos="3974">
          <p15:clr>
            <a:srgbClr val="F26B43"/>
          </p15:clr>
        </p15:guide>
        <p15:guide id="10" orient="horz" pos="129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7" name="Textplatzhalter 16"/>
          <p:cNvSpPr>
            <a:spLocks noGrp="1"/>
          </p:cNvSpPr>
          <p:nvPr>
            <p:ph type="body" idx="1"/>
          </p:nvPr>
        </p:nvSpPr>
        <p:spPr bwMode="gray">
          <a:xfrm>
            <a:off x="409575" y="1412776"/>
            <a:ext cx="11374760" cy="4895850"/>
          </a:xfrm>
          <a:prstGeom prst="rect">
            <a:avLst/>
          </a:prstGeom>
        </p:spPr>
        <p:txBody>
          <a:bodyPr vert="horz" lIns="0" tIns="0" rIns="0" bIns="0" rtlCol="0">
            <a:noAutofit/>
          </a:bodyPr>
          <a:lstStyle/>
          <a:p>
            <a:pPr lvl="0"/>
            <a:r>
              <a:rPr lang="de-DE" dirty="0"/>
              <a:t>Text hinzufüg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3" name="Titelplatzhalter 2"/>
          <p:cNvSpPr>
            <a:spLocks noGrp="1"/>
          </p:cNvSpPr>
          <p:nvPr>
            <p:ph type="title"/>
          </p:nvPr>
        </p:nvSpPr>
        <p:spPr bwMode="gray">
          <a:xfrm>
            <a:off x="409575" y="404664"/>
            <a:ext cx="11376024" cy="720000"/>
          </a:xfrm>
          <a:prstGeom prst="rect">
            <a:avLst/>
          </a:prstGeom>
        </p:spPr>
        <p:txBody>
          <a:bodyPr vert="horz" lIns="0" tIns="0" rIns="0" bIns="0" rtlCol="0" anchor="t">
            <a:noAutofit/>
          </a:bodyPr>
          <a:lstStyle/>
          <a:p>
            <a:r>
              <a:rPr lang="de-DE" dirty="0"/>
              <a:t>Titel durch Klicken bearbeiten</a:t>
            </a:r>
          </a:p>
        </p:txBody>
      </p:sp>
      <p:sp>
        <p:nvSpPr>
          <p:cNvPr id="2" name="empower - DO NOT DELETE!!!" hidden="1"/>
          <p:cNvSpPr/>
          <p:nvPr>
            <p:custDataLst>
              <p:tags r:id="rId37"/>
            </p:custDataLst>
          </p:nvPr>
        </p:nvSpPr>
        <p:spPr>
          <a:xfrm>
            <a:off x="0" y="0"/>
            <a:ext cx="0" cy="0"/>
          </a:xfrm>
          <a:prstGeom prst="ellipse">
            <a:avLst/>
          </a:prstGeom>
          <a:solidFill>
            <a:srgbClr val="A6AAA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000" lvl="0" indent="-180000" algn="ctr">
              <a:spcBef>
                <a:spcPts val="600"/>
              </a:spcBef>
              <a:buClrTx/>
              <a:buFont typeface="Wingdings" panose="05000000000000000000" pitchFamily="2" charset="2"/>
              <a:buChar char=""/>
            </a:pPr>
            <a:endParaRPr lang="de-DE" sz="1400" dirty="0">
              <a:solidFill>
                <a:schemeClr val="tx1"/>
              </a:solidFill>
            </a:endParaRPr>
          </a:p>
        </p:txBody>
      </p:sp>
      <p:sp>
        <p:nvSpPr>
          <p:cNvPr id="6" name="Textfeld 5">
            <a:extLst>
              <a:ext uri="{FF2B5EF4-FFF2-40B4-BE49-F238E27FC236}">
                <a16:creationId xmlns:a16="http://schemas.microsoft.com/office/drawing/2014/main" id="{48AAC04D-B927-4CB0-9D1D-7BFA07C1ADB1}"/>
              </a:ext>
            </a:extLst>
          </p:cNvPr>
          <p:cNvSpPr txBox="1"/>
          <p:nvPr userDrawn="1"/>
        </p:nvSpPr>
        <p:spPr bwMode="gray">
          <a:xfrm>
            <a:off x="409575" y="6516000"/>
            <a:ext cx="11376000" cy="144000"/>
          </a:xfrm>
          <a:prstGeom prst="rect">
            <a:avLst/>
          </a:prstGeom>
          <a:noFill/>
        </p:spPr>
        <p:txBody>
          <a:bodyPr wrap="square" lIns="0" tIns="0" rIns="0" bIns="0" rtlCol="0" anchor="t">
            <a:noAutofit/>
          </a:bodyPr>
          <a:lstStyle/>
          <a:p>
            <a:pPr marL="0" marR="0" lvl="0" indent="0" algn="l" defTabSz="914400" eaLnBrk="1" fontAlgn="auto" latinLnBrk="0" hangingPunct="1">
              <a:lnSpc>
                <a:spcPct val="100000"/>
              </a:lnSpc>
              <a:spcBef>
                <a:spcPts val="600"/>
              </a:spcBef>
              <a:spcAft>
                <a:spcPts val="0"/>
              </a:spcAft>
              <a:buClr>
                <a:srgbClr val="003F74"/>
              </a:buClr>
              <a:buSzTx/>
              <a:buFontTx/>
              <a:buNone/>
              <a:tabLst/>
              <a:defRPr/>
            </a:pPr>
            <a:r>
              <a:rPr kumimoji="0" lang="de-DE" sz="1000" b="0" i="0" u="none" strike="noStrike" kern="0" cap="none" spc="0" normalizeH="0" baseline="0" noProof="0" dirty="0">
                <a:ln>
                  <a:noFill/>
                </a:ln>
                <a:solidFill>
                  <a:schemeClr val="tx2"/>
                </a:solidFill>
                <a:effectLst/>
                <a:uLnTx/>
                <a:uFillTx/>
              </a:rPr>
              <a:t>Union Investment  </a:t>
            </a:r>
            <a:r>
              <a:rPr kumimoji="0" lang="de-DE" sz="1000" b="0" i="0" u="none" strike="noStrike" kern="0" cap="none" spc="0" normalizeH="0" baseline="0" noProof="0" dirty="0">
                <a:ln>
                  <a:noFill/>
                </a:ln>
                <a:solidFill>
                  <a:srgbClr val="888888"/>
                </a:solidFill>
                <a:effectLst/>
                <a:uLnTx/>
                <a:uFillTx/>
              </a:rPr>
              <a:t>|  In Kooperation mit VOLKSBANK					Beachten Sie den rechtlichen Hinweis am Ende der Präsentation</a:t>
            </a:r>
          </a:p>
        </p:txBody>
      </p:sp>
    </p:spTree>
    <p:extLst>
      <p:ext uri="{BB962C8B-B14F-4D97-AF65-F5344CB8AC3E}">
        <p14:creationId xmlns:p14="http://schemas.microsoft.com/office/powerpoint/2010/main" val="444492157"/>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 id="2147483820" r:id="rId18"/>
    <p:sldLayoutId id="2147483821" r:id="rId19"/>
    <p:sldLayoutId id="2147483822" r:id="rId20"/>
    <p:sldLayoutId id="2147483823" r:id="rId21"/>
    <p:sldLayoutId id="2147483824" r:id="rId22"/>
    <p:sldLayoutId id="2147483825" r:id="rId23"/>
    <p:sldLayoutId id="2147483826" r:id="rId24"/>
    <p:sldLayoutId id="2147483827" r:id="rId25"/>
    <p:sldLayoutId id="2147483828" r:id="rId26"/>
    <p:sldLayoutId id="2147483829" r:id="rId27"/>
    <p:sldLayoutId id="2147483830" r:id="rId28"/>
    <p:sldLayoutId id="2147483831" r:id="rId29"/>
    <p:sldLayoutId id="2147483832" r:id="rId30"/>
    <p:sldLayoutId id="2147483833" r:id="rId31"/>
    <p:sldLayoutId id="2147483834" r:id="rId32"/>
    <p:sldLayoutId id="2147483835" r:id="rId33"/>
    <p:sldLayoutId id="2147483836" r:id="rId34"/>
    <p:sldLayoutId id="2147483837" r:id="rId35"/>
  </p:sldLayoutIdLst>
  <mc:AlternateContent xmlns:mc="http://schemas.openxmlformats.org/markup-compatibility/2006" xmlns:p14="http://schemas.microsoft.com/office/powerpoint/2010/main">
    <mc:Choice Requires="p14">
      <p:transition spd="med" p14:dur="700">
        <p:fade/>
      </p:transition>
    </mc:Choice>
    <mc:Fallback xmlns="" xmlns:p15="http://schemas.microsoft.com/office/powerpoint/2012/main" xmlns:a16="http://schemas.microsoft.com/office/drawing/2014/main">
      <p:transition spd="med">
        <p:fade/>
      </p:transition>
    </mc:Fallback>
  </mc:AlternateContent>
  <p:hf hdr="0"/>
  <p:txStyles>
    <p:titleStyle>
      <a:lvl1pPr algn="l" defTabSz="914400" rtl="0" eaLnBrk="1" latinLnBrk="0" hangingPunct="1">
        <a:spcBef>
          <a:spcPct val="0"/>
        </a:spcBef>
        <a:buNone/>
        <a:defRPr lang="de-DE" sz="2600" b="1" kern="1200" dirty="0">
          <a:solidFill>
            <a:schemeClr val="tx2"/>
          </a:solidFill>
          <a:latin typeface="+mj-lt"/>
          <a:ea typeface="+mj-ea"/>
          <a:cs typeface="+mj-cs"/>
        </a:defRPr>
      </a:lvl1pPr>
    </p:titleStyle>
    <p:bodyStyle>
      <a:lvl1pPr marL="0" indent="0" algn="l" defTabSz="914400" rtl="0" eaLnBrk="1" latinLnBrk="0" hangingPunct="1">
        <a:spcBef>
          <a:spcPts val="1200"/>
        </a:spcBef>
        <a:buFont typeface="Arial" panose="020B0604020202020204" pitchFamily="34" charset="0"/>
        <a:buNone/>
        <a:defRPr lang="de-DE" sz="1800" b="0" kern="1200" dirty="0">
          <a:solidFill>
            <a:schemeClr val="tx2"/>
          </a:solidFill>
          <a:latin typeface="+mn-lt"/>
          <a:ea typeface="+mn-ea"/>
          <a:cs typeface="+mn-cs"/>
        </a:defRPr>
      </a:lvl1pPr>
      <a:lvl2pPr marL="0" indent="0" algn="l" defTabSz="914400" rtl="0" eaLnBrk="1" latinLnBrk="0" hangingPunct="1">
        <a:spcBef>
          <a:spcPts val="600"/>
        </a:spcBef>
        <a:buFont typeface="Arial" panose="020B0604020202020204" pitchFamily="34" charset="0"/>
        <a:buNone/>
        <a:defRPr lang="de-DE" sz="1800" kern="1200" dirty="0">
          <a:solidFill>
            <a:schemeClr val="tx1"/>
          </a:solidFill>
          <a:latin typeface="+mn-lt"/>
          <a:ea typeface="+mn-ea"/>
          <a:cs typeface="+mn-cs"/>
        </a:defRPr>
      </a:lvl2pPr>
      <a:lvl3pPr marL="180000" indent="-180000" algn="l" defTabSz="914400" rtl="0" eaLnBrk="1" latinLnBrk="0" hangingPunct="1">
        <a:spcBef>
          <a:spcPts val="600"/>
        </a:spcBef>
        <a:buClrTx/>
        <a:buFont typeface="Wingdings" panose="05000000000000000000" pitchFamily="2" charset="2"/>
        <a:buChar char=""/>
        <a:defRPr lang="de-DE" sz="1800" kern="1200" dirty="0">
          <a:solidFill>
            <a:schemeClr val="tx1"/>
          </a:solidFill>
          <a:latin typeface="+mn-lt"/>
          <a:ea typeface="+mn-ea"/>
          <a:cs typeface="+mn-cs"/>
        </a:defRPr>
      </a:lvl3pPr>
      <a:lvl4pPr marL="360000" indent="-180000" algn="l" defTabSz="914400" rtl="0" eaLnBrk="1" latinLnBrk="0" hangingPunct="1">
        <a:spcBef>
          <a:spcPts val="400"/>
        </a:spcBef>
        <a:buClrTx/>
        <a:buFont typeface="Arial" panose="020B0604020202020204" pitchFamily="34" charset="0"/>
        <a:buChar char="•"/>
        <a:defRPr lang="de-DE" sz="1800" kern="1200" dirty="0">
          <a:solidFill>
            <a:schemeClr val="tx1"/>
          </a:solidFill>
          <a:latin typeface="+mn-lt"/>
          <a:ea typeface="+mn-ea"/>
          <a:cs typeface="+mn-cs"/>
        </a:defRPr>
      </a:lvl4pPr>
      <a:lvl5pPr marL="576000" indent="-216000" algn="l" defTabSz="914400" rtl="0" eaLnBrk="1" latinLnBrk="0" hangingPunct="1">
        <a:spcBef>
          <a:spcPts val="400"/>
        </a:spcBef>
        <a:buFont typeface="Symbol" panose="05050102010706020507" pitchFamily="18" charset="2"/>
        <a:buChar char="-"/>
        <a:defRPr lang="de-DE" sz="1800" kern="1200" dirty="0">
          <a:solidFill>
            <a:schemeClr val="tx1"/>
          </a:solidFill>
          <a:latin typeface="+mn-lt"/>
          <a:ea typeface="+mn-ea"/>
          <a:cs typeface="+mn-cs"/>
        </a:defRPr>
      </a:lvl5pPr>
      <a:lvl6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6pPr>
      <a:lvl7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7pPr>
      <a:lvl8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8pPr>
      <a:lvl9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8">
          <p15:clr>
            <a:srgbClr val="F26B43"/>
          </p15:clr>
        </p15:guide>
        <p15:guide id="2" orient="horz" pos="255">
          <p15:clr>
            <a:srgbClr val="F26B43"/>
          </p15:clr>
        </p15:guide>
        <p15:guide id="3" pos="7424">
          <p15:clr>
            <a:srgbClr val="F26B43"/>
          </p15:clr>
        </p15:guide>
        <p15:guide id="7" orient="horz" pos="890">
          <p15:clr>
            <a:srgbClr val="F26B43"/>
          </p15:clr>
        </p15:guide>
        <p15:guide id="8" orient="horz" pos="3974">
          <p15:clr>
            <a:srgbClr val="F26B43"/>
          </p15:clr>
        </p15:guide>
        <p15:guide id="10" orient="horz" pos="129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7" name="Textplatzhalter 16"/>
          <p:cNvSpPr>
            <a:spLocks noGrp="1"/>
          </p:cNvSpPr>
          <p:nvPr>
            <p:ph type="body" idx="1"/>
          </p:nvPr>
        </p:nvSpPr>
        <p:spPr bwMode="gray">
          <a:xfrm>
            <a:off x="409575" y="1412776"/>
            <a:ext cx="11374760" cy="4895850"/>
          </a:xfrm>
          <a:prstGeom prst="rect">
            <a:avLst/>
          </a:prstGeom>
        </p:spPr>
        <p:txBody>
          <a:bodyPr vert="horz" lIns="0" tIns="0" rIns="0" bIns="0" rtlCol="0">
            <a:noAutofit/>
          </a:bodyPr>
          <a:lstStyle/>
          <a:p>
            <a:pPr lvl="0"/>
            <a:r>
              <a:rPr lang="de-DE"/>
              <a:t>Text hinzufüg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a:p>
            <a:pPr lvl="8"/>
            <a:r>
              <a:rPr lang="de-DE"/>
              <a:t>Neunte Ebene</a:t>
            </a:r>
          </a:p>
        </p:txBody>
      </p:sp>
      <p:sp>
        <p:nvSpPr>
          <p:cNvPr id="3" name="Titelplatzhalter 2"/>
          <p:cNvSpPr>
            <a:spLocks noGrp="1"/>
          </p:cNvSpPr>
          <p:nvPr>
            <p:ph type="title"/>
          </p:nvPr>
        </p:nvSpPr>
        <p:spPr bwMode="gray">
          <a:xfrm>
            <a:off x="409575" y="404664"/>
            <a:ext cx="11376024" cy="720000"/>
          </a:xfrm>
          <a:prstGeom prst="rect">
            <a:avLst/>
          </a:prstGeom>
        </p:spPr>
        <p:txBody>
          <a:bodyPr vert="horz" lIns="0" tIns="0" rIns="0" bIns="0" rtlCol="0" anchor="t">
            <a:noAutofit/>
          </a:bodyPr>
          <a:lstStyle/>
          <a:p>
            <a:r>
              <a:rPr lang="de-DE"/>
              <a:t>Titel durch Klicken bearbeiten</a:t>
            </a:r>
          </a:p>
        </p:txBody>
      </p:sp>
      <p:sp>
        <p:nvSpPr>
          <p:cNvPr id="2" name="empower - DO NOT DELETE!!!" hidden="1"/>
          <p:cNvSpPr/>
          <p:nvPr>
            <p:custDataLst>
              <p:tags r:id="rId37"/>
            </p:custDataLst>
          </p:nvPr>
        </p:nvSpPr>
        <p:spPr>
          <a:xfrm>
            <a:off x="0" y="0"/>
            <a:ext cx="0" cy="0"/>
          </a:xfrm>
          <a:prstGeom prst="ellipse">
            <a:avLst/>
          </a:prstGeom>
          <a:solidFill>
            <a:srgbClr val="A6AAA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000" lvl="0" indent="-180000" algn="ctr">
              <a:spcBef>
                <a:spcPts val="600"/>
              </a:spcBef>
              <a:buClrTx/>
              <a:buFont typeface="Wingdings" panose="05000000000000000000" pitchFamily="2" charset="2"/>
              <a:buChar char=""/>
            </a:pPr>
            <a:endParaRPr lang="de-DE" sz="1400">
              <a:solidFill>
                <a:schemeClr val="tx1"/>
              </a:solidFill>
            </a:endParaRPr>
          </a:p>
        </p:txBody>
      </p:sp>
      <p:sp>
        <p:nvSpPr>
          <p:cNvPr id="18" name="Textfeld 17">
            <a:extLst>
              <a:ext uri="{FF2B5EF4-FFF2-40B4-BE49-F238E27FC236}">
                <a16:creationId xmlns:a16="http://schemas.microsoft.com/office/drawing/2014/main" id="{C57F5BEB-3E2A-4B24-A121-EA3D6A10A49D}"/>
              </a:ext>
            </a:extLst>
          </p:cNvPr>
          <p:cNvSpPr txBox="1"/>
          <p:nvPr/>
        </p:nvSpPr>
        <p:spPr bwMode="gray">
          <a:xfrm>
            <a:off x="409575" y="6516000"/>
            <a:ext cx="11376000" cy="144000"/>
          </a:xfrm>
          <a:prstGeom prst="rect">
            <a:avLst/>
          </a:prstGeom>
          <a:noFill/>
        </p:spPr>
        <p:txBody>
          <a:bodyPr wrap="square" lIns="0" tIns="0" rIns="0" bIns="0" rtlCol="0" anchor="t">
            <a:noAutofit/>
          </a:bodyPr>
          <a:lstStyle/>
          <a:p>
            <a:pPr marL="0" marR="0" lvl="0" indent="0" defTabSz="914400" eaLnBrk="1" fontAlgn="auto" latinLnBrk="0" hangingPunct="1">
              <a:lnSpc>
                <a:spcPct val="100000"/>
              </a:lnSpc>
              <a:spcBef>
                <a:spcPts val="0"/>
              </a:spcBef>
              <a:spcAft>
                <a:spcPts val="0"/>
              </a:spcAft>
              <a:buClr>
                <a:srgbClr val="003F74"/>
              </a:buClr>
              <a:buSzTx/>
              <a:buFontTx/>
              <a:buNone/>
              <a:tabLst/>
              <a:defRPr/>
            </a:pPr>
            <a:r>
              <a:rPr kumimoji="0" lang="de-DE" sz="1000" b="0" i="0" u="none" strike="noStrike" kern="0" cap="none" spc="0" normalizeH="0" baseline="0" noProof="0">
                <a:ln>
                  <a:noFill/>
                </a:ln>
                <a:solidFill>
                  <a:schemeClr val="tx2"/>
                </a:solidFill>
                <a:effectLst/>
                <a:uLnTx/>
                <a:uFillTx/>
              </a:rPr>
              <a:t>Union Investment  </a:t>
            </a:r>
            <a:r>
              <a:rPr kumimoji="0" lang="de-DE" sz="1000" b="0" i="0" u="none" strike="noStrike" kern="0" cap="none" spc="0" normalizeH="0" baseline="0" noProof="0">
                <a:ln>
                  <a:noFill/>
                </a:ln>
                <a:solidFill>
                  <a:srgbClr val="888888"/>
                </a:solidFill>
                <a:effectLst/>
                <a:uLnTx/>
                <a:uFillTx/>
              </a:rPr>
              <a:t>|  Genossenschaftliche FinanzGruppe Volksbanken Raiffeisenbanken</a:t>
            </a:r>
          </a:p>
        </p:txBody>
      </p:sp>
      <p:sp>
        <p:nvSpPr>
          <p:cNvPr id="11" name="Fußzeilenplatzhalter 4" title="Kapitelüberschrift  |  Kürzel  |  C0  |">
            <a:extLst>
              <a:ext uri="{FF2B5EF4-FFF2-40B4-BE49-F238E27FC236}">
                <a16:creationId xmlns:a16="http://schemas.microsoft.com/office/drawing/2014/main" id="{996B40F7-01CE-4890-B0FD-B969473F52F8}"/>
              </a:ext>
            </a:extLst>
          </p:cNvPr>
          <p:cNvSpPr>
            <a:spLocks noGrp="1"/>
          </p:cNvSpPr>
          <p:nvPr>
            <p:ph type="ftr" sz="quarter" idx="3"/>
          </p:nvPr>
        </p:nvSpPr>
        <p:spPr bwMode="gray">
          <a:xfrm>
            <a:off x="6313488" y="151200"/>
            <a:ext cx="4393761" cy="180000"/>
          </a:xfrm>
          <a:prstGeom prst="rect">
            <a:avLst/>
          </a:prstGeom>
        </p:spPr>
        <p:txBody>
          <a:bodyPr vert="horz" lIns="0" tIns="0" rIns="0" bIns="0" rtlCol="0" anchor="t"/>
          <a:lstStyle>
            <a:lvl1pPr algn="r">
              <a:defRPr sz="1000">
                <a:solidFill>
                  <a:srgbClr val="888888"/>
                </a:solidFill>
              </a:defRPr>
            </a:lvl1pPr>
          </a:lstStyle>
          <a:p>
            <a:r>
              <a:rPr lang="de-DE"/>
              <a:t>UIP-EQ-CON  |  C0  |</a:t>
            </a:r>
          </a:p>
        </p:txBody>
      </p:sp>
      <p:sp>
        <p:nvSpPr>
          <p:cNvPr id="13" name="Foliennummernplatzhalter 5">
            <a:extLst>
              <a:ext uri="{FF2B5EF4-FFF2-40B4-BE49-F238E27FC236}">
                <a16:creationId xmlns:a16="http://schemas.microsoft.com/office/drawing/2014/main" id="{80CA4171-6D99-48E6-9F0F-CE88B6579C89}"/>
              </a:ext>
            </a:extLst>
          </p:cNvPr>
          <p:cNvSpPr>
            <a:spLocks noGrp="1"/>
          </p:cNvSpPr>
          <p:nvPr>
            <p:ph type="sldNum" sz="quarter" idx="4"/>
          </p:nvPr>
        </p:nvSpPr>
        <p:spPr bwMode="gray">
          <a:xfrm>
            <a:off x="11504750" y="151200"/>
            <a:ext cx="280800" cy="180000"/>
          </a:xfrm>
          <a:prstGeom prst="rect">
            <a:avLst/>
          </a:prstGeom>
        </p:spPr>
        <p:txBody>
          <a:bodyPr vert="horz" lIns="0" tIns="0" rIns="0" bIns="0" rtlCol="0" anchor="t"/>
          <a:lstStyle>
            <a:lvl1pPr algn="r">
              <a:defRPr sz="1000">
                <a:solidFill>
                  <a:srgbClr val="888888"/>
                </a:solidFill>
              </a:defRPr>
            </a:lvl1pPr>
          </a:lstStyle>
          <a:p>
            <a:fld id="{9C89B081-1F44-4440-BC7B-989C90F97B77}" type="slidenum">
              <a:rPr lang="de-DE"/>
              <a:pPr/>
              <a:t>‹Nr.›</a:t>
            </a:fld>
            <a:endParaRPr lang="de-DE"/>
          </a:p>
        </p:txBody>
      </p:sp>
      <p:sp>
        <p:nvSpPr>
          <p:cNvPr id="14" name="Textfeld 21">
            <a:extLst>
              <a:ext uri="{FF2B5EF4-FFF2-40B4-BE49-F238E27FC236}">
                <a16:creationId xmlns:a16="http://schemas.microsoft.com/office/drawing/2014/main" id="{15832723-6E6A-4D2E-9CD0-4F42482C4DBA}"/>
              </a:ext>
            </a:extLst>
          </p:cNvPr>
          <p:cNvSpPr txBox="1"/>
          <p:nvPr/>
        </p:nvSpPr>
        <p:spPr bwMode="gray">
          <a:xfrm>
            <a:off x="11462400" y="151200"/>
            <a:ext cx="36000" cy="180020"/>
          </a:xfrm>
          <a:prstGeom prst="rect">
            <a:avLst/>
          </a:prstGeom>
        </p:spPr>
        <p:txBody>
          <a:bodyPr vert="horz" wrap="square" lIns="0" tIns="0" rIns="0" bIns="0" rtlCol="0" anchor="t">
            <a:noAutofit/>
          </a:bodyPr>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fontAlgn="auto">
              <a:spcAft>
                <a:spcPts val="0"/>
              </a:spcAft>
            </a:pPr>
            <a:r>
              <a:rPr lang="de-DE" sz="1000">
                <a:solidFill>
                  <a:srgbClr val="888888"/>
                </a:solidFill>
              </a:rPr>
              <a:t>|</a:t>
            </a:r>
            <a:endParaRPr kumimoji="0" lang="de-DE" sz="1600" i="0" u="none" strike="noStrike" kern="0" cap="none" spc="0" normalizeH="0" baseline="0" noProof="0">
              <a:ln>
                <a:noFill/>
              </a:ln>
              <a:solidFill>
                <a:srgbClr val="888888"/>
              </a:solidFill>
              <a:effectLst/>
              <a:uLnTx/>
              <a:uFillTx/>
              <a:latin typeface="+mj-lt"/>
            </a:endParaRPr>
          </a:p>
        </p:txBody>
      </p:sp>
      <p:sp>
        <p:nvSpPr>
          <p:cNvPr id="4" name="Datumsplatzhalter 3">
            <a:extLst>
              <a:ext uri="{FF2B5EF4-FFF2-40B4-BE49-F238E27FC236}">
                <a16:creationId xmlns:a16="http://schemas.microsoft.com/office/drawing/2014/main" id="{BBD5502F-296A-410B-A424-0FD8D874283B}"/>
              </a:ext>
            </a:extLst>
          </p:cNvPr>
          <p:cNvSpPr>
            <a:spLocks noGrp="1"/>
          </p:cNvSpPr>
          <p:nvPr>
            <p:ph type="dt" sz="half" idx="2"/>
          </p:nvPr>
        </p:nvSpPr>
        <p:spPr bwMode="gray">
          <a:xfrm>
            <a:off x="10709631" y="151200"/>
            <a:ext cx="748800" cy="180000"/>
          </a:xfrm>
          <a:prstGeom prst="rect">
            <a:avLst/>
          </a:prstGeom>
        </p:spPr>
        <p:txBody>
          <a:bodyPr vert="horz" wrap="none" lIns="0" tIns="0" rIns="0" bIns="0" rtlCol="0" anchor="t"/>
          <a:lstStyle>
            <a:lvl1pPr algn="ctr">
              <a:defRPr sz="1000">
                <a:solidFill>
                  <a:srgbClr val="888888"/>
                </a:solidFill>
              </a:defRPr>
            </a:lvl1pPr>
          </a:lstStyle>
          <a:p>
            <a:r>
              <a:rPr lang="de-DE"/>
              <a:t>Jan. 2023</a:t>
            </a:r>
          </a:p>
        </p:txBody>
      </p:sp>
    </p:spTree>
    <p:extLst>
      <p:ext uri="{BB962C8B-B14F-4D97-AF65-F5344CB8AC3E}">
        <p14:creationId xmlns:p14="http://schemas.microsoft.com/office/powerpoint/2010/main" val="2456731729"/>
      </p:ext>
    </p:extLst>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 id="2147483857" r:id="rId19"/>
    <p:sldLayoutId id="2147483858" r:id="rId20"/>
    <p:sldLayoutId id="2147483859" r:id="rId21"/>
    <p:sldLayoutId id="2147483860" r:id="rId22"/>
    <p:sldLayoutId id="2147483861" r:id="rId23"/>
    <p:sldLayoutId id="2147483862" r:id="rId24"/>
    <p:sldLayoutId id="2147483863" r:id="rId25"/>
    <p:sldLayoutId id="2147483864" r:id="rId26"/>
    <p:sldLayoutId id="2147483865" r:id="rId27"/>
    <p:sldLayoutId id="2147483866" r:id="rId28"/>
    <p:sldLayoutId id="2147483867" r:id="rId29"/>
    <p:sldLayoutId id="2147483868" r:id="rId30"/>
    <p:sldLayoutId id="2147483869" r:id="rId31"/>
    <p:sldLayoutId id="2147483870" r:id="rId32"/>
    <p:sldLayoutId id="2147483871" r:id="rId33"/>
    <p:sldLayoutId id="2147483872" r:id="rId34"/>
    <p:sldLayoutId id="2147483873" r:id="rId3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spcBef>
          <a:spcPct val="0"/>
        </a:spcBef>
        <a:buNone/>
        <a:defRPr lang="de-DE" sz="2600" b="1" kern="1200" dirty="0">
          <a:solidFill>
            <a:schemeClr val="tx2"/>
          </a:solidFill>
          <a:latin typeface="+mj-lt"/>
          <a:ea typeface="+mj-ea"/>
          <a:cs typeface="+mj-cs"/>
        </a:defRPr>
      </a:lvl1pPr>
    </p:titleStyle>
    <p:bodyStyle>
      <a:lvl1pPr marL="0" indent="0" algn="l" defTabSz="914400" rtl="0" eaLnBrk="1" latinLnBrk="0" hangingPunct="1">
        <a:spcBef>
          <a:spcPts val="1200"/>
        </a:spcBef>
        <a:buFont typeface="Arial" panose="020B0604020202020204" pitchFamily="34" charset="0"/>
        <a:buNone/>
        <a:defRPr lang="de-DE" sz="1800" b="0" kern="1200" dirty="0">
          <a:solidFill>
            <a:schemeClr val="tx2"/>
          </a:solidFill>
          <a:latin typeface="+mn-lt"/>
          <a:ea typeface="+mn-ea"/>
          <a:cs typeface="+mn-cs"/>
        </a:defRPr>
      </a:lvl1pPr>
      <a:lvl2pPr marL="0" indent="0" algn="l" defTabSz="914400" rtl="0" eaLnBrk="1" latinLnBrk="0" hangingPunct="1">
        <a:spcBef>
          <a:spcPts val="600"/>
        </a:spcBef>
        <a:buFont typeface="Arial" panose="020B0604020202020204" pitchFamily="34" charset="0"/>
        <a:buNone/>
        <a:defRPr lang="de-DE" sz="1800" kern="1200" dirty="0">
          <a:solidFill>
            <a:schemeClr val="tx1"/>
          </a:solidFill>
          <a:latin typeface="+mn-lt"/>
          <a:ea typeface="+mn-ea"/>
          <a:cs typeface="+mn-cs"/>
        </a:defRPr>
      </a:lvl2pPr>
      <a:lvl3pPr marL="180000" indent="-180000" algn="l" defTabSz="914400" rtl="0" eaLnBrk="1" latinLnBrk="0" hangingPunct="1">
        <a:spcBef>
          <a:spcPts val="600"/>
        </a:spcBef>
        <a:buClrTx/>
        <a:buFont typeface="Wingdings" panose="05000000000000000000" pitchFamily="2" charset="2"/>
        <a:buChar char=""/>
        <a:defRPr lang="de-DE" sz="1800" kern="1200" dirty="0">
          <a:solidFill>
            <a:schemeClr val="tx1"/>
          </a:solidFill>
          <a:latin typeface="+mn-lt"/>
          <a:ea typeface="+mn-ea"/>
          <a:cs typeface="+mn-cs"/>
        </a:defRPr>
      </a:lvl3pPr>
      <a:lvl4pPr marL="360000" indent="-180000" algn="l" defTabSz="914400" rtl="0" eaLnBrk="1" latinLnBrk="0" hangingPunct="1">
        <a:spcBef>
          <a:spcPts val="400"/>
        </a:spcBef>
        <a:buClrTx/>
        <a:buFont typeface="Arial" panose="020B0604020202020204" pitchFamily="34" charset="0"/>
        <a:buChar char="•"/>
        <a:defRPr lang="de-DE" sz="1800" kern="1200" dirty="0">
          <a:solidFill>
            <a:schemeClr val="tx1"/>
          </a:solidFill>
          <a:latin typeface="+mn-lt"/>
          <a:ea typeface="+mn-ea"/>
          <a:cs typeface="+mn-cs"/>
        </a:defRPr>
      </a:lvl4pPr>
      <a:lvl5pPr marL="576000" indent="-216000" algn="l" defTabSz="914400" rtl="0" eaLnBrk="1" latinLnBrk="0" hangingPunct="1">
        <a:spcBef>
          <a:spcPts val="400"/>
        </a:spcBef>
        <a:buFont typeface="Symbol" panose="05050102010706020507" pitchFamily="18" charset="2"/>
        <a:buChar char="-"/>
        <a:defRPr lang="de-DE" sz="1800" kern="1200" dirty="0">
          <a:solidFill>
            <a:schemeClr val="tx1"/>
          </a:solidFill>
          <a:latin typeface="+mn-lt"/>
          <a:ea typeface="+mn-ea"/>
          <a:cs typeface="+mn-cs"/>
        </a:defRPr>
      </a:lvl5pPr>
      <a:lvl6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6pPr>
      <a:lvl7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7pPr>
      <a:lvl8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8pPr>
      <a:lvl9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8">
          <p15:clr>
            <a:srgbClr val="F26B43"/>
          </p15:clr>
        </p15:guide>
        <p15:guide id="2" orient="horz" pos="255">
          <p15:clr>
            <a:srgbClr val="F26B43"/>
          </p15:clr>
        </p15:guide>
        <p15:guide id="3" pos="7424">
          <p15:clr>
            <a:srgbClr val="F26B43"/>
          </p15:clr>
        </p15:guide>
        <p15:guide id="7" orient="horz" pos="890">
          <p15:clr>
            <a:srgbClr val="F26B43"/>
          </p15:clr>
        </p15:guide>
        <p15:guide id="8" orient="horz" pos="3974">
          <p15:clr>
            <a:srgbClr val="F26B43"/>
          </p15:clr>
        </p15:guide>
        <p15:guide id="10" orient="horz" pos="129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6.xml"/><Relationship Id="rId1" Type="http://schemas.openxmlformats.org/officeDocument/2006/relationships/tags" Target="../tags/tag5.xml"/><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8.xml"/><Relationship Id="rId1" Type="http://schemas.openxmlformats.org/officeDocument/2006/relationships/slideLayout" Target="../slideLayouts/slideLayout23.xml"/><Relationship Id="rId5" Type="http://schemas.openxmlformats.org/officeDocument/2006/relationships/chart" Target="../charts/chart9.xml"/><Relationship Id="rId4" Type="http://schemas.openxmlformats.org/officeDocument/2006/relationships/chart" Target="../charts/chart8.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1.xml"/><Relationship Id="rId1" Type="http://schemas.openxmlformats.org/officeDocument/2006/relationships/tags" Target="../tags/tag8.xml"/><Relationship Id="rId5" Type="http://schemas.openxmlformats.org/officeDocument/2006/relationships/chart" Target="../charts/chart11.xml"/><Relationship Id="rId4" Type="http://schemas.openxmlformats.org/officeDocument/2006/relationships/chart" Target="../charts/chart10.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1.xml"/><Relationship Id="rId1" Type="http://schemas.openxmlformats.org/officeDocument/2006/relationships/tags" Target="../tags/tag9.xml"/><Relationship Id="rId5" Type="http://schemas.openxmlformats.org/officeDocument/2006/relationships/image" Target="../media/image19.emf"/><Relationship Id="rId4" Type="http://schemas.openxmlformats.org/officeDocument/2006/relationships/chart" Target="../charts/chart12.xml"/></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1.xml"/><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2.xml"/><Relationship Id="rId1" Type="http://schemas.openxmlformats.org/officeDocument/2006/relationships/tags" Target="../tags/tag10.xml"/><Relationship Id="rId5" Type="http://schemas.openxmlformats.org/officeDocument/2006/relationships/chart" Target="../charts/chart14.xml"/><Relationship Id="rId4" Type="http://schemas.openxmlformats.org/officeDocument/2006/relationships/chart" Target="../charts/chart13.xml"/></Relationships>
</file>

<file path=ppt/slides/_rels/slide15.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svg"/><Relationship Id="rId3" Type="http://schemas.openxmlformats.org/officeDocument/2006/relationships/image" Target="../media/image22.svg"/><Relationship Id="rId7" Type="http://schemas.openxmlformats.org/officeDocument/2006/relationships/image" Target="../media/image26.svg"/><Relationship Id="rId12" Type="http://schemas.openxmlformats.org/officeDocument/2006/relationships/image" Target="../media/image31.png"/><Relationship Id="rId2" Type="http://schemas.openxmlformats.org/officeDocument/2006/relationships/image" Target="../media/image21.png"/><Relationship Id="rId1" Type="http://schemas.openxmlformats.org/officeDocument/2006/relationships/slideLayout" Target="../slideLayouts/slideLayout20.xml"/><Relationship Id="rId6" Type="http://schemas.openxmlformats.org/officeDocument/2006/relationships/image" Target="../media/image25.png"/><Relationship Id="rId11" Type="http://schemas.openxmlformats.org/officeDocument/2006/relationships/image" Target="../media/image30.svg"/><Relationship Id="rId5" Type="http://schemas.openxmlformats.org/officeDocument/2006/relationships/image" Target="../media/image24.svg"/><Relationship Id="rId10" Type="http://schemas.openxmlformats.org/officeDocument/2006/relationships/image" Target="../media/image29.png"/><Relationship Id="rId4" Type="http://schemas.openxmlformats.org/officeDocument/2006/relationships/image" Target="../media/image23.png"/><Relationship Id="rId9" Type="http://schemas.openxmlformats.org/officeDocument/2006/relationships/image" Target="../media/image28.sv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2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7.xml"/><Relationship Id="rId1" Type="http://schemas.openxmlformats.org/officeDocument/2006/relationships/slideLayout" Target="../slideLayouts/slideLayout35.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2.xml"/><Relationship Id="rId1" Type="http://schemas.openxmlformats.org/officeDocument/2006/relationships/tags" Target="../tags/tag11.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8.xml"/><Relationship Id="rId5" Type="http://schemas.openxmlformats.org/officeDocument/2006/relationships/image" Target="../media/image11.png"/><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2.xml"/><Relationship Id="rId1" Type="http://schemas.openxmlformats.org/officeDocument/2006/relationships/tags" Target="../tags/tag6.xml"/><Relationship Id="rId6" Type="http://schemas.openxmlformats.org/officeDocument/2006/relationships/chart" Target="../charts/chart1.xml"/><Relationship Id="rId5" Type="http://schemas.openxmlformats.org/officeDocument/2006/relationships/image" Target="../media/image15.emf"/><Relationship Id="rId4" Type="http://schemas.openxmlformats.org/officeDocument/2006/relationships/image" Target="../media/image14.emf"/></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18.xml"/><Relationship Id="rId6" Type="http://schemas.openxmlformats.org/officeDocument/2006/relationships/image" Target="../media/image18.emf"/><Relationship Id="rId5" Type="http://schemas.openxmlformats.org/officeDocument/2006/relationships/oleObject" Target="../embeddings/oleObject1.bin"/><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1.xml"/><Relationship Id="rId1" Type="http://schemas.openxmlformats.org/officeDocument/2006/relationships/tags" Target="../tags/tag7.xml"/><Relationship Id="rId5" Type="http://schemas.openxmlformats.org/officeDocument/2006/relationships/chart" Target="../charts/chart3.xml"/><Relationship Id="rId4" Type="http://schemas.openxmlformats.org/officeDocument/2006/relationships/chart" Target="../charts/chart2.xml"/></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7.xml"/><Relationship Id="rId1" Type="http://schemas.openxmlformats.org/officeDocument/2006/relationships/slideLayout" Target="../slideLayouts/slideLayout23.xml"/><Relationship Id="rId5" Type="http://schemas.openxmlformats.org/officeDocument/2006/relationships/chart" Target="../charts/chart6.xml"/><Relationship Id="rId4" Type="http://schemas.openxmlformats.org/officeDocument/2006/relationships/chart" Target="../charts/char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D8D7FA43-324B-3711-E47F-9169D058119C}"/>
              </a:ext>
            </a:extLst>
          </p:cNvPr>
          <p:cNvPicPr>
            <a:picLocks noChangeAspect="1"/>
          </p:cNvPicPr>
          <p:nvPr/>
        </p:nvPicPr>
        <p:blipFill>
          <a:blip r:embed="rId4"/>
          <a:stretch>
            <a:fillRect/>
          </a:stretch>
        </p:blipFill>
        <p:spPr>
          <a:xfrm>
            <a:off x="-127367" y="0"/>
            <a:ext cx="12449907" cy="6858000"/>
          </a:xfrm>
          <a:prstGeom prst="rect">
            <a:avLst/>
          </a:prstGeom>
        </p:spPr>
      </p:pic>
      <p:sp>
        <p:nvSpPr>
          <p:cNvPr id="13" name="Textplatzhalter 12">
            <a:extLst>
              <a:ext uri="{FF2B5EF4-FFF2-40B4-BE49-F238E27FC236}">
                <a16:creationId xmlns:a16="http://schemas.microsoft.com/office/drawing/2014/main" id="{FF9B1B34-B185-4709-AAF3-E599EB388368}"/>
              </a:ext>
            </a:extLst>
          </p:cNvPr>
          <p:cNvSpPr>
            <a:spLocks noGrp="1"/>
          </p:cNvSpPr>
          <p:nvPr>
            <p:ph type="body" sz="quarter" idx="15"/>
          </p:nvPr>
        </p:nvSpPr>
        <p:spPr>
          <a:xfrm>
            <a:off x="630000" y="0"/>
            <a:ext cx="11565176" cy="4222561"/>
          </a:xfrm>
        </p:spPr>
        <p:txBody>
          <a:bodyPr/>
          <a:lstStyle/>
          <a:p>
            <a:r>
              <a:rPr lang="de-DE" dirty="0"/>
              <a:t>Wirtschaft im Wandel: Inflation, Rezession, Nachhaltigkeit  und KI – Wohin geht die Reise?</a:t>
            </a:r>
          </a:p>
        </p:txBody>
      </p:sp>
      <p:sp>
        <p:nvSpPr>
          <p:cNvPr id="3" name="Textplatzhalter 2">
            <a:extLst>
              <a:ext uri="{FF2B5EF4-FFF2-40B4-BE49-F238E27FC236}">
                <a16:creationId xmlns:a16="http://schemas.microsoft.com/office/drawing/2014/main" id="{C88E29AB-2F6E-406D-9D35-CA3C9221AB5B}"/>
              </a:ext>
            </a:extLst>
          </p:cNvPr>
          <p:cNvSpPr>
            <a:spLocks noGrp="1"/>
          </p:cNvSpPr>
          <p:nvPr>
            <p:ph type="body" sz="quarter" idx="19"/>
          </p:nvPr>
        </p:nvSpPr>
        <p:spPr>
          <a:xfrm>
            <a:off x="1030048" y="738633"/>
            <a:ext cx="6481588" cy="492443"/>
          </a:xfrm>
        </p:spPr>
        <p:txBody>
          <a:bodyPr/>
          <a:lstStyle/>
          <a:p>
            <a:r>
              <a:rPr lang="de-DE" dirty="0"/>
              <a:t>In Kooperation mit Volksbank Wien</a:t>
            </a:r>
          </a:p>
          <a:p>
            <a:endParaRPr lang="de-DE" dirty="0"/>
          </a:p>
        </p:txBody>
      </p:sp>
      <p:sp>
        <p:nvSpPr>
          <p:cNvPr id="5" name="Textplatzhalter 4">
            <a:extLst>
              <a:ext uri="{FF2B5EF4-FFF2-40B4-BE49-F238E27FC236}">
                <a16:creationId xmlns:a16="http://schemas.microsoft.com/office/drawing/2014/main" id="{3C9AD056-FA11-4588-A988-69FA23424B7E}"/>
              </a:ext>
            </a:extLst>
          </p:cNvPr>
          <p:cNvSpPr>
            <a:spLocks noGrp="1"/>
          </p:cNvSpPr>
          <p:nvPr>
            <p:ph type="body" sz="quarter" idx="22"/>
          </p:nvPr>
        </p:nvSpPr>
        <p:spPr/>
        <p:txBody>
          <a:bodyPr/>
          <a:lstStyle/>
          <a:p>
            <a:endParaRPr lang="de-DE" dirty="0"/>
          </a:p>
        </p:txBody>
      </p:sp>
      <p:sp>
        <p:nvSpPr>
          <p:cNvPr id="4" name="Textplatzhalter 3">
            <a:extLst>
              <a:ext uri="{FF2B5EF4-FFF2-40B4-BE49-F238E27FC236}">
                <a16:creationId xmlns:a16="http://schemas.microsoft.com/office/drawing/2014/main" id="{4BCB727F-8C9B-4D95-A69F-3B12510F450C}"/>
              </a:ext>
            </a:extLst>
          </p:cNvPr>
          <p:cNvSpPr>
            <a:spLocks noGrp="1"/>
          </p:cNvSpPr>
          <p:nvPr>
            <p:ph type="body" sz="quarter" idx="20"/>
          </p:nvPr>
        </p:nvSpPr>
        <p:spPr>
          <a:xfrm>
            <a:off x="1030048" y="2961335"/>
            <a:ext cx="6481588" cy="246221"/>
          </a:xfrm>
        </p:spPr>
        <p:txBody>
          <a:bodyPr/>
          <a:lstStyle/>
          <a:p>
            <a:r>
              <a:rPr lang="de-DE" dirty="0"/>
              <a:t>Union Investment Austria GmbH / Wien, 27. August 2024</a:t>
            </a:r>
          </a:p>
        </p:txBody>
      </p:sp>
      <p:sp>
        <p:nvSpPr>
          <p:cNvPr id="2" name="Textplatzhalter 1">
            <a:extLst>
              <a:ext uri="{FF2B5EF4-FFF2-40B4-BE49-F238E27FC236}">
                <a16:creationId xmlns:a16="http://schemas.microsoft.com/office/drawing/2014/main" id="{39F900B5-049F-4879-B519-F8FA53E68168}"/>
              </a:ext>
            </a:extLst>
          </p:cNvPr>
          <p:cNvSpPr>
            <a:spLocks noGrp="1"/>
          </p:cNvSpPr>
          <p:nvPr>
            <p:ph type="body" sz="quarter" idx="17"/>
          </p:nvPr>
        </p:nvSpPr>
        <p:spPr/>
        <p:txBody>
          <a:bodyPr/>
          <a:lstStyle/>
          <a:p>
            <a:endParaRPr lang="de-DE" dirty="0"/>
          </a:p>
        </p:txBody>
      </p:sp>
    </p:spTree>
    <p:custDataLst>
      <p:tags r:id="rId1"/>
    </p:custDataLst>
    <p:extLst>
      <p:ext uri="{BB962C8B-B14F-4D97-AF65-F5344CB8AC3E}">
        <p14:creationId xmlns:p14="http://schemas.microsoft.com/office/powerpoint/2010/main" val="3908848561"/>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Inhaltsplatzhalter 17">
            <a:extLst>
              <a:ext uri="{FF2B5EF4-FFF2-40B4-BE49-F238E27FC236}">
                <a16:creationId xmlns:a16="http://schemas.microsoft.com/office/drawing/2014/main" id="{DF6714A5-1B59-44E4-8263-CE27F70ED72E}"/>
              </a:ext>
            </a:extLst>
          </p:cNvPr>
          <p:cNvGraphicFramePr>
            <a:graphicFrameLocks noGrp="1"/>
          </p:cNvGraphicFramePr>
          <p:nvPr>
            <p:ph sz="quarter" idx="28"/>
            <p:extLst>
              <p:ext uri="{D42A27DB-BD31-4B8C-83A1-F6EECF244321}">
                <p14:modId xmlns:p14="http://schemas.microsoft.com/office/powerpoint/2010/main" val="2448471832"/>
              </p:ext>
            </p:extLst>
          </p:nvPr>
        </p:nvGraphicFramePr>
        <p:xfrm>
          <a:off x="4333875" y="1771331"/>
          <a:ext cx="3527425" cy="3714591"/>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platzhalter 5">
            <a:extLst>
              <a:ext uri="{FF2B5EF4-FFF2-40B4-BE49-F238E27FC236}">
                <a16:creationId xmlns:a16="http://schemas.microsoft.com/office/drawing/2014/main" id="{66F43D92-29F0-4DC8-B148-D543B2EAEED9}"/>
              </a:ext>
            </a:extLst>
          </p:cNvPr>
          <p:cNvSpPr>
            <a:spLocks noGrp="1"/>
          </p:cNvSpPr>
          <p:nvPr>
            <p:ph type="body" sz="quarter" idx="19"/>
          </p:nvPr>
        </p:nvSpPr>
        <p:spPr>
          <a:xfrm>
            <a:off x="406799" y="1123632"/>
            <a:ext cx="3530201" cy="287932"/>
          </a:xfrm>
        </p:spPr>
        <p:txBody>
          <a:bodyPr/>
          <a:lstStyle/>
          <a:p>
            <a:r>
              <a:rPr lang="de-DE" dirty="0"/>
              <a:t>Europawahl schlägt auf Stimmung</a:t>
            </a:r>
          </a:p>
        </p:txBody>
      </p:sp>
      <p:sp>
        <p:nvSpPr>
          <p:cNvPr id="7" name="Textplatzhalter 6">
            <a:extLst>
              <a:ext uri="{FF2B5EF4-FFF2-40B4-BE49-F238E27FC236}">
                <a16:creationId xmlns:a16="http://schemas.microsoft.com/office/drawing/2014/main" id="{ACA9BB18-7FCE-4A82-B159-371BA5110F01}"/>
              </a:ext>
            </a:extLst>
          </p:cNvPr>
          <p:cNvSpPr>
            <a:spLocks noGrp="1"/>
          </p:cNvSpPr>
          <p:nvPr>
            <p:ph type="body" sz="quarter" idx="21"/>
          </p:nvPr>
        </p:nvSpPr>
        <p:spPr>
          <a:xfrm>
            <a:off x="406799" y="1411564"/>
            <a:ext cx="3629941" cy="215444"/>
          </a:xfrm>
        </p:spPr>
        <p:txBody>
          <a:bodyPr/>
          <a:lstStyle/>
          <a:p>
            <a:r>
              <a:rPr lang="de-DE"/>
              <a:t>Einkaufsmanagerindizes Eurozone</a:t>
            </a:r>
          </a:p>
        </p:txBody>
      </p:sp>
      <p:sp>
        <p:nvSpPr>
          <p:cNvPr id="8" name="Textplatzhalter 7">
            <a:extLst>
              <a:ext uri="{FF2B5EF4-FFF2-40B4-BE49-F238E27FC236}">
                <a16:creationId xmlns:a16="http://schemas.microsoft.com/office/drawing/2014/main" id="{C71C3EAF-AD27-4E2A-9EF6-D840C3EAF028}"/>
              </a:ext>
            </a:extLst>
          </p:cNvPr>
          <p:cNvSpPr>
            <a:spLocks noGrp="1"/>
          </p:cNvSpPr>
          <p:nvPr>
            <p:ph type="body" sz="quarter" idx="31"/>
          </p:nvPr>
        </p:nvSpPr>
        <p:spPr>
          <a:xfrm>
            <a:off x="4334328" y="1123632"/>
            <a:ext cx="3737780" cy="215445"/>
          </a:xfrm>
        </p:spPr>
        <p:txBody>
          <a:bodyPr/>
          <a:lstStyle/>
          <a:p>
            <a:r>
              <a:rPr lang="de-DE" dirty="0"/>
              <a:t>Konsum: Erholung setzt sich fort</a:t>
            </a:r>
          </a:p>
        </p:txBody>
      </p:sp>
      <p:sp>
        <p:nvSpPr>
          <p:cNvPr id="9" name="Textplatzhalter 8">
            <a:extLst>
              <a:ext uri="{FF2B5EF4-FFF2-40B4-BE49-F238E27FC236}">
                <a16:creationId xmlns:a16="http://schemas.microsoft.com/office/drawing/2014/main" id="{A9C4C6D9-B3DC-4E19-96B1-605C59D62808}"/>
              </a:ext>
            </a:extLst>
          </p:cNvPr>
          <p:cNvSpPr>
            <a:spLocks noGrp="1"/>
          </p:cNvSpPr>
          <p:nvPr>
            <p:ph type="body" sz="quarter" idx="32"/>
          </p:nvPr>
        </p:nvSpPr>
        <p:spPr>
          <a:xfrm>
            <a:off x="4333875" y="1411464"/>
            <a:ext cx="3527379" cy="215444"/>
          </a:xfrm>
        </p:spPr>
        <p:txBody>
          <a:bodyPr/>
          <a:lstStyle/>
          <a:p>
            <a:r>
              <a:rPr lang="de-DE" dirty="0"/>
              <a:t>EC Consumer Confidence Eurozone</a:t>
            </a:r>
          </a:p>
        </p:txBody>
      </p:sp>
      <p:sp>
        <p:nvSpPr>
          <p:cNvPr id="10" name="Textplatzhalter 9">
            <a:extLst>
              <a:ext uri="{FF2B5EF4-FFF2-40B4-BE49-F238E27FC236}">
                <a16:creationId xmlns:a16="http://schemas.microsoft.com/office/drawing/2014/main" id="{5FA76D47-F00C-462B-8A42-6914E17BAE82}"/>
              </a:ext>
            </a:extLst>
          </p:cNvPr>
          <p:cNvSpPr>
            <a:spLocks noGrp="1"/>
          </p:cNvSpPr>
          <p:nvPr>
            <p:ph type="body" sz="quarter" idx="33"/>
          </p:nvPr>
        </p:nvSpPr>
        <p:spPr>
          <a:xfrm>
            <a:off x="8258175" y="1131113"/>
            <a:ext cx="3737780" cy="287932"/>
          </a:xfrm>
        </p:spPr>
        <p:txBody>
          <a:bodyPr/>
          <a:lstStyle/>
          <a:p>
            <a:r>
              <a:rPr lang="de-DE" dirty="0"/>
              <a:t>Inflation: Rückgang erwartet</a:t>
            </a:r>
          </a:p>
        </p:txBody>
      </p:sp>
      <p:sp>
        <p:nvSpPr>
          <p:cNvPr id="11" name="Textplatzhalter 10">
            <a:extLst>
              <a:ext uri="{FF2B5EF4-FFF2-40B4-BE49-F238E27FC236}">
                <a16:creationId xmlns:a16="http://schemas.microsoft.com/office/drawing/2014/main" id="{83E5D2AF-D952-48E8-8517-D2082D385018}"/>
              </a:ext>
            </a:extLst>
          </p:cNvPr>
          <p:cNvSpPr>
            <a:spLocks noGrp="1"/>
          </p:cNvSpPr>
          <p:nvPr>
            <p:ph type="body" sz="quarter" idx="34"/>
          </p:nvPr>
        </p:nvSpPr>
        <p:spPr>
          <a:xfrm>
            <a:off x="8258225" y="1428352"/>
            <a:ext cx="3527375" cy="215444"/>
          </a:xfrm>
        </p:spPr>
        <p:txBody>
          <a:bodyPr/>
          <a:lstStyle/>
          <a:p>
            <a:r>
              <a:rPr lang="de-DE" dirty="0"/>
              <a:t>EZB-Umfrage 1J-Inflationserwartungen</a:t>
            </a:r>
          </a:p>
        </p:txBody>
      </p:sp>
      <p:sp>
        <p:nvSpPr>
          <p:cNvPr id="12" name="Textplatzhalter 11">
            <a:extLst>
              <a:ext uri="{FF2B5EF4-FFF2-40B4-BE49-F238E27FC236}">
                <a16:creationId xmlns:a16="http://schemas.microsoft.com/office/drawing/2014/main" id="{DAE651A5-AEB4-42FC-A707-EE908F8AFCAF}"/>
              </a:ext>
            </a:extLst>
          </p:cNvPr>
          <p:cNvSpPr>
            <a:spLocks noGrp="1"/>
          </p:cNvSpPr>
          <p:nvPr>
            <p:ph type="body" sz="quarter" idx="25"/>
          </p:nvPr>
        </p:nvSpPr>
        <p:spPr>
          <a:xfrm>
            <a:off x="409626" y="6429801"/>
            <a:ext cx="11375974" cy="276999"/>
          </a:xfrm>
        </p:spPr>
        <p:txBody>
          <a:bodyPr/>
          <a:lstStyle/>
          <a:p>
            <a:r>
              <a:rPr lang="de-DE" dirty="0"/>
              <a:t>Quelle: Bloomberg, LSEG, Union Investment; Stand: 15. August 2024. </a:t>
            </a:r>
            <a:r>
              <a:rPr lang="de-DE" dirty="0">
                <a:effectLst/>
                <a:ea typeface="Calibri" panose="020F0502020204030204" pitchFamily="34" charset="0"/>
                <a:cs typeface="Times New Roman" panose="02020603050405020304" pitchFamily="18" charset="0"/>
              </a:rPr>
              <a:t>Die Quellenangabe bezieht sich auf alle angeführten Grafiken.</a:t>
            </a:r>
          </a:p>
          <a:p>
            <a:r>
              <a:rPr lang="de-DE" sz="1200" dirty="0">
                <a:effectLst/>
                <a:latin typeface="Arial" panose="020B0604020202020204" pitchFamily="34" charset="0"/>
                <a:ea typeface="Times New Roman" panose="02020603050405020304" pitchFamily="18" charset="0"/>
                <a:cs typeface="Times New Roman" panose="02020603050405020304" pitchFamily="18" charset="0"/>
              </a:rPr>
              <a:t>Die Angaben zur Wertentwicklung basieren auf Vergangenheitswerten. Die Wert- und Ertragsentwicklungen können nicht mit Bestimmtheit vorausgesagt werden. Performanceergebnisse der Vergangenheit lassen keine Rückschlüsse auf die zukünftige Entwicklung zu.</a:t>
            </a:r>
          </a:p>
          <a:p>
            <a:endParaRPr lang="en-US" dirty="0"/>
          </a:p>
          <a:p>
            <a:endParaRPr lang="de-DE" dirty="0"/>
          </a:p>
        </p:txBody>
      </p:sp>
      <p:sp>
        <p:nvSpPr>
          <p:cNvPr id="2" name="Titel 1">
            <a:extLst>
              <a:ext uri="{FF2B5EF4-FFF2-40B4-BE49-F238E27FC236}">
                <a16:creationId xmlns:a16="http://schemas.microsoft.com/office/drawing/2014/main" id="{617EFD68-6C52-4CBC-97AD-F47435ED9B9A}"/>
              </a:ext>
            </a:extLst>
          </p:cNvPr>
          <p:cNvSpPr>
            <a:spLocks noGrp="1"/>
          </p:cNvSpPr>
          <p:nvPr>
            <p:ph type="title"/>
          </p:nvPr>
        </p:nvSpPr>
        <p:spPr>
          <a:xfrm>
            <a:off x="409575" y="404664"/>
            <a:ext cx="11507122" cy="720000"/>
          </a:xfrm>
        </p:spPr>
        <p:txBody>
          <a:bodyPr/>
          <a:lstStyle/>
          <a:p>
            <a:r>
              <a:rPr lang="de-DE" dirty="0"/>
              <a:t>Euroraum: </a:t>
            </a:r>
            <a:r>
              <a:rPr lang="de-DE" dirty="0">
                <a:solidFill>
                  <a:schemeClr val="accent2"/>
                </a:solidFill>
              </a:rPr>
              <a:t>Konjunkturelle Dynamik </a:t>
            </a:r>
            <a:r>
              <a:rPr lang="de-DE" dirty="0"/>
              <a:t>stabilisiert sich auf niedrigem Niveau</a:t>
            </a:r>
            <a:endParaRPr lang="de-DE" dirty="0">
              <a:solidFill>
                <a:schemeClr val="accent2"/>
              </a:solidFill>
            </a:endParaRPr>
          </a:p>
        </p:txBody>
      </p:sp>
      <p:sp>
        <p:nvSpPr>
          <p:cNvPr id="13" name="Foliennummernplatzhalter 7">
            <a:extLst>
              <a:ext uri="{FF2B5EF4-FFF2-40B4-BE49-F238E27FC236}">
                <a16:creationId xmlns:a16="http://schemas.microsoft.com/office/drawing/2014/main" id="{9CE57EF6-53B2-4B42-91F4-DC6CB19FCB85}"/>
              </a:ext>
            </a:extLst>
          </p:cNvPr>
          <p:cNvSpPr txBox="1">
            <a:spLocks/>
          </p:cNvSpPr>
          <p:nvPr/>
        </p:nvSpPr>
        <p:spPr bwMode="gray">
          <a:xfrm>
            <a:off x="11504750" y="151200"/>
            <a:ext cx="280800" cy="180000"/>
          </a:xfrm>
          <a:prstGeom prst="rect">
            <a:avLst/>
          </a:prstGeom>
        </p:spPr>
        <p:txBody>
          <a:bodyPr vert="horz" lIns="0" tIns="0" rIns="0" bIns="0" rtlCol="0" anchor="t"/>
          <a:lstStyle>
            <a:defPPr>
              <a:defRPr lang="de-DE"/>
            </a:defPPr>
            <a:lvl1pPr algn="r">
              <a:defRPr sz="1000">
                <a:solidFill>
                  <a:srgbClr val="888888"/>
                </a:solidFill>
              </a:defRPr>
            </a:lvl1pPr>
            <a:lvl2pPr marL="0" indent="0" algn="l" defTabSz="914400" rtl="0" eaLnBrk="1" latinLnBrk="0" hangingPunct="1">
              <a:spcBef>
                <a:spcPts val="600"/>
              </a:spcBef>
              <a:buFont typeface="Arial" panose="020B0604020202020204" pitchFamily="34" charset="0"/>
              <a:buNone/>
              <a:defRPr lang="de-DE" sz="1800" kern="1200" dirty="0">
                <a:solidFill>
                  <a:schemeClr val="tx1"/>
                </a:solidFill>
                <a:latin typeface="+mn-lt"/>
                <a:ea typeface="+mn-ea"/>
                <a:cs typeface="+mn-cs"/>
              </a:defRPr>
            </a:lvl2pPr>
            <a:lvl3pPr marL="180000" indent="-180000" algn="l" defTabSz="914400" rtl="0" eaLnBrk="1" latinLnBrk="0" hangingPunct="1">
              <a:spcBef>
                <a:spcPts val="600"/>
              </a:spcBef>
              <a:buClrTx/>
              <a:buFont typeface="Wingdings" panose="05000000000000000000" pitchFamily="2" charset="2"/>
              <a:buChar char=""/>
              <a:defRPr lang="de-DE" sz="1800" kern="1200" dirty="0">
                <a:solidFill>
                  <a:schemeClr val="tx1"/>
                </a:solidFill>
                <a:latin typeface="+mn-lt"/>
                <a:ea typeface="+mn-ea"/>
                <a:cs typeface="+mn-cs"/>
              </a:defRPr>
            </a:lvl3pPr>
            <a:lvl4pPr marL="360000" indent="-180000" algn="l" defTabSz="914400" rtl="0" eaLnBrk="1" latinLnBrk="0" hangingPunct="1">
              <a:spcBef>
                <a:spcPts val="400"/>
              </a:spcBef>
              <a:buClrTx/>
              <a:buFont typeface="Arial" panose="020B0604020202020204" pitchFamily="34" charset="0"/>
              <a:buChar char="•"/>
              <a:defRPr lang="de-DE" sz="1800" kern="1200" dirty="0">
                <a:solidFill>
                  <a:schemeClr val="tx1"/>
                </a:solidFill>
                <a:latin typeface="+mn-lt"/>
                <a:ea typeface="+mn-ea"/>
                <a:cs typeface="+mn-cs"/>
              </a:defRPr>
            </a:lvl4pPr>
            <a:lvl5pPr marL="576000" indent="-216000" algn="l" defTabSz="914400" rtl="0" eaLnBrk="1" latinLnBrk="0" hangingPunct="1">
              <a:spcBef>
                <a:spcPts val="400"/>
              </a:spcBef>
              <a:buFont typeface="Symbol" panose="05050102010706020507" pitchFamily="18" charset="2"/>
              <a:buChar char="-"/>
              <a:defRPr lang="de-DE" sz="1800" kern="1200" dirty="0">
                <a:solidFill>
                  <a:schemeClr val="tx1"/>
                </a:solidFill>
                <a:latin typeface="+mn-lt"/>
                <a:ea typeface="+mn-ea"/>
                <a:cs typeface="+mn-cs"/>
              </a:defRPr>
            </a:lvl5pPr>
            <a:lvl6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6pPr>
            <a:lvl7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7pPr>
            <a:lvl8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8pPr>
            <a:lvl9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9pPr>
          </a:lstStyle>
          <a:p>
            <a:fld id="{9C89B081-1F44-4440-BC7B-989C90F97B77}" type="slidenum">
              <a:rPr lang="de-DE"/>
              <a:pPr/>
              <a:t>10</a:t>
            </a:fld>
            <a:endParaRPr lang="de-DE"/>
          </a:p>
        </p:txBody>
      </p:sp>
      <p:graphicFrame>
        <p:nvGraphicFramePr>
          <p:cNvPr id="26" name="Inhaltsplatzhalter 25">
            <a:extLst>
              <a:ext uri="{FF2B5EF4-FFF2-40B4-BE49-F238E27FC236}">
                <a16:creationId xmlns:a16="http://schemas.microsoft.com/office/drawing/2014/main" id="{06B3AD17-D83C-43DF-A744-01326C6E8457}"/>
              </a:ext>
            </a:extLst>
          </p:cNvPr>
          <p:cNvGraphicFramePr>
            <a:graphicFrameLocks noGrp="1"/>
          </p:cNvGraphicFramePr>
          <p:nvPr>
            <p:ph sz="quarter" idx="26"/>
            <p:extLst>
              <p:ext uri="{D42A27DB-BD31-4B8C-83A1-F6EECF244321}">
                <p14:modId xmlns:p14="http://schemas.microsoft.com/office/powerpoint/2010/main" val="642164269"/>
              </p:ext>
            </p:extLst>
          </p:nvPr>
        </p:nvGraphicFramePr>
        <p:xfrm>
          <a:off x="409575" y="1771331"/>
          <a:ext cx="3527425" cy="399766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7" name="Inhaltsplatzhalter 26">
            <a:extLst>
              <a:ext uri="{FF2B5EF4-FFF2-40B4-BE49-F238E27FC236}">
                <a16:creationId xmlns:a16="http://schemas.microsoft.com/office/drawing/2014/main" id="{51136B43-7C0D-452B-8699-D23754054B55}"/>
              </a:ext>
            </a:extLst>
          </p:cNvPr>
          <p:cNvGraphicFramePr>
            <a:graphicFrameLocks noGrp="1"/>
          </p:cNvGraphicFramePr>
          <p:nvPr>
            <p:ph sz="quarter" idx="27"/>
            <p:extLst>
              <p:ext uri="{D42A27DB-BD31-4B8C-83A1-F6EECF244321}">
                <p14:modId xmlns:p14="http://schemas.microsoft.com/office/powerpoint/2010/main" val="1326597402"/>
              </p:ext>
            </p:extLst>
          </p:nvPr>
        </p:nvGraphicFramePr>
        <p:xfrm>
          <a:off x="8258199" y="1854121"/>
          <a:ext cx="3527425" cy="378221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4659945"/>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1A761295-D564-491A-8121-C44293C6755E}"/>
              </a:ext>
            </a:extLst>
          </p:cNvPr>
          <p:cNvSpPr>
            <a:spLocks noGrp="1"/>
          </p:cNvSpPr>
          <p:nvPr>
            <p:ph type="body" sz="quarter" idx="19"/>
          </p:nvPr>
        </p:nvSpPr>
        <p:spPr>
          <a:xfrm>
            <a:off x="409575" y="1114190"/>
            <a:ext cx="5471380" cy="276999"/>
          </a:xfrm>
        </p:spPr>
        <p:txBody>
          <a:bodyPr/>
          <a:lstStyle/>
          <a:p>
            <a:r>
              <a:rPr lang="de-DE" dirty="0"/>
              <a:t>Gewinnerwartungen: USA ziehen wieder davon  </a:t>
            </a:r>
          </a:p>
        </p:txBody>
      </p:sp>
      <p:sp>
        <p:nvSpPr>
          <p:cNvPr id="5" name="Textplatzhalter 4">
            <a:extLst>
              <a:ext uri="{FF2B5EF4-FFF2-40B4-BE49-F238E27FC236}">
                <a16:creationId xmlns:a16="http://schemas.microsoft.com/office/drawing/2014/main" id="{AA3995C7-221F-48D8-A14D-8E02CEFAE05A}"/>
              </a:ext>
            </a:extLst>
          </p:cNvPr>
          <p:cNvSpPr>
            <a:spLocks noGrp="1"/>
          </p:cNvSpPr>
          <p:nvPr>
            <p:ph type="body" sz="quarter" idx="21"/>
          </p:nvPr>
        </p:nvSpPr>
        <p:spPr>
          <a:xfrm>
            <a:off x="409575" y="1402122"/>
            <a:ext cx="5471380" cy="215444"/>
          </a:xfrm>
        </p:spPr>
        <p:txBody>
          <a:bodyPr/>
          <a:lstStyle/>
          <a:p>
            <a:r>
              <a:rPr lang="de-DE" dirty="0"/>
              <a:t>12M-Gewinnerwartungen S&amp;P 500, STOXX 600, indexiert</a:t>
            </a:r>
          </a:p>
        </p:txBody>
      </p:sp>
      <p:sp>
        <p:nvSpPr>
          <p:cNvPr id="18" name="Textplatzhalter 17">
            <a:extLst>
              <a:ext uri="{FF2B5EF4-FFF2-40B4-BE49-F238E27FC236}">
                <a16:creationId xmlns:a16="http://schemas.microsoft.com/office/drawing/2014/main" id="{0139A3E4-E5E4-7D8B-453D-4A04D4927BDD}"/>
              </a:ext>
            </a:extLst>
          </p:cNvPr>
          <p:cNvSpPr>
            <a:spLocks noGrp="1"/>
          </p:cNvSpPr>
          <p:nvPr>
            <p:ph type="body" sz="quarter" idx="27"/>
          </p:nvPr>
        </p:nvSpPr>
        <p:spPr>
          <a:xfrm>
            <a:off x="6313611" y="1114190"/>
            <a:ext cx="5472000" cy="276999"/>
          </a:xfrm>
        </p:spPr>
        <p:txBody>
          <a:bodyPr/>
          <a:lstStyle/>
          <a:p>
            <a:r>
              <a:rPr lang="de-DE" dirty="0"/>
              <a:t>Sinkende Zinsen „ermöglichen“ höhere Bewertungen </a:t>
            </a:r>
          </a:p>
        </p:txBody>
      </p:sp>
      <p:sp>
        <p:nvSpPr>
          <p:cNvPr id="19" name="Textplatzhalter 18">
            <a:extLst>
              <a:ext uri="{FF2B5EF4-FFF2-40B4-BE49-F238E27FC236}">
                <a16:creationId xmlns:a16="http://schemas.microsoft.com/office/drawing/2014/main" id="{3AB70302-A940-C615-99F7-8C8771C62B7E}"/>
              </a:ext>
            </a:extLst>
          </p:cNvPr>
          <p:cNvSpPr>
            <a:spLocks noGrp="1"/>
          </p:cNvSpPr>
          <p:nvPr>
            <p:ph type="body" sz="quarter" idx="28"/>
          </p:nvPr>
        </p:nvSpPr>
        <p:spPr>
          <a:xfrm>
            <a:off x="6313611" y="1402122"/>
            <a:ext cx="5472000" cy="215444"/>
          </a:xfrm>
        </p:spPr>
        <p:txBody>
          <a:bodyPr/>
          <a:lstStyle/>
          <a:p>
            <a:r>
              <a:rPr lang="de-DE" dirty="0"/>
              <a:t>KGV 12 Monate im Voraus und langjährige Durchschnitte</a:t>
            </a:r>
          </a:p>
        </p:txBody>
      </p:sp>
      <p:sp>
        <p:nvSpPr>
          <p:cNvPr id="8" name="Textplatzhalter 7">
            <a:extLst>
              <a:ext uri="{FF2B5EF4-FFF2-40B4-BE49-F238E27FC236}">
                <a16:creationId xmlns:a16="http://schemas.microsoft.com/office/drawing/2014/main" id="{0230598C-9DA2-4CA2-8124-4BAE002CC630}"/>
              </a:ext>
            </a:extLst>
          </p:cNvPr>
          <p:cNvSpPr>
            <a:spLocks noGrp="1"/>
          </p:cNvSpPr>
          <p:nvPr>
            <p:ph type="body" sz="quarter" idx="23"/>
          </p:nvPr>
        </p:nvSpPr>
        <p:spPr>
          <a:xfrm>
            <a:off x="411162" y="6203408"/>
            <a:ext cx="11374438" cy="307777"/>
          </a:xfrm>
        </p:spPr>
        <p:txBody>
          <a:bodyPr/>
          <a:lstStyle/>
          <a:p>
            <a:r>
              <a:rPr lang="de-DE" dirty="0"/>
              <a:t>Quelle: Bloomberg, Union Investment. Stand: 15. August 2024. </a:t>
            </a:r>
            <a:r>
              <a:rPr lang="de-DE" dirty="0">
                <a:effectLst/>
                <a:ea typeface="Calibri" panose="020F0502020204030204" pitchFamily="34" charset="0"/>
                <a:cs typeface="Times New Roman" panose="02020603050405020304" pitchFamily="18" charset="0"/>
              </a:rPr>
              <a:t>Die Quellenangabe bezieht sich auf alle angeführten Grafiken.</a:t>
            </a:r>
          </a:p>
          <a:p>
            <a:r>
              <a:rPr lang="de-DE" sz="1200" dirty="0">
                <a:effectLst/>
                <a:latin typeface="Arial" panose="020B0604020202020204" pitchFamily="34" charset="0"/>
                <a:ea typeface="Times New Roman" panose="02020603050405020304" pitchFamily="18" charset="0"/>
                <a:cs typeface="Times New Roman" panose="02020603050405020304" pitchFamily="18" charset="0"/>
              </a:rPr>
              <a:t>Die Angaben zur Gewinnerwartung basieren auf Analystenschätzungen. Bei Prognosen handelt es sich um keinen verlässlichen Indikator für die tatsächliche zukünftige Entwicklung, die von vielen, nicht vorhersagbaren und nicht beeinflussbaren Faktoren abhängt. Die angeführte Prognose beruht auf angemessenen, durch objektive Daten </a:t>
            </a:r>
            <a:r>
              <a:rPr lang="de-DE" sz="1200" dirty="0">
                <a:latin typeface="Arial" panose="020B0604020202020204" pitchFamily="34" charset="0"/>
                <a:ea typeface="Times New Roman" panose="02020603050405020304" pitchFamily="18" charset="0"/>
                <a:cs typeface="Times New Roman" panose="02020603050405020304" pitchFamily="18" charset="0"/>
              </a:rPr>
              <a:t>gestützte Annahmen. </a:t>
            </a:r>
            <a:r>
              <a:rPr lang="de-DE" sz="1200" dirty="0">
                <a:effectLst/>
                <a:latin typeface="Arial" panose="020B0604020202020204" pitchFamily="34" charset="0"/>
                <a:ea typeface="Times New Roman" panose="02020603050405020304" pitchFamily="18" charset="0"/>
                <a:cs typeface="Times New Roman" panose="02020603050405020304" pitchFamily="18" charset="0"/>
              </a:rPr>
              <a:t>Die Angaben zur Wertentwicklung basieren auf Vergangenheitswerten. Die Wert- und Ertragsentwicklungen können nicht mit Bestimmtheit vorausgesagt werden. Performanceergebnisse der Vergangenheit lassen keine Rückschlüsse auf die zukünftige Entwicklung zu</a:t>
            </a:r>
            <a:endParaRPr lang="de-DE" sz="1200" dirty="0"/>
          </a:p>
        </p:txBody>
      </p:sp>
      <p:sp>
        <p:nvSpPr>
          <p:cNvPr id="9" name="Titel 8">
            <a:extLst>
              <a:ext uri="{FF2B5EF4-FFF2-40B4-BE49-F238E27FC236}">
                <a16:creationId xmlns:a16="http://schemas.microsoft.com/office/drawing/2014/main" id="{CB4E7745-EB29-4A19-803C-B61D3BF3A4D0}"/>
              </a:ext>
            </a:extLst>
          </p:cNvPr>
          <p:cNvSpPr>
            <a:spLocks noGrp="1"/>
          </p:cNvSpPr>
          <p:nvPr>
            <p:ph type="title"/>
          </p:nvPr>
        </p:nvSpPr>
        <p:spPr>
          <a:xfrm>
            <a:off x="409576" y="367135"/>
            <a:ext cx="11376024" cy="720000"/>
          </a:xfrm>
        </p:spPr>
        <p:txBody>
          <a:bodyPr/>
          <a:lstStyle/>
          <a:p>
            <a:r>
              <a:rPr lang="de-DE" dirty="0"/>
              <a:t>Wachstum unterstützt Unternehmensgewinne – </a:t>
            </a:r>
            <a:r>
              <a:rPr lang="de-DE" dirty="0">
                <a:solidFill>
                  <a:schemeClr val="accent2"/>
                </a:solidFill>
              </a:rPr>
              <a:t>Bewertung erhöht</a:t>
            </a:r>
          </a:p>
        </p:txBody>
      </p:sp>
      <p:graphicFrame>
        <p:nvGraphicFramePr>
          <p:cNvPr id="10" name="Inhaltsplatzhalter 18">
            <a:extLst>
              <a:ext uri="{FF2B5EF4-FFF2-40B4-BE49-F238E27FC236}">
                <a16:creationId xmlns:a16="http://schemas.microsoft.com/office/drawing/2014/main" id="{8C760E85-DB14-4481-95FA-05561FE4DB00}"/>
              </a:ext>
            </a:extLst>
          </p:cNvPr>
          <p:cNvGraphicFramePr>
            <a:graphicFrameLocks noGrp="1"/>
          </p:cNvGraphicFramePr>
          <p:nvPr>
            <p:ph sz="quarter" idx="24"/>
            <p:extLst>
              <p:ext uri="{D42A27DB-BD31-4B8C-83A1-F6EECF244321}">
                <p14:modId xmlns:p14="http://schemas.microsoft.com/office/powerpoint/2010/main" val="1052250811"/>
              </p:ext>
            </p:extLst>
          </p:nvPr>
        </p:nvGraphicFramePr>
        <p:xfrm>
          <a:off x="409575" y="1761989"/>
          <a:ext cx="5472113" cy="403272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Inhaltsplatzhalter 17">
            <a:extLst>
              <a:ext uri="{FF2B5EF4-FFF2-40B4-BE49-F238E27FC236}">
                <a16:creationId xmlns:a16="http://schemas.microsoft.com/office/drawing/2014/main" id="{DCE42E65-9E5B-5B32-2B69-18C5492EB886}"/>
              </a:ext>
            </a:extLst>
          </p:cNvPr>
          <p:cNvGraphicFramePr>
            <a:graphicFrameLocks/>
          </p:cNvGraphicFramePr>
          <p:nvPr>
            <p:extLst>
              <p:ext uri="{D42A27DB-BD31-4B8C-83A1-F6EECF244321}">
                <p14:modId xmlns:p14="http://schemas.microsoft.com/office/powerpoint/2010/main" val="1830298180"/>
              </p:ext>
            </p:extLst>
          </p:nvPr>
        </p:nvGraphicFramePr>
        <p:xfrm>
          <a:off x="6313611" y="1761988"/>
          <a:ext cx="5472113" cy="4032721"/>
        </p:xfrm>
        <a:graphic>
          <a:graphicData uri="http://schemas.openxmlformats.org/drawingml/2006/chart">
            <c:chart xmlns:c="http://schemas.openxmlformats.org/drawingml/2006/chart" xmlns:r="http://schemas.openxmlformats.org/officeDocument/2006/relationships" r:id="rId5"/>
          </a:graphicData>
        </a:graphic>
      </p:graphicFrame>
      <p:sp>
        <p:nvSpPr>
          <p:cNvPr id="3" name="Rechteck 2">
            <a:extLst>
              <a:ext uri="{FF2B5EF4-FFF2-40B4-BE49-F238E27FC236}">
                <a16:creationId xmlns:a16="http://schemas.microsoft.com/office/drawing/2014/main" id="{F6BA9C38-C697-F6D3-537C-0A151F1D42A4}"/>
              </a:ext>
            </a:extLst>
          </p:cNvPr>
          <p:cNvSpPr/>
          <p:nvPr/>
        </p:nvSpPr>
        <p:spPr>
          <a:xfrm>
            <a:off x="11298162" y="123825"/>
            <a:ext cx="200025" cy="2476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
                <a:srgbClr val="00358E"/>
              </a:buClr>
              <a:buSzTx/>
              <a:buFontTx/>
              <a:buNone/>
              <a:tabLst/>
              <a:defRPr/>
            </a:pPr>
            <a:endParaRPr kumimoji="0" lang="de-DE" sz="1400" b="0" i="0" u="none" strike="noStrike" kern="1200" cap="none" spc="0" normalizeH="0" baseline="0" noProof="0" dirty="0" err="1">
              <a:ln>
                <a:noFill/>
              </a:ln>
              <a:solidFill>
                <a:prstClr val="black"/>
              </a:solidFill>
              <a:effectLst/>
              <a:uLnTx/>
              <a:uFillTx/>
              <a:latin typeface="Arial" panose="020B0604020202020204"/>
              <a:ea typeface="+mn-ea"/>
              <a:cs typeface="+mn-cs"/>
            </a:endParaRPr>
          </a:p>
        </p:txBody>
      </p:sp>
      <p:sp>
        <p:nvSpPr>
          <p:cNvPr id="7" name="Foliennummernplatzhalter 6">
            <a:extLst>
              <a:ext uri="{FF2B5EF4-FFF2-40B4-BE49-F238E27FC236}">
                <a16:creationId xmlns:a16="http://schemas.microsoft.com/office/drawing/2014/main" id="{ED4E775A-EF3A-4EAE-2D7F-EE7C13E16A15}"/>
              </a:ext>
            </a:extLst>
          </p:cNvPr>
          <p:cNvSpPr>
            <a:spLocks noGrp="1"/>
          </p:cNvSpPr>
          <p:nvPr>
            <p:ph type="sldNum" sz="quarter" idx="31"/>
          </p:nvPr>
        </p:nvSpPr>
        <p:spPr/>
        <p:txBody>
          <a:bodyPr/>
          <a:lstStyle/>
          <a:p>
            <a:fld id="{9C89B081-1F44-4440-BC7B-989C90F97B77}" type="slidenum">
              <a:rPr lang="de-DE" smtClean="0"/>
              <a:pPr/>
              <a:t>11</a:t>
            </a:fld>
            <a:endParaRPr lang="de-DE" dirty="0"/>
          </a:p>
        </p:txBody>
      </p:sp>
      <p:sp>
        <p:nvSpPr>
          <p:cNvPr id="12" name="Text Inhalt bankinterne Verwendung">
            <a:extLst>
              <a:ext uri="{FF2B5EF4-FFF2-40B4-BE49-F238E27FC236}">
                <a16:creationId xmlns:a16="http://schemas.microsoft.com/office/drawing/2014/main" id="{9F016C32-71FE-86BC-F874-6D1D67350C38}"/>
              </a:ext>
            </a:extLst>
          </p:cNvPr>
          <p:cNvSpPr txBox="1"/>
          <p:nvPr>
            <p:custDataLst>
              <p:tags r:id="rId1"/>
            </p:custDataLst>
          </p:nvPr>
        </p:nvSpPr>
        <p:spPr bwMode="gray">
          <a:xfrm rot="16200000">
            <a:off x="9775443" y="4071353"/>
            <a:ext cx="4248150" cy="226593"/>
          </a:xfrm>
          <a:prstGeom prst="rect">
            <a:avLst/>
          </a:prstGeom>
          <a:noFill/>
        </p:spPr>
        <p:txBody>
          <a:bodyPr wrap="square" lIns="0" tIns="72000" rIns="0" bIns="0" rtlCol="0" anchor="t">
            <a:spAutoFit/>
          </a:bodyPr>
          <a:lstStyle/>
          <a:p>
            <a:pPr>
              <a:spcBef>
                <a:spcPts val="600"/>
              </a:spcBef>
              <a:buClr>
                <a:schemeClr val="accent1"/>
              </a:buClr>
            </a:pPr>
            <a:r>
              <a:rPr lang="de-DE" sz="1000" dirty="0">
                <a:solidFill>
                  <a:srgbClr val="6B6B6B"/>
                </a:solidFill>
              </a:rPr>
              <a:t>Nur zur bankinternen Verwendung</a:t>
            </a:r>
          </a:p>
        </p:txBody>
      </p:sp>
    </p:spTree>
    <p:extLst>
      <p:ext uri="{BB962C8B-B14F-4D97-AF65-F5344CB8AC3E}">
        <p14:creationId xmlns:p14="http://schemas.microsoft.com/office/powerpoint/2010/main" val="2135971247"/>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elle weißer Hintergrund–graue wechselnde Zeilenfarbe">
            <a:extLst>
              <a:ext uri="{FF2B5EF4-FFF2-40B4-BE49-F238E27FC236}">
                <a16:creationId xmlns:a16="http://schemas.microsoft.com/office/drawing/2014/main" id="{5C3B0CA0-7165-0752-2162-34BA51DACD76}"/>
              </a:ext>
            </a:extLst>
          </p:cNvPr>
          <p:cNvGraphicFramePr>
            <a:graphicFrameLocks/>
          </p:cNvGraphicFramePr>
          <p:nvPr>
            <p:custDataLst>
              <p:tags r:id="rId1"/>
            </p:custDataLst>
          </p:nvPr>
        </p:nvGraphicFramePr>
        <p:xfrm>
          <a:off x="6295680" y="2183800"/>
          <a:ext cx="5472000" cy="3780000"/>
        </p:xfrm>
        <a:graphic>
          <a:graphicData uri="http://schemas.openxmlformats.org/drawingml/2006/table">
            <a:tbl>
              <a:tblPr firstRow="1" bandRow="1">
                <a:tableStyleId>{5C22544A-7EE6-4342-B048-85BDC9FD1C3A}</a:tableStyleId>
              </a:tblPr>
              <a:tblGrid>
                <a:gridCol w="1980000">
                  <a:extLst>
                    <a:ext uri="{9D8B030D-6E8A-4147-A177-3AD203B41FA5}">
                      <a16:colId xmlns:a16="http://schemas.microsoft.com/office/drawing/2014/main" val="20000"/>
                    </a:ext>
                  </a:extLst>
                </a:gridCol>
                <a:gridCol w="792000">
                  <a:extLst>
                    <a:ext uri="{9D8B030D-6E8A-4147-A177-3AD203B41FA5}">
                      <a16:colId xmlns:a16="http://schemas.microsoft.com/office/drawing/2014/main" val="926309531"/>
                    </a:ext>
                  </a:extLst>
                </a:gridCol>
                <a:gridCol w="1980000">
                  <a:extLst>
                    <a:ext uri="{9D8B030D-6E8A-4147-A177-3AD203B41FA5}">
                      <a16:colId xmlns:a16="http://schemas.microsoft.com/office/drawing/2014/main" val="4061289604"/>
                    </a:ext>
                  </a:extLst>
                </a:gridCol>
                <a:gridCol w="720000">
                  <a:extLst>
                    <a:ext uri="{9D8B030D-6E8A-4147-A177-3AD203B41FA5}">
                      <a16:colId xmlns:a16="http://schemas.microsoft.com/office/drawing/2014/main" val="20006"/>
                    </a:ext>
                  </a:extLst>
                </a:gridCol>
              </a:tblGrid>
              <a:tr h="360000">
                <a:tc gridSpan="2">
                  <a:txBody>
                    <a:bodyPr/>
                    <a:lstStyle/>
                    <a:p>
                      <a:r>
                        <a:rPr lang="de-DE" sz="1400" b="0" dirty="0">
                          <a:solidFill>
                            <a:schemeClr val="bg1"/>
                          </a:solidFill>
                        </a:rPr>
                        <a:t>Gewinner</a:t>
                      </a:r>
                    </a:p>
                  </a:txBody>
                  <a:tcPr marL="72000" marR="72000" marT="54000" marB="54000"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888888"/>
                      </a:solidFill>
                      <a:prstDash val="solid"/>
                      <a:round/>
                      <a:headEnd type="none" w="med" len="med"/>
                      <a:tailEnd type="none" w="med" len="med"/>
                    </a:lnT>
                    <a:lnB w="9525" cap="flat" cmpd="sng" algn="ctr">
                      <a:solidFill>
                        <a:srgbClr val="888888"/>
                      </a:solidFill>
                      <a:prstDash val="solid"/>
                      <a:round/>
                      <a:headEnd type="none" w="med" len="med"/>
                      <a:tailEnd type="none" w="med" len="med"/>
                    </a:lnB>
                    <a:lnTlToBr w="12700" cmpd="sng">
                      <a:noFill/>
                      <a:prstDash val="solid"/>
                    </a:lnTlToBr>
                    <a:lnBlToTr w="12700" cmpd="sng">
                      <a:noFill/>
                      <a:prstDash val="solid"/>
                    </a:lnBlToTr>
                    <a:solidFill>
                      <a:srgbClr val="888888"/>
                    </a:solidFill>
                  </a:tcPr>
                </a:tc>
                <a:tc hMerge="1">
                  <a:txBody>
                    <a:bodyPr/>
                    <a:lstStyle/>
                    <a:p>
                      <a:endParaRPr lang="de-DE" sz="1400" b="0" dirty="0">
                        <a:solidFill>
                          <a:schemeClr val="bg1"/>
                        </a:solidFill>
                      </a:endParaRPr>
                    </a:p>
                  </a:txBody>
                  <a:tcPr marL="72000" marR="72000" marT="54000" marB="54000"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888888"/>
                      </a:solidFill>
                      <a:prstDash val="solid"/>
                      <a:round/>
                      <a:headEnd type="none" w="med" len="med"/>
                      <a:tailEnd type="none" w="med" len="med"/>
                    </a:lnT>
                    <a:lnB w="9525" cap="flat" cmpd="sng" algn="ctr">
                      <a:solidFill>
                        <a:srgbClr val="888888"/>
                      </a:solidFill>
                      <a:prstDash val="solid"/>
                      <a:round/>
                      <a:headEnd type="none" w="med" len="med"/>
                      <a:tailEnd type="none" w="med" len="med"/>
                    </a:lnB>
                    <a:lnTlToBr w="12700" cmpd="sng">
                      <a:noFill/>
                      <a:prstDash val="solid"/>
                    </a:lnTlToBr>
                    <a:lnBlToTr w="12700" cmpd="sng">
                      <a:noFill/>
                      <a:prstDash val="solid"/>
                    </a:lnBlToTr>
                    <a:solidFill>
                      <a:srgbClr val="888888"/>
                    </a:solidFill>
                  </a:tcPr>
                </a:tc>
                <a:tc gridSpan="2">
                  <a:txBody>
                    <a:bodyPr/>
                    <a:lstStyle/>
                    <a:p>
                      <a:r>
                        <a:rPr lang="de-DE" sz="1400" b="0" dirty="0">
                          <a:solidFill>
                            <a:schemeClr val="bg1"/>
                          </a:solidFill>
                        </a:rPr>
                        <a:t>Verlierer</a:t>
                      </a:r>
                    </a:p>
                  </a:txBody>
                  <a:tcPr marL="72000" marR="72000" marT="54000" marB="54000"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9525" cap="flat" cmpd="sng" algn="ctr">
                      <a:solidFill>
                        <a:srgbClr val="888888"/>
                      </a:solidFill>
                      <a:prstDash val="solid"/>
                      <a:round/>
                      <a:headEnd type="none" w="med" len="med"/>
                      <a:tailEnd type="none" w="med" len="med"/>
                    </a:lnT>
                    <a:lnB w="9525" cap="flat" cmpd="sng" algn="ctr">
                      <a:solidFill>
                        <a:srgbClr val="888888"/>
                      </a:solidFill>
                      <a:prstDash val="solid"/>
                      <a:round/>
                      <a:headEnd type="none" w="med" len="med"/>
                      <a:tailEnd type="none" w="med" len="med"/>
                    </a:lnB>
                    <a:lnTlToBr w="12700" cmpd="sng">
                      <a:noFill/>
                      <a:prstDash val="solid"/>
                    </a:lnTlToBr>
                    <a:lnBlToTr w="12700" cmpd="sng">
                      <a:noFill/>
                      <a:prstDash val="solid"/>
                    </a:lnBlToTr>
                    <a:solidFill>
                      <a:srgbClr val="888888"/>
                    </a:solidFill>
                  </a:tcPr>
                </a:tc>
                <a:tc hMerge="1">
                  <a:txBody>
                    <a:bodyPr/>
                    <a:lstStyle/>
                    <a:p>
                      <a:pPr algn="r"/>
                      <a:endParaRPr lang="de-DE" sz="1200" b="0" dirty="0">
                        <a:solidFill>
                          <a:schemeClr val="tx1"/>
                        </a:solidFill>
                      </a:endParaRPr>
                    </a:p>
                  </a:txBody>
                  <a:tcPr marL="72000" marR="72000" marT="54000" marB="54000" anchor="ctr">
                    <a:lnL w="9525"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rgbClr val="888888"/>
                      </a:solidFill>
                      <a:prstDash val="solid"/>
                      <a:round/>
                      <a:headEnd type="none" w="med" len="med"/>
                      <a:tailEnd type="none" w="med" len="med"/>
                    </a:lnT>
                    <a:lnB w="9525" cap="flat" cmpd="sng" algn="ctr">
                      <a:solidFill>
                        <a:srgbClr val="888888"/>
                      </a:solidFill>
                      <a:prstDash val="solid"/>
                      <a:round/>
                      <a:headEnd type="none" w="med" len="med"/>
                      <a:tailEnd type="none" w="med" len="med"/>
                    </a:lnB>
                    <a:lnTlToBr w="12700" cmpd="sng">
                      <a:noFill/>
                      <a:prstDash val="solid"/>
                    </a:lnTlToBr>
                    <a:lnBlToTr w="12700" cmpd="sng">
                      <a:noFill/>
                      <a:prstDash val="solid"/>
                    </a:lnBlToTr>
                    <a:solidFill>
                      <a:srgbClr val="888888"/>
                    </a:solidFill>
                  </a:tcPr>
                </a:tc>
                <a:extLst>
                  <a:ext uri="{0D108BD9-81ED-4DB2-BD59-A6C34878D82A}">
                    <a16:rowId xmlns:a16="http://schemas.microsoft.com/office/drawing/2014/main" val="4177153859"/>
                  </a:ext>
                </a:extLst>
              </a:tr>
              <a:tr h="342000">
                <a:tc>
                  <a:txBody>
                    <a:bodyPr/>
                    <a:lstStyle/>
                    <a:p>
                      <a:r>
                        <a:rPr lang="de-DE" sz="1200" b="0" dirty="0">
                          <a:solidFill>
                            <a:schemeClr val="accent6"/>
                          </a:solidFill>
                        </a:rPr>
                        <a:t>Nvidia</a:t>
                      </a:r>
                    </a:p>
                  </a:txBody>
                  <a:tcPr marL="72000" marR="72000" marT="54000" marB="5400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888888"/>
                      </a:solidFill>
                      <a:prstDash val="solid"/>
                      <a:round/>
                      <a:headEnd type="none" w="med" len="med"/>
                      <a:tailEnd type="none" w="med" len="med"/>
                    </a:lnT>
                    <a:lnB w="9525" cap="flat" cmpd="sng" algn="ctr">
                      <a:solidFill>
                        <a:srgbClr val="888888"/>
                      </a:solidFill>
                      <a:prstDash val="solid"/>
                      <a:round/>
                      <a:headEnd type="none" w="med" len="med"/>
                      <a:tailEnd type="none" w="med" len="med"/>
                    </a:lnB>
                    <a:lnTlToBr w="12700" cmpd="sng">
                      <a:noFill/>
                      <a:prstDash val="solid"/>
                    </a:lnTlToBr>
                    <a:lnBlToTr w="12700" cmpd="sng">
                      <a:noFill/>
                      <a:prstDash val="solid"/>
                    </a:lnBlToTr>
                    <a:solidFill>
                      <a:srgbClr val="E9E9E9"/>
                    </a:solidFill>
                  </a:tcPr>
                </a:tc>
                <a:tc>
                  <a:txBody>
                    <a:bodyPr/>
                    <a:lstStyle/>
                    <a:p>
                      <a:pPr algn="r"/>
                      <a:r>
                        <a:rPr lang="de-DE" sz="1200" b="0" dirty="0">
                          <a:solidFill>
                            <a:schemeClr val="tx1"/>
                          </a:solidFill>
                        </a:rPr>
                        <a:t>+148,1 %</a:t>
                      </a:r>
                    </a:p>
                  </a:txBody>
                  <a:tcPr marL="72000" marR="72000" marT="54000" marB="54000"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888888"/>
                      </a:solidFill>
                      <a:prstDash val="solid"/>
                      <a:round/>
                      <a:headEnd type="none" w="med" len="med"/>
                      <a:tailEnd type="none" w="med" len="med"/>
                    </a:lnT>
                    <a:lnB w="9525" cap="flat" cmpd="sng" algn="ctr">
                      <a:solidFill>
                        <a:srgbClr val="888888"/>
                      </a:solidFill>
                      <a:prstDash val="solid"/>
                      <a:round/>
                      <a:headEnd type="none" w="med" len="med"/>
                      <a:tailEnd type="none" w="med" len="med"/>
                    </a:lnB>
                    <a:lnTlToBr w="12700" cmpd="sng">
                      <a:noFill/>
                      <a:prstDash val="solid"/>
                    </a:lnTlToBr>
                    <a:lnBlToTr w="12700" cmpd="sng">
                      <a:noFill/>
                      <a:prstDash val="solid"/>
                    </a:lnBlToTr>
                    <a:solidFill>
                      <a:srgbClr val="E9E9E9"/>
                    </a:solidFill>
                  </a:tcPr>
                </a:tc>
                <a:tc>
                  <a:txBody>
                    <a:bodyPr/>
                    <a:lstStyle/>
                    <a:p>
                      <a:r>
                        <a:rPr lang="de-DE" sz="1200" b="0" i="0" u="none" strike="noStrike" baseline="0" dirty="0">
                          <a:solidFill>
                            <a:schemeClr val="tx1"/>
                          </a:solidFill>
                          <a:latin typeface="+mn-lt"/>
                          <a:ea typeface="+mn-ea"/>
                          <a:cs typeface="+mn-cs"/>
                        </a:rPr>
                        <a:t>Intel</a:t>
                      </a:r>
                    </a:p>
                  </a:txBody>
                  <a:tcPr marL="72000" marR="72000" marT="54000" marB="54000" anchor="ctr">
                    <a:lnL w="12700" cap="flat" cmpd="sng" algn="ctr">
                      <a:solidFill>
                        <a:schemeClr val="tx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888888"/>
                      </a:solidFill>
                      <a:prstDash val="solid"/>
                      <a:round/>
                      <a:headEnd type="none" w="med" len="med"/>
                      <a:tailEnd type="none" w="med" len="med"/>
                    </a:lnT>
                    <a:lnB w="9525" cap="flat" cmpd="sng" algn="ctr">
                      <a:solidFill>
                        <a:srgbClr val="888888"/>
                      </a:solidFill>
                      <a:prstDash val="solid"/>
                      <a:round/>
                      <a:headEnd type="none" w="med" len="med"/>
                      <a:tailEnd type="none" w="med" len="med"/>
                    </a:lnB>
                    <a:lnTlToBr w="12700" cmpd="sng">
                      <a:noFill/>
                      <a:prstDash val="solid"/>
                    </a:lnTlToBr>
                    <a:lnBlToTr w="12700" cmpd="sng">
                      <a:noFill/>
                      <a:prstDash val="solid"/>
                    </a:lnBlToTr>
                    <a:solidFill>
                      <a:srgbClr val="E9E9E9"/>
                    </a:solidFill>
                  </a:tcPr>
                </a:tc>
                <a:tc>
                  <a:txBody>
                    <a:bodyPr/>
                    <a:lstStyle/>
                    <a:p>
                      <a:pPr algn="r"/>
                      <a:r>
                        <a:rPr lang="de-DE" sz="1200" b="0" i="0" u="none" strike="noStrike" baseline="0" dirty="0">
                          <a:solidFill>
                            <a:schemeClr val="tx1"/>
                          </a:solidFill>
                          <a:latin typeface="+mn-lt"/>
                          <a:ea typeface="+mn-ea"/>
                          <a:cs typeface="+mn-cs"/>
                        </a:rPr>
                        <a:t>-58,3 %</a:t>
                      </a:r>
                    </a:p>
                  </a:txBody>
                  <a:tcPr marL="72000" marR="72000" marT="54000" marB="54000" anchor="ctr">
                    <a:lnL w="9525"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rgbClr val="888888"/>
                      </a:solidFill>
                      <a:prstDash val="solid"/>
                      <a:round/>
                      <a:headEnd type="none" w="med" len="med"/>
                      <a:tailEnd type="none" w="med" len="med"/>
                    </a:lnT>
                    <a:lnB w="9525" cap="flat" cmpd="sng" algn="ctr">
                      <a:solidFill>
                        <a:srgbClr val="888888"/>
                      </a:solidFill>
                      <a:prstDash val="solid"/>
                      <a:round/>
                      <a:headEnd type="none" w="med" len="med"/>
                      <a:tailEnd type="none" w="med" len="med"/>
                    </a:lnB>
                    <a:lnTlToBr w="12700" cmpd="sng">
                      <a:noFill/>
                      <a:prstDash val="solid"/>
                    </a:lnTlToBr>
                    <a:lnBlToTr w="12700" cmpd="sng">
                      <a:noFill/>
                      <a:prstDash val="solid"/>
                    </a:lnBlToTr>
                    <a:solidFill>
                      <a:srgbClr val="E9E9E9"/>
                    </a:solidFill>
                  </a:tcPr>
                </a:tc>
                <a:extLst>
                  <a:ext uri="{0D108BD9-81ED-4DB2-BD59-A6C34878D82A}">
                    <a16:rowId xmlns:a16="http://schemas.microsoft.com/office/drawing/2014/main" val="10000"/>
                  </a:ext>
                </a:extLst>
              </a:tr>
              <a:tr h="342000">
                <a:tc>
                  <a:txBody>
                    <a:bodyPr/>
                    <a:lstStyle/>
                    <a:p>
                      <a:r>
                        <a:rPr lang="de-DE" sz="1200" b="0" i="0" u="none" strike="noStrike" baseline="0" dirty="0">
                          <a:solidFill>
                            <a:schemeClr val="tx1"/>
                          </a:solidFill>
                          <a:latin typeface="+mn-lt"/>
                          <a:ea typeface="+mn-ea"/>
                          <a:cs typeface="+mn-cs"/>
                        </a:rPr>
                        <a:t>General Electric</a:t>
                      </a:r>
                      <a:endParaRPr lang="de-DE" sz="1200" b="0" dirty="0">
                        <a:solidFill>
                          <a:schemeClr val="tx1"/>
                        </a:solidFill>
                      </a:endParaRPr>
                    </a:p>
                  </a:txBody>
                  <a:tcPr marL="72000" marR="72000" marT="54000" marB="5400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888888"/>
                      </a:solidFill>
                      <a:prstDash val="solid"/>
                      <a:round/>
                      <a:headEnd type="none" w="med" len="med"/>
                      <a:tailEnd type="none" w="med" len="med"/>
                    </a:lnT>
                    <a:lnB w="9525" cap="flat" cmpd="sng" algn="ctr">
                      <a:solidFill>
                        <a:srgbClr val="888888"/>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algn="r"/>
                      <a:r>
                        <a:rPr lang="de-DE" sz="1200" b="0" dirty="0">
                          <a:solidFill>
                            <a:schemeClr val="tx1"/>
                          </a:solidFill>
                        </a:rPr>
                        <a:t>+67,5 %</a:t>
                      </a:r>
                    </a:p>
                  </a:txBody>
                  <a:tcPr marL="72000" marR="72000" marT="54000" marB="54000"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888888"/>
                      </a:solidFill>
                      <a:prstDash val="solid"/>
                      <a:round/>
                      <a:headEnd type="none" w="med" len="med"/>
                      <a:tailEnd type="none" w="med" len="med"/>
                    </a:lnT>
                    <a:lnB w="9525" cap="flat" cmpd="sng" algn="ctr">
                      <a:solidFill>
                        <a:srgbClr val="888888"/>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r>
                        <a:rPr lang="de-DE" sz="1200" b="0" i="0" u="none" strike="noStrike" baseline="0" dirty="0">
                          <a:solidFill>
                            <a:schemeClr val="tx1"/>
                          </a:solidFill>
                          <a:latin typeface="+mn-lt"/>
                          <a:ea typeface="+mn-ea"/>
                          <a:cs typeface="+mn-cs"/>
                        </a:rPr>
                        <a:t>Lululemon</a:t>
                      </a:r>
                    </a:p>
                  </a:txBody>
                  <a:tcPr marL="72000" marR="72000" marT="54000" marB="54000" anchor="ctr">
                    <a:lnL w="12700" cap="flat" cmpd="sng" algn="ctr">
                      <a:solidFill>
                        <a:schemeClr val="tx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888888"/>
                      </a:solidFill>
                      <a:prstDash val="solid"/>
                      <a:round/>
                      <a:headEnd type="none" w="med" len="med"/>
                      <a:tailEnd type="none" w="med" len="med"/>
                    </a:lnT>
                    <a:lnB w="9525" cap="flat" cmpd="sng" algn="ctr">
                      <a:solidFill>
                        <a:srgbClr val="888888"/>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algn="r"/>
                      <a:r>
                        <a:rPr lang="de-DE" sz="1200" b="0" i="0" u="none" strike="noStrike" baseline="0" dirty="0">
                          <a:solidFill>
                            <a:schemeClr val="tx1"/>
                          </a:solidFill>
                          <a:latin typeface="+mn-lt"/>
                          <a:ea typeface="+mn-ea"/>
                          <a:cs typeface="+mn-cs"/>
                        </a:rPr>
                        <a:t>-49,8 %</a:t>
                      </a:r>
                    </a:p>
                  </a:txBody>
                  <a:tcPr marL="72000" marR="72000" marT="54000" marB="54000" anchor="ctr">
                    <a:lnL w="9525"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rgbClr val="888888"/>
                      </a:solidFill>
                      <a:prstDash val="solid"/>
                      <a:round/>
                      <a:headEnd type="none" w="med" len="med"/>
                      <a:tailEnd type="none" w="med" len="med"/>
                    </a:lnT>
                    <a:lnB w="9525" cap="flat" cmpd="sng" algn="ctr">
                      <a:solidFill>
                        <a:srgbClr val="888888"/>
                      </a:solidFill>
                      <a:prstDash val="solid"/>
                      <a:round/>
                      <a:headEnd type="none" w="med" len="med"/>
                      <a:tailEnd type="none" w="med" len="med"/>
                    </a:lnB>
                    <a:lnTlToBr w="12700" cmpd="sng">
                      <a:noFill/>
                      <a:prstDash val="solid"/>
                    </a:lnTlToBr>
                    <a:lnBlToTr w="12700" cmpd="sng">
                      <a:noFill/>
                      <a:prstDash val="solid"/>
                    </a:lnBlToTr>
                    <a:solidFill>
                      <a:schemeClr val="lt1"/>
                    </a:solidFill>
                  </a:tcPr>
                </a:tc>
                <a:extLst>
                  <a:ext uri="{0D108BD9-81ED-4DB2-BD59-A6C34878D82A}">
                    <a16:rowId xmlns:a16="http://schemas.microsoft.com/office/drawing/2014/main" val="932160970"/>
                  </a:ext>
                </a:extLst>
              </a:tr>
              <a:tr h="342000">
                <a:tc>
                  <a:txBody>
                    <a:bodyPr/>
                    <a:lstStyle/>
                    <a:p>
                      <a:r>
                        <a:rPr lang="de-DE" sz="1200" b="0" i="0" u="none" strike="noStrike" baseline="0" dirty="0">
                          <a:solidFill>
                            <a:schemeClr val="tx1"/>
                          </a:solidFill>
                          <a:latin typeface="+mn-lt"/>
                          <a:ea typeface="+mn-ea"/>
                          <a:cs typeface="+mn-cs"/>
                        </a:rPr>
                        <a:t>Eli Lilly</a:t>
                      </a:r>
                      <a:endParaRPr lang="de-DE" sz="1200" b="0" dirty="0">
                        <a:solidFill>
                          <a:schemeClr val="tx1"/>
                        </a:solidFill>
                      </a:endParaRPr>
                    </a:p>
                  </a:txBody>
                  <a:tcPr marL="72000" marR="72000" marT="54000" marB="5400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888888"/>
                      </a:solidFill>
                      <a:prstDash val="solid"/>
                      <a:round/>
                      <a:headEnd type="none" w="med" len="med"/>
                      <a:tailEnd type="none" w="med" len="med"/>
                    </a:lnT>
                    <a:lnB w="9525" cap="flat" cmpd="sng" algn="ctr">
                      <a:solidFill>
                        <a:srgbClr val="888888"/>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algn="r"/>
                      <a:r>
                        <a:rPr lang="de-DE" sz="1200" b="0" i="0" u="none" strike="noStrike" baseline="0" dirty="0">
                          <a:solidFill>
                            <a:schemeClr val="tx1"/>
                          </a:solidFill>
                          <a:latin typeface="+mn-lt"/>
                          <a:ea typeface="+mn-ea"/>
                          <a:cs typeface="+mn-cs"/>
                        </a:rPr>
                        <a:t>+60,6 %</a:t>
                      </a:r>
                    </a:p>
                  </a:txBody>
                  <a:tcPr marL="72000" marR="72000" marT="54000" marB="54000"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888888"/>
                      </a:solidFill>
                      <a:prstDash val="solid"/>
                      <a:round/>
                      <a:headEnd type="none" w="med" len="med"/>
                      <a:tailEnd type="none" w="med" len="med"/>
                    </a:lnT>
                    <a:lnB w="9525" cap="flat" cmpd="sng" algn="ctr">
                      <a:solidFill>
                        <a:srgbClr val="888888"/>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0" i="0" u="none" strike="noStrike" baseline="0" dirty="0" err="1">
                          <a:solidFill>
                            <a:schemeClr val="tx1"/>
                          </a:solidFill>
                          <a:latin typeface="+mn-lt"/>
                          <a:ea typeface="+mn-ea"/>
                          <a:cs typeface="+mn-cs"/>
                        </a:rPr>
                        <a:t>Dexcom</a:t>
                      </a:r>
                      <a:endParaRPr lang="de-DE" sz="1200" b="0" i="0" u="none" strike="noStrike" baseline="0" dirty="0">
                        <a:solidFill>
                          <a:schemeClr val="tx1"/>
                        </a:solidFill>
                        <a:latin typeface="+mn-lt"/>
                        <a:ea typeface="+mn-ea"/>
                        <a:cs typeface="+mn-cs"/>
                      </a:endParaRPr>
                    </a:p>
                  </a:txBody>
                  <a:tcPr marL="72000" marR="72000" marT="54000" marB="54000" anchor="ctr">
                    <a:lnL w="12700" cap="flat" cmpd="sng" algn="ctr">
                      <a:solidFill>
                        <a:schemeClr val="tx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888888"/>
                      </a:solidFill>
                      <a:prstDash val="solid"/>
                      <a:round/>
                      <a:headEnd type="none" w="med" len="med"/>
                      <a:tailEnd type="none" w="med" len="med"/>
                    </a:lnT>
                    <a:lnB w="9525" cap="flat" cmpd="sng" algn="ctr">
                      <a:solidFill>
                        <a:srgbClr val="888888"/>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algn="r"/>
                      <a:r>
                        <a:rPr lang="de-DE" sz="1200" b="0" i="0" u="none" strike="noStrike" baseline="0" dirty="0">
                          <a:solidFill>
                            <a:schemeClr val="tx1"/>
                          </a:solidFill>
                          <a:latin typeface="+mn-lt"/>
                          <a:ea typeface="+mn-ea"/>
                          <a:cs typeface="+mn-cs"/>
                        </a:rPr>
                        <a:t>-41,7 %</a:t>
                      </a:r>
                    </a:p>
                  </a:txBody>
                  <a:tcPr marL="72000" marR="72000" marT="54000" marB="54000" anchor="ctr">
                    <a:lnL w="9525"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rgbClr val="888888"/>
                      </a:solidFill>
                      <a:prstDash val="solid"/>
                      <a:round/>
                      <a:headEnd type="none" w="med" len="med"/>
                      <a:tailEnd type="none" w="med" len="med"/>
                    </a:lnT>
                    <a:lnB w="9525" cap="flat" cmpd="sng" algn="ctr">
                      <a:solidFill>
                        <a:srgbClr val="888888"/>
                      </a:solidFill>
                      <a:prstDash val="solid"/>
                      <a:round/>
                      <a:headEnd type="none" w="med" len="med"/>
                      <a:tailEnd type="none" w="med" len="med"/>
                    </a:lnB>
                    <a:lnTlToBr w="12700" cmpd="sng">
                      <a:noFill/>
                      <a:prstDash val="solid"/>
                    </a:lnTlToBr>
                    <a:lnBlToTr w="12700" cmpd="sng">
                      <a:noFill/>
                      <a:prstDash val="solid"/>
                    </a:lnBlToTr>
                    <a:solidFill>
                      <a:schemeClr val="lt1"/>
                    </a:solidFill>
                  </a:tcPr>
                </a:tc>
                <a:extLst>
                  <a:ext uri="{0D108BD9-81ED-4DB2-BD59-A6C34878D82A}">
                    <a16:rowId xmlns:a16="http://schemas.microsoft.com/office/drawing/2014/main" val="10003"/>
                  </a:ext>
                </a:extLst>
              </a:tr>
              <a:tr h="342000">
                <a:tc>
                  <a:txBody>
                    <a:bodyPr/>
                    <a:lstStyle/>
                    <a:p>
                      <a:r>
                        <a:rPr lang="de-DE" sz="1200" b="0" i="0" u="none" strike="noStrike" baseline="0" dirty="0" err="1">
                          <a:solidFill>
                            <a:schemeClr val="accent6"/>
                          </a:solidFill>
                          <a:latin typeface="+mn-lt"/>
                          <a:ea typeface="+mn-ea"/>
                          <a:cs typeface="+mn-cs"/>
                        </a:rPr>
                        <a:t>Meta</a:t>
                      </a:r>
                      <a:r>
                        <a:rPr lang="de-DE" sz="1200" b="0" i="0" u="none" strike="noStrike" baseline="0" dirty="0">
                          <a:solidFill>
                            <a:schemeClr val="accent6"/>
                          </a:solidFill>
                          <a:latin typeface="+mn-lt"/>
                          <a:ea typeface="+mn-ea"/>
                          <a:cs typeface="+mn-cs"/>
                        </a:rPr>
                        <a:t> </a:t>
                      </a:r>
                      <a:r>
                        <a:rPr lang="de-DE" sz="1200" b="0" i="0" u="none" strike="noStrike" baseline="0" dirty="0" err="1">
                          <a:solidFill>
                            <a:schemeClr val="accent6"/>
                          </a:solidFill>
                          <a:latin typeface="+mn-lt"/>
                          <a:ea typeface="+mn-ea"/>
                          <a:cs typeface="+mn-cs"/>
                        </a:rPr>
                        <a:t>Platforms</a:t>
                      </a:r>
                      <a:endParaRPr lang="de-DE" sz="1200" b="0" dirty="0">
                        <a:solidFill>
                          <a:schemeClr val="accent6"/>
                        </a:solidFill>
                      </a:endParaRPr>
                    </a:p>
                  </a:txBody>
                  <a:tcPr marL="72000" marR="72000" marT="54000" marB="5400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888888"/>
                      </a:solidFill>
                      <a:prstDash val="solid"/>
                      <a:round/>
                      <a:headEnd type="none" w="med" len="med"/>
                      <a:tailEnd type="none" w="med" len="med"/>
                    </a:lnT>
                    <a:lnB w="9525" cap="flat" cmpd="sng" algn="ctr">
                      <a:solidFill>
                        <a:srgbClr val="888888"/>
                      </a:solidFill>
                      <a:prstDash val="solid"/>
                      <a:round/>
                      <a:headEnd type="none" w="med" len="med"/>
                      <a:tailEnd type="none" w="med" len="med"/>
                    </a:lnB>
                    <a:lnTlToBr w="12700" cmpd="sng">
                      <a:noFill/>
                      <a:prstDash val="solid"/>
                    </a:lnTlToBr>
                    <a:lnBlToTr w="12700" cmpd="sng">
                      <a:noFill/>
                      <a:prstDash val="solid"/>
                    </a:lnBlToTr>
                    <a:solidFill>
                      <a:srgbClr val="E9E9E9"/>
                    </a:solidFill>
                  </a:tcPr>
                </a:tc>
                <a:tc>
                  <a:txBody>
                    <a:bodyPr/>
                    <a:lstStyle/>
                    <a:p>
                      <a:pPr algn="r"/>
                      <a:r>
                        <a:rPr lang="de-DE" sz="1200" b="0" dirty="0">
                          <a:solidFill>
                            <a:schemeClr val="tx1"/>
                          </a:solidFill>
                        </a:rPr>
                        <a:t>+52,1 %</a:t>
                      </a:r>
                    </a:p>
                  </a:txBody>
                  <a:tcPr marL="72000" marR="72000" marT="54000" marB="54000"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888888"/>
                      </a:solidFill>
                      <a:prstDash val="solid"/>
                      <a:round/>
                      <a:headEnd type="none" w="med" len="med"/>
                      <a:tailEnd type="none" w="med" len="med"/>
                    </a:lnT>
                    <a:lnB w="9525" cap="flat" cmpd="sng" algn="ctr">
                      <a:solidFill>
                        <a:srgbClr val="888888"/>
                      </a:solidFill>
                      <a:prstDash val="solid"/>
                      <a:round/>
                      <a:headEnd type="none" w="med" len="med"/>
                      <a:tailEnd type="none" w="med" len="med"/>
                    </a:lnB>
                    <a:lnTlToBr w="12700" cmpd="sng">
                      <a:noFill/>
                      <a:prstDash val="solid"/>
                    </a:lnTlToBr>
                    <a:lnBlToTr w="12700" cmpd="sng">
                      <a:noFill/>
                      <a:prstDash val="solid"/>
                    </a:lnBlToTr>
                    <a:solidFill>
                      <a:srgbClr val="E9E9E9"/>
                    </a:solidFill>
                  </a:tcPr>
                </a:tc>
                <a:tc>
                  <a:txBody>
                    <a:bodyPr/>
                    <a:lstStyle/>
                    <a:p>
                      <a:r>
                        <a:rPr lang="de-DE" sz="1200" b="0" i="0" u="none" strike="noStrike" baseline="0" dirty="0">
                          <a:solidFill>
                            <a:schemeClr val="tx1"/>
                          </a:solidFill>
                          <a:latin typeface="+mn-lt"/>
                          <a:ea typeface="+mn-ea"/>
                          <a:cs typeface="+mn-cs"/>
                        </a:rPr>
                        <a:t>Boeing</a:t>
                      </a:r>
                    </a:p>
                  </a:txBody>
                  <a:tcPr marL="72000" marR="72000" marT="54000" marB="54000" anchor="ctr">
                    <a:lnL w="12700" cap="flat" cmpd="sng" algn="ctr">
                      <a:solidFill>
                        <a:schemeClr val="tx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888888"/>
                      </a:solidFill>
                      <a:prstDash val="solid"/>
                      <a:round/>
                      <a:headEnd type="none" w="med" len="med"/>
                      <a:tailEnd type="none" w="med" len="med"/>
                    </a:lnT>
                    <a:lnB w="9525" cap="flat" cmpd="sng" algn="ctr">
                      <a:solidFill>
                        <a:srgbClr val="888888"/>
                      </a:solidFill>
                      <a:prstDash val="solid"/>
                      <a:round/>
                      <a:headEnd type="none" w="med" len="med"/>
                      <a:tailEnd type="none" w="med" len="med"/>
                    </a:lnB>
                    <a:lnTlToBr w="12700" cmpd="sng">
                      <a:noFill/>
                      <a:prstDash val="solid"/>
                    </a:lnTlToBr>
                    <a:lnBlToTr w="12700" cmpd="sng">
                      <a:noFill/>
                      <a:prstDash val="solid"/>
                    </a:lnBlToTr>
                    <a:solidFill>
                      <a:srgbClr val="E9E9E9"/>
                    </a:solidFill>
                  </a:tcPr>
                </a:tc>
                <a:tc>
                  <a:txBody>
                    <a:bodyPr/>
                    <a:lstStyle/>
                    <a:p>
                      <a:pPr algn="r"/>
                      <a:r>
                        <a:rPr lang="de-DE" sz="1200" b="0" i="0" u="none" strike="noStrike" baseline="0" dirty="0">
                          <a:solidFill>
                            <a:schemeClr val="tx1"/>
                          </a:solidFill>
                          <a:latin typeface="+mn-lt"/>
                          <a:ea typeface="+mn-ea"/>
                          <a:cs typeface="+mn-cs"/>
                        </a:rPr>
                        <a:t>-32,3 %</a:t>
                      </a:r>
                    </a:p>
                  </a:txBody>
                  <a:tcPr marL="72000" marR="72000" marT="54000" marB="54000" anchor="ctr">
                    <a:lnL w="9525"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rgbClr val="888888"/>
                      </a:solidFill>
                      <a:prstDash val="solid"/>
                      <a:round/>
                      <a:headEnd type="none" w="med" len="med"/>
                      <a:tailEnd type="none" w="med" len="med"/>
                    </a:lnT>
                    <a:lnB w="9525" cap="flat" cmpd="sng" algn="ctr">
                      <a:solidFill>
                        <a:srgbClr val="888888"/>
                      </a:solidFill>
                      <a:prstDash val="solid"/>
                      <a:round/>
                      <a:headEnd type="none" w="med" len="med"/>
                      <a:tailEnd type="none" w="med" len="med"/>
                    </a:lnB>
                    <a:lnTlToBr w="12700" cmpd="sng">
                      <a:noFill/>
                      <a:prstDash val="solid"/>
                    </a:lnTlToBr>
                    <a:lnBlToTr w="12700" cmpd="sng">
                      <a:noFill/>
                      <a:prstDash val="solid"/>
                    </a:lnBlToTr>
                    <a:solidFill>
                      <a:srgbClr val="E9E9E9"/>
                    </a:solidFill>
                  </a:tcPr>
                </a:tc>
                <a:extLst>
                  <a:ext uri="{0D108BD9-81ED-4DB2-BD59-A6C34878D82A}">
                    <a16:rowId xmlns:a16="http://schemas.microsoft.com/office/drawing/2014/main" val="10002"/>
                  </a:ext>
                </a:extLst>
              </a:tr>
              <a:tr h="342000">
                <a:tc>
                  <a:txBody>
                    <a:bodyPr/>
                    <a:lstStyle/>
                    <a:p>
                      <a:r>
                        <a:rPr lang="de-DE" sz="1200" b="0" i="0" u="none" strike="noStrike" baseline="0" dirty="0">
                          <a:solidFill>
                            <a:schemeClr val="tx1"/>
                          </a:solidFill>
                          <a:latin typeface="+mn-lt"/>
                          <a:ea typeface="+mn-ea"/>
                          <a:cs typeface="+mn-cs"/>
                        </a:rPr>
                        <a:t>Broadcom</a:t>
                      </a:r>
                    </a:p>
                  </a:txBody>
                  <a:tcPr marL="72000" marR="72000" marT="54000" marB="5400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888888"/>
                      </a:solidFill>
                      <a:prstDash val="solid"/>
                      <a:round/>
                      <a:headEnd type="none" w="med" len="med"/>
                      <a:tailEnd type="none" w="med" len="med"/>
                    </a:lnT>
                    <a:lnB w="9525" cap="flat" cmpd="sng" algn="ctr">
                      <a:solidFill>
                        <a:srgbClr val="88888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de-DE" sz="1200" b="0" dirty="0">
                          <a:solidFill>
                            <a:schemeClr val="tx1"/>
                          </a:solidFill>
                        </a:rPr>
                        <a:t>+49,9 %</a:t>
                      </a:r>
                    </a:p>
                  </a:txBody>
                  <a:tcPr marL="72000" marR="72000" marT="54000" marB="54000"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888888"/>
                      </a:solidFill>
                      <a:prstDash val="solid"/>
                      <a:round/>
                      <a:headEnd type="none" w="med" len="med"/>
                      <a:tailEnd type="none" w="med" len="med"/>
                    </a:lnT>
                    <a:lnB w="9525" cap="flat" cmpd="sng" algn="ctr">
                      <a:solidFill>
                        <a:srgbClr val="88888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200" b="0" i="0" u="none" strike="noStrike" baseline="0" dirty="0">
                          <a:solidFill>
                            <a:schemeClr val="tx1"/>
                          </a:solidFill>
                          <a:latin typeface="+mn-lt"/>
                          <a:ea typeface="+mn-ea"/>
                          <a:cs typeface="+mn-cs"/>
                        </a:rPr>
                        <a:t>Crowdstrike</a:t>
                      </a:r>
                    </a:p>
                  </a:txBody>
                  <a:tcPr marL="72000" marR="72000" marT="54000" marB="54000" anchor="ctr">
                    <a:lnL w="12700" cap="flat" cmpd="sng" algn="ctr">
                      <a:solidFill>
                        <a:schemeClr val="tx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888888"/>
                      </a:solidFill>
                      <a:prstDash val="solid"/>
                      <a:round/>
                      <a:headEnd type="none" w="med" len="med"/>
                      <a:tailEnd type="none" w="med" len="med"/>
                    </a:lnT>
                    <a:lnB w="9525" cap="flat" cmpd="sng" algn="ctr">
                      <a:solidFill>
                        <a:srgbClr val="88888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de-DE" sz="1200" b="0" i="0" u="none" strike="noStrike" baseline="0" dirty="0">
                          <a:solidFill>
                            <a:schemeClr val="tx1"/>
                          </a:solidFill>
                          <a:latin typeface="+mn-lt"/>
                          <a:ea typeface="+mn-ea"/>
                          <a:cs typeface="+mn-cs"/>
                        </a:rPr>
                        <a:t>-31,6 %</a:t>
                      </a:r>
                    </a:p>
                  </a:txBody>
                  <a:tcPr marL="72000" marR="72000" marT="54000" marB="54000" anchor="ctr">
                    <a:lnL w="9525"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rgbClr val="888888"/>
                      </a:solidFill>
                      <a:prstDash val="solid"/>
                      <a:round/>
                      <a:headEnd type="none" w="med" len="med"/>
                      <a:tailEnd type="none" w="med" len="med"/>
                    </a:lnT>
                    <a:lnB w="9525" cap="flat" cmpd="sng" algn="ctr">
                      <a:solidFill>
                        <a:srgbClr val="888888"/>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97245944"/>
                  </a:ext>
                </a:extLst>
              </a:tr>
              <a:tr h="342000">
                <a:tc>
                  <a:txBody>
                    <a:bodyPr/>
                    <a:lstStyle/>
                    <a:p>
                      <a:r>
                        <a:rPr lang="de-DE" sz="1200" b="0" i="0" u="none" strike="noStrike" baseline="0" dirty="0">
                          <a:solidFill>
                            <a:schemeClr val="tx1"/>
                          </a:solidFill>
                          <a:latin typeface="+mn-lt"/>
                          <a:ea typeface="+mn-ea"/>
                          <a:cs typeface="+mn-cs"/>
                        </a:rPr>
                        <a:t>Walmart</a:t>
                      </a:r>
                    </a:p>
                  </a:txBody>
                  <a:tcPr marL="72000" marR="72000" marT="54000" marB="5400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888888"/>
                      </a:solidFill>
                      <a:prstDash val="solid"/>
                      <a:round/>
                      <a:headEnd type="none" w="med" len="med"/>
                      <a:tailEnd type="none" w="med" len="med"/>
                    </a:lnT>
                    <a:lnB w="9525" cap="flat" cmpd="sng" algn="ctr">
                      <a:solidFill>
                        <a:srgbClr val="88888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de-DE" sz="1200" b="0" dirty="0">
                          <a:solidFill>
                            <a:schemeClr val="tx1"/>
                          </a:solidFill>
                        </a:rPr>
                        <a:t>+40,2 %</a:t>
                      </a:r>
                    </a:p>
                  </a:txBody>
                  <a:tcPr marL="72000" marR="72000" marT="54000" marB="54000"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888888"/>
                      </a:solidFill>
                      <a:prstDash val="solid"/>
                      <a:round/>
                      <a:headEnd type="none" w="med" len="med"/>
                      <a:tailEnd type="none" w="med" len="med"/>
                    </a:lnT>
                    <a:lnB w="9525" cap="flat" cmpd="sng" algn="ctr">
                      <a:solidFill>
                        <a:srgbClr val="88888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0" i="0" u="none" strike="noStrike" baseline="0" dirty="0">
                          <a:solidFill>
                            <a:schemeClr val="tx1"/>
                          </a:solidFill>
                          <a:latin typeface="+mn-lt"/>
                          <a:ea typeface="+mn-ea"/>
                          <a:cs typeface="+mn-cs"/>
                        </a:rPr>
                        <a:t>Nike</a:t>
                      </a:r>
                    </a:p>
                  </a:txBody>
                  <a:tcPr marL="72000" marR="72000" marT="54000" marB="54000" anchor="ctr">
                    <a:lnL w="12700" cap="flat" cmpd="sng" algn="ctr">
                      <a:solidFill>
                        <a:schemeClr val="tx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888888"/>
                      </a:solidFill>
                      <a:prstDash val="solid"/>
                      <a:round/>
                      <a:headEnd type="none" w="med" len="med"/>
                      <a:tailEnd type="none" w="med" len="med"/>
                    </a:lnT>
                    <a:lnB w="9525" cap="flat" cmpd="sng" algn="ctr">
                      <a:solidFill>
                        <a:srgbClr val="88888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de-DE" sz="1200" b="0" i="0" u="none" strike="noStrike" baseline="0" dirty="0">
                          <a:solidFill>
                            <a:schemeClr val="tx1"/>
                          </a:solidFill>
                          <a:latin typeface="+mn-lt"/>
                          <a:ea typeface="+mn-ea"/>
                          <a:cs typeface="+mn-cs"/>
                        </a:rPr>
                        <a:t>-23,4 %</a:t>
                      </a:r>
                    </a:p>
                  </a:txBody>
                  <a:tcPr marL="72000" marR="72000" marT="54000" marB="54000" anchor="ctr">
                    <a:lnL w="9525"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rgbClr val="888888"/>
                      </a:solidFill>
                      <a:prstDash val="solid"/>
                      <a:round/>
                      <a:headEnd type="none" w="med" len="med"/>
                      <a:tailEnd type="none" w="med" len="med"/>
                    </a:lnT>
                    <a:lnB w="9525" cap="flat" cmpd="sng" algn="ctr">
                      <a:solidFill>
                        <a:srgbClr val="888888"/>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342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0" i="0" u="none" strike="noStrike" baseline="0" dirty="0">
                          <a:solidFill>
                            <a:schemeClr val="accent6"/>
                          </a:solidFill>
                          <a:latin typeface="+mn-lt"/>
                          <a:ea typeface="+mn-ea"/>
                          <a:cs typeface="+mn-cs"/>
                        </a:rPr>
                        <a:t>Apple</a:t>
                      </a:r>
                      <a:endParaRPr lang="de-DE" sz="1200" b="0" dirty="0">
                        <a:solidFill>
                          <a:schemeClr val="accent6"/>
                        </a:solidFill>
                      </a:endParaRPr>
                    </a:p>
                  </a:txBody>
                  <a:tcPr marL="72000" marR="72000" marT="54000" marB="5400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888888"/>
                      </a:solidFill>
                      <a:prstDash val="solid"/>
                      <a:round/>
                      <a:headEnd type="none" w="med" len="med"/>
                      <a:tailEnd type="none" w="med" len="med"/>
                    </a:lnT>
                    <a:lnB w="9525" cap="flat" cmpd="sng" algn="ctr">
                      <a:solidFill>
                        <a:srgbClr val="888888"/>
                      </a:solidFill>
                      <a:prstDash val="solid"/>
                      <a:round/>
                      <a:headEnd type="none" w="med" len="med"/>
                      <a:tailEnd type="none" w="med" len="med"/>
                    </a:lnB>
                    <a:lnTlToBr w="12700" cmpd="sng">
                      <a:noFill/>
                      <a:prstDash val="solid"/>
                    </a:lnTlToBr>
                    <a:lnBlToTr w="12700" cmpd="sng">
                      <a:noFill/>
                      <a:prstDash val="solid"/>
                    </a:lnBlToTr>
                    <a:solidFill>
                      <a:srgbClr val="E9E9E9"/>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DE" sz="1200" b="0" dirty="0">
                          <a:solidFill>
                            <a:schemeClr val="tx1"/>
                          </a:solidFill>
                        </a:rPr>
                        <a:t>+17,1 %</a:t>
                      </a:r>
                    </a:p>
                  </a:txBody>
                  <a:tcPr marL="72000" marR="72000" marT="54000" marB="54000"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888888"/>
                      </a:solidFill>
                      <a:prstDash val="solid"/>
                      <a:round/>
                      <a:headEnd type="none" w="med" len="med"/>
                      <a:tailEnd type="none" w="med" len="med"/>
                    </a:lnT>
                    <a:lnB w="9525" cap="flat" cmpd="sng" algn="ctr">
                      <a:solidFill>
                        <a:srgbClr val="888888"/>
                      </a:solidFill>
                      <a:prstDash val="solid"/>
                      <a:round/>
                      <a:headEnd type="none" w="med" len="med"/>
                      <a:tailEnd type="none" w="med" len="med"/>
                    </a:lnB>
                    <a:lnTlToBr w="12700" cmpd="sng">
                      <a:noFill/>
                      <a:prstDash val="solid"/>
                    </a:lnTlToBr>
                    <a:lnBlToTr w="12700" cmpd="sng">
                      <a:noFill/>
                      <a:prstDash val="solid"/>
                    </a:lnBlToTr>
                    <a:solidFill>
                      <a:srgbClr val="E9E9E9"/>
                    </a:solidFill>
                  </a:tcPr>
                </a:tc>
                <a:tc>
                  <a:txBody>
                    <a:bodyPr/>
                    <a:lstStyle/>
                    <a:p>
                      <a:r>
                        <a:rPr lang="de-DE" sz="1200" b="0" i="0" u="none" strike="noStrike" baseline="0" dirty="0">
                          <a:solidFill>
                            <a:schemeClr val="tx1"/>
                          </a:solidFill>
                          <a:latin typeface="+mn-lt"/>
                          <a:ea typeface="+mn-ea"/>
                          <a:cs typeface="+mn-cs"/>
                        </a:rPr>
                        <a:t>Biogen</a:t>
                      </a:r>
                    </a:p>
                  </a:txBody>
                  <a:tcPr marL="72000" marR="72000" marT="54000" marB="54000" anchor="ctr">
                    <a:lnL w="12700" cap="flat" cmpd="sng" algn="ctr">
                      <a:solidFill>
                        <a:schemeClr val="tx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888888"/>
                      </a:solidFill>
                      <a:prstDash val="solid"/>
                      <a:round/>
                      <a:headEnd type="none" w="med" len="med"/>
                      <a:tailEnd type="none" w="med" len="med"/>
                    </a:lnT>
                    <a:lnB w="9525" cap="flat" cmpd="sng" algn="ctr">
                      <a:solidFill>
                        <a:srgbClr val="888888"/>
                      </a:solidFill>
                      <a:prstDash val="solid"/>
                      <a:round/>
                      <a:headEnd type="none" w="med" len="med"/>
                      <a:tailEnd type="none" w="med" len="med"/>
                    </a:lnB>
                    <a:lnTlToBr w="12700" cmpd="sng">
                      <a:noFill/>
                      <a:prstDash val="solid"/>
                    </a:lnTlToBr>
                    <a:lnBlToTr w="12700" cmpd="sng">
                      <a:noFill/>
                      <a:prstDash val="solid"/>
                    </a:lnBlToTr>
                    <a:solidFill>
                      <a:srgbClr val="E9E9E9"/>
                    </a:solidFill>
                  </a:tcPr>
                </a:tc>
                <a:tc>
                  <a:txBody>
                    <a:bodyPr/>
                    <a:lstStyle/>
                    <a:p>
                      <a:pPr algn="r"/>
                      <a:r>
                        <a:rPr lang="de-DE" sz="1200" b="0" i="0" u="none" strike="noStrike" baseline="0" dirty="0">
                          <a:solidFill>
                            <a:schemeClr val="tx1"/>
                          </a:solidFill>
                          <a:latin typeface="+mn-lt"/>
                          <a:ea typeface="+mn-ea"/>
                          <a:cs typeface="+mn-cs"/>
                        </a:rPr>
                        <a:t>-22,1 %</a:t>
                      </a:r>
                    </a:p>
                  </a:txBody>
                  <a:tcPr marL="72000" marR="72000" marT="54000" marB="54000" anchor="ctr">
                    <a:lnL w="9525"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rgbClr val="888888"/>
                      </a:solidFill>
                      <a:prstDash val="solid"/>
                      <a:round/>
                      <a:headEnd type="none" w="med" len="med"/>
                      <a:tailEnd type="none" w="med" len="med"/>
                    </a:lnT>
                    <a:lnB w="9525" cap="flat" cmpd="sng" algn="ctr">
                      <a:solidFill>
                        <a:srgbClr val="888888"/>
                      </a:solidFill>
                      <a:prstDash val="solid"/>
                      <a:round/>
                      <a:headEnd type="none" w="med" len="med"/>
                      <a:tailEnd type="none" w="med" len="med"/>
                    </a:lnB>
                    <a:lnTlToBr w="12700" cmpd="sng">
                      <a:noFill/>
                      <a:prstDash val="solid"/>
                    </a:lnTlToBr>
                    <a:lnBlToTr w="12700" cmpd="sng">
                      <a:noFill/>
                      <a:prstDash val="solid"/>
                    </a:lnBlToTr>
                    <a:solidFill>
                      <a:srgbClr val="E9E9E9"/>
                    </a:solidFill>
                  </a:tcPr>
                </a:tc>
                <a:extLst>
                  <a:ext uri="{0D108BD9-81ED-4DB2-BD59-A6C34878D82A}">
                    <a16:rowId xmlns:a16="http://schemas.microsoft.com/office/drawing/2014/main" val="10007"/>
                  </a:ext>
                </a:extLst>
              </a:tr>
              <a:tr h="342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0" i="0" u="none" strike="noStrike" baseline="0" dirty="0">
                          <a:solidFill>
                            <a:schemeClr val="accent6"/>
                          </a:solidFill>
                          <a:latin typeface="+mn-lt"/>
                          <a:ea typeface="+mn-ea"/>
                          <a:cs typeface="+mn-cs"/>
                        </a:rPr>
                        <a:t>Amazon.com</a:t>
                      </a:r>
                    </a:p>
                  </a:txBody>
                  <a:tcPr marL="72000" marR="72000" marT="54000" marB="5400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888888"/>
                      </a:solidFill>
                      <a:prstDash val="solid"/>
                      <a:round/>
                      <a:headEnd type="none" w="med" len="med"/>
                      <a:tailEnd type="none" w="med" len="med"/>
                    </a:lnT>
                    <a:lnB w="9525" cap="flat" cmpd="sng" algn="ctr">
                      <a:solidFill>
                        <a:srgbClr val="88888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DE" sz="1200" b="0" dirty="0">
                          <a:solidFill>
                            <a:schemeClr val="tx1"/>
                          </a:solidFill>
                        </a:rPr>
                        <a:t>+16,9 %</a:t>
                      </a:r>
                    </a:p>
                  </a:txBody>
                  <a:tcPr marL="72000" marR="72000" marT="54000" marB="54000"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888888"/>
                      </a:solidFill>
                      <a:prstDash val="solid"/>
                      <a:round/>
                      <a:headEnd type="none" w="med" len="med"/>
                      <a:tailEnd type="none" w="med" len="med"/>
                    </a:lnT>
                    <a:lnB w="9525" cap="flat" cmpd="sng" algn="ctr">
                      <a:solidFill>
                        <a:srgbClr val="88888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200" b="0" i="0" u="none" strike="noStrike" baseline="0" dirty="0">
                          <a:solidFill>
                            <a:schemeClr val="accent6"/>
                          </a:solidFill>
                          <a:latin typeface="+mn-lt"/>
                          <a:ea typeface="+mn-ea"/>
                          <a:cs typeface="+mn-cs"/>
                        </a:rPr>
                        <a:t>Tesla</a:t>
                      </a:r>
                    </a:p>
                  </a:txBody>
                  <a:tcPr marL="72000" marR="72000" marT="54000" marB="54000" anchor="ctr">
                    <a:lnL w="12700" cap="flat" cmpd="sng" algn="ctr">
                      <a:solidFill>
                        <a:schemeClr val="tx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888888"/>
                      </a:solidFill>
                      <a:prstDash val="solid"/>
                      <a:round/>
                      <a:headEnd type="none" w="med" len="med"/>
                      <a:tailEnd type="none" w="med" len="med"/>
                    </a:lnT>
                    <a:lnB w="9525" cap="flat" cmpd="sng" algn="ctr">
                      <a:solidFill>
                        <a:srgbClr val="88888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r>
                        <a:rPr lang="de-DE" sz="1200" b="0" i="0" u="none" strike="noStrike" baseline="0" dirty="0">
                          <a:solidFill>
                            <a:schemeClr val="tx1"/>
                          </a:solidFill>
                          <a:latin typeface="+mn-lt"/>
                          <a:ea typeface="+mn-ea"/>
                          <a:cs typeface="+mn-cs"/>
                        </a:rPr>
                        <a:t>-13,8 %</a:t>
                      </a:r>
                      <a:endParaRPr lang="de-DE" sz="1200" b="0" dirty="0">
                        <a:solidFill>
                          <a:schemeClr val="tx1"/>
                        </a:solidFill>
                      </a:endParaRPr>
                    </a:p>
                  </a:txBody>
                  <a:tcPr marL="72000" marR="72000" marT="54000" marB="54000" anchor="ctr">
                    <a:lnL w="9525"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rgbClr val="888888"/>
                      </a:solidFill>
                      <a:prstDash val="solid"/>
                      <a:round/>
                      <a:headEnd type="none" w="med" len="med"/>
                      <a:tailEnd type="none" w="med" len="med"/>
                    </a:lnT>
                    <a:lnB w="9525" cap="flat" cmpd="sng" algn="ctr">
                      <a:solidFill>
                        <a:srgbClr val="888888"/>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r h="342000">
                <a:tc>
                  <a:txBody>
                    <a:bodyPr/>
                    <a:lstStyle/>
                    <a:p>
                      <a:r>
                        <a:rPr lang="de-DE" sz="1200" b="0" i="0" u="none" strike="noStrike" baseline="0" dirty="0">
                          <a:solidFill>
                            <a:schemeClr val="accent6"/>
                          </a:solidFill>
                          <a:latin typeface="+mn-lt"/>
                          <a:ea typeface="+mn-ea"/>
                          <a:cs typeface="+mn-cs"/>
                        </a:rPr>
                        <a:t>Alphabet</a:t>
                      </a:r>
                      <a:endParaRPr lang="de-DE" sz="1200" b="0" dirty="0">
                        <a:solidFill>
                          <a:schemeClr val="accent6"/>
                        </a:solidFill>
                      </a:endParaRPr>
                    </a:p>
                  </a:txBody>
                  <a:tcPr marL="72000" marR="72000" marT="54000" marB="5400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888888"/>
                      </a:solidFill>
                      <a:prstDash val="solid"/>
                      <a:round/>
                      <a:headEnd type="none" w="med" len="med"/>
                      <a:tailEnd type="none" w="med" len="med"/>
                    </a:lnT>
                    <a:lnB w="9525" cap="flat" cmpd="sng" algn="ctr">
                      <a:solidFill>
                        <a:srgbClr val="888888"/>
                      </a:solidFill>
                      <a:prstDash val="solid"/>
                      <a:round/>
                      <a:headEnd type="none" w="med" len="med"/>
                      <a:tailEnd type="none" w="med" len="med"/>
                    </a:lnB>
                    <a:lnTlToBr w="12700" cmpd="sng">
                      <a:noFill/>
                      <a:prstDash val="solid"/>
                    </a:lnTlToBr>
                    <a:lnBlToTr w="12700" cmpd="sng">
                      <a:noFill/>
                      <a:prstDash val="solid"/>
                    </a:lnBlToTr>
                    <a:solidFill>
                      <a:srgbClr val="E9E9E9"/>
                    </a:solidFill>
                  </a:tcPr>
                </a:tc>
                <a:tc>
                  <a:txBody>
                    <a:bodyPr/>
                    <a:lstStyle/>
                    <a:p>
                      <a:pPr algn="r"/>
                      <a:r>
                        <a:rPr lang="de-DE" sz="1200" b="0" dirty="0">
                          <a:solidFill>
                            <a:schemeClr val="tx1"/>
                          </a:solidFill>
                        </a:rPr>
                        <a:t>+15,9 %</a:t>
                      </a:r>
                    </a:p>
                  </a:txBody>
                  <a:tcPr marL="72000" marR="72000" marT="54000" marB="54000"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888888"/>
                      </a:solidFill>
                      <a:prstDash val="solid"/>
                      <a:round/>
                      <a:headEnd type="none" w="med" len="med"/>
                      <a:tailEnd type="none" w="med" len="med"/>
                    </a:lnT>
                    <a:lnB w="9525" cap="flat" cmpd="sng" algn="ctr">
                      <a:solidFill>
                        <a:srgbClr val="888888"/>
                      </a:solidFill>
                      <a:prstDash val="solid"/>
                      <a:round/>
                      <a:headEnd type="none" w="med" len="med"/>
                      <a:tailEnd type="none" w="med" len="med"/>
                    </a:lnB>
                    <a:lnTlToBr w="12700" cmpd="sng">
                      <a:noFill/>
                      <a:prstDash val="solid"/>
                    </a:lnTlToBr>
                    <a:lnBlToTr w="12700" cmpd="sng">
                      <a:noFill/>
                      <a:prstDash val="solid"/>
                    </a:lnBlToTr>
                    <a:solidFill>
                      <a:srgbClr val="E9E9E9"/>
                    </a:solidFill>
                  </a:tcPr>
                </a:tc>
                <a:tc>
                  <a:txBody>
                    <a:bodyPr/>
                    <a:lstStyle/>
                    <a:p>
                      <a:r>
                        <a:rPr lang="de-DE" sz="1200" b="0" dirty="0">
                          <a:solidFill>
                            <a:schemeClr val="tx1"/>
                          </a:solidFill>
                        </a:rPr>
                        <a:t>Ford</a:t>
                      </a:r>
                    </a:p>
                  </a:txBody>
                  <a:tcPr marL="72000" marR="72000" marT="54000" marB="54000" anchor="ctr">
                    <a:lnL w="12700" cap="flat" cmpd="sng" algn="ctr">
                      <a:solidFill>
                        <a:schemeClr val="tx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888888"/>
                      </a:solidFill>
                      <a:prstDash val="solid"/>
                      <a:round/>
                      <a:headEnd type="none" w="med" len="med"/>
                      <a:tailEnd type="none" w="med" len="med"/>
                    </a:lnT>
                    <a:lnB w="9525" cap="flat" cmpd="sng" algn="ctr">
                      <a:solidFill>
                        <a:srgbClr val="888888"/>
                      </a:solidFill>
                      <a:prstDash val="solid"/>
                      <a:round/>
                      <a:headEnd type="none" w="med" len="med"/>
                      <a:tailEnd type="none" w="med" len="med"/>
                    </a:lnB>
                    <a:lnTlToBr w="12700" cmpd="sng">
                      <a:noFill/>
                      <a:prstDash val="solid"/>
                    </a:lnTlToBr>
                    <a:lnBlToTr w="12700" cmpd="sng">
                      <a:noFill/>
                      <a:prstDash val="solid"/>
                    </a:lnBlToTr>
                    <a:solidFill>
                      <a:srgbClr val="E9E9E9"/>
                    </a:solidFill>
                  </a:tcPr>
                </a:tc>
                <a:tc>
                  <a:txBody>
                    <a:bodyPr/>
                    <a:lstStyle/>
                    <a:p>
                      <a:pPr algn="r"/>
                      <a:r>
                        <a:rPr lang="de-DE" sz="1200" b="0" i="0" u="none" strike="noStrike" baseline="0" dirty="0">
                          <a:solidFill>
                            <a:schemeClr val="tx1"/>
                          </a:solidFill>
                          <a:latin typeface="+mn-lt"/>
                          <a:ea typeface="+mn-ea"/>
                          <a:cs typeface="+mn-cs"/>
                        </a:rPr>
                        <a:t>-9,4 %</a:t>
                      </a:r>
                      <a:endParaRPr lang="de-DE" sz="1200" b="0" dirty="0">
                        <a:solidFill>
                          <a:schemeClr val="tx1"/>
                        </a:solidFill>
                      </a:endParaRPr>
                    </a:p>
                  </a:txBody>
                  <a:tcPr marL="72000" marR="72000" marT="54000" marB="54000" anchor="ctr">
                    <a:lnL w="9525"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rgbClr val="888888"/>
                      </a:solidFill>
                      <a:prstDash val="solid"/>
                      <a:round/>
                      <a:headEnd type="none" w="med" len="med"/>
                      <a:tailEnd type="none" w="med" len="med"/>
                    </a:lnT>
                    <a:lnB w="9525" cap="flat" cmpd="sng" algn="ctr">
                      <a:solidFill>
                        <a:srgbClr val="888888"/>
                      </a:solidFill>
                      <a:prstDash val="solid"/>
                      <a:round/>
                      <a:headEnd type="none" w="med" len="med"/>
                      <a:tailEnd type="none" w="med" len="med"/>
                    </a:lnB>
                    <a:lnTlToBr w="12700" cmpd="sng">
                      <a:noFill/>
                      <a:prstDash val="solid"/>
                    </a:lnTlToBr>
                    <a:lnBlToTr w="12700" cmpd="sng">
                      <a:noFill/>
                      <a:prstDash val="solid"/>
                    </a:lnBlToTr>
                    <a:solidFill>
                      <a:srgbClr val="E9E9E9"/>
                    </a:solidFill>
                  </a:tcPr>
                </a:tc>
                <a:extLst>
                  <a:ext uri="{0D108BD9-81ED-4DB2-BD59-A6C34878D82A}">
                    <a16:rowId xmlns:a16="http://schemas.microsoft.com/office/drawing/2014/main" val="10009"/>
                  </a:ext>
                </a:extLst>
              </a:tr>
              <a:tr h="342000">
                <a:tc>
                  <a:txBody>
                    <a:bodyPr/>
                    <a:lstStyle/>
                    <a:p>
                      <a:r>
                        <a:rPr lang="de-DE" sz="1200" b="0" i="0" u="none" strike="noStrike" baseline="0" dirty="0">
                          <a:solidFill>
                            <a:schemeClr val="accent6"/>
                          </a:solidFill>
                          <a:latin typeface="+mn-lt"/>
                          <a:ea typeface="+mn-ea"/>
                          <a:cs typeface="+mn-cs"/>
                        </a:rPr>
                        <a:t>Microsoft</a:t>
                      </a:r>
                      <a:endParaRPr lang="de-DE" sz="1200" b="0" dirty="0">
                        <a:solidFill>
                          <a:schemeClr val="accent6"/>
                        </a:solidFill>
                      </a:endParaRPr>
                    </a:p>
                  </a:txBody>
                  <a:tcPr marL="72000" marR="72000" marT="54000" marB="5400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888888"/>
                      </a:solidFill>
                      <a:prstDash val="solid"/>
                      <a:round/>
                      <a:headEnd type="none" w="med" len="med"/>
                      <a:tailEnd type="none" w="med" len="med"/>
                    </a:lnT>
                    <a:lnB w="9525" cap="flat" cmpd="sng" algn="ctr">
                      <a:solidFill>
                        <a:srgbClr val="888888"/>
                      </a:solidFill>
                      <a:prstDash val="solid"/>
                      <a:round/>
                      <a:headEnd type="none" w="med" len="med"/>
                      <a:tailEnd type="none" w="med" len="med"/>
                    </a:lnB>
                    <a:lnTlToBr w="12700" cmpd="sng">
                      <a:noFill/>
                      <a:prstDash val="solid"/>
                    </a:lnTlToBr>
                    <a:lnBlToTr w="12700" cmpd="sng">
                      <a:noFill/>
                      <a:prstDash val="solid"/>
                    </a:lnBlToTr>
                    <a:solidFill>
                      <a:srgbClr val="E9E9E9"/>
                    </a:solidFill>
                  </a:tcPr>
                </a:tc>
                <a:tc>
                  <a:txBody>
                    <a:bodyPr/>
                    <a:lstStyle/>
                    <a:p>
                      <a:pPr algn="r"/>
                      <a:r>
                        <a:rPr lang="de-DE" sz="1200" b="0" dirty="0">
                          <a:solidFill>
                            <a:schemeClr val="tx1"/>
                          </a:solidFill>
                        </a:rPr>
                        <a:t>+12,6 %</a:t>
                      </a:r>
                    </a:p>
                  </a:txBody>
                  <a:tcPr marL="72000" marR="72000" marT="54000" marB="54000"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888888"/>
                      </a:solidFill>
                      <a:prstDash val="solid"/>
                      <a:round/>
                      <a:headEnd type="none" w="med" len="med"/>
                      <a:tailEnd type="none" w="med" len="med"/>
                    </a:lnT>
                    <a:lnB w="9525" cap="flat" cmpd="sng" algn="ctr">
                      <a:solidFill>
                        <a:srgbClr val="888888"/>
                      </a:solidFill>
                      <a:prstDash val="solid"/>
                      <a:round/>
                      <a:headEnd type="none" w="med" len="med"/>
                      <a:tailEnd type="none" w="med" len="med"/>
                    </a:lnB>
                    <a:lnTlToBr w="12700" cmpd="sng">
                      <a:noFill/>
                      <a:prstDash val="solid"/>
                    </a:lnTlToBr>
                    <a:lnBlToTr w="12700" cmpd="sng">
                      <a:noFill/>
                      <a:prstDash val="solid"/>
                    </a:lnBlToTr>
                    <a:solidFill>
                      <a:srgbClr val="E9E9E9"/>
                    </a:solidFill>
                  </a:tcPr>
                </a:tc>
                <a:tc>
                  <a:txBody>
                    <a:bodyPr/>
                    <a:lstStyle/>
                    <a:p>
                      <a:r>
                        <a:rPr lang="de-DE" sz="1200" b="0" i="0" u="none" strike="noStrike" baseline="0" dirty="0">
                          <a:solidFill>
                            <a:schemeClr val="tx1"/>
                          </a:solidFill>
                          <a:latin typeface="+mn-lt"/>
                          <a:ea typeface="+mn-ea"/>
                          <a:cs typeface="+mn-cs"/>
                        </a:rPr>
                        <a:t>Adobe</a:t>
                      </a:r>
                    </a:p>
                  </a:txBody>
                  <a:tcPr marL="72000" marR="72000" marT="54000" marB="54000" anchor="ctr">
                    <a:lnL w="12700" cap="flat" cmpd="sng" algn="ctr">
                      <a:solidFill>
                        <a:schemeClr val="tx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888888"/>
                      </a:solidFill>
                      <a:prstDash val="solid"/>
                      <a:round/>
                      <a:headEnd type="none" w="med" len="med"/>
                      <a:tailEnd type="none" w="med" len="med"/>
                    </a:lnT>
                    <a:lnB w="9525" cap="flat" cmpd="sng" algn="ctr">
                      <a:solidFill>
                        <a:srgbClr val="888888"/>
                      </a:solidFill>
                      <a:prstDash val="solid"/>
                      <a:round/>
                      <a:headEnd type="none" w="med" len="med"/>
                      <a:tailEnd type="none" w="med" len="med"/>
                    </a:lnB>
                    <a:lnTlToBr w="12700" cmpd="sng">
                      <a:noFill/>
                      <a:prstDash val="solid"/>
                    </a:lnTlToBr>
                    <a:lnBlToTr w="12700" cmpd="sng">
                      <a:noFill/>
                      <a:prstDash val="solid"/>
                    </a:lnBlToTr>
                    <a:solidFill>
                      <a:srgbClr val="E9E9E9"/>
                    </a:solidFill>
                  </a:tcPr>
                </a:tc>
                <a:tc>
                  <a:txBody>
                    <a:bodyPr/>
                    <a:lstStyle/>
                    <a:p>
                      <a:pPr algn="r"/>
                      <a:r>
                        <a:rPr lang="de-DE" sz="1200" b="0" i="0" u="none" strike="noStrike" baseline="0" dirty="0">
                          <a:solidFill>
                            <a:schemeClr val="tx1"/>
                          </a:solidFill>
                          <a:latin typeface="+mn-lt"/>
                          <a:ea typeface="+mn-ea"/>
                          <a:cs typeface="+mn-cs"/>
                        </a:rPr>
                        <a:t>-7,1 %</a:t>
                      </a:r>
                    </a:p>
                  </a:txBody>
                  <a:tcPr marL="72000" marR="72000" marT="54000" marB="54000" anchor="ctr">
                    <a:lnL w="9525"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rgbClr val="888888"/>
                      </a:solidFill>
                      <a:prstDash val="solid"/>
                      <a:round/>
                      <a:headEnd type="none" w="med" len="med"/>
                      <a:tailEnd type="none" w="med" len="med"/>
                    </a:lnT>
                    <a:lnB w="9525" cap="flat" cmpd="sng" algn="ctr">
                      <a:solidFill>
                        <a:srgbClr val="888888"/>
                      </a:solidFill>
                      <a:prstDash val="solid"/>
                      <a:round/>
                      <a:headEnd type="none" w="med" len="med"/>
                      <a:tailEnd type="none" w="med" len="med"/>
                    </a:lnB>
                    <a:lnTlToBr w="12700" cmpd="sng">
                      <a:noFill/>
                      <a:prstDash val="solid"/>
                    </a:lnTlToBr>
                    <a:lnBlToTr w="12700" cmpd="sng">
                      <a:noFill/>
                      <a:prstDash val="solid"/>
                    </a:lnBlToTr>
                    <a:solidFill>
                      <a:srgbClr val="E9E9E9"/>
                    </a:solidFill>
                  </a:tcPr>
                </a:tc>
                <a:extLst>
                  <a:ext uri="{0D108BD9-81ED-4DB2-BD59-A6C34878D82A}">
                    <a16:rowId xmlns:a16="http://schemas.microsoft.com/office/drawing/2014/main" val="10004"/>
                  </a:ext>
                </a:extLst>
              </a:tr>
            </a:tbl>
          </a:graphicData>
        </a:graphic>
      </p:graphicFrame>
      <p:sp>
        <p:nvSpPr>
          <p:cNvPr id="14" name="Titel 13">
            <a:extLst>
              <a:ext uri="{FF2B5EF4-FFF2-40B4-BE49-F238E27FC236}">
                <a16:creationId xmlns:a16="http://schemas.microsoft.com/office/drawing/2014/main" id="{F711E85B-4542-49BF-A65B-0FDA770825CE}"/>
              </a:ext>
            </a:extLst>
          </p:cNvPr>
          <p:cNvSpPr>
            <a:spLocks noGrp="1"/>
          </p:cNvSpPr>
          <p:nvPr>
            <p:ph type="title"/>
          </p:nvPr>
        </p:nvSpPr>
        <p:spPr>
          <a:xfrm>
            <a:off x="409574" y="404664"/>
            <a:ext cx="11468389" cy="720000"/>
          </a:xfrm>
        </p:spPr>
        <p:txBody>
          <a:bodyPr/>
          <a:lstStyle/>
          <a:p>
            <a:r>
              <a:rPr lang="de-DE" dirty="0"/>
              <a:t>KI ist auch 2024 ein wichtiger </a:t>
            </a:r>
            <a:r>
              <a:rPr lang="de-DE" dirty="0">
                <a:solidFill>
                  <a:schemeClr val="accent2"/>
                </a:solidFill>
              </a:rPr>
              <a:t>Treiber der Aktienmärkte …</a:t>
            </a:r>
          </a:p>
        </p:txBody>
      </p:sp>
      <p:sp>
        <p:nvSpPr>
          <p:cNvPr id="44" name="Textplatzhalter 9">
            <a:extLst>
              <a:ext uri="{FF2B5EF4-FFF2-40B4-BE49-F238E27FC236}">
                <a16:creationId xmlns:a16="http://schemas.microsoft.com/office/drawing/2014/main" id="{A0CC9ED0-D137-4273-960D-32A7547C0428}"/>
              </a:ext>
            </a:extLst>
          </p:cNvPr>
          <p:cNvSpPr>
            <a:spLocks noGrp="1"/>
          </p:cNvSpPr>
          <p:nvPr>
            <p:ph type="body" sz="quarter" idx="19"/>
          </p:nvPr>
        </p:nvSpPr>
        <p:spPr>
          <a:xfrm>
            <a:off x="409575" y="1412776"/>
            <a:ext cx="5688012" cy="276999"/>
          </a:xfrm>
        </p:spPr>
        <p:txBody>
          <a:bodyPr/>
          <a:lstStyle/>
          <a:p>
            <a:r>
              <a:rPr lang="de-DE" dirty="0"/>
              <a:t>Aktien 2023/24: KI der Treiber von Wachstumsaktien</a:t>
            </a:r>
          </a:p>
        </p:txBody>
      </p:sp>
      <p:sp>
        <p:nvSpPr>
          <p:cNvPr id="45" name="Textplatzhalter 10">
            <a:extLst>
              <a:ext uri="{FF2B5EF4-FFF2-40B4-BE49-F238E27FC236}">
                <a16:creationId xmlns:a16="http://schemas.microsoft.com/office/drawing/2014/main" id="{C4FE0B79-376C-4882-88B7-384082D9110A}"/>
              </a:ext>
            </a:extLst>
          </p:cNvPr>
          <p:cNvSpPr>
            <a:spLocks noGrp="1"/>
          </p:cNvSpPr>
          <p:nvPr>
            <p:ph type="body" sz="quarter" idx="21"/>
          </p:nvPr>
        </p:nvSpPr>
        <p:spPr>
          <a:xfrm>
            <a:off x="409575" y="1700708"/>
            <a:ext cx="5566352" cy="212116"/>
          </a:xfrm>
        </p:spPr>
        <p:txBody>
          <a:bodyPr/>
          <a:lstStyle/>
          <a:p>
            <a:r>
              <a:rPr lang="de-DE"/>
              <a:t>Jährliche Wertentwicklung MSCI World Growth vs. MSCI World Value*</a:t>
            </a:r>
          </a:p>
        </p:txBody>
      </p:sp>
      <p:sp>
        <p:nvSpPr>
          <p:cNvPr id="52" name="Textplatzhalter 5">
            <a:extLst>
              <a:ext uri="{FF2B5EF4-FFF2-40B4-BE49-F238E27FC236}">
                <a16:creationId xmlns:a16="http://schemas.microsoft.com/office/drawing/2014/main" id="{56EC61FE-1A00-4854-AD86-DD18ECCE5C5F}"/>
              </a:ext>
            </a:extLst>
          </p:cNvPr>
          <p:cNvSpPr>
            <a:spLocks noGrp="1"/>
          </p:cNvSpPr>
          <p:nvPr>
            <p:ph type="body" sz="quarter" idx="27"/>
          </p:nvPr>
        </p:nvSpPr>
        <p:spPr>
          <a:xfrm>
            <a:off x="6313611" y="1412776"/>
            <a:ext cx="5472000" cy="276999"/>
          </a:xfrm>
        </p:spPr>
        <p:txBody>
          <a:bodyPr/>
          <a:lstStyle/>
          <a:p>
            <a:r>
              <a:rPr lang="de-DE" dirty="0"/>
              <a:t>2024: Tech-Werte werden differenzierter gesehen</a:t>
            </a:r>
          </a:p>
        </p:txBody>
      </p:sp>
      <p:sp>
        <p:nvSpPr>
          <p:cNvPr id="53" name="Textplatzhalter 6">
            <a:extLst>
              <a:ext uri="{FF2B5EF4-FFF2-40B4-BE49-F238E27FC236}">
                <a16:creationId xmlns:a16="http://schemas.microsoft.com/office/drawing/2014/main" id="{B94EB1A2-D3BE-4EAB-A5AA-BC13749B02CE}"/>
              </a:ext>
            </a:extLst>
          </p:cNvPr>
          <p:cNvSpPr>
            <a:spLocks noGrp="1"/>
          </p:cNvSpPr>
          <p:nvPr>
            <p:ph type="body" sz="quarter" idx="28"/>
          </p:nvPr>
        </p:nvSpPr>
        <p:spPr>
          <a:xfrm>
            <a:off x="6313611" y="1700708"/>
            <a:ext cx="5472000" cy="215444"/>
          </a:xfrm>
          <a:noFill/>
        </p:spPr>
        <p:txBody>
          <a:bodyPr vert="horz" lIns="0" tIns="0" rIns="0" bIns="0" rtlCol="0" anchor="t">
            <a:noAutofit/>
          </a:bodyPr>
          <a:lstStyle/>
          <a:p>
            <a:r>
              <a:rPr lang="de-DE" dirty="0"/>
              <a:t>Wertentwicklung der Aktien mit den größten positiven und negativen Beiträgen zur Indexentwicklung des S&amp;P 500 seit dem 1.1.2024</a:t>
            </a:r>
          </a:p>
        </p:txBody>
      </p:sp>
      <p:sp>
        <p:nvSpPr>
          <p:cNvPr id="3" name="Foliennummernplatzhalter 6">
            <a:extLst>
              <a:ext uri="{FF2B5EF4-FFF2-40B4-BE49-F238E27FC236}">
                <a16:creationId xmlns:a16="http://schemas.microsoft.com/office/drawing/2014/main" id="{CF081E9A-AEBD-D7F6-5325-92357F2732B7}"/>
              </a:ext>
            </a:extLst>
          </p:cNvPr>
          <p:cNvSpPr txBox="1">
            <a:spLocks/>
          </p:cNvSpPr>
          <p:nvPr/>
        </p:nvSpPr>
        <p:spPr bwMode="gray">
          <a:xfrm>
            <a:off x="11504750" y="151200"/>
            <a:ext cx="280800" cy="180000"/>
          </a:xfrm>
          <a:prstGeom prst="rect">
            <a:avLst/>
          </a:prstGeom>
        </p:spPr>
        <p:txBody>
          <a:bodyPr vert="horz" lIns="0" tIns="0" rIns="0" bIns="0" rtlCol="0" anchor="t">
            <a:normAutofit/>
          </a:bodyPr>
          <a:lstStyle>
            <a:defPPr>
              <a:defRPr lang="de-DE"/>
            </a:defPPr>
            <a:lvl1pPr marL="0" algn="r" defTabSz="914400" rtl="0" eaLnBrk="1" latinLnBrk="0" hangingPunct="1">
              <a:defRPr sz="1000" kern="1200">
                <a:solidFill>
                  <a:srgbClr val="88888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fld id="{9C89B081-1F44-4440-BC7B-989C90F97B77}" type="slidenum">
              <a:rPr lang="de-DE" smtClean="0"/>
              <a:pPr>
                <a:spcAft>
                  <a:spcPts val="600"/>
                </a:spcAft>
              </a:pPr>
              <a:t>12</a:t>
            </a:fld>
            <a:endParaRPr lang="de-DE"/>
          </a:p>
        </p:txBody>
      </p:sp>
      <p:sp>
        <p:nvSpPr>
          <p:cNvPr id="18" name="Textplatzhalter 17">
            <a:extLst>
              <a:ext uri="{FF2B5EF4-FFF2-40B4-BE49-F238E27FC236}">
                <a16:creationId xmlns:a16="http://schemas.microsoft.com/office/drawing/2014/main" id="{83E7B6D1-6D3A-41E3-9647-4672BE2B8578}"/>
              </a:ext>
            </a:extLst>
          </p:cNvPr>
          <p:cNvSpPr>
            <a:spLocks noGrp="1"/>
          </p:cNvSpPr>
          <p:nvPr>
            <p:ph type="body" sz="quarter" idx="23"/>
          </p:nvPr>
        </p:nvSpPr>
        <p:spPr>
          <a:xfrm>
            <a:off x="411162" y="6113874"/>
            <a:ext cx="11374438" cy="307777"/>
          </a:xfrm>
        </p:spPr>
        <p:txBody>
          <a:bodyPr/>
          <a:lstStyle/>
          <a:p>
            <a:r>
              <a:rPr lang="de-DE" dirty="0"/>
              <a:t>Quelle: LSEG, Bloomberg, Union Investment. Stand: 15. August 2024. * Jeweils in der Net-Return-Variante.</a:t>
            </a:r>
            <a:r>
              <a:rPr lang="en-GB" sz="1000" dirty="0"/>
              <a:t> </a:t>
            </a:r>
            <a:r>
              <a:rPr lang="en-GB" sz="1000" dirty="0" err="1"/>
              <a:t>Betrachtungszeitraum</a:t>
            </a:r>
            <a:r>
              <a:rPr lang="en-GB" sz="1000" dirty="0"/>
              <a:t> 31. Juli 2019 bis 15. August 2024, </a:t>
            </a:r>
            <a:r>
              <a:rPr lang="en-GB" sz="1000" dirty="0" err="1"/>
              <a:t>jeweils</a:t>
            </a:r>
            <a:r>
              <a:rPr lang="en-GB" sz="1000" dirty="0"/>
              <a:t> in Ein-</a:t>
            </a:r>
            <a:r>
              <a:rPr lang="en-GB" sz="1000" dirty="0" err="1"/>
              <a:t>Jahres</a:t>
            </a:r>
            <a:r>
              <a:rPr lang="en-GB" sz="1000" dirty="0"/>
              <a:t>-</a:t>
            </a:r>
            <a:r>
              <a:rPr lang="en-GB" sz="1000" dirty="0" err="1"/>
              <a:t>Abschnitten</a:t>
            </a:r>
            <a:r>
              <a:rPr lang="en-GB" sz="1000" dirty="0"/>
              <a:t>. </a:t>
            </a:r>
            <a:r>
              <a:rPr lang="en-GB" sz="1200" dirty="0"/>
              <a:t>Die </a:t>
            </a:r>
            <a:r>
              <a:rPr lang="en-GB" sz="1200" dirty="0" err="1"/>
              <a:t>Angaben</a:t>
            </a:r>
            <a:r>
              <a:rPr lang="en-GB" sz="1200" dirty="0"/>
              <a:t> </a:t>
            </a:r>
            <a:r>
              <a:rPr lang="en-GB" sz="1200" dirty="0" err="1"/>
              <a:t>zur</a:t>
            </a:r>
            <a:r>
              <a:rPr lang="en-GB" sz="1200" dirty="0"/>
              <a:t> </a:t>
            </a:r>
            <a:r>
              <a:rPr lang="en-GB" sz="1200" dirty="0" err="1"/>
              <a:t>Wertentwicklung</a:t>
            </a:r>
            <a:r>
              <a:rPr lang="en-GB" sz="1200" dirty="0"/>
              <a:t> </a:t>
            </a:r>
            <a:r>
              <a:rPr lang="en-GB" sz="1200" dirty="0" err="1"/>
              <a:t>basieren</a:t>
            </a:r>
            <a:r>
              <a:rPr lang="en-GB" sz="1200" dirty="0"/>
              <a:t> auf </a:t>
            </a:r>
            <a:r>
              <a:rPr lang="en-GB" sz="1200" dirty="0" err="1"/>
              <a:t>Vergangenheitswerten</a:t>
            </a:r>
            <a:r>
              <a:rPr lang="en-GB" sz="1200" dirty="0"/>
              <a:t> und </a:t>
            </a:r>
            <a:r>
              <a:rPr lang="en-GB" sz="1200" dirty="0" err="1"/>
              <a:t>lassen</a:t>
            </a:r>
            <a:r>
              <a:rPr lang="en-GB" sz="1200" dirty="0"/>
              <a:t> </a:t>
            </a:r>
            <a:r>
              <a:rPr lang="en-GB" sz="1200" dirty="0" err="1"/>
              <a:t>keine</a:t>
            </a:r>
            <a:r>
              <a:rPr lang="en-GB" sz="1200" dirty="0"/>
              <a:t> </a:t>
            </a:r>
            <a:r>
              <a:rPr lang="en-GB" sz="1200" dirty="0" err="1"/>
              <a:t>verlässlichen</a:t>
            </a:r>
            <a:r>
              <a:rPr lang="en-GB" sz="1200" dirty="0"/>
              <a:t> </a:t>
            </a:r>
            <a:r>
              <a:rPr lang="en-GB" sz="1200" dirty="0" err="1"/>
              <a:t>Rückschlüsse</a:t>
            </a:r>
            <a:r>
              <a:rPr lang="en-GB" sz="1200" dirty="0"/>
              <a:t> auf die </a:t>
            </a:r>
            <a:r>
              <a:rPr lang="en-GB" sz="1200" dirty="0" err="1"/>
              <a:t>zukünftige</a:t>
            </a:r>
            <a:r>
              <a:rPr lang="en-GB" sz="1200" dirty="0"/>
              <a:t> </a:t>
            </a:r>
            <a:r>
              <a:rPr lang="en-GB" sz="1200" dirty="0" err="1"/>
              <a:t>Entwicklung</a:t>
            </a:r>
            <a:r>
              <a:rPr lang="en-GB" sz="1200" dirty="0"/>
              <a:t> </a:t>
            </a:r>
            <a:r>
              <a:rPr lang="en-GB" sz="1200" dirty="0" err="1"/>
              <a:t>zu</a:t>
            </a:r>
            <a:r>
              <a:rPr lang="en-GB" sz="1200" dirty="0"/>
              <a:t>.</a:t>
            </a:r>
            <a:endParaRPr lang="de-DE" sz="1200" dirty="0"/>
          </a:p>
        </p:txBody>
      </p:sp>
      <p:graphicFrame>
        <p:nvGraphicFramePr>
          <p:cNvPr id="5" name="Inhaltsplatzhalter 12">
            <a:extLst>
              <a:ext uri="{FF2B5EF4-FFF2-40B4-BE49-F238E27FC236}">
                <a16:creationId xmlns:a16="http://schemas.microsoft.com/office/drawing/2014/main" id="{66A3107A-F3A4-DC39-4F4A-78BB58293531}"/>
              </a:ext>
            </a:extLst>
          </p:cNvPr>
          <p:cNvGraphicFramePr>
            <a:graphicFrameLocks noGrp="1"/>
          </p:cNvGraphicFramePr>
          <p:nvPr>
            <p:ph sz="quarter" idx="24"/>
          </p:nvPr>
        </p:nvGraphicFramePr>
        <p:xfrm>
          <a:off x="405972" y="1927085"/>
          <a:ext cx="5472113" cy="3940968"/>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feld 6">
            <a:extLst>
              <a:ext uri="{FF2B5EF4-FFF2-40B4-BE49-F238E27FC236}">
                <a16:creationId xmlns:a16="http://schemas.microsoft.com/office/drawing/2014/main" id="{6726DF03-E59F-80CD-FDC2-8A87C324AFB4}"/>
              </a:ext>
            </a:extLst>
          </p:cNvPr>
          <p:cNvSpPr txBox="1"/>
          <p:nvPr/>
        </p:nvSpPr>
        <p:spPr>
          <a:xfrm>
            <a:off x="1143576" y="5309400"/>
            <a:ext cx="4633814" cy="330072"/>
          </a:xfrm>
          <a:prstGeom prst="rect">
            <a:avLst/>
          </a:prstGeom>
          <a:noFill/>
        </p:spPr>
        <p:txBody>
          <a:bodyPr wrap="none" lIns="72000" tIns="72000" rIns="72000" bIns="72000" rtlCol="0" anchor="t">
            <a:spAutoFit/>
          </a:bodyPr>
          <a:lstStyle/>
          <a:p>
            <a:pPr marL="0" indent="0">
              <a:spcBef>
                <a:spcPts val="600"/>
              </a:spcBef>
              <a:buClr>
                <a:schemeClr val="accent1"/>
              </a:buClr>
              <a:buFontTx/>
              <a:buNone/>
              <a:tabLst>
                <a:tab pos="989013" algn="l"/>
                <a:tab pos="1884363" algn="l"/>
                <a:tab pos="2871788" algn="l"/>
                <a:tab pos="3768725" algn="l"/>
              </a:tabLst>
            </a:pPr>
            <a:r>
              <a:rPr lang="de-DE" sz="1200" dirty="0"/>
              <a:t>2019/20	2020/21	2021/22	2022/23	 2023/24</a:t>
            </a:r>
          </a:p>
        </p:txBody>
      </p:sp>
      <p:sp>
        <p:nvSpPr>
          <p:cNvPr id="8" name="Textfeld 7">
            <a:extLst>
              <a:ext uri="{FF2B5EF4-FFF2-40B4-BE49-F238E27FC236}">
                <a16:creationId xmlns:a16="http://schemas.microsoft.com/office/drawing/2014/main" id="{7CF57498-8A49-B2C1-F783-028BA78F5AF8}"/>
              </a:ext>
            </a:extLst>
          </p:cNvPr>
          <p:cNvSpPr txBox="1"/>
          <p:nvPr/>
        </p:nvSpPr>
        <p:spPr>
          <a:xfrm>
            <a:off x="1287263" y="2664043"/>
            <a:ext cx="712869" cy="330072"/>
          </a:xfrm>
          <a:prstGeom prst="rect">
            <a:avLst/>
          </a:prstGeom>
          <a:noFill/>
        </p:spPr>
        <p:txBody>
          <a:bodyPr wrap="none" lIns="72000" tIns="72000" rIns="72000" bIns="72000" rtlCol="0" anchor="t">
            <a:spAutoFit/>
          </a:bodyPr>
          <a:lstStyle/>
          <a:p>
            <a:pPr marL="0" indent="0">
              <a:spcBef>
                <a:spcPts val="600"/>
              </a:spcBef>
              <a:buClr>
                <a:schemeClr val="accent1"/>
              </a:buClr>
              <a:buFontTx/>
              <a:buNone/>
            </a:pPr>
            <a:r>
              <a:rPr lang="de-DE" sz="1200" dirty="0">
                <a:solidFill>
                  <a:schemeClr val="accent2"/>
                </a:solidFill>
              </a:rPr>
              <a:t>+24,2 %</a:t>
            </a:r>
          </a:p>
        </p:txBody>
      </p:sp>
      <p:sp>
        <p:nvSpPr>
          <p:cNvPr id="9" name="Textfeld 8">
            <a:extLst>
              <a:ext uri="{FF2B5EF4-FFF2-40B4-BE49-F238E27FC236}">
                <a16:creationId xmlns:a16="http://schemas.microsoft.com/office/drawing/2014/main" id="{FB573F77-43D7-79CA-E60E-8296F0EBAB31}"/>
              </a:ext>
            </a:extLst>
          </p:cNvPr>
          <p:cNvSpPr txBox="1"/>
          <p:nvPr/>
        </p:nvSpPr>
        <p:spPr>
          <a:xfrm>
            <a:off x="2722918" y="2681429"/>
            <a:ext cx="712869" cy="330072"/>
          </a:xfrm>
          <a:prstGeom prst="rect">
            <a:avLst/>
          </a:prstGeom>
          <a:noFill/>
        </p:spPr>
        <p:txBody>
          <a:bodyPr wrap="none" lIns="72000" tIns="72000" rIns="72000" bIns="72000" rtlCol="0" anchor="t">
            <a:spAutoFit/>
          </a:bodyPr>
          <a:lstStyle/>
          <a:p>
            <a:pPr marL="0" indent="0">
              <a:spcBef>
                <a:spcPts val="600"/>
              </a:spcBef>
              <a:buClr>
                <a:schemeClr val="accent1"/>
              </a:buClr>
              <a:buFontTx/>
              <a:buNone/>
            </a:pPr>
            <a:r>
              <a:rPr lang="de-DE" sz="1200" dirty="0">
                <a:solidFill>
                  <a:schemeClr val="accent2"/>
                </a:solidFill>
              </a:rPr>
              <a:t>+34,6 %</a:t>
            </a:r>
          </a:p>
        </p:txBody>
      </p:sp>
      <p:sp>
        <p:nvSpPr>
          <p:cNvPr id="11" name="Textfeld 10">
            <a:extLst>
              <a:ext uri="{FF2B5EF4-FFF2-40B4-BE49-F238E27FC236}">
                <a16:creationId xmlns:a16="http://schemas.microsoft.com/office/drawing/2014/main" id="{FC756ECB-1963-E234-FC26-A7156536B826}"/>
              </a:ext>
            </a:extLst>
          </p:cNvPr>
          <p:cNvSpPr txBox="1"/>
          <p:nvPr/>
        </p:nvSpPr>
        <p:spPr>
          <a:xfrm>
            <a:off x="5186626" y="2470705"/>
            <a:ext cx="712869" cy="330072"/>
          </a:xfrm>
          <a:prstGeom prst="rect">
            <a:avLst/>
          </a:prstGeom>
          <a:noFill/>
        </p:spPr>
        <p:txBody>
          <a:bodyPr wrap="none" lIns="72000" tIns="72000" rIns="72000" bIns="72000" rtlCol="0" anchor="t">
            <a:spAutoFit/>
          </a:bodyPr>
          <a:lstStyle/>
          <a:p>
            <a:pPr marL="0" indent="0">
              <a:spcBef>
                <a:spcPts val="600"/>
              </a:spcBef>
              <a:buClr>
                <a:schemeClr val="accent1"/>
              </a:buClr>
              <a:buFontTx/>
              <a:buNone/>
            </a:pPr>
            <a:r>
              <a:rPr lang="de-DE" sz="1200" dirty="0">
                <a:solidFill>
                  <a:schemeClr val="accent2"/>
                </a:solidFill>
              </a:rPr>
              <a:t>+22,6 %</a:t>
            </a:r>
          </a:p>
        </p:txBody>
      </p:sp>
      <p:sp>
        <p:nvSpPr>
          <p:cNvPr id="16" name="Textfeld 15">
            <a:extLst>
              <a:ext uri="{FF2B5EF4-FFF2-40B4-BE49-F238E27FC236}">
                <a16:creationId xmlns:a16="http://schemas.microsoft.com/office/drawing/2014/main" id="{3C835D09-858C-198E-EDDC-006E3DCE6AA5}"/>
              </a:ext>
            </a:extLst>
          </p:cNvPr>
          <p:cNvSpPr txBox="1"/>
          <p:nvPr/>
        </p:nvSpPr>
        <p:spPr>
          <a:xfrm>
            <a:off x="5263058" y="3727152"/>
            <a:ext cx="712869" cy="330072"/>
          </a:xfrm>
          <a:prstGeom prst="rect">
            <a:avLst/>
          </a:prstGeom>
          <a:noFill/>
        </p:spPr>
        <p:txBody>
          <a:bodyPr wrap="none" lIns="72000" tIns="72000" rIns="72000" bIns="72000" rtlCol="0" anchor="t">
            <a:spAutoFit/>
          </a:bodyPr>
          <a:lstStyle/>
          <a:p>
            <a:pPr marL="0" indent="0">
              <a:spcBef>
                <a:spcPts val="600"/>
              </a:spcBef>
              <a:buClr>
                <a:schemeClr val="accent1"/>
              </a:buClr>
              <a:buFontTx/>
              <a:buNone/>
            </a:pPr>
            <a:r>
              <a:rPr lang="de-DE" sz="1200" dirty="0">
                <a:solidFill>
                  <a:schemeClr val="tx2"/>
                </a:solidFill>
              </a:rPr>
              <a:t>+13,9 %</a:t>
            </a:r>
          </a:p>
        </p:txBody>
      </p:sp>
      <p:sp>
        <p:nvSpPr>
          <p:cNvPr id="20" name="Textfeld 19">
            <a:extLst>
              <a:ext uri="{FF2B5EF4-FFF2-40B4-BE49-F238E27FC236}">
                <a16:creationId xmlns:a16="http://schemas.microsoft.com/office/drawing/2014/main" id="{9C11D2D3-5451-FE01-0DDE-8675759FB8C3}"/>
              </a:ext>
            </a:extLst>
          </p:cNvPr>
          <p:cNvSpPr txBox="1"/>
          <p:nvPr/>
        </p:nvSpPr>
        <p:spPr>
          <a:xfrm>
            <a:off x="4678278" y="3324831"/>
            <a:ext cx="627911" cy="330072"/>
          </a:xfrm>
          <a:prstGeom prst="rect">
            <a:avLst/>
          </a:prstGeom>
          <a:noFill/>
        </p:spPr>
        <p:txBody>
          <a:bodyPr wrap="none" lIns="72000" tIns="72000" rIns="72000" bIns="72000" rtlCol="0" anchor="t">
            <a:spAutoFit/>
          </a:bodyPr>
          <a:lstStyle/>
          <a:p>
            <a:pPr marL="0" indent="0">
              <a:spcBef>
                <a:spcPts val="600"/>
              </a:spcBef>
              <a:buClr>
                <a:schemeClr val="accent1"/>
              </a:buClr>
              <a:buFontTx/>
              <a:buNone/>
            </a:pPr>
            <a:r>
              <a:rPr lang="de-DE" sz="1200" dirty="0">
                <a:solidFill>
                  <a:schemeClr val="tx2"/>
                </a:solidFill>
              </a:rPr>
              <a:t>+9,9 %</a:t>
            </a:r>
          </a:p>
        </p:txBody>
      </p:sp>
      <p:sp>
        <p:nvSpPr>
          <p:cNvPr id="21" name="Textfeld 20">
            <a:extLst>
              <a:ext uri="{FF2B5EF4-FFF2-40B4-BE49-F238E27FC236}">
                <a16:creationId xmlns:a16="http://schemas.microsoft.com/office/drawing/2014/main" id="{E81029C3-4115-7DE0-4BE0-D58FD0C80BB9}"/>
              </a:ext>
            </a:extLst>
          </p:cNvPr>
          <p:cNvSpPr txBox="1"/>
          <p:nvPr/>
        </p:nvSpPr>
        <p:spPr>
          <a:xfrm>
            <a:off x="2289684" y="2072110"/>
            <a:ext cx="712869" cy="330072"/>
          </a:xfrm>
          <a:prstGeom prst="rect">
            <a:avLst/>
          </a:prstGeom>
          <a:noFill/>
        </p:spPr>
        <p:txBody>
          <a:bodyPr wrap="none" lIns="72000" tIns="72000" rIns="72000" bIns="72000" rtlCol="0" anchor="t">
            <a:spAutoFit/>
          </a:bodyPr>
          <a:lstStyle/>
          <a:p>
            <a:pPr marL="0" indent="0">
              <a:spcBef>
                <a:spcPts val="600"/>
              </a:spcBef>
              <a:buClr>
                <a:schemeClr val="accent1"/>
              </a:buClr>
              <a:buFontTx/>
              <a:buNone/>
            </a:pPr>
            <a:r>
              <a:rPr lang="de-DE" sz="1200" dirty="0">
                <a:solidFill>
                  <a:schemeClr val="tx2"/>
                </a:solidFill>
              </a:rPr>
              <a:t>+35,3 %</a:t>
            </a:r>
          </a:p>
        </p:txBody>
      </p:sp>
      <p:sp>
        <p:nvSpPr>
          <p:cNvPr id="22" name="Textfeld 21">
            <a:extLst>
              <a:ext uri="{FF2B5EF4-FFF2-40B4-BE49-F238E27FC236}">
                <a16:creationId xmlns:a16="http://schemas.microsoft.com/office/drawing/2014/main" id="{5FAFCBCC-2818-E971-832D-F1B9BB972514}"/>
              </a:ext>
            </a:extLst>
          </p:cNvPr>
          <p:cNvSpPr txBox="1"/>
          <p:nvPr/>
        </p:nvSpPr>
        <p:spPr>
          <a:xfrm>
            <a:off x="1700245" y="4535045"/>
            <a:ext cx="589439" cy="330072"/>
          </a:xfrm>
          <a:prstGeom prst="rect">
            <a:avLst/>
          </a:prstGeom>
          <a:noFill/>
        </p:spPr>
        <p:txBody>
          <a:bodyPr wrap="none" lIns="72000" tIns="72000" rIns="72000" bIns="72000" rtlCol="0" anchor="t">
            <a:spAutoFit/>
          </a:bodyPr>
          <a:lstStyle/>
          <a:p>
            <a:pPr marL="0" indent="0">
              <a:spcBef>
                <a:spcPts val="600"/>
              </a:spcBef>
              <a:buClr>
                <a:schemeClr val="accent1"/>
              </a:buClr>
              <a:buFontTx/>
              <a:buNone/>
            </a:pPr>
            <a:r>
              <a:rPr lang="de-DE" sz="1200" dirty="0">
                <a:solidFill>
                  <a:schemeClr val="tx2"/>
                </a:solidFill>
              </a:rPr>
              <a:t>-8,9 %</a:t>
            </a:r>
          </a:p>
        </p:txBody>
      </p:sp>
      <p:sp>
        <p:nvSpPr>
          <p:cNvPr id="2" name="Textfeld 1">
            <a:extLst>
              <a:ext uri="{FF2B5EF4-FFF2-40B4-BE49-F238E27FC236}">
                <a16:creationId xmlns:a16="http://schemas.microsoft.com/office/drawing/2014/main" id="{5FD1DC0E-247D-1023-E339-CA7FEB1A50AD}"/>
              </a:ext>
            </a:extLst>
          </p:cNvPr>
          <p:cNvSpPr txBox="1"/>
          <p:nvPr/>
        </p:nvSpPr>
        <p:spPr>
          <a:xfrm>
            <a:off x="3310006" y="5108159"/>
            <a:ext cx="674397" cy="330072"/>
          </a:xfrm>
          <a:prstGeom prst="rect">
            <a:avLst/>
          </a:prstGeom>
          <a:noFill/>
        </p:spPr>
        <p:txBody>
          <a:bodyPr wrap="none" lIns="72000" tIns="72000" rIns="72000" bIns="72000" rtlCol="0" anchor="t">
            <a:spAutoFit/>
          </a:bodyPr>
          <a:lstStyle/>
          <a:p>
            <a:pPr marL="0" indent="0">
              <a:spcBef>
                <a:spcPts val="600"/>
              </a:spcBef>
              <a:buClr>
                <a:schemeClr val="accent1"/>
              </a:buClr>
              <a:buFontTx/>
              <a:buNone/>
            </a:pPr>
            <a:r>
              <a:rPr lang="de-DE" sz="1200" dirty="0">
                <a:solidFill>
                  <a:schemeClr val="accent2"/>
                </a:solidFill>
              </a:rPr>
              <a:t>-15,9 %</a:t>
            </a:r>
          </a:p>
        </p:txBody>
      </p:sp>
      <p:sp>
        <p:nvSpPr>
          <p:cNvPr id="4" name="Textfeld 3">
            <a:extLst>
              <a:ext uri="{FF2B5EF4-FFF2-40B4-BE49-F238E27FC236}">
                <a16:creationId xmlns:a16="http://schemas.microsoft.com/office/drawing/2014/main" id="{44CFDBFF-A229-9A74-CF0D-1CC231FD0705}"/>
              </a:ext>
            </a:extLst>
          </p:cNvPr>
          <p:cNvSpPr txBox="1"/>
          <p:nvPr/>
        </p:nvSpPr>
        <p:spPr>
          <a:xfrm>
            <a:off x="3411987" y="3472487"/>
            <a:ext cx="589439" cy="330072"/>
          </a:xfrm>
          <a:prstGeom prst="rect">
            <a:avLst/>
          </a:prstGeom>
          <a:noFill/>
        </p:spPr>
        <p:txBody>
          <a:bodyPr wrap="none" lIns="72000" tIns="72000" rIns="72000" bIns="72000" rtlCol="0" anchor="t">
            <a:spAutoFit/>
          </a:bodyPr>
          <a:lstStyle/>
          <a:p>
            <a:pPr marL="0" indent="0">
              <a:spcBef>
                <a:spcPts val="600"/>
              </a:spcBef>
              <a:buClr>
                <a:schemeClr val="accent1"/>
              </a:buClr>
              <a:buFontTx/>
              <a:buNone/>
            </a:pPr>
            <a:r>
              <a:rPr lang="de-DE" sz="1200" dirty="0">
                <a:solidFill>
                  <a:schemeClr val="tx2"/>
                </a:solidFill>
              </a:rPr>
              <a:t>-3,0 %</a:t>
            </a:r>
          </a:p>
        </p:txBody>
      </p:sp>
      <p:sp>
        <p:nvSpPr>
          <p:cNvPr id="10" name="Textfeld 9">
            <a:extLst>
              <a:ext uri="{FF2B5EF4-FFF2-40B4-BE49-F238E27FC236}">
                <a16:creationId xmlns:a16="http://schemas.microsoft.com/office/drawing/2014/main" id="{06AD4DE4-9EB8-1C4B-CA4E-F8CA563915A7}"/>
              </a:ext>
            </a:extLst>
          </p:cNvPr>
          <p:cNvSpPr txBox="1"/>
          <p:nvPr/>
        </p:nvSpPr>
        <p:spPr>
          <a:xfrm>
            <a:off x="4158573" y="2960124"/>
            <a:ext cx="712869" cy="330072"/>
          </a:xfrm>
          <a:prstGeom prst="rect">
            <a:avLst/>
          </a:prstGeom>
          <a:noFill/>
        </p:spPr>
        <p:txBody>
          <a:bodyPr wrap="none" lIns="72000" tIns="72000" rIns="72000" bIns="72000" rtlCol="0" anchor="t">
            <a:spAutoFit/>
          </a:bodyPr>
          <a:lstStyle/>
          <a:p>
            <a:pPr marL="0" indent="0">
              <a:spcBef>
                <a:spcPts val="600"/>
              </a:spcBef>
              <a:buClr>
                <a:schemeClr val="accent1"/>
              </a:buClr>
              <a:buFontTx/>
              <a:buNone/>
            </a:pPr>
            <a:r>
              <a:rPr lang="de-DE" sz="1200" dirty="0">
                <a:solidFill>
                  <a:schemeClr val="accent2"/>
                </a:solidFill>
              </a:rPr>
              <a:t>+16,6 %</a:t>
            </a:r>
          </a:p>
        </p:txBody>
      </p:sp>
      <p:grpSp>
        <p:nvGrpSpPr>
          <p:cNvPr id="26" name="Gruppieren 25">
            <a:extLst>
              <a:ext uri="{FF2B5EF4-FFF2-40B4-BE49-F238E27FC236}">
                <a16:creationId xmlns:a16="http://schemas.microsoft.com/office/drawing/2014/main" id="{7D62B856-9574-F5C6-58F1-A14DC3BAAE33}"/>
              </a:ext>
            </a:extLst>
          </p:cNvPr>
          <p:cNvGrpSpPr/>
          <p:nvPr/>
        </p:nvGrpSpPr>
        <p:grpSpPr>
          <a:xfrm>
            <a:off x="7414456" y="2184547"/>
            <a:ext cx="396000" cy="360000"/>
            <a:chOff x="2021606" y="3156194"/>
            <a:chExt cx="504056" cy="504056"/>
          </a:xfrm>
        </p:grpSpPr>
        <p:sp>
          <p:nvSpPr>
            <p:cNvPr id="27" name="Ellipse 26">
              <a:extLst>
                <a:ext uri="{FF2B5EF4-FFF2-40B4-BE49-F238E27FC236}">
                  <a16:creationId xmlns:a16="http://schemas.microsoft.com/office/drawing/2014/main" id="{967CCA59-8840-104A-700A-2CB8908698A6}"/>
                </a:ext>
              </a:extLst>
            </p:cNvPr>
            <p:cNvSpPr/>
            <p:nvPr/>
          </p:nvSpPr>
          <p:spPr>
            <a:xfrm>
              <a:off x="2021606" y="3156194"/>
              <a:ext cx="504056" cy="50405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spcBef>
                  <a:spcPts val="600"/>
                </a:spcBef>
                <a:buClr>
                  <a:schemeClr val="accent1"/>
                </a:buClr>
                <a:buFontTx/>
                <a:buNone/>
              </a:pPr>
              <a:endParaRPr lang="de-DE" sz="1400" dirty="0" err="1">
                <a:solidFill>
                  <a:schemeClr val="tx1"/>
                </a:solidFill>
              </a:endParaRPr>
            </a:p>
          </p:txBody>
        </p:sp>
        <p:pic>
          <p:nvPicPr>
            <p:cNvPr id="28" name="Grafik 27">
              <a:extLst>
                <a:ext uri="{FF2B5EF4-FFF2-40B4-BE49-F238E27FC236}">
                  <a16:creationId xmlns:a16="http://schemas.microsoft.com/office/drawing/2014/main" id="{6AAA0B50-3F75-2CEB-8E41-E2AD3BEEA3B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gray">
            <a:xfrm>
              <a:off x="2132039" y="3267611"/>
              <a:ext cx="283190" cy="281223"/>
            </a:xfrm>
            <a:prstGeom prst="rect">
              <a:avLst/>
            </a:prstGeom>
          </p:spPr>
        </p:pic>
      </p:grpSp>
      <p:grpSp>
        <p:nvGrpSpPr>
          <p:cNvPr id="29" name="Gruppieren 28">
            <a:extLst>
              <a:ext uri="{FF2B5EF4-FFF2-40B4-BE49-F238E27FC236}">
                <a16:creationId xmlns:a16="http://schemas.microsoft.com/office/drawing/2014/main" id="{01E9D788-EFF9-EE72-CE3E-3BFDE9514D59}"/>
              </a:ext>
            </a:extLst>
          </p:cNvPr>
          <p:cNvGrpSpPr/>
          <p:nvPr/>
        </p:nvGrpSpPr>
        <p:grpSpPr>
          <a:xfrm rot="4710001">
            <a:off x="10035484" y="2172725"/>
            <a:ext cx="360000" cy="360000"/>
            <a:chOff x="2021606" y="3156194"/>
            <a:chExt cx="504056" cy="504056"/>
          </a:xfrm>
        </p:grpSpPr>
        <p:sp>
          <p:nvSpPr>
            <p:cNvPr id="30" name="Ellipse 29">
              <a:extLst>
                <a:ext uri="{FF2B5EF4-FFF2-40B4-BE49-F238E27FC236}">
                  <a16:creationId xmlns:a16="http://schemas.microsoft.com/office/drawing/2014/main" id="{9C880A1F-BC32-1FE6-5871-524DB5DFF481}"/>
                </a:ext>
              </a:extLst>
            </p:cNvPr>
            <p:cNvSpPr/>
            <p:nvPr/>
          </p:nvSpPr>
          <p:spPr>
            <a:xfrm>
              <a:off x="2021606" y="3156194"/>
              <a:ext cx="504056" cy="504056"/>
            </a:xfrm>
            <a:prstGeom prst="ellipse">
              <a:avLst/>
            </a:prstGeom>
            <a:solidFill>
              <a:srgbClr val="E4244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spcBef>
                  <a:spcPts val="600"/>
                </a:spcBef>
                <a:buClr>
                  <a:schemeClr val="accent1"/>
                </a:buClr>
                <a:buFontTx/>
                <a:buNone/>
              </a:pPr>
              <a:endParaRPr lang="de-DE" sz="1400" dirty="0" err="1">
                <a:solidFill>
                  <a:schemeClr val="tx1"/>
                </a:solidFill>
              </a:endParaRPr>
            </a:p>
          </p:txBody>
        </p:sp>
        <p:pic>
          <p:nvPicPr>
            <p:cNvPr id="31" name="Grafik 30">
              <a:extLst>
                <a:ext uri="{FF2B5EF4-FFF2-40B4-BE49-F238E27FC236}">
                  <a16:creationId xmlns:a16="http://schemas.microsoft.com/office/drawing/2014/main" id="{539869EE-98E5-9012-3978-33316C8CB20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bwMode="gray">
            <a:xfrm>
              <a:off x="2132039" y="3267611"/>
              <a:ext cx="283190" cy="281223"/>
            </a:xfrm>
            <a:prstGeom prst="rect">
              <a:avLst/>
            </a:prstGeom>
          </p:spPr>
        </p:pic>
      </p:grpSp>
    </p:spTree>
    <p:extLst>
      <p:ext uri="{BB962C8B-B14F-4D97-AF65-F5344CB8AC3E}">
        <p14:creationId xmlns:p14="http://schemas.microsoft.com/office/powerpoint/2010/main" val="2636587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10BB3869-7916-823F-E72D-A6BBE882DDBF}"/>
              </a:ext>
            </a:extLst>
          </p:cNvPr>
          <p:cNvSpPr>
            <a:spLocks noGrp="1"/>
          </p:cNvSpPr>
          <p:nvPr>
            <p:ph type="body" sz="quarter" idx="30"/>
          </p:nvPr>
        </p:nvSpPr>
        <p:spPr/>
        <p:txBody>
          <a:bodyPr vert="horz" wrap="square" lIns="324000" tIns="1224000" rIns="324000" bIns="0" rtlCol="0" anchor="t">
            <a:noAutofit/>
          </a:bodyPr>
          <a:lstStyle/>
          <a:p>
            <a:r>
              <a:rPr lang="de-DE" sz="2000" dirty="0">
                <a:cs typeface="Arial"/>
              </a:rPr>
              <a:t>"Wir neigen dazu, die Auswirkungen einer Technologie auf kurze Sicht zu </a:t>
            </a:r>
            <a:r>
              <a:rPr lang="de-DE" sz="2000" dirty="0">
                <a:solidFill>
                  <a:schemeClr val="accent2"/>
                </a:solidFill>
                <a:cs typeface="Arial"/>
              </a:rPr>
              <a:t>überschätzen</a:t>
            </a:r>
            <a:r>
              <a:rPr lang="de-DE" sz="2000" dirty="0">
                <a:cs typeface="Arial"/>
              </a:rPr>
              <a:t> und auf lange Sicht zu </a:t>
            </a:r>
            <a:r>
              <a:rPr lang="de-DE" sz="2000" dirty="0">
                <a:solidFill>
                  <a:schemeClr val="accent2"/>
                </a:solidFill>
                <a:cs typeface="Arial"/>
              </a:rPr>
              <a:t>unterschätzen</a:t>
            </a:r>
            <a:r>
              <a:rPr lang="de-DE" sz="2000" dirty="0">
                <a:cs typeface="Arial"/>
              </a:rPr>
              <a:t>"</a:t>
            </a:r>
          </a:p>
          <a:p>
            <a:endParaRPr lang="de-DE" dirty="0">
              <a:cs typeface="Arial"/>
            </a:endParaRPr>
          </a:p>
          <a:p>
            <a:r>
              <a:rPr lang="de-DE" sz="1200" dirty="0">
                <a:latin typeface="Times New Roman"/>
                <a:cs typeface="Arial"/>
              </a:rPr>
              <a:t>Roy Amara (1925—2007), Zukunftsforscher aus den USA, frei übersetzt</a:t>
            </a:r>
            <a:endParaRPr lang="de-DE" dirty="0">
              <a:cs typeface="Arial"/>
            </a:endParaRPr>
          </a:p>
        </p:txBody>
      </p:sp>
      <p:sp>
        <p:nvSpPr>
          <p:cNvPr id="5" name="Titel 4">
            <a:extLst>
              <a:ext uri="{FF2B5EF4-FFF2-40B4-BE49-F238E27FC236}">
                <a16:creationId xmlns:a16="http://schemas.microsoft.com/office/drawing/2014/main" id="{5AA88389-8D76-318A-67F9-168639899EDB}"/>
              </a:ext>
            </a:extLst>
          </p:cNvPr>
          <p:cNvSpPr>
            <a:spLocks noGrp="1"/>
          </p:cNvSpPr>
          <p:nvPr>
            <p:ph type="title"/>
          </p:nvPr>
        </p:nvSpPr>
        <p:spPr>
          <a:xfrm>
            <a:off x="407988" y="404664"/>
            <a:ext cx="11376024" cy="720000"/>
          </a:xfrm>
        </p:spPr>
        <p:txBody>
          <a:bodyPr/>
          <a:lstStyle/>
          <a:p>
            <a:r>
              <a:rPr lang="de-DE" dirty="0">
                <a:cs typeface="Arial"/>
              </a:rPr>
              <a:t>Künstliche Intelligenz - </a:t>
            </a:r>
            <a:r>
              <a:rPr lang="de-DE" dirty="0">
                <a:solidFill>
                  <a:schemeClr val="accent2"/>
                </a:solidFill>
                <a:cs typeface="Arial"/>
              </a:rPr>
              <a:t>Hype oder technologische Zeitenwende?</a:t>
            </a:r>
            <a:endParaRPr lang="de-DE" dirty="0">
              <a:solidFill>
                <a:schemeClr val="accent2"/>
              </a:solidFill>
            </a:endParaRPr>
          </a:p>
        </p:txBody>
      </p:sp>
      <p:sp>
        <p:nvSpPr>
          <p:cNvPr id="3" name="Textplatzhalter 2">
            <a:extLst>
              <a:ext uri="{FF2B5EF4-FFF2-40B4-BE49-F238E27FC236}">
                <a16:creationId xmlns:a16="http://schemas.microsoft.com/office/drawing/2014/main" id="{468F06B1-0DEA-B809-CAF6-73B582E5B7BA}"/>
              </a:ext>
            </a:extLst>
          </p:cNvPr>
          <p:cNvSpPr>
            <a:spLocks noGrp="1"/>
          </p:cNvSpPr>
          <p:nvPr>
            <p:ph type="body" sz="quarter" idx="23"/>
          </p:nvPr>
        </p:nvSpPr>
        <p:spPr/>
        <p:txBody>
          <a:bodyPr/>
          <a:lstStyle/>
          <a:p>
            <a:r>
              <a:rPr lang="de-DE" dirty="0">
                <a:cs typeface="Arial"/>
              </a:rPr>
              <a:t>Quelle: Bing, Union Investment, mit KI erstellt</a:t>
            </a:r>
            <a:r>
              <a:rPr lang="de-DE">
                <a:cs typeface="Arial"/>
              </a:rPr>
              <a:t>, Stand: </a:t>
            </a:r>
            <a:r>
              <a:rPr lang="de-DE" dirty="0">
                <a:cs typeface="Arial"/>
              </a:rPr>
              <a:t>23. Juli 2024</a:t>
            </a:r>
            <a:endParaRPr lang="de-DE" dirty="0"/>
          </a:p>
        </p:txBody>
      </p:sp>
      <p:pic>
        <p:nvPicPr>
          <p:cNvPr id="8" name="Grafik 7">
            <a:extLst>
              <a:ext uri="{FF2B5EF4-FFF2-40B4-BE49-F238E27FC236}">
                <a16:creationId xmlns:a16="http://schemas.microsoft.com/office/drawing/2014/main" id="{D112E0E9-1AF5-F7C7-C1C1-5C1043099650}"/>
              </a:ext>
            </a:extLst>
          </p:cNvPr>
          <p:cNvPicPr>
            <a:picLocks noChangeAspect="1"/>
          </p:cNvPicPr>
          <p:nvPr/>
        </p:nvPicPr>
        <p:blipFill>
          <a:blip r:embed="rId3"/>
          <a:stretch>
            <a:fillRect/>
          </a:stretch>
        </p:blipFill>
        <p:spPr>
          <a:xfrm>
            <a:off x="6389730" y="1124664"/>
            <a:ext cx="5395870" cy="4895999"/>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p:spPr>
      </p:pic>
    </p:spTree>
    <p:extLst>
      <p:ext uri="{BB962C8B-B14F-4D97-AF65-F5344CB8AC3E}">
        <p14:creationId xmlns:p14="http://schemas.microsoft.com/office/powerpoint/2010/main" val="57666837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89243C54-8B2F-0564-8A3D-5414FAFB0E41}"/>
              </a:ext>
            </a:extLst>
          </p:cNvPr>
          <p:cNvSpPr>
            <a:spLocks noGrp="1"/>
          </p:cNvSpPr>
          <p:nvPr>
            <p:ph sz="quarter" idx="26"/>
          </p:nvPr>
        </p:nvSpPr>
        <p:spPr>
          <a:xfrm>
            <a:off x="409575" y="1412776"/>
            <a:ext cx="5470515" cy="271645"/>
          </a:xfrm>
        </p:spPr>
        <p:txBody>
          <a:bodyPr/>
          <a:lstStyle/>
          <a:p>
            <a:r>
              <a:rPr lang="de-DE" dirty="0">
                <a:solidFill>
                  <a:schemeClr val="accent2"/>
                </a:solidFill>
              </a:rPr>
              <a:t>Wahrscheinlichkeit für Wahlsieg auf dem Wettmarkt</a:t>
            </a:r>
          </a:p>
        </p:txBody>
      </p:sp>
      <p:sp>
        <p:nvSpPr>
          <p:cNvPr id="3" name="Textplatzhalter 2">
            <a:extLst>
              <a:ext uri="{FF2B5EF4-FFF2-40B4-BE49-F238E27FC236}">
                <a16:creationId xmlns:a16="http://schemas.microsoft.com/office/drawing/2014/main" id="{73367C05-0DF2-E942-000D-563D3EDF1C35}"/>
              </a:ext>
            </a:extLst>
          </p:cNvPr>
          <p:cNvSpPr>
            <a:spLocks noGrp="1"/>
          </p:cNvSpPr>
          <p:nvPr>
            <p:ph type="body" sz="quarter" idx="25"/>
          </p:nvPr>
        </p:nvSpPr>
        <p:spPr/>
        <p:txBody>
          <a:bodyPr/>
          <a:lstStyle/>
          <a:p>
            <a:r>
              <a:rPr lang="en-US" sz="1000" dirty="0">
                <a:solidFill>
                  <a:schemeClr val="tx1"/>
                </a:solidFill>
              </a:rPr>
              <a:t>Quelle: </a:t>
            </a:r>
            <a:r>
              <a:rPr lang="en-US" sz="1000" dirty="0" err="1">
                <a:solidFill>
                  <a:schemeClr val="tx1"/>
                </a:solidFill>
              </a:rPr>
              <a:t>PredictIt</a:t>
            </a:r>
            <a:r>
              <a:rPr lang="en-US" sz="1000" dirty="0">
                <a:solidFill>
                  <a:schemeClr val="tx1"/>
                </a:solidFill>
              </a:rPr>
              <a:t>, Bloomberg, Union Investment. Stand: 15. August 2024</a:t>
            </a:r>
            <a:r>
              <a:rPr lang="en-US" dirty="0"/>
              <a:t> </a:t>
            </a:r>
            <a:r>
              <a:rPr lang="de-DE" dirty="0"/>
              <a:t>(gilt für beide Grafiken). </a:t>
            </a:r>
            <a:endParaRPr lang="en-US" sz="1000" dirty="0">
              <a:solidFill>
                <a:schemeClr val="tx1"/>
              </a:solidFill>
            </a:endParaRPr>
          </a:p>
        </p:txBody>
      </p:sp>
      <p:sp>
        <p:nvSpPr>
          <p:cNvPr id="10" name="Titel 9">
            <a:extLst>
              <a:ext uri="{FF2B5EF4-FFF2-40B4-BE49-F238E27FC236}">
                <a16:creationId xmlns:a16="http://schemas.microsoft.com/office/drawing/2014/main" id="{D3A82C59-1084-45F7-BB7C-368C370600C3}"/>
              </a:ext>
            </a:extLst>
          </p:cNvPr>
          <p:cNvSpPr>
            <a:spLocks noGrp="1"/>
          </p:cNvSpPr>
          <p:nvPr>
            <p:ph type="title"/>
          </p:nvPr>
        </p:nvSpPr>
        <p:spPr/>
        <p:txBody>
          <a:bodyPr/>
          <a:lstStyle/>
          <a:p>
            <a:r>
              <a:rPr lang="de-DE" altLang="de-DE" dirty="0">
                <a:solidFill>
                  <a:schemeClr val="dk2"/>
                </a:solidFill>
              </a:rPr>
              <a:t>Mit Harris sind die </a:t>
            </a:r>
            <a:r>
              <a:rPr lang="de-DE" altLang="de-DE" dirty="0">
                <a:solidFill>
                  <a:schemeClr val="accent2"/>
                </a:solidFill>
              </a:rPr>
              <a:t>Demokraten zurück im Rennen</a:t>
            </a:r>
          </a:p>
        </p:txBody>
      </p:sp>
      <p:graphicFrame>
        <p:nvGraphicFramePr>
          <p:cNvPr id="5" name="Inhaltsplatzhalter 23">
            <a:extLst>
              <a:ext uri="{FF2B5EF4-FFF2-40B4-BE49-F238E27FC236}">
                <a16:creationId xmlns:a16="http://schemas.microsoft.com/office/drawing/2014/main" id="{7E434D41-323C-7B27-DF15-4D7B5420E6FB}"/>
              </a:ext>
            </a:extLst>
          </p:cNvPr>
          <p:cNvGraphicFramePr>
            <a:graphicFrameLocks/>
          </p:cNvGraphicFramePr>
          <p:nvPr/>
        </p:nvGraphicFramePr>
        <p:xfrm>
          <a:off x="407977" y="1927085"/>
          <a:ext cx="5472113" cy="4074185"/>
        </p:xfrm>
        <a:graphic>
          <a:graphicData uri="http://schemas.openxmlformats.org/drawingml/2006/chart">
            <c:chart xmlns:c="http://schemas.openxmlformats.org/drawingml/2006/chart" xmlns:r="http://schemas.openxmlformats.org/officeDocument/2006/relationships" r:id="rId4"/>
          </a:graphicData>
        </a:graphic>
      </p:graphicFrame>
      <p:sp>
        <p:nvSpPr>
          <p:cNvPr id="6" name="Foliennummernplatzhalter 7">
            <a:extLst>
              <a:ext uri="{FF2B5EF4-FFF2-40B4-BE49-F238E27FC236}">
                <a16:creationId xmlns:a16="http://schemas.microsoft.com/office/drawing/2014/main" id="{35F82229-D7E2-38CD-2601-D8568027B0DD}"/>
              </a:ext>
            </a:extLst>
          </p:cNvPr>
          <p:cNvSpPr txBox="1">
            <a:spLocks/>
          </p:cNvSpPr>
          <p:nvPr/>
        </p:nvSpPr>
        <p:spPr bwMode="gray">
          <a:xfrm>
            <a:off x="11504750" y="151200"/>
            <a:ext cx="280800" cy="180000"/>
          </a:xfrm>
          <a:prstGeom prst="rect">
            <a:avLst/>
          </a:prstGeom>
        </p:spPr>
        <p:txBody>
          <a:bodyPr vert="horz" wrap="none" lIns="0" tIns="0" rIns="0" bIns="0" rtlCol="0" anchor="t"/>
          <a:lstStyle>
            <a:defPPr>
              <a:defRPr lang="de-DE"/>
            </a:defPPr>
            <a:lvl1pPr marL="0" algn="ctr" defTabSz="914400" rtl="0" eaLnBrk="1" latinLnBrk="0" hangingPunct="1">
              <a:defRPr sz="1000" kern="1200">
                <a:solidFill>
                  <a:srgbClr val="888888"/>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C89B081-1F44-4440-BC7B-989C90F97B77}" type="slidenum">
              <a:rPr lang="de-DE" smtClean="0">
                <a:latin typeface="Arial" panose="020B0604020202020204"/>
              </a:rPr>
              <a:pPr algn="r">
                <a:defRPr/>
              </a:pPr>
              <a:t>14</a:t>
            </a:fld>
            <a:endParaRPr lang="de-DE">
              <a:latin typeface="Arial" panose="020B0604020202020204"/>
            </a:endParaRPr>
          </a:p>
        </p:txBody>
      </p:sp>
      <p:graphicFrame>
        <p:nvGraphicFramePr>
          <p:cNvPr id="7" name="Diagramm 6">
            <a:extLst>
              <a:ext uri="{FF2B5EF4-FFF2-40B4-BE49-F238E27FC236}">
                <a16:creationId xmlns:a16="http://schemas.microsoft.com/office/drawing/2014/main" id="{77C20B0B-6538-38EC-1A72-7E7AA78E537C}"/>
              </a:ext>
            </a:extLst>
          </p:cNvPr>
          <p:cNvGraphicFramePr>
            <a:graphicFrameLocks/>
          </p:cNvGraphicFramePr>
          <p:nvPr>
            <p:custDataLst>
              <p:tags r:id="rId1"/>
            </p:custDataLst>
          </p:nvPr>
        </p:nvGraphicFramePr>
        <p:xfrm>
          <a:off x="6349999" y="1411543"/>
          <a:ext cx="5434929" cy="45900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22614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pieren 5">
            <a:extLst>
              <a:ext uri="{FF2B5EF4-FFF2-40B4-BE49-F238E27FC236}">
                <a16:creationId xmlns:a16="http://schemas.microsoft.com/office/drawing/2014/main" id="{F1543081-9D8B-6897-7489-CAACBBB7562E}"/>
              </a:ext>
            </a:extLst>
          </p:cNvPr>
          <p:cNvGrpSpPr/>
          <p:nvPr/>
        </p:nvGrpSpPr>
        <p:grpSpPr>
          <a:xfrm>
            <a:off x="7454983" y="1556792"/>
            <a:ext cx="628264" cy="622696"/>
            <a:chOff x="1132327" y="2988766"/>
            <a:chExt cx="628264" cy="622696"/>
          </a:xfrm>
        </p:grpSpPr>
        <p:sp>
          <p:nvSpPr>
            <p:cNvPr id="7" name="Google Shape;866;p37">
              <a:extLst>
                <a:ext uri="{FF2B5EF4-FFF2-40B4-BE49-F238E27FC236}">
                  <a16:creationId xmlns:a16="http://schemas.microsoft.com/office/drawing/2014/main" id="{551683EC-1D9B-EEAF-73C1-2E573847A913}"/>
                </a:ext>
              </a:extLst>
            </p:cNvPr>
            <p:cNvSpPr>
              <a:spLocks noChangeArrowheads="1"/>
            </p:cNvSpPr>
            <p:nvPr/>
          </p:nvSpPr>
          <p:spPr bwMode="auto">
            <a:xfrm>
              <a:off x="1132327" y="2988766"/>
              <a:ext cx="628264" cy="622696"/>
            </a:xfrm>
            <a:prstGeom prst="ellipse">
              <a:avLst/>
            </a:prstGeom>
            <a:solidFill>
              <a:schemeClr val="accent2"/>
            </a:solidFill>
            <a:ln>
              <a:noFill/>
            </a:ln>
          </p:spPr>
          <p:txBody>
            <a:bodyPr lIns="91425" tIns="45700" rIns="91425" bIns="457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kumimoji="0" lang="de-DE" altLang="de-DE"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9" name="Ellipse 8">
              <a:extLst>
                <a:ext uri="{FF2B5EF4-FFF2-40B4-BE49-F238E27FC236}">
                  <a16:creationId xmlns:a16="http://schemas.microsoft.com/office/drawing/2014/main" id="{D21B4E8D-C228-A6CE-A417-C11ED409197B}"/>
                </a:ext>
              </a:extLst>
            </p:cNvPr>
            <p:cNvSpPr/>
            <p:nvPr/>
          </p:nvSpPr>
          <p:spPr>
            <a:xfrm>
              <a:off x="1174625" y="3030114"/>
              <a:ext cx="540000" cy="540000"/>
            </a:xfrm>
            <a:prstGeom prst="ellipse">
              <a:avLst/>
            </a:prstGeom>
            <a:solidFill>
              <a:schemeClr val="accent2"/>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
                  <a:srgbClr val="00358E"/>
                </a:buClr>
                <a:buSzTx/>
                <a:buFontTx/>
                <a:buNone/>
                <a:tabLst/>
                <a:defRPr/>
              </a:pPr>
              <a:endParaRPr kumimoji="0" lang="de-DE" sz="14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10" name="Pfeil: nach rechts 9">
              <a:extLst>
                <a:ext uri="{FF2B5EF4-FFF2-40B4-BE49-F238E27FC236}">
                  <a16:creationId xmlns:a16="http://schemas.microsoft.com/office/drawing/2014/main" id="{CE8F6E13-4DE6-A9FE-29CC-8504FBC4EAA2}"/>
                </a:ext>
              </a:extLst>
            </p:cNvPr>
            <p:cNvSpPr/>
            <p:nvPr/>
          </p:nvSpPr>
          <p:spPr>
            <a:xfrm rot="-2700000">
              <a:off x="1264614" y="3189260"/>
              <a:ext cx="385174" cy="260549"/>
            </a:xfrm>
            <a:prstGeom prst="rightArrow">
              <a:avLst>
                <a:gd name="adj1" fmla="val 41789"/>
                <a:gd name="adj2" fmla="val 59536"/>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
                  <a:srgbClr val="00358E"/>
                </a:buClr>
                <a:buSzTx/>
                <a:buFontTx/>
                <a:buNone/>
                <a:tabLst/>
                <a:defRPr/>
              </a:pPr>
              <a:endParaRPr kumimoji="0" lang="de-DE" sz="1400" b="0" i="0" u="none" strike="noStrike" kern="1200" cap="none" spc="0" normalizeH="0" baseline="0" noProof="0" err="1">
                <a:ln>
                  <a:noFill/>
                </a:ln>
                <a:solidFill>
                  <a:srgbClr val="FED210"/>
                </a:solidFill>
                <a:effectLst/>
                <a:uLnTx/>
                <a:uFillTx/>
                <a:latin typeface="Arial" panose="020B0604020202020204"/>
                <a:ea typeface="+mn-ea"/>
                <a:cs typeface="+mn-cs"/>
              </a:endParaRPr>
            </a:p>
          </p:txBody>
        </p:sp>
      </p:grpSp>
      <p:sp>
        <p:nvSpPr>
          <p:cNvPr id="5" name="Titel 4">
            <a:extLst>
              <a:ext uri="{FF2B5EF4-FFF2-40B4-BE49-F238E27FC236}">
                <a16:creationId xmlns:a16="http://schemas.microsoft.com/office/drawing/2014/main" id="{567DCFBA-9C65-782C-FB32-B8CF64DC683B}"/>
              </a:ext>
            </a:extLst>
          </p:cNvPr>
          <p:cNvSpPr>
            <a:spLocks noGrp="1"/>
          </p:cNvSpPr>
          <p:nvPr>
            <p:ph type="title"/>
          </p:nvPr>
        </p:nvSpPr>
        <p:spPr/>
        <p:txBody>
          <a:bodyPr/>
          <a:lstStyle/>
          <a:p>
            <a:r>
              <a:rPr lang="de-DE" err="1">
                <a:solidFill>
                  <a:schemeClr val="accent2"/>
                </a:solidFill>
              </a:rPr>
              <a:t>What</a:t>
            </a:r>
            <a:r>
              <a:rPr lang="de-DE">
                <a:solidFill>
                  <a:schemeClr val="accent2"/>
                </a:solidFill>
              </a:rPr>
              <a:t> </a:t>
            </a:r>
            <a:r>
              <a:rPr lang="de-DE" err="1">
                <a:solidFill>
                  <a:schemeClr val="accent2"/>
                </a:solidFill>
              </a:rPr>
              <a:t>if</a:t>
            </a:r>
            <a:r>
              <a:rPr lang="de-DE">
                <a:solidFill>
                  <a:schemeClr val="accent2"/>
                </a:solidFill>
              </a:rPr>
              <a:t>? – Donald Trump 2.0: </a:t>
            </a:r>
            <a:r>
              <a:rPr lang="de-DE"/>
              <a:t>Weitreichende Kapitalmarktauswirkungen</a:t>
            </a:r>
          </a:p>
        </p:txBody>
      </p:sp>
      <p:sp>
        <p:nvSpPr>
          <p:cNvPr id="8" name="Foliennummernplatzhalter 7">
            <a:extLst>
              <a:ext uri="{FF2B5EF4-FFF2-40B4-BE49-F238E27FC236}">
                <a16:creationId xmlns:a16="http://schemas.microsoft.com/office/drawing/2014/main" id="{17C00EBF-73C6-EA94-4166-C9F17EC07AA0}"/>
              </a:ext>
            </a:extLst>
          </p:cNvPr>
          <p:cNvSpPr>
            <a:spLocks noGrp="1"/>
          </p:cNvSpPr>
          <p:nvPr>
            <p:ph type="sldNum" sz="quarter" idx="29"/>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89B081-1F44-4440-BC7B-989C90F97B77}" type="slidenum">
              <a:rPr kumimoji="0" lang="de-DE" sz="1000" b="0" i="0" u="none" strike="noStrike" kern="1200" cap="none" spc="0" normalizeH="0" baseline="0" noProof="0" smtClean="0">
                <a:ln>
                  <a:noFill/>
                </a:ln>
                <a:solidFill>
                  <a:srgbClr val="888888"/>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de-DE" sz="1000" b="0" i="0" u="none" strike="noStrike" kern="1200" cap="none" spc="0" normalizeH="0" baseline="0" noProof="0">
              <a:ln>
                <a:noFill/>
              </a:ln>
              <a:solidFill>
                <a:srgbClr val="888888"/>
              </a:solidFill>
              <a:effectLst/>
              <a:uLnTx/>
              <a:uFillTx/>
              <a:latin typeface="Arial" panose="020B0604020202020204"/>
              <a:ea typeface="+mn-ea"/>
              <a:cs typeface="+mn-cs"/>
            </a:endParaRPr>
          </a:p>
        </p:txBody>
      </p:sp>
      <p:sp>
        <p:nvSpPr>
          <p:cNvPr id="13" name="Google Shape;3656;p76">
            <a:extLst>
              <a:ext uri="{FF2B5EF4-FFF2-40B4-BE49-F238E27FC236}">
                <a16:creationId xmlns:a16="http://schemas.microsoft.com/office/drawing/2014/main" id="{6053581D-DDD4-7A58-FF32-1097162487C2}"/>
              </a:ext>
            </a:extLst>
          </p:cNvPr>
          <p:cNvSpPr txBox="1">
            <a:spLocks noChangeArrowheads="1"/>
          </p:cNvSpPr>
          <p:nvPr/>
        </p:nvSpPr>
        <p:spPr bwMode="auto">
          <a:xfrm>
            <a:off x="6844071" y="3939381"/>
            <a:ext cx="2432165" cy="251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64D1DA"/>
              </a:buClr>
              <a:buSzPts val="1800"/>
              <a:buFont typeface="Open Sans Semibold" panose="020B0604020202020204" pitchFamily="34" charset="0"/>
              <a:buNone/>
              <a:tabLst/>
              <a:defRPr/>
            </a:pPr>
            <a:r>
              <a:rPr kumimoji="0" lang="de-DE" altLang="en-US" sz="1400" b="1" i="0" u="none" strike="noStrike" kern="1200" cap="none" spc="0" normalizeH="0" baseline="0" noProof="0">
                <a:ln>
                  <a:noFill/>
                </a:ln>
                <a:solidFill>
                  <a:srgbClr val="00358E"/>
                </a:solidFill>
                <a:effectLst/>
                <a:uLnTx/>
                <a:uFillTx/>
                <a:latin typeface="Arial" panose="020B0604020202020204"/>
                <a:ea typeface="+mn-ea"/>
                <a:cs typeface="Open Sans Semibold" panose="020B0604020202020204" pitchFamily="34" charset="0"/>
                <a:sym typeface="Open Sans Semibold" panose="020B0604020202020204" pitchFamily="34" charset="0"/>
              </a:rPr>
              <a:t>US-RENDITEN</a:t>
            </a:r>
            <a:endParaRPr kumimoji="0" lang="de-DE" altLang="en-US" sz="1400" b="0" i="0" u="none" strike="noStrike" kern="1200" cap="none" spc="0" normalizeH="0" baseline="0" noProof="0">
              <a:ln>
                <a:noFill/>
              </a:ln>
              <a:solidFill>
                <a:srgbClr val="00358E"/>
              </a:solidFill>
              <a:effectLst/>
              <a:uLnTx/>
              <a:uFillTx/>
              <a:latin typeface="Arial" panose="020B0604020202020204"/>
              <a:ea typeface="+mn-ea"/>
              <a:cs typeface="Open Sans Semibold" panose="020B0604020202020204" pitchFamily="34" charset="0"/>
              <a:sym typeface="Arial" panose="020B0604020202020204" pitchFamily="34" charset="0"/>
            </a:endParaRPr>
          </a:p>
        </p:txBody>
      </p:sp>
      <p:sp>
        <p:nvSpPr>
          <p:cNvPr id="19" name="Google Shape;3657;p76">
            <a:extLst>
              <a:ext uri="{FF2B5EF4-FFF2-40B4-BE49-F238E27FC236}">
                <a16:creationId xmlns:a16="http://schemas.microsoft.com/office/drawing/2014/main" id="{7177A8FA-14C1-651B-7BC3-6CBCB873EBBD}"/>
              </a:ext>
            </a:extLst>
          </p:cNvPr>
          <p:cNvSpPr txBox="1">
            <a:spLocks noChangeArrowheads="1"/>
          </p:cNvSpPr>
          <p:nvPr/>
        </p:nvSpPr>
        <p:spPr bwMode="auto">
          <a:xfrm>
            <a:off x="6844071" y="5174843"/>
            <a:ext cx="1263093" cy="251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34B2E3"/>
              </a:buClr>
              <a:buSzPts val="1800"/>
              <a:buFont typeface="Open Sans Semibold" panose="020B0604020202020204" pitchFamily="34" charset="0"/>
              <a:buNone/>
              <a:tabLst/>
              <a:defRPr/>
            </a:pPr>
            <a:r>
              <a:rPr kumimoji="0" lang="de-DE" altLang="en-US" sz="1400" b="1" i="0" u="none" strike="noStrike" kern="1200" cap="none" spc="0" normalizeH="0" baseline="0" noProof="0">
                <a:ln>
                  <a:noFill/>
                </a:ln>
                <a:solidFill>
                  <a:srgbClr val="00358E"/>
                </a:solidFill>
                <a:effectLst/>
                <a:uLnTx/>
                <a:uFillTx/>
                <a:latin typeface="Arial" panose="020B0604020202020204"/>
                <a:ea typeface="+mn-ea"/>
                <a:cs typeface="Open Sans Semibold" panose="020B0604020202020204" pitchFamily="34" charset="0"/>
                <a:sym typeface="Open Sans Semibold" panose="020B0604020202020204" pitchFamily="34" charset="0"/>
              </a:rPr>
              <a:t>US-DOLLAR</a:t>
            </a:r>
            <a:endParaRPr kumimoji="0" lang="de-DE" altLang="en-US" sz="1400" b="0" i="0" u="none" strike="noStrike" kern="1200" cap="none" spc="0" normalizeH="0" baseline="0" noProof="0">
              <a:ln>
                <a:noFill/>
              </a:ln>
              <a:solidFill>
                <a:srgbClr val="00358E"/>
              </a:solidFill>
              <a:effectLst/>
              <a:uLnTx/>
              <a:uFillTx/>
              <a:latin typeface="Arial" panose="020B0604020202020204"/>
              <a:ea typeface="+mn-ea"/>
              <a:cs typeface="Open Sans Semibold" panose="020B0604020202020204" pitchFamily="34" charset="0"/>
              <a:sym typeface="Arial" panose="020B0604020202020204" pitchFamily="34" charset="0"/>
            </a:endParaRPr>
          </a:p>
        </p:txBody>
      </p:sp>
      <p:sp>
        <p:nvSpPr>
          <p:cNvPr id="24" name="Google Shape;3628;p76">
            <a:extLst>
              <a:ext uri="{FF2B5EF4-FFF2-40B4-BE49-F238E27FC236}">
                <a16:creationId xmlns:a16="http://schemas.microsoft.com/office/drawing/2014/main" id="{02673983-9799-94D3-3554-87398C6AACE2}"/>
              </a:ext>
            </a:extLst>
          </p:cNvPr>
          <p:cNvSpPr txBox="1">
            <a:spLocks noChangeArrowheads="1"/>
          </p:cNvSpPr>
          <p:nvPr/>
        </p:nvSpPr>
        <p:spPr bwMode="auto">
          <a:xfrm>
            <a:off x="2108463" y="5338652"/>
            <a:ext cx="3705320" cy="830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5" tIns="45700" rIns="91425" bIns="45700">
            <a:spAutoFit/>
          </a:bodyP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panose="020B0604020202020204" pitchFamily="34" charset="0"/>
              <a:buNone/>
              <a:tabLst/>
              <a:defRPr/>
            </a:pPr>
            <a:r>
              <a:rPr kumimoji="0" lang="de-DE" altLang="en-US" sz="1600" b="0" i="0" u="none" strike="noStrike" kern="1200" cap="none" spc="0" normalizeH="0" baseline="0" noProof="0">
                <a:ln>
                  <a:noFill/>
                </a:ln>
                <a:solidFill>
                  <a:srgbClr val="888888"/>
                </a:solidFill>
                <a:effectLst/>
                <a:uLnTx/>
                <a:uFillTx/>
                <a:latin typeface="Arial" panose="020B0604020202020204"/>
                <a:ea typeface="+mn-ea"/>
                <a:cs typeface="Open Sans" panose="020B0604020202020204" pitchFamily="34" charset="0"/>
                <a:sym typeface="Open Sans" panose="020B0604020202020204" pitchFamily="34" charset="0"/>
              </a:rPr>
              <a:t>Steuersenkungen und „Dividenden-</a:t>
            </a:r>
            <a:br>
              <a:rPr kumimoji="0" lang="de-DE" altLang="en-US" sz="1600" b="0" i="0" u="none" strike="noStrike" kern="1200" cap="none" spc="0" normalizeH="0" baseline="0" noProof="0">
                <a:ln>
                  <a:noFill/>
                </a:ln>
                <a:solidFill>
                  <a:srgbClr val="888888"/>
                </a:solidFill>
                <a:effectLst/>
                <a:uLnTx/>
                <a:uFillTx/>
                <a:latin typeface="Arial" panose="020B0604020202020204"/>
                <a:ea typeface="+mn-ea"/>
                <a:cs typeface="Open Sans" panose="020B0604020202020204" pitchFamily="34" charset="0"/>
                <a:sym typeface="Open Sans" panose="020B0604020202020204" pitchFamily="34" charset="0"/>
              </a:rPr>
            </a:br>
            <a:r>
              <a:rPr kumimoji="0" lang="de-DE" altLang="en-US" sz="1600" b="0" i="0" u="none" strike="noStrike" kern="1200" cap="none" spc="0" normalizeH="0" baseline="0" noProof="0" err="1">
                <a:ln>
                  <a:noFill/>
                </a:ln>
                <a:solidFill>
                  <a:srgbClr val="888888"/>
                </a:solidFill>
                <a:effectLst/>
                <a:uLnTx/>
                <a:uFillTx/>
                <a:latin typeface="Arial" panose="020B0604020202020204"/>
                <a:ea typeface="+mn-ea"/>
                <a:cs typeface="Open Sans" panose="020B0604020202020204" pitchFamily="34" charset="0"/>
                <a:sym typeface="Open Sans" panose="020B0604020202020204" pitchFamily="34" charset="0"/>
              </a:rPr>
              <a:t>zahlungen</a:t>
            </a:r>
            <a:r>
              <a:rPr kumimoji="0" lang="de-DE" altLang="en-US" sz="1600" b="0" i="0" u="none" strike="noStrike" kern="1200" cap="none" spc="0" normalizeH="0" baseline="0" noProof="0">
                <a:ln>
                  <a:noFill/>
                </a:ln>
                <a:solidFill>
                  <a:srgbClr val="888888"/>
                </a:solidFill>
                <a:effectLst/>
                <a:uLnTx/>
                <a:uFillTx/>
                <a:latin typeface="Arial" panose="020B0604020202020204"/>
                <a:ea typeface="+mn-ea"/>
                <a:cs typeface="Open Sans" panose="020B0604020202020204" pitchFamily="34" charset="0"/>
                <a:sym typeface="Open Sans" panose="020B0604020202020204" pitchFamily="34" charset="0"/>
              </a:rPr>
              <a:t>“ aus Zolleinnahmen sollten </a:t>
            </a:r>
            <a:br>
              <a:rPr kumimoji="0" lang="de-DE" altLang="en-US" sz="1600" b="0" i="0" u="none" strike="noStrike" kern="1200" cap="none" spc="0" normalizeH="0" baseline="0" noProof="0">
                <a:ln>
                  <a:noFill/>
                </a:ln>
                <a:solidFill>
                  <a:srgbClr val="888888"/>
                </a:solidFill>
                <a:effectLst/>
                <a:uLnTx/>
                <a:uFillTx/>
                <a:latin typeface="Arial" panose="020B0604020202020204"/>
                <a:ea typeface="+mn-ea"/>
                <a:cs typeface="Open Sans" panose="020B0604020202020204" pitchFamily="34" charset="0"/>
                <a:sym typeface="Open Sans" panose="020B0604020202020204" pitchFamily="34" charset="0"/>
              </a:rPr>
            </a:br>
            <a:r>
              <a:rPr kumimoji="0" lang="de-DE" altLang="en-US" sz="1600" b="0" i="0" u="none" strike="noStrike" kern="1200" cap="none" spc="0" normalizeH="0" baseline="0" noProof="0">
                <a:ln>
                  <a:noFill/>
                </a:ln>
                <a:solidFill>
                  <a:srgbClr val="888888"/>
                </a:solidFill>
                <a:effectLst/>
                <a:uLnTx/>
                <a:uFillTx/>
                <a:latin typeface="Arial" panose="020B0604020202020204"/>
                <a:ea typeface="+mn-ea"/>
                <a:cs typeface="Open Sans" panose="020B0604020202020204" pitchFamily="34" charset="0"/>
                <a:sym typeface="Open Sans" panose="020B0604020202020204" pitchFamily="34" charset="0"/>
              </a:rPr>
              <a:t>das Haushaltsdefizit weiter erhöhen. </a:t>
            </a:r>
          </a:p>
        </p:txBody>
      </p:sp>
      <p:sp>
        <p:nvSpPr>
          <p:cNvPr id="27" name="Google Shape;3657;p76">
            <a:extLst>
              <a:ext uri="{FF2B5EF4-FFF2-40B4-BE49-F238E27FC236}">
                <a16:creationId xmlns:a16="http://schemas.microsoft.com/office/drawing/2014/main" id="{0E276C56-7E50-07C5-AB57-C32C0900DF82}"/>
              </a:ext>
            </a:extLst>
          </p:cNvPr>
          <p:cNvSpPr txBox="1">
            <a:spLocks noChangeArrowheads="1"/>
          </p:cNvSpPr>
          <p:nvPr/>
        </p:nvSpPr>
        <p:spPr bwMode="auto">
          <a:xfrm>
            <a:off x="444836" y="5174843"/>
            <a:ext cx="1932604" cy="251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34B2E3"/>
              </a:buClr>
              <a:buSzPts val="1800"/>
              <a:buFont typeface="Open Sans Semibold" panose="020B0604020202020204" pitchFamily="34" charset="0"/>
              <a:buNone/>
              <a:tabLst/>
              <a:defRPr/>
            </a:pPr>
            <a:r>
              <a:rPr kumimoji="0" lang="de-DE" altLang="en-US" sz="1400" b="1" i="0" u="none" strike="noStrike" kern="1200" cap="none" spc="0" normalizeH="0" baseline="0" noProof="0">
                <a:ln>
                  <a:noFill/>
                </a:ln>
                <a:solidFill>
                  <a:srgbClr val="00358E"/>
                </a:solidFill>
                <a:effectLst/>
                <a:uLnTx/>
                <a:uFillTx/>
                <a:latin typeface="Arial" panose="020B0604020202020204"/>
                <a:ea typeface="+mn-ea"/>
                <a:cs typeface="Open Sans Semibold" panose="020B0604020202020204" pitchFamily="34" charset="0"/>
                <a:sym typeface="Open Sans Semibold" panose="020B0604020202020204" pitchFamily="34" charset="0"/>
              </a:rPr>
              <a:t>HAUSHALTSDEFIZIT</a:t>
            </a:r>
            <a:endParaRPr kumimoji="0" lang="de-DE" altLang="en-US" sz="1400" b="0" i="0" u="none" strike="noStrike" kern="1200" cap="none" spc="0" normalizeH="0" baseline="0" noProof="0">
              <a:ln>
                <a:noFill/>
              </a:ln>
              <a:solidFill>
                <a:srgbClr val="00358E"/>
              </a:solidFill>
              <a:effectLst/>
              <a:uLnTx/>
              <a:uFillTx/>
              <a:latin typeface="Arial" panose="020B0604020202020204"/>
              <a:ea typeface="+mn-ea"/>
              <a:cs typeface="Open Sans Semibold" panose="020B0604020202020204" pitchFamily="34" charset="0"/>
              <a:sym typeface="Arial" panose="020B0604020202020204" pitchFamily="34" charset="0"/>
            </a:endParaRPr>
          </a:p>
        </p:txBody>
      </p:sp>
      <p:sp>
        <p:nvSpPr>
          <p:cNvPr id="33" name="Google Shape;3653;p76">
            <a:extLst>
              <a:ext uri="{FF2B5EF4-FFF2-40B4-BE49-F238E27FC236}">
                <a16:creationId xmlns:a16="http://schemas.microsoft.com/office/drawing/2014/main" id="{58C86CC6-1236-8B9D-B71B-EEABDF592E7D}"/>
              </a:ext>
            </a:extLst>
          </p:cNvPr>
          <p:cNvSpPr txBox="1">
            <a:spLocks noChangeArrowheads="1"/>
          </p:cNvSpPr>
          <p:nvPr/>
        </p:nvSpPr>
        <p:spPr bwMode="auto">
          <a:xfrm>
            <a:off x="440620" y="1394878"/>
            <a:ext cx="1540791" cy="251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94D1CB"/>
              </a:buClr>
              <a:buSzPts val="1800"/>
              <a:buFont typeface="Open Sans Semibold" panose="020B0604020202020204" pitchFamily="34" charset="0"/>
              <a:buNone/>
              <a:tabLst/>
              <a:defRPr/>
            </a:pPr>
            <a:r>
              <a:rPr kumimoji="0" lang="de-DE" altLang="en-US" sz="1400" b="1" i="0" u="none" strike="noStrike" kern="1200" cap="none" spc="0" normalizeH="0" baseline="0" noProof="0">
                <a:ln>
                  <a:noFill/>
                </a:ln>
                <a:solidFill>
                  <a:srgbClr val="00358E"/>
                </a:solidFill>
                <a:effectLst/>
                <a:uLnTx/>
                <a:uFillTx/>
                <a:latin typeface="Arial" panose="020B0604020202020204"/>
                <a:ea typeface="+mn-ea"/>
                <a:cs typeface="Open Sans Semibold" panose="020B0604020202020204" pitchFamily="34" charset="0"/>
                <a:sym typeface="Open Sans Semibold" panose="020B0604020202020204" pitchFamily="34" charset="0"/>
              </a:rPr>
              <a:t>WACHSTUM</a:t>
            </a:r>
            <a:endParaRPr kumimoji="0" lang="de-DE" altLang="en-US" sz="1400" b="0" i="0" u="none" strike="noStrike" kern="1200" cap="none" spc="0" normalizeH="0" baseline="0" noProof="0">
              <a:ln>
                <a:noFill/>
              </a:ln>
              <a:solidFill>
                <a:srgbClr val="00358E"/>
              </a:solidFill>
              <a:effectLst/>
              <a:uLnTx/>
              <a:uFillTx/>
              <a:latin typeface="Arial" panose="020B0604020202020204"/>
              <a:ea typeface="+mn-ea"/>
              <a:cs typeface="Open Sans Semibold" panose="020B0604020202020204" pitchFamily="34" charset="0"/>
              <a:sym typeface="Arial" panose="020B0604020202020204" pitchFamily="34" charset="0"/>
            </a:endParaRPr>
          </a:p>
        </p:txBody>
      </p:sp>
      <p:sp>
        <p:nvSpPr>
          <p:cNvPr id="37" name="Google Shape;3626;p76">
            <a:extLst>
              <a:ext uri="{FF2B5EF4-FFF2-40B4-BE49-F238E27FC236}">
                <a16:creationId xmlns:a16="http://schemas.microsoft.com/office/drawing/2014/main" id="{87D1D2FE-7F8A-378E-F571-A9770332FFEC}"/>
              </a:ext>
            </a:extLst>
          </p:cNvPr>
          <p:cNvSpPr txBox="1">
            <a:spLocks noChangeArrowheads="1"/>
          </p:cNvSpPr>
          <p:nvPr/>
        </p:nvSpPr>
        <p:spPr bwMode="auto">
          <a:xfrm>
            <a:off x="2161094" y="1505624"/>
            <a:ext cx="3721269" cy="1077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5" tIns="45700" rIns="91425" bIns="45700">
            <a:spAutoFit/>
          </a:bodyP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panose="020B0604020202020204" pitchFamily="34" charset="0"/>
              <a:buNone/>
              <a:tabLst/>
              <a:defRPr/>
            </a:pPr>
            <a:r>
              <a:rPr kumimoji="0" lang="de-DE" altLang="en-US" sz="1600" b="0" i="0" u="none" strike="noStrike" kern="1200" cap="none" spc="0" normalizeH="0" baseline="0" noProof="0">
                <a:ln>
                  <a:noFill/>
                </a:ln>
                <a:solidFill>
                  <a:srgbClr val="888888"/>
                </a:solidFill>
                <a:effectLst/>
                <a:uLnTx/>
                <a:uFillTx/>
                <a:latin typeface="Arial" panose="020B0604020202020204"/>
                <a:ea typeface="+mn-ea"/>
                <a:cs typeface="Open Sans" panose="020B0604020202020204" pitchFamily="34" charset="0"/>
                <a:sym typeface="Open Sans" panose="020B0604020202020204" pitchFamily="34" charset="0"/>
              </a:rPr>
              <a:t>Höhere Importzölle, weniger </a:t>
            </a:r>
            <a:br>
              <a:rPr kumimoji="0" lang="de-DE" altLang="en-US" sz="1600" b="0" i="0" u="none" strike="noStrike" kern="1200" cap="none" spc="0" normalizeH="0" baseline="0" noProof="0">
                <a:ln>
                  <a:noFill/>
                </a:ln>
                <a:solidFill>
                  <a:srgbClr val="888888"/>
                </a:solidFill>
                <a:effectLst/>
                <a:uLnTx/>
                <a:uFillTx/>
                <a:latin typeface="Arial" panose="020B0604020202020204"/>
                <a:ea typeface="+mn-ea"/>
                <a:cs typeface="Open Sans" panose="020B0604020202020204" pitchFamily="34" charset="0"/>
                <a:sym typeface="Open Sans" panose="020B0604020202020204" pitchFamily="34" charset="0"/>
              </a:rPr>
            </a:br>
            <a:r>
              <a:rPr kumimoji="0" lang="de-DE" altLang="en-US" sz="1600" b="0" i="0" u="none" strike="noStrike" kern="1200" cap="none" spc="0" normalizeH="0" baseline="0" noProof="0">
                <a:ln>
                  <a:noFill/>
                </a:ln>
                <a:solidFill>
                  <a:srgbClr val="888888"/>
                </a:solidFill>
                <a:effectLst/>
                <a:uLnTx/>
                <a:uFillTx/>
                <a:latin typeface="Arial" panose="020B0604020202020204"/>
                <a:ea typeface="+mn-ea"/>
                <a:cs typeface="Open Sans" panose="020B0604020202020204" pitchFamily="34" charset="0"/>
                <a:sym typeface="Open Sans" panose="020B0604020202020204" pitchFamily="34" charset="0"/>
              </a:rPr>
              <a:t>Einwanderung und geringe Planungssicherheit bei Investitionen belasten Wirtschaftswachstum.</a:t>
            </a:r>
          </a:p>
        </p:txBody>
      </p:sp>
      <p:sp>
        <p:nvSpPr>
          <p:cNvPr id="40" name="Google Shape;3656;p76">
            <a:extLst>
              <a:ext uri="{FF2B5EF4-FFF2-40B4-BE49-F238E27FC236}">
                <a16:creationId xmlns:a16="http://schemas.microsoft.com/office/drawing/2014/main" id="{5DED7845-F471-8C43-63DC-9400077753AF}"/>
              </a:ext>
            </a:extLst>
          </p:cNvPr>
          <p:cNvSpPr txBox="1">
            <a:spLocks noChangeArrowheads="1"/>
          </p:cNvSpPr>
          <p:nvPr/>
        </p:nvSpPr>
        <p:spPr bwMode="auto">
          <a:xfrm>
            <a:off x="451191" y="2703919"/>
            <a:ext cx="2230732" cy="251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64D1DA"/>
              </a:buClr>
              <a:buSzPts val="1800"/>
              <a:buFont typeface="Open Sans Semibold" panose="020B0604020202020204" pitchFamily="34" charset="0"/>
              <a:buNone/>
              <a:tabLst/>
              <a:defRPr/>
            </a:pPr>
            <a:r>
              <a:rPr kumimoji="0" lang="de-DE" altLang="en-US" sz="1400" b="1" i="0" u="none" strike="noStrike" kern="1200" cap="none" spc="0" normalizeH="0" baseline="0" noProof="0">
                <a:ln>
                  <a:noFill/>
                </a:ln>
                <a:solidFill>
                  <a:srgbClr val="00358E"/>
                </a:solidFill>
                <a:effectLst/>
                <a:uLnTx/>
                <a:uFillTx/>
                <a:latin typeface="Arial" panose="020B0604020202020204"/>
                <a:ea typeface="+mn-ea"/>
                <a:cs typeface="Open Sans Semibold" panose="020B0604020202020204" pitchFamily="34" charset="0"/>
                <a:sym typeface="Open Sans Semibold" panose="020B0604020202020204" pitchFamily="34" charset="0"/>
              </a:rPr>
              <a:t>INFLATION</a:t>
            </a:r>
            <a:endParaRPr kumimoji="0" lang="de-DE" altLang="en-US" sz="1400" b="0" i="0" u="none" strike="noStrike" kern="1200" cap="none" spc="0" normalizeH="0" baseline="0" noProof="0">
              <a:ln>
                <a:noFill/>
              </a:ln>
              <a:solidFill>
                <a:srgbClr val="00358E"/>
              </a:solidFill>
              <a:effectLst/>
              <a:uLnTx/>
              <a:uFillTx/>
              <a:latin typeface="Arial" panose="020B0604020202020204"/>
              <a:ea typeface="+mn-ea"/>
              <a:cs typeface="Open Sans Semibold" panose="020B0604020202020204" pitchFamily="34" charset="0"/>
              <a:sym typeface="Arial" panose="020B0604020202020204" pitchFamily="34" charset="0"/>
            </a:endParaRPr>
          </a:p>
        </p:txBody>
      </p:sp>
      <p:sp>
        <p:nvSpPr>
          <p:cNvPr id="44" name="Google Shape;3627;p76">
            <a:extLst>
              <a:ext uri="{FF2B5EF4-FFF2-40B4-BE49-F238E27FC236}">
                <a16:creationId xmlns:a16="http://schemas.microsoft.com/office/drawing/2014/main" id="{C82518DF-9974-08AC-DD69-F0227A6555C3}"/>
              </a:ext>
            </a:extLst>
          </p:cNvPr>
          <p:cNvSpPr txBox="1">
            <a:spLocks noChangeArrowheads="1"/>
          </p:cNvSpPr>
          <p:nvPr/>
        </p:nvSpPr>
        <p:spPr bwMode="auto">
          <a:xfrm>
            <a:off x="2161094" y="2860839"/>
            <a:ext cx="3705797" cy="830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5" tIns="45700" rIns="91425" bIns="45700">
            <a:spAutoFit/>
          </a:bodyP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panose="020B0604020202020204" pitchFamily="34" charset="0"/>
              <a:buNone/>
              <a:tabLst/>
              <a:defRPr/>
            </a:pPr>
            <a:r>
              <a:rPr kumimoji="0" lang="de-DE" altLang="en-US" sz="1600" b="0" i="0" u="none" strike="noStrike" kern="1200" cap="none" spc="0" normalizeH="0" baseline="0" noProof="0">
                <a:ln>
                  <a:noFill/>
                </a:ln>
                <a:solidFill>
                  <a:srgbClr val="888888"/>
                </a:solidFill>
                <a:effectLst/>
                <a:uLnTx/>
                <a:uFillTx/>
                <a:latin typeface="Arial" panose="020B0604020202020204"/>
                <a:ea typeface="+mn-ea"/>
                <a:cs typeface="Open Sans" panose="020B0604020202020204" pitchFamily="34" charset="0"/>
                <a:sym typeface="Open Sans" panose="020B0604020202020204" pitchFamily="34" charset="0"/>
              </a:rPr>
              <a:t>Höhere Importzölle, Einwanderungs-politik mit engem Arbeitsmarkt und lockere Geldpolitik wirken inflationär.</a:t>
            </a:r>
            <a:endParaRPr kumimoji="0" lang="de-DE" altLang="en-US" sz="1600" b="0" i="0" u="none" strike="noStrike" kern="1200" cap="none" spc="0" normalizeH="0" baseline="0" noProof="0">
              <a:ln>
                <a:noFill/>
              </a:ln>
              <a:solidFill>
                <a:srgbClr val="888888"/>
              </a:solidFill>
              <a:effectLst/>
              <a:uLnTx/>
              <a:uFillTx/>
              <a:latin typeface="Arial" panose="020B0604020202020204"/>
              <a:ea typeface="+mn-ea"/>
              <a:cs typeface="Open Sans" panose="020B0604020202020204" pitchFamily="34" charset="0"/>
              <a:sym typeface="Arial" panose="020B0604020202020204" pitchFamily="34" charset="0"/>
            </a:endParaRPr>
          </a:p>
        </p:txBody>
      </p:sp>
      <p:sp>
        <p:nvSpPr>
          <p:cNvPr id="48" name="Google Shape;3656;p76">
            <a:extLst>
              <a:ext uri="{FF2B5EF4-FFF2-40B4-BE49-F238E27FC236}">
                <a16:creationId xmlns:a16="http://schemas.microsoft.com/office/drawing/2014/main" id="{EE1FD955-246A-7B06-553C-D1A0AC82E9B0}"/>
              </a:ext>
            </a:extLst>
          </p:cNvPr>
          <p:cNvSpPr txBox="1">
            <a:spLocks noChangeArrowheads="1"/>
          </p:cNvSpPr>
          <p:nvPr/>
        </p:nvSpPr>
        <p:spPr bwMode="auto">
          <a:xfrm>
            <a:off x="446593" y="3939381"/>
            <a:ext cx="2230732" cy="251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64D1DA"/>
              </a:buClr>
              <a:buSzPts val="1800"/>
              <a:buFont typeface="Open Sans Semibold" panose="020B0604020202020204" pitchFamily="34" charset="0"/>
              <a:buNone/>
              <a:tabLst/>
              <a:defRPr/>
            </a:pPr>
            <a:r>
              <a:rPr kumimoji="0" lang="de-DE" altLang="en-US" sz="1400" b="1" i="0" u="none" strike="noStrike" kern="1200" cap="none" spc="0" normalizeH="0" baseline="0" noProof="0">
                <a:ln>
                  <a:noFill/>
                </a:ln>
                <a:solidFill>
                  <a:srgbClr val="00358E"/>
                </a:solidFill>
                <a:effectLst/>
                <a:uLnTx/>
                <a:uFillTx/>
                <a:latin typeface="Arial" panose="020B0604020202020204"/>
                <a:ea typeface="+mn-ea"/>
                <a:cs typeface="Open Sans Semibold" panose="020B0604020202020204" pitchFamily="34" charset="0"/>
                <a:sym typeface="Open Sans Semibold" panose="020B0604020202020204" pitchFamily="34" charset="0"/>
              </a:rPr>
              <a:t>LEITZINSEN</a:t>
            </a:r>
            <a:endParaRPr kumimoji="0" lang="de-DE" altLang="en-US" sz="1400" b="0" i="0" u="none" strike="noStrike" kern="1200" cap="none" spc="0" normalizeH="0" baseline="0" noProof="0">
              <a:ln>
                <a:noFill/>
              </a:ln>
              <a:solidFill>
                <a:srgbClr val="00358E"/>
              </a:solidFill>
              <a:effectLst/>
              <a:uLnTx/>
              <a:uFillTx/>
              <a:latin typeface="Arial" panose="020B0604020202020204"/>
              <a:ea typeface="+mn-ea"/>
              <a:cs typeface="Open Sans Semibold" panose="020B0604020202020204" pitchFamily="34" charset="0"/>
              <a:sym typeface="Arial" panose="020B0604020202020204" pitchFamily="34" charset="0"/>
            </a:endParaRPr>
          </a:p>
        </p:txBody>
      </p:sp>
      <p:sp>
        <p:nvSpPr>
          <p:cNvPr id="51" name="Google Shape;3627;p76">
            <a:extLst>
              <a:ext uri="{FF2B5EF4-FFF2-40B4-BE49-F238E27FC236}">
                <a16:creationId xmlns:a16="http://schemas.microsoft.com/office/drawing/2014/main" id="{94F72FD0-39D0-6B36-8FBC-784716E13366}"/>
              </a:ext>
            </a:extLst>
          </p:cNvPr>
          <p:cNvSpPr txBox="1">
            <a:spLocks noChangeArrowheads="1"/>
          </p:cNvSpPr>
          <p:nvPr/>
        </p:nvSpPr>
        <p:spPr bwMode="auto">
          <a:xfrm>
            <a:off x="2161094" y="3933056"/>
            <a:ext cx="4317735" cy="1077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5" tIns="45700" rIns="91425" bIns="45700">
            <a:spAutoFit/>
          </a:bodyP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panose="020B0604020202020204" pitchFamily="34" charset="0"/>
              <a:buNone/>
              <a:tabLst/>
              <a:defRPr/>
            </a:pPr>
            <a:r>
              <a:rPr kumimoji="0" lang="de-DE" altLang="en-US" sz="1600" b="0" i="0" u="none" strike="noStrike" kern="1200" cap="none" spc="0" normalizeH="0" baseline="0" noProof="0">
                <a:ln>
                  <a:noFill/>
                </a:ln>
                <a:solidFill>
                  <a:srgbClr val="888888"/>
                </a:solidFill>
                <a:effectLst/>
                <a:uLnTx/>
                <a:uFillTx/>
                <a:latin typeface="Arial" panose="020B0604020202020204"/>
                <a:ea typeface="+mn-ea"/>
                <a:cs typeface="Open Sans" panose="020B0604020202020204" pitchFamily="34" charset="0"/>
                <a:sym typeface="Open Sans" panose="020B0604020202020204" pitchFamily="34" charset="0"/>
              </a:rPr>
              <a:t>Trump dürfte wieder Druck auf Powell ausüben die Zinsen schnell zu senken</a:t>
            </a:r>
            <a:br>
              <a:rPr kumimoji="0" lang="de-DE" altLang="en-US" sz="1600" b="0" i="0" u="none" strike="noStrike" kern="1200" cap="none" spc="0" normalizeH="0" baseline="0" noProof="0">
                <a:ln>
                  <a:noFill/>
                </a:ln>
                <a:solidFill>
                  <a:srgbClr val="888888"/>
                </a:solidFill>
                <a:effectLst/>
                <a:uLnTx/>
                <a:uFillTx/>
                <a:latin typeface="Arial" panose="020B0604020202020204"/>
                <a:ea typeface="+mn-ea"/>
                <a:cs typeface="Open Sans" panose="020B0604020202020204" pitchFamily="34" charset="0"/>
                <a:sym typeface="Open Sans" panose="020B0604020202020204" pitchFamily="34" charset="0"/>
              </a:rPr>
            </a:br>
            <a:r>
              <a:rPr kumimoji="0" lang="de-DE" altLang="en-US" sz="1600" b="0" i="0" u="none" strike="noStrike" kern="1200" cap="none" spc="0" normalizeH="0" baseline="0" noProof="0">
                <a:ln>
                  <a:noFill/>
                </a:ln>
                <a:solidFill>
                  <a:srgbClr val="888888"/>
                </a:solidFill>
                <a:effectLst/>
                <a:uLnTx/>
                <a:uFillTx/>
                <a:latin typeface="Arial" panose="020B0604020202020204"/>
                <a:ea typeface="+mn-ea"/>
                <a:cs typeface="Open Sans" panose="020B0604020202020204" pitchFamily="34" charset="0"/>
                <a:sym typeface="Open Sans" panose="020B0604020202020204" pitchFamily="34" charset="0"/>
              </a:rPr>
              <a:t>&amp; die vorzeitige </a:t>
            </a:r>
            <a:r>
              <a:rPr lang="de-DE" altLang="en-US" sz="1600">
                <a:solidFill>
                  <a:srgbClr val="888888"/>
                </a:solidFill>
                <a:latin typeface="Arial" panose="020B0604020202020204"/>
                <a:cs typeface="Open Sans" panose="020B0604020202020204" pitchFamily="34" charset="0"/>
                <a:sym typeface="Open Sans" panose="020B0604020202020204" pitchFamily="34" charset="0"/>
              </a:rPr>
              <a:t>Entlassung anstreben</a:t>
            </a:r>
            <a:br>
              <a:rPr lang="de-DE" altLang="en-US" sz="1600">
                <a:solidFill>
                  <a:srgbClr val="888888"/>
                </a:solidFill>
                <a:latin typeface="Arial" panose="020B0604020202020204"/>
                <a:cs typeface="Open Sans" panose="020B0604020202020204" pitchFamily="34" charset="0"/>
                <a:sym typeface="Open Sans" panose="020B0604020202020204" pitchFamily="34" charset="0"/>
              </a:rPr>
            </a:br>
            <a:r>
              <a:rPr lang="de-DE" altLang="en-US" sz="1600">
                <a:solidFill>
                  <a:srgbClr val="888888"/>
                </a:solidFill>
                <a:latin typeface="Arial" panose="020B0604020202020204"/>
                <a:cs typeface="Open Sans" panose="020B0604020202020204" pitchFamily="34" charset="0"/>
                <a:sym typeface="Open Sans" panose="020B0604020202020204" pitchFamily="34" charset="0"/>
              </a:rPr>
              <a:t>um </a:t>
            </a:r>
            <a:r>
              <a:rPr kumimoji="0" lang="de-DE" altLang="en-US" sz="1600" b="0" i="0" u="none" strike="noStrike" kern="1200" cap="none" spc="0" normalizeH="0" baseline="0" noProof="0">
                <a:ln>
                  <a:noFill/>
                </a:ln>
                <a:solidFill>
                  <a:srgbClr val="888888"/>
                </a:solidFill>
                <a:effectLst/>
                <a:uLnTx/>
                <a:uFillTx/>
                <a:latin typeface="Arial" panose="020B0604020202020204"/>
                <a:ea typeface="+mn-ea"/>
                <a:cs typeface="Open Sans" panose="020B0604020202020204" pitchFamily="34" charset="0"/>
                <a:sym typeface="Open Sans" panose="020B0604020202020204" pitchFamily="34" charset="0"/>
              </a:rPr>
              <a:t>loyale Gefolgsleute zu installieren.</a:t>
            </a:r>
            <a:endParaRPr kumimoji="0" lang="de-DE" altLang="en-US" sz="1600" b="0" i="0" u="none" strike="noStrike" kern="1200" cap="none" spc="0" normalizeH="0" baseline="0" noProof="0">
              <a:ln>
                <a:noFill/>
              </a:ln>
              <a:solidFill>
                <a:srgbClr val="888888"/>
              </a:solidFill>
              <a:effectLst/>
              <a:uLnTx/>
              <a:uFillTx/>
              <a:latin typeface="Arial" panose="020B0604020202020204"/>
              <a:ea typeface="+mn-ea"/>
              <a:cs typeface="Open Sans" panose="020B0604020202020204" pitchFamily="34" charset="0"/>
              <a:sym typeface="Arial" panose="020B0604020202020204" pitchFamily="34" charset="0"/>
            </a:endParaRPr>
          </a:p>
        </p:txBody>
      </p:sp>
      <p:sp>
        <p:nvSpPr>
          <p:cNvPr id="52" name="Flussdiagramm: Auszug 51">
            <a:extLst>
              <a:ext uri="{FF2B5EF4-FFF2-40B4-BE49-F238E27FC236}">
                <a16:creationId xmlns:a16="http://schemas.microsoft.com/office/drawing/2014/main" id="{87AE53DE-83EA-5CC3-D5E4-9064BA194213}"/>
              </a:ext>
            </a:extLst>
          </p:cNvPr>
          <p:cNvSpPr/>
          <p:nvPr/>
        </p:nvSpPr>
        <p:spPr>
          <a:xfrm rot="5400000">
            <a:off x="3669720" y="3512572"/>
            <a:ext cx="4895547" cy="722671"/>
          </a:xfrm>
          <a:prstGeom prst="flowChartExtra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
                <a:srgbClr val="00358E"/>
              </a:buClr>
              <a:buSzTx/>
              <a:buFontTx/>
              <a:buNone/>
              <a:tabLst/>
              <a:defRPr/>
            </a:pPr>
            <a:endParaRPr kumimoji="0" lang="de-DE"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88" name="Gruppieren 87">
            <a:extLst>
              <a:ext uri="{FF2B5EF4-FFF2-40B4-BE49-F238E27FC236}">
                <a16:creationId xmlns:a16="http://schemas.microsoft.com/office/drawing/2014/main" id="{0E7797B3-AD5A-FA6E-5CBA-99C0F04DF829}"/>
              </a:ext>
            </a:extLst>
          </p:cNvPr>
          <p:cNvGrpSpPr/>
          <p:nvPr/>
        </p:nvGrpSpPr>
        <p:grpSpPr>
          <a:xfrm>
            <a:off x="408955" y="1628800"/>
            <a:ext cx="1367045" cy="626591"/>
            <a:chOff x="408955" y="1724797"/>
            <a:chExt cx="1367045" cy="626591"/>
          </a:xfrm>
        </p:grpSpPr>
        <p:grpSp>
          <p:nvGrpSpPr>
            <p:cNvPr id="63" name="Gruppieren 62">
              <a:extLst>
                <a:ext uri="{FF2B5EF4-FFF2-40B4-BE49-F238E27FC236}">
                  <a16:creationId xmlns:a16="http://schemas.microsoft.com/office/drawing/2014/main" id="{44309899-FE97-0C81-E321-4B7EEC468329}"/>
                </a:ext>
              </a:extLst>
            </p:cNvPr>
            <p:cNvGrpSpPr/>
            <p:nvPr/>
          </p:nvGrpSpPr>
          <p:grpSpPr>
            <a:xfrm>
              <a:off x="408955" y="1728692"/>
              <a:ext cx="628264" cy="622696"/>
              <a:chOff x="408955" y="1433417"/>
              <a:chExt cx="628264" cy="622696"/>
            </a:xfrm>
          </p:grpSpPr>
          <p:sp>
            <p:nvSpPr>
              <p:cNvPr id="32" name="Google Shape;866;p37">
                <a:extLst>
                  <a:ext uri="{FF2B5EF4-FFF2-40B4-BE49-F238E27FC236}">
                    <a16:creationId xmlns:a16="http://schemas.microsoft.com/office/drawing/2014/main" id="{623C699C-6284-F5B5-7170-B9EA501F0C5F}"/>
                  </a:ext>
                </a:extLst>
              </p:cNvPr>
              <p:cNvSpPr>
                <a:spLocks noChangeArrowheads="1"/>
              </p:cNvSpPr>
              <p:nvPr/>
            </p:nvSpPr>
            <p:spPr bwMode="auto">
              <a:xfrm>
                <a:off x="408955" y="1433417"/>
                <a:ext cx="628264" cy="622696"/>
              </a:xfrm>
              <a:prstGeom prst="ellipse">
                <a:avLst/>
              </a:pr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kumimoji="0" lang="de-DE" altLang="de-DE"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pic>
            <p:nvPicPr>
              <p:cNvPr id="34" name="Grafik 33" descr="Aufwärtstrend">
                <a:extLst>
                  <a:ext uri="{FF2B5EF4-FFF2-40B4-BE49-F238E27FC236}">
                    <a16:creationId xmlns:a16="http://schemas.microsoft.com/office/drawing/2014/main" id="{826CF7CD-1586-72A9-79FE-1687F71F1CE6}"/>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5388" y="1578218"/>
                <a:ext cx="335398" cy="333095"/>
              </a:xfrm>
              <a:prstGeom prst="rect">
                <a:avLst/>
              </a:prstGeom>
            </p:spPr>
          </p:pic>
          <p:sp>
            <p:nvSpPr>
              <p:cNvPr id="35" name="Ellipse 34">
                <a:extLst>
                  <a:ext uri="{FF2B5EF4-FFF2-40B4-BE49-F238E27FC236}">
                    <a16:creationId xmlns:a16="http://schemas.microsoft.com/office/drawing/2014/main" id="{75D85B3B-6CDE-2536-54A4-6D10ED978ED9}"/>
                  </a:ext>
                </a:extLst>
              </p:cNvPr>
              <p:cNvSpPr/>
              <p:nvPr/>
            </p:nvSpPr>
            <p:spPr>
              <a:xfrm>
                <a:off x="453087" y="1474765"/>
                <a:ext cx="540000" cy="540000"/>
              </a:xfrm>
              <a:prstGeom prst="ellipse">
                <a:avLst/>
              </a:prstGeom>
              <a:no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
                    <a:srgbClr val="00358E"/>
                  </a:buClr>
                  <a:buSzTx/>
                  <a:buFontTx/>
                  <a:buNone/>
                  <a:tabLst/>
                  <a:defRPr/>
                </a:pPr>
                <a:endParaRPr kumimoji="0" lang="de-DE" sz="14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grpSp>
        <p:grpSp>
          <p:nvGrpSpPr>
            <p:cNvPr id="79" name="Gruppieren 78">
              <a:extLst>
                <a:ext uri="{FF2B5EF4-FFF2-40B4-BE49-F238E27FC236}">
                  <a16:creationId xmlns:a16="http://schemas.microsoft.com/office/drawing/2014/main" id="{6B535E75-E9CC-872F-DD5B-454909D3C2C4}"/>
                </a:ext>
              </a:extLst>
            </p:cNvPr>
            <p:cNvGrpSpPr/>
            <p:nvPr/>
          </p:nvGrpSpPr>
          <p:grpSpPr>
            <a:xfrm>
              <a:off x="1147736" y="1724797"/>
              <a:ext cx="628264" cy="622696"/>
              <a:chOff x="1135708" y="1740113"/>
              <a:chExt cx="628264" cy="622696"/>
            </a:xfrm>
          </p:grpSpPr>
          <p:sp>
            <p:nvSpPr>
              <p:cNvPr id="60" name="Google Shape;866;p37">
                <a:extLst>
                  <a:ext uri="{FF2B5EF4-FFF2-40B4-BE49-F238E27FC236}">
                    <a16:creationId xmlns:a16="http://schemas.microsoft.com/office/drawing/2014/main" id="{7707E2E2-2A14-247B-AC56-E1FB2A0FF8CC}"/>
                  </a:ext>
                </a:extLst>
              </p:cNvPr>
              <p:cNvSpPr>
                <a:spLocks noChangeArrowheads="1"/>
              </p:cNvSpPr>
              <p:nvPr/>
            </p:nvSpPr>
            <p:spPr bwMode="auto">
              <a:xfrm>
                <a:off x="1135708" y="1740113"/>
                <a:ext cx="628264" cy="622696"/>
              </a:xfrm>
              <a:prstGeom prst="ellipse">
                <a:avLst/>
              </a:prstGeom>
              <a:solidFill>
                <a:schemeClr val="accent5"/>
              </a:solidFill>
              <a:ln>
                <a:noFill/>
              </a:ln>
            </p:spPr>
            <p:txBody>
              <a:bodyPr lIns="91425" tIns="45700" rIns="91425" bIns="457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kumimoji="0" lang="de-DE" altLang="de-DE"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2" name="Ellipse 61">
                <a:extLst>
                  <a:ext uri="{FF2B5EF4-FFF2-40B4-BE49-F238E27FC236}">
                    <a16:creationId xmlns:a16="http://schemas.microsoft.com/office/drawing/2014/main" id="{D1D8BF41-4E74-D811-7362-A82B984E391D}"/>
                  </a:ext>
                </a:extLst>
              </p:cNvPr>
              <p:cNvSpPr/>
              <p:nvPr/>
            </p:nvSpPr>
            <p:spPr>
              <a:xfrm>
                <a:off x="1178006" y="1781461"/>
                <a:ext cx="540000" cy="540000"/>
              </a:xfrm>
              <a:prstGeom prst="ellipse">
                <a:avLst/>
              </a:prstGeom>
              <a:no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
                    <a:srgbClr val="00358E"/>
                  </a:buClr>
                  <a:buSzTx/>
                  <a:buFontTx/>
                  <a:buNone/>
                  <a:tabLst/>
                  <a:defRPr/>
                </a:pPr>
                <a:endParaRPr kumimoji="0" lang="de-DE" sz="14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36" name="Pfeil: nach rechts 35">
                <a:extLst>
                  <a:ext uri="{FF2B5EF4-FFF2-40B4-BE49-F238E27FC236}">
                    <a16:creationId xmlns:a16="http://schemas.microsoft.com/office/drawing/2014/main" id="{D5A68E5A-E416-0223-D759-D3C86A20901F}"/>
                  </a:ext>
                </a:extLst>
              </p:cNvPr>
              <p:cNvSpPr/>
              <p:nvPr/>
            </p:nvSpPr>
            <p:spPr>
              <a:xfrm rot="2700000">
                <a:off x="1267995" y="1940607"/>
                <a:ext cx="385174" cy="260549"/>
              </a:xfrm>
              <a:prstGeom prst="rightArrow">
                <a:avLst>
                  <a:gd name="adj1" fmla="val 41789"/>
                  <a:gd name="adj2" fmla="val 59536"/>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
                    <a:srgbClr val="00358E"/>
                  </a:buClr>
                  <a:buSzTx/>
                  <a:buFontTx/>
                  <a:buNone/>
                  <a:tabLst/>
                  <a:defRPr/>
                </a:pPr>
                <a:endParaRPr kumimoji="0" lang="de-DE" sz="1400" b="0" i="0" u="none" strike="noStrike" kern="1200" cap="none" spc="0" normalizeH="0" baseline="0" noProof="0" err="1">
                  <a:ln>
                    <a:noFill/>
                  </a:ln>
                  <a:solidFill>
                    <a:srgbClr val="FED210"/>
                  </a:solidFill>
                  <a:effectLst/>
                  <a:uLnTx/>
                  <a:uFillTx/>
                  <a:latin typeface="Arial" panose="020B0604020202020204"/>
                  <a:ea typeface="+mn-ea"/>
                  <a:cs typeface="+mn-cs"/>
                </a:endParaRPr>
              </a:p>
            </p:txBody>
          </p:sp>
        </p:grpSp>
      </p:grpSp>
      <p:grpSp>
        <p:nvGrpSpPr>
          <p:cNvPr id="89" name="Gruppieren 88">
            <a:extLst>
              <a:ext uri="{FF2B5EF4-FFF2-40B4-BE49-F238E27FC236}">
                <a16:creationId xmlns:a16="http://schemas.microsoft.com/office/drawing/2014/main" id="{120C1AB5-61F1-F203-A27A-A9962D4E9F9D}"/>
              </a:ext>
            </a:extLst>
          </p:cNvPr>
          <p:cNvGrpSpPr/>
          <p:nvPr/>
        </p:nvGrpSpPr>
        <p:grpSpPr>
          <a:xfrm>
            <a:off x="408955" y="2960249"/>
            <a:ext cx="1351636" cy="622696"/>
            <a:chOff x="408955" y="2988766"/>
            <a:chExt cx="1351636" cy="622696"/>
          </a:xfrm>
        </p:grpSpPr>
        <p:grpSp>
          <p:nvGrpSpPr>
            <p:cNvPr id="64" name="Gruppieren 63">
              <a:extLst>
                <a:ext uri="{FF2B5EF4-FFF2-40B4-BE49-F238E27FC236}">
                  <a16:creationId xmlns:a16="http://schemas.microsoft.com/office/drawing/2014/main" id="{058073F6-89FA-05D0-40C6-905C475509B6}"/>
                </a:ext>
              </a:extLst>
            </p:cNvPr>
            <p:cNvGrpSpPr/>
            <p:nvPr/>
          </p:nvGrpSpPr>
          <p:grpSpPr>
            <a:xfrm>
              <a:off x="408955" y="2991277"/>
              <a:ext cx="624472" cy="620185"/>
              <a:chOff x="408955" y="2696002"/>
              <a:chExt cx="624472" cy="620185"/>
            </a:xfrm>
          </p:grpSpPr>
          <p:sp>
            <p:nvSpPr>
              <p:cNvPr id="39" name="Google Shape;864;p37">
                <a:extLst>
                  <a:ext uri="{FF2B5EF4-FFF2-40B4-BE49-F238E27FC236}">
                    <a16:creationId xmlns:a16="http://schemas.microsoft.com/office/drawing/2014/main" id="{A997112E-552A-7A57-BE0E-99D67A918DA2}"/>
                  </a:ext>
                </a:extLst>
              </p:cNvPr>
              <p:cNvSpPr>
                <a:spLocks noChangeArrowheads="1"/>
              </p:cNvSpPr>
              <p:nvPr/>
            </p:nvSpPr>
            <p:spPr bwMode="auto">
              <a:xfrm>
                <a:off x="408955" y="2696002"/>
                <a:ext cx="624472" cy="620185"/>
              </a:xfrm>
              <a:prstGeom prst="ellipse">
                <a:avLst/>
              </a:prstGeom>
              <a:solidFill>
                <a:schemeClr val="dk2"/>
              </a:solidFill>
              <a:ln>
                <a:noFill/>
              </a:ln>
            </p:spPr>
            <p:txBody>
              <a:bodyPr lIns="91425" tIns="45700" rIns="91425" bIns="457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kumimoji="0" lang="de-DE" altLang="de-DE"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pic>
            <p:nvPicPr>
              <p:cNvPr id="41" name="Grafik 40">
                <a:extLst>
                  <a:ext uri="{FF2B5EF4-FFF2-40B4-BE49-F238E27FC236}">
                    <a16:creationId xmlns:a16="http://schemas.microsoft.com/office/drawing/2014/main" id="{DE8D5156-FFC3-64CC-9A7F-0A3237F55897}"/>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554643" y="2839547"/>
                <a:ext cx="333095" cy="333095"/>
              </a:xfrm>
              <a:prstGeom prst="rect">
                <a:avLst/>
              </a:prstGeom>
            </p:spPr>
          </p:pic>
          <p:sp>
            <p:nvSpPr>
              <p:cNvPr id="42" name="Ellipse 41">
                <a:extLst>
                  <a:ext uri="{FF2B5EF4-FFF2-40B4-BE49-F238E27FC236}">
                    <a16:creationId xmlns:a16="http://schemas.microsoft.com/office/drawing/2014/main" id="{52EB40A5-E2E3-A1F8-FEDB-DD08A239C181}"/>
                  </a:ext>
                </a:extLst>
              </p:cNvPr>
              <p:cNvSpPr/>
              <p:nvPr/>
            </p:nvSpPr>
            <p:spPr>
              <a:xfrm>
                <a:off x="451191" y="2736094"/>
                <a:ext cx="540000" cy="540000"/>
              </a:xfrm>
              <a:prstGeom prst="ellipse">
                <a:avLst/>
              </a:prstGeom>
              <a:no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
                    <a:srgbClr val="00358E"/>
                  </a:buClr>
                  <a:buSzTx/>
                  <a:buFontTx/>
                  <a:buNone/>
                  <a:tabLst/>
                  <a:defRPr/>
                </a:pPr>
                <a:endParaRPr kumimoji="0" lang="de-DE" sz="14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grpSp>
        <p:grpSp>
          <p:nvGrpSpPr>
            <p:cNvPr id="78" name="Gruppieren 77">
              <a:extLst>
                <a:ext uri="{FF2B5EF4-FFF2-40B4-BE49-F238E27FC236}">
                  <a16:creationId xmlns:a16="http://schemas.microsoft.com/office/drawing/2014/main" id="{145A998E-3972-EE4D-89DD-39C2B48FCF5C}"/>
                </a:ext>
              </a:extLst>
            </p:cNvPr>
            <p:cNvGrpSpPr/>
            <p:nvPr/>
          </p:nvGrpSpPr>
          <p:grpSpPr>
            <a:xfrm>
              <a:off x="1132327" y="2988766"/>
              <a:ext cx="628264" cy="622696"/>
              <a:chOff x="1132327" y="2988766"/>
              <a:chExt cx="628264" cy="622696"/>
            </a:xfrm>
          </p:grpSpPr>
          <p:sp>
            <p:nvSpPr>
              <p:cNvPr id="67" name="Google Shape;866;p37">
                <a:extLst>
                  <a:ext uri="{FF2B5EF4-FFF2-40B4-BE49-F238E27FC236}">
                    <a16:creationId xmlns:a16="http://schemas.microsoft.com/office/drawing/2014/main" id="{6498E56C-49B5-2E97-4846-1BD9EAA6347B}"/>
                  </a:ext>
                </a:extLst>
              </p:cNvPr>
              <p:cNvSpPr>
                <a:spLocks noChangeArrowheads="1"/>
              </p:cNvSpPr>
              <p:nvPr/>
            </p:nvSpPr>
            <p:spPr bwMode="auto">
              <a:xfrm>
                <a:off x="1132327" y="2988766"/>
                <a:ext cx="628264" cy="622696"/>
              </a:xfrm>
              <a:prstGeom prst="ellipse">
                <a:avLst/>
              </a:prstGeom>
              <a:solidFill>
                <a:schemeClr val="accent5"/>
              </a:solidFill>
              <a:ln>
                <a:noFill/>
              </a:ln>
            </p:spPr>
            <p:txBody>
              <a:bodyPr lIns="91425" tIns="45700" rIns="91425" bIns="457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kumimoji="0" lang="de-DE" altLang="de-DE"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8" name="Ellipse 67">
                <a:extLst>
                  <a:ext uri="{FF2B5EF4-FFF2-40B4-BE49-F238E27FC236}">
                    <a16:creationId xmlns:a16="http://schemas.microsoft.com/office/drawing/2014/main" id="{C2B3658D-BC31-900C-35B6-25521CDAB907}"/>
                  </a:ext>
                </a:extLst>
              </p:cNvPr>
              <p:cNvSpPr/>
              <p:nvPr/>
            </p:nvSpPr>
            <p:spPr>
              <a:xfrm>
                <a:off x="1174625" y="3030114"/>
                <a:ext cx="540000" cy="540000"/>
              </a:xfrm>
              <a:prstGeom prst="ellipse">
                <a:avLst/>
              </a:prstGeom>
              <a:no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
                    <a:srgbClr val="00358E"/>
                  </a:buClr>
                  <a:buSzTx/>
                  <a:buFontTx/>
                  <a:buNone/>
                  <a:tabLst/>
                  <a:defRPr/>
                </a:pPr>
                <a:endParaRPr kumimoji="0" lang="de-DE" sz="14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69" name="Pfeil: nach rechts 68">
                <a:extLst>
                  <a:ext uri="{FF2B5EF4-FFF2-40B4-BE49-F238E27FC236}">
                    <a16:creationId xmlns:a16="http://schemas.microsoft.com/office/drawing/2014/main" id="{A06CF7A7-D01C-85C3-107E-6FF798E7907E}"/>
                  </a:ext>
                </a:extLst>
              </p:cNvPr>
              <p:cNvSpPr/>
              <p:nvPr/>
            </p:nvSpPr>
            <p:spPr>
              <a:xfrm rot="-2700000">
                <a:off x="1264614" y="3189260"/>
                <a:ext cx="385174" cy="260549"/>
              </a:xfrm>
              <a:prstGeom prst="rightArrow">
                <a:avLst>
                  <a:gd name="adj1" fmla="val 41789"/>
                  <a:gd name="adj2" fmla="val 59536"/>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
                    <a:srgbClr val="00358E"/>
                  </a:buClr>
                  <a:buSzTx/>
                  <a:buFontTx/>
                  <a:buNone/>
                  <a:tabLst/>
                  <a:defRPr/>
                </a:pPr>
                <a:endParaRPr kumimoji="0" lang="de-DE" sz="1400" b="0" i="0" u="none" strike="noStrike" kern="1200" cap="none" spc="0" normalizeH="0" baseline="0" noProof="0" err="1">
                  <a:ln>
                    <a:noFill/>
                  </a:ln>
                  <a:solidFill>
                    <a:srgbClr val="FED210"/>
                  </a:solidFill>
                  <a:effectLst/>
                  <a:uLnTx/>
                  <a:uFillTx/>
                  <a:latin typeface="Arial" panose="020B0604020202020204"/>
                  <a:ea typeface="+mn-ea"/>
                  <a:cs typeface="+mn-cs"/>
                </a:endParaRPr>
              </a:p>
            </p:txBody>
          </p:sp>
        </p:grpSp>
      </p:grpSp>
      <p:grpSp>
        <p:nvGrpSpPr>
          <p:cNvPr id="90" name="Gruppieren 89">
            <a:extLst>
              <a:ext uri="{FF2B5EF4-FFF2-40B4-BE49-F238E27FC236}">
                <a16:creationId xmlns:a16="http://schemas.microsoft.com/office/drawing/2014/main" id="{8F8BEE00-7667-B942-5658-9D562018C830}"/>
              </a:ext>
            </a:extLst>
          </p:cNvPr>
          <p:cNvGrpSpPr/>
          <p:nvPr/>
        </p:nvGrpSpPr>
        <p:grpSpPr>
          <a:xfrm>
            <a:off x="408955" y="4191806"/>
            <a:ext cx="1351636" cy="622696"/>
            <a:chOff x="408955" y="4058120"/>
            <a:chExt cx="1351636" cy="622696"/>
          </a:xfrm>
        </p:grpSpPr>
        <p:grpSp>
          <p:nvGrpSpPr>
            <p:cNvPr id="65" name="Gruppieren 64">
              <a:extLst>
                <a:ext uri="{FF2B5EF4-FFF2-40B4-BE49-F238E27FC236}">
                  <a16:creationId xmlns:a16="http://schemas.microsoft.com/office/drawing/2014/main" id="{B937CA2D-0F4D-A25B-1383-E751938016C4}"/>
                </a:ext>
              </a:extLst>
            </p:cNvPr>
            <p:cNvGrpSpPr/>
            <p:nvPr/>
          </p:nvGrpSpPr>
          <p:grpSpPr>
            <a:xfrm>
              <a:off x="408955" y="4060631"/>
              <a:ext cx="624472" cy="620185"/>
              <a:chOff x="408955" y="3765356"/>
              <a:chExt cx="624472" cy="620185"/>
            </a:xfrm>
          </p:grpSpPr>
          <p:sp>
            <p:nvSpPr>
              <p:cNvPr id="47" name="Google Shape;864;p37">
                <a:extLst>
                  <a:ext uri="{FF2B5EF4-FFF2-40B4-BE49-F238E27FC236}">
                    <a16:creationId xmlns:a16="http://schemas.microsoft.com/office/drawing/2014/main" id="{C4E731BC-724C-7ACF-9454-451668347891}"/>
                  </a:ext>
                </a:extLst>
              </p:cNvPr>
              <p:cNvSpPr>
                <a:spLocks noChangeArrowheads="1"/>
              </p:cNvSpPr>
              <p:nvPr/>
            </p:nvSpPr>
            <p:spPr bwMode="auto">
              <a:xfrm>
                <a:off x="408955" y="3765356"/>
                <a:ext cx="624472" cy="620185"/>
              </a:xfrm>
              <a:prstGeom prst="ellipse">
                <a:avLst/>
              </a:prstGeom>
              <a:solidFill>
                <a:schemeClr val="dk2"/>
              </a:solidFill>
              <a:ln>
                <a:noFill/>
              </a:ln>
            </p:spPr>
            <p:txBody>
              <a:bodyPr lIns="91425" tIns="45700" rIns="91425" bIns="457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kumimoji="0" lang="de-DE" altLang="de-DE"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pic>
            <p:nvPicPr>
              <p:cNvPr id="49" name="Grafik 48">
                <a:extLst>
                  <a:ext uri="{FF2B5EF4-FFF2-40B4-BE49-F238E27FC236}">
                    <a16:creationId xmlns:a16="http://schemas.microsoft.com/office/drawing/2014/main" id="{DC4EFAA3-B9EC-2969-97F8-C7A206F6C48A}"/>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554643" y="3908901"/>
                <a:ext cx="333095" cy="333095"/>
              </a:xfrm>
              <a:prstGeom prst="rect">
                <a:avLst/>
              </a:prstGeom>
            </p:spPr>
          </p:pic>
          <p:sp>
            <p:nvSpPr>
              <p:cNvPr id="50" name="Ellipse 49">
                <a:extLst>
                  <a:ext uri="{FF2B5EF4-FFF2-40B4-BE49-F238E27FC236}">
                    <a16:creationId xmlns:a16="http://schemas.microsoft.com/office/drawing/2014/main" id="{F971391B-368D-8C43-503A-9B055173E21B}"/>
                  </a:ext>
                </a:extLst>
              </p:cNvPr>
              <p:cNvSpPr/>
              <p:nvPr/>
            </p:nvSpPr>
            <p:spPr>
              <a:xfrm>
                <a:off x="451191" y="3805448"/>
                <a:ext cx="540000" cy="540000"/>
              </a:xfrm>
              <a:prstGeom prst="ellipse">
                <a:avLst/>
              </a:prstGeom>
              <a:no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
                    <a:srgbClr val="00358E"/>
                  </a:buClr>
                  <a:buSzTx/>
                  <a:buFontTx/>
                  <a:buNone/>
                  <a:tabLst/>
                  <a:defRPr/>
                </a:pPr>
                <a:endParaRPr kumimoji="0" lang="de-DE" sz="14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grpSp>
        <p:grpSp>
          <p:nvGrpSpPr>
            <p:cNvPr id="77" name="Gruppieren 76">
              <a:extLst>
                <a:ext uri="{FF2B5EF4-FFF2-40B4-BE49-F238E27FC236}">
                  <a16:creationId xmlns:a16="http://schemas.microsoft.com/office/drawing/2014/main" id="{50DDCD69-51AE-E2F3-5354-62F4C26C0199}"/>
                </a:ext>
              </a:extLst>
            </p:cNvPr>
            <p:cNvGrpSpPr/>
            <p:nvPr/>
          </p:nvGrpSpPr>
          <p:grpSpPr>
            <a:xfrm>
              <a:off x="1132327" y="4058120"/>
              <a:ext cx="628264" cy="622696"/>
              <a:chOff x="1132327" y="4058120"/>
              <a:chExt cx="628264" cy="622696"/>
            </a:xfrm>
          </p:grpSpPr>
          <p:sp>
            <p:nvSpPr>
              <p:cNvPr id="70" name="Google Shape;866;p37">
                <a:extLst>
                  <a:ext uri="{FF2B5EF4-FFF2-40B4-BE49-F238E27FC236}">
                    <a16:creationId xmlns:a16="http://schemas.microsoft.com/office/drawing/2014/main" id="{7DE42CDD-4E3F-8A00-14CE-C7EE158867BD}"/>
                  </a:ext>
                </a:extLst>
              </p:cNvPr>
              <p:cNvSpPr>
                <a:spLocks noChangeArrowheads="1"/>
              </p:cNvSpPr>
              <p:nvPr/>
            </p:nvSpPr>
            <p:spPr bwMode="auto">
              <a:xfrm>
                <a:off x="1132327" y="4058120"/>
                <a:ext cx="628264" cy="622696"/>
              </a:xfrm>
              <a:prstGeom prst="ellipse">
                <a:avLst/>
              </a:prstGeom>
              <a:solidFill>
                <a:schemeClr val="accent2"/>
              </a:solidFill>
              <a:ln>
                <a:noFill/>
              </a:ln>
            </p:spPr>
            <p:txBody>
              <a:bodyPr lIns="91425" tIns="45700" rIns="91425" bIns="457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kumimoji="0" lang="de-DE" altLang="de-DE"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71" name="Ellipse 70">
                <a:extLst>
                  <a:ext uri="{FF2B5EF4-FFF2-40B4-BE49-F238E27FC236}">
                    <a16:creationId xmlns:a16="http://schemas.microsoft.com/office/drawing/2014/main" id="{9636B8D4-3544-761F-4869-BD5E5EFE84A3}"/>
                  </a:ext>
                </a:extLst>
              </p:cNvPr>
              <p:cNvSpPr/>
              <p:nvPr/>
            </p:nvSpPr>
            <p:spPr>
              <a:xfrm>
                <a:off x="1174625" y="4099468"/>
                <a:ext cx="540000" cy="540000"/>
              </a:xfrm>
              <a:prstGeom prst="ellipse">
                <a:avLst/>
              </a:prstGeom>
              <a:no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
                    <a:srgbClr val="00358E"/>
                  </a:buClr>
                  <a:buSzTx/>
                  <a:buFontTx/>
                  <a:buNone/>
                  <a:tabLst/>
                  <a:defRPr/>
                </a:pPr>
                <a:endParaRPr kumimoji="0" lang="de-DE" sz="14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72" name="Pfeil: nach rechts 71">
                <a:extLst>
                  <a:ext uri="{FF2B5EF4-FFF2-40B4-BE49-F238E27FC236}">
                    <a16:creationId xmlns:a16="http://schemas.microsoft.com/office/drawing/2014/main" id="{24EBC9CC-18D5-B278-477C-DF7BECEA4DB6}"/>
                  </a:ext>
                </a:extLst>
              </p:cNvPr>
              <p:cNvSpPr/>
              <p:nvPr/>
            </p:nvSpPr>
            <p:spPr>
              <a:xfrm rot="2700000">
                <a:off x="1264614" y="4258614"/>
                <a:ext cx="385174" cy="260549"/>
              </a:xfrm>
              <a:prstGeom prst="rightArrow">
                <a:avLst>
                  <a:gd name="adj1" fmla="val 41789"/>
                  <a:gd name="adj2" fmla="val 59536"/>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
                    <a:srgbClr val="00358E"/>
                  </a:buClr>
                  <a:buSzTx/>
                  <a:buFontTx/>
                  <a:buNone/>
                  <a:tabLst/>
                  <a:defRPr/>
                </a:pPr>
                <a:endParaRPr kumimoji="0" lang="de-DE" sz="1400" b="0" i="0" u="none" strike="noStrike" kern="1200" cap="none" spc="0" normalizeH="0" baseline="0" noProof="0" err="1">
                  <a:ln>
                    <a:noFill/>
                  </a:ln>
                  <a:solidFill>
                    <a:srgbClr val="FED210"/>
                  </a:solidFill>
                  <a:effectLst/>
                  <a:uLnTx/>
                  <a:uFillTx/>
                  <a:latin typeface="Arial" panose="020B0604020202020204"/>
                  <a:ea typeface="+mn-ea"/>
                  <a:cs typeface="+mn-cs"/>
                </a:endParaRPr>
              </a:p>
            </p:txBody>
          </p:sp>
        </p:grpSp>
      </p:grpSp>
      <p:grpSp>
        <p:nvGrpSpPr>
          <p:cNvPr id="91" name="Gruppieren 90">
            <a:extLst>
              <a:ext uri="{FF2B5EF4-FFF2-40B4-BE49-F238E27FC236}">
                <a16:creationId xmlns:a16="http://schemas.microsoft.com/office/drawing/2014/main" id="{03DB1C1F-65D7-E676-5DE0-FD18761E074B}"/>
              </a:ext>
            </a:extLst>
          </p:cNvPr>
          <p:cNvGrpSpPr/>
          <p:nvPr/>
        </p:nvGrpSpPr>
        <p:grpSpPr>
          <a:xfrm>
            <a:off x="440620" y="5423362"/>
            <a:ext cx="1319971" cy="622696"/>
            <a:chOff x="440620" y="5423362"/>
            <a:chExt cx="1319971" cy="622696"/>
          </a:xfrm>
        </p:grpSpPr>
        <p:grpSp>
          <p:nvGrpSpPr>
            <p:cNvPr id="66" name="Gruppieren 65">
              <a:extLst>
                <a:ext uri="{FF2B5EF4-FFF2-40B4-BE49-F238E27FC236}">
                  <a16:creationId xmlns:a16="http://schemas.microsoft.com/office/drawing/2014/main" id="{4B2FA3A4-237E-EA1B-D330-427E5F3B97AD}"/>
                </a:ext>
              </a:extLst>
            </p:cNvPr>
            <p:cNvGrpSpPr/>
            <p:nvPr/>
          </p:nvGrpSpPr>
          <p:grpSpPr>
            <a:xfrm>
              <a:off x="440620" y="5425873"/>
              <a:ext cx="628264" cy="620185"/>
              <a:chOff x="440620" y="5130598"/>
              <a:chExt cx="628264" cy="620185"/>
            </a:xfrm>
          </p:grpSpPr>
          <p:sp>
            <p:nvSpPr>
              <p:cNvPr id="26" name="Google Shape;865;p37">
                <a:extLst>
                  <a:ext uri="{FF2B5EF4-FFF2-40B4-BE49-F238E27FC236}">
                    <a16:creationId xmlns:a16="http://schemas.microsoft.com/office/drawing/2014/main" id="{33F05012-A957-31AB-E450-EB4F6A6D2108}"/>
                  </a:ext>
                </a:extLst>
              </p:cNvPr>
              <p:cNvSpPr>
                <a:spLocks noChangeArrowheads="1"/>
              </p:cNvSpPr>
              <p:nvPr/>
            </p:nvSpPr>
            <p:spPr bwMode="auto">
              <a:xfrm>
                <a:off x="440620" y="5130598"/>
                <a:ext cx="628264" cy="620185"/>
              </a:xfrm>
              <a:prstGeom prst="ellipse">
                <a:avLst/>
              </a:prstGeom>
              <a:solidFill>
                <a:schemeClr val="dk2"/>
              </a:solidFill>
              <a:ln>
                <a:noFill/>
              </a:ln>
            </p:spPr>
            <p:txBody>
              <a:bodyPr lIns="91425" tIns="45700" rIns="91425" bIns="457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kumimoji="0" lang="de-DE" altLang="de-DE"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pic>
            <p:nvPicPr>
              <p:cNvPr id="28" name="Grafik 27">
                <a:extLst>
                  <a:ext uri="{FF2B5EF4-FFF2-40B4-BE49-F238E27FC236}">
                    <a16:creationId xmlns:a16="http://schemas.microsoft.com/office/drawing/2014/main" id="{B262E0DC-29A0-08EC-C632-D8B34A0C101C}"/>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588204" y="5274143"/>
                <a:ext cx="333095" cy="333095"/>
              </a:xfrm>
              <a:prstGeom prst="rect">
                <a:avLst/>
              </a:prstGeom>
            </p:spPr>
          </p:pic>
          <p:sp>
            <p:nvSpPr>
              <p:cNvPr id="29" name="Ellipse 28">
                <a:extLst>
                  <a:ext uri="{FF2B5EF4-FFF2-40B4-BE49-F238E27FC236}">
                    <a16:creationId xmlns:a16="http://schemas.microsoft.com/office/drawing/2014/main" id="{C56D6B9A-DB39-19BB-0EAF-F60D8C779923}"/>
                  </a:ext>
                </a:extLst>
              </p:cNvPr>
              <p:cNvSpPr/>
              <p:nvPr/>
            </p:nvSpPr>
            <p:spPr>
              <a:xfrm>
                <a:off x="484752" y="5170690"/>
                <a:ext cx="540000" cy="540000"/>
              </a:xfrm>
              <a:prstGeom prst="ellipse">
                <a:avLst/>
              </a:prstGeom>
              <a:no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
                    <a:srgbClr val="00358E"/>
                  </a:buClr>
                  <a:buSzTx/>
                  <a:buFontTx/>
                  <a:buNone/>
                  <a:tabLst/>
                  <a:defRPr/>
                </a:pPr>
                <a:endParaRPr kumimoji="0" lang="de-DE" sz="14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grpSp>
        <p:grpSp>
          <p:nvGrpSpPr>
            <p:cNvPr id="76" name="Gruppieren 75">
              <a:extLst>
                <a:ext uri="{FF2B5EF4-FFF2-40B4-BE49-F238E27FC236}">
                  <a16:creationId xmlns:a16="http://schemas.microsoft.com/office/drawing/2014/main" id="{415B66E1-237C-DA24-DE4B-F9654810C940}"/>
                </a:ext>
              </a:extLst>
            </p:cNvPr>
            <p:cNvGrpSpPr/>
            <p:nvPr/>
          </p:nvGrpSpPr>
          <p:grpSpPr>
            <a:xfrm>
              <a:off x="1132327" y="5423362"/>
              <a:ext cx="628264" cy="622696"/>
              <a:chOff x="1136994" y="5423362"/>
              <a:chExt cx="628264" cy="622696"/>
            </a:xfrm>
          </p:grpSpPr>
          <p:sp>
            <p:nvSpPr>
              <p:cNvPr id="73" name="Google Shape;866;p37">
                <a:extLst>
                  <a:ext uri="{FF2B5EF4-FFF2-40B4-BE49-F238E27FC236}">
                    <a16:creationId xmlns:a16="http://schemas.microsoft.com/office/drawing/2014/main" id="{162E0320-D6C3-348F-236C-2AE164E16AE7}"/>
                  </a:ext>
                </a:extLst>
              </p:cNvPr>
              <p:cNvSpPr>
                <a:spLocks noChangeArrowheads="1"/>
              </p:cNvSpPr>
              <p:nvPr/>
            </p:nvSpPr>
            <p:spPr bwMode="auto">
              <a:xfrm>
                <a:off x="1136994" y="5423362"/>
                <a:ext cx="628264" cy="622696"/>
              </a:xfrm>
              <a:prstGeom prst="ellipse">
                <a:avLst/>
              </a:prstGeom>
              <a:solidFill>
                <a:schemeClr val="accent5"/>
              </a:solidFill>
              <a:ln>
                <a:noFill/>
              </a:ln>
            </p:spPr>
            <p:txBody>
              <a:bodyPr lIns="91425" tIns="45700" rIns="91425" bIns="457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kumimoji="0" lang="de-DE" altLang="de-DE"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74" name="Ellipse 73">
                <a:extLst>
                  <a:ext uri="{FF2B5EF4-FFF2-40B4-BE49-F238E27FC236}">
                    <a16:creationId xmlns:a16="http://schemas.microsoft.com/office/drawing/2014/main" id="{6E816801-E26D-7639-1D05-613D99107980}"/>
                  </a:ext>
                </a:extLst>
              </p:cNvPr>
              <p:cNvSpPr/>
              <p:nvPr/>
            </p:nvSpPr>
            <p:spPr>
              <a:xfrm>
                <a:off x="1179292" y="5464710"/>
                <a:ext cx="540000" cy="540000"/>
              </a:xfrm>
              <a:prstGeom prst="ellipse">
                <a:avLst/>
              </a:prstGeom>
              <a:no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
                    <a:srgbClr val="00358E"/>
                  </a:buClr>
                  <a:buSzTx/>
                  <a:buFontTx/>
                  <a:buNone/>
                  <a:tabLst/>
                  <a:defRPr/>
                </a:pPr>
                <a:endParaRPr kumimoji="0" lang="de-DE" sz="14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75" name="Pfeil: nach rechts 74">
                <a:extLst>
                  <a:ext uri="{FF2B5EF4-FFF2-40B4-BE49-F238E27FC236}">
                    <a16:creationId xmlns:a16="http://schemas.microsoft.com/office/drawing/2014/main" id="{05E81EFE-F7DC-832D-F054-B463851DC7AF}"/>
                  </a:ext>
                </a:extLst>
              </p:cNvPr>
              <p:cNvSpPr/>
              <p:nvPr/>
            </p:nvSpPr>
            <p:spPr>
              <a:xfrm rot="-2700000">
                <a:off x="1269281" y="5623856"/>
                <a:ext cx="385174" cy="260549"/>
              </a:xfrm>
              <a:prstGeom prst="rightArrow">
                <a:avLst>
                  <a:gd name="adj1" fmla="val 41789"/>
                  <a:gd name="adj2" fmla="val 59536"/>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
                    <a:srgbClr val="00358E"/>
                  </a:buClr>
                  <a:buSzTx/>
                  <a:buFontTx/>
                  <a:buNone/>
                  <a:tabLst/>
                  <a:defRPr/>
                </a:pPr>
                <a:endParaRPr kumimoji="0" lang="de-DE" sz="1400" b="0" i="0" u="none" strike="noStrike" kern="1200" cap="none" spc="0" normalizeH="0" baseline="0" noProof="0" err="1">
                  <a:ln>
                    <a:noFill/>
                  </a:ln>
                  <a:solidFill>
                    <a:srgbClr val="FED210"/>
                  </a:solidFill>
                  <a:effectLst/>
                  <a:uLnTx/>
                  <a:uFillTx/>
                  <a:latin typeface="Arial" panose="020B0604020202020204"/>
                  <a:ea typeface="+mn-ea"/>
                  <a:cs typeface="+mn-cs"/>
                </a:endParaRPr>
              </a:p>
            </p:txBody>
          </p:sp>
        </p:grpSp>
      </p:grpSp>
      <p:grpSp>
        <p:nvGrpSpPr>
          <p:cNvPr id="95" name="Gruppieren 94">
            <a:extLst>
              <a:ext uri="{FF2B5EF4-FFF2-40B4-BE49-F238E27FC236}">
                <a16:creationId xmlns:a16="http://schemas.microsoft.com/office/drawing/2014/main" id="{ADD27385-87EE-522B-7CB7-591AA3ADE068}"/>
              </a:ext>
            </a:extLst>
          </p:cNvPr>
          <p:cNvGrpSpPr/>
          <p:nvPr/>
        </p:nvGrpSpPr>
        <p:grpSpPr>
          <a:xfrm>
            <a:off x="6745659" y="4180454"/>
            <a:ext cx="1355037" cy="634048"/>
            <a:chOff x="6956200" y="1713445"/>
            <a:chExt cx="1355037" cy="634048"/>
          </a:xfrm>
        </p:grpSpPr>
        <p:grpSp>
          <p:nvGrpSpPr>
            <p:cNvPr id="92" name="Gruppieren 91">
              <a:extLst>
                <a:ext uri="{FF2B5EF4-FFF2-40B4-BE49-F238E27FC236}">
                  <a16:creationId xmlns:a16="http://schemas.microsoft.com/office/drawing/2014/main" id="{46F6E4D2-EB8A-7EA1-4AF1-586B4F07BE49}"/>
                </a:ext>
              </a:extLst>
            </p:cNvPr>
            <p:cNvGrpSpPr/>
            <p:nvPr/>
          </p:nvGrpSpPr>
          <p:grpSpPr>
            <a:xfrm>
              <a:off x="6956200" y="1721093"/>
              <a:ext cx="624472" cy="626400"/>
              <a:chOff x="7105699" y="3600902"/>
              <a:chExt cx="624472" cy="626400"/>
            </a:xfrm>
          </p:grpSpPr>
          <p:sp>
            <p:nvSpPr>
              <p:cNvPr id="12" name="Google Shape;864;p37">
                <a:extLst>
                  <a:ext uri="{FF2B5EF4-FFF2-40B4-BE49-F238E27FC236}">
                    <a16:creationId xmlns:a16="http://schemas.microsoft.com/office/drawing/2014/main" id="{1A3ADF0C-71A6-5473-CDA2-99A492441A0F}"/>
                  </a:ext>
                </a:extLst>
              </p:cNvPr>
              <p:cNvSpPr>
                <a:spLocks noChangeArrowheads="1"/>
              </p:cNvSpPr>
              <p:nvPr/>
            </p:nvSpPr>
            <p:spPr bwMode="auto">
              <a:xfrm>
                <a:off x="7105699" y="3600902"/>
                <a:ext cx="624472" cy="626400"/>
              </a:xfrm>
              <a:prstGeom prst="ellipse">
                <a:avLst/>
              </a:pr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kumimoji="0" lang="de-DE" altLang="de-DE"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pic>
            <p:nvPicPr>
              <p:cNvPr id="14" name="Grafik 13" descr="Diplom">
                <a:extLst>
                  <a:ext uri="{FF2B5EF4-FFF2-40B4-BE49-F238E27FC236}">
                    <a16:creationId xmlns:a16="http://schemas.microsoft.com/office/drawing/2014/main" id="{A54ECD94-2B79-88B8-8A1D-F329DBFE9A83}"/>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50236" y="3747555"/>
                <a:ext cx="335398" cy="333095"/>
              </a:xfrm>
              <a:prstGeom prst="rect">
                <a:avLst/>
              </a:prstGeom>
            </p:spPr>
          </p:pic>
          <p:sp>
            <p:nvSpPr>
              <p:cNvPr id="15" name="Ellipse 14">
                <a:extLst>
                  <a:ext uri="{FF2B5EF4-FFF2-40B4-BE49-F238E27FC236}">
                    <a16:creationId xmlns:a16="http://schemas.microsoft.com/office/drawing/2014/main" id="{57F713ED-CDE1-CF44-0AA9-C719562723CB}"/>
                  </a:ext>
                </a:extLst>
              </p:cNvPr>
              <p:cNvSpPr/>
              <p:nvPr/>
            </p:nvSpPr>
            <p:spPr>
              <a:xfrm>
                <a:off x="7147935" y="3644102"/>
                <a:ext cx="540000" cy="540000"/>
              </a:xfrm>
              <a:prstGeom prst="ellipse">
                <a:avLst/>
              </a:prstGeom>
              <a:no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
                    <a:srgbClr val="00358E"/>
                  </a:buClr>
                  <a:buSzTx/>
                  <a:buFontTx/>
                  <a:buNone/>
                  <a:tabLst/>
                  <a:defRPr/>
                </a:pPr>
                <a:endParaRPr kumimoji="0" lang="de-DE"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80" name="Gruppieren 79">
              <a:extLst>
                <a:ext uri="{FF2B5EF4-FFF2-40B4-BE49-F238E27FC236}">
                  <a16:creationId xmlns:a16="http://schemas.microsoft.com/office/drawing/2014/main" id="{E6C0C8F4-9FA7-CA9A-9BF2-CB6699E52254}"/>
                </a:ext>
              </a:extLst>
            </p:cNvPr>
            <p:cNvGrpSpPr/>
            <p:nvPr/>
          </p:nvGrpSpPr>
          <p:grpSpPr>
            <a:xfrm>
              <a:off x="7682973" y="1713445"/>
              <a:ext cx="628264" cy="622696"/>
              <a:chOff x="1132327" y="2988766"/>
              <a:chExt cx="628264" cy="622696"/>
            </a:xfrm>
          </p:grpSpPr>
          <p:sp>
            <p:nvSpPr>
              <p:cNvPr id="81" name="Google Shape;866;p37">
                <a:extLst>
                  <a:ext uri="{FF2B5EF4-FFF2-40B4-BE49-F238E27FC236}">
                    <a16:creationId xmlns:a16="http://schemas.microsoft.com/office/drawing/2014/main" id="{172E013E-AB85-4F85-A91D-015CF9B2781A}"/>
                  </a:ext>
                </a:extLst>
              </p:cNvPr>
              <p:cNvSpPr>
                <a:spLocks noChangeArrowheads="1"/>
              </p:cNvSpPr>
              <p:nvPr/>
            </p:nvSpPr>
            <p:spPr bwMode="auto">
              <a:xfrm>
                <a:off x="1132327" y="2988766"/>
                <a:ext cx="628264" cy="622696"/>
              </a:xfrm>
              <a:prstGeom prst="ellipse">
                <a:avLst/>
              </a:prstGeom>
              <a:solidFill>
                <a:schemeClr val="accent5"/>
              </a:solidFill>
              <a:ln>
                <a:noFill/>
              </a:ln>
            </p:spPr>
            <p:txBody>
              <a:bodyPr lIns="91425" tIns="45700" rIns="91425" bIns="457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kumimoji="0" lang="de-DE" altLang="de-DE"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82" name="Ellipse 81">
                <a:extLst>
                  <a:ext uri="{FF2B5EF4-FFF2-40B4-BE49-F238E27FC236}">
                    <a16:creationId xmlns:a16="http://schemas.microsoft.com/office/drawing/2014/main" id="{DCD018D7-5B84-B459-1408-0458D2DCA1E6}"/>
                  </a:ext>
                </a:extLst>
              </p:cNvPr>
              <p:cNvSpPr/>
              <p:nvPr/>
            </p:nvSpPr>
            <p:spPr>
              <a:xfrm>
                <a:off x="1174625" y="3030114"/>
                <a:ext cx="540000" cy="540000"/>
              </a:xfrm>
              <a:prstGeom prst="ellipse">
                <a:avLst/>
              </a:prstGeom>
              <a:no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
                    <a:srgbClr val="00358E"/>
                  </a:buClr>
                  <a:buSzTx/>
                  <a:buFontTx/>
                  <a:buNone/>
                  <a:tabLst/>
                  <a:defRPr/>
                </a:pPr>
                <a:endParaRPr kumimoji="0" lang="de-DE" sz="14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83" name="Pfeil: nach rechts 82">
                <a:extLst>
                  <a:ext uri="{FF2B5EF4-FFF2-40B4-BE49-F238E27FC236}">
                    <a16:creationId xmlns:a16="http://schemas.microsoft.com/office/drawing/2014/main" id="{94E27F2E-271A-C496-8EA9-7AE2185264AF}"/>
                  </a:ext>
                </a:extLst>
              </p:cNvPr>
              <p:cNvSpPr/>
              <p:nvPr/>
            </p:nvSpPr>
            <p:spPr>
              <a:xfrm rot="-2700000">
                <a:off x="1264614" y="3189260"/>
                <a:ext cx="385174" cy="260549"/>
              </a:xfrm>
              <a:prstGeom prst="rightArrow">
                <a:avLst>
                  <a:gd name="adj1" fmla="val 41789"/>
                  <a:gd name="adj2" fmla="val 59536"/>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
                    <a:srgbClr val="00358E"/>
                  </a:buClr>
                  <a:buSzTx/>
                  <a:buFontTx/>
                  <a:buNone/>
                  <a:tabLst/>
                  <a:defRPr/>
                </a:pPr>
                <a:endParaRPr kumimoji="0" lang="de-DE" sz="1400" b="0" i="0" u="none" strike="noStrike" kern="1200" cap="none" spc="0" normalizeH="0" baseline="0" noProof="0" err="1">
                  <a:ln>
                    <a:noFill/>
                  </a:ln>
                  <a:solidFill>
                    <a:srgbClr val="FED210"/>
                  </a:solidFill>
                  <a:effectLst/>
                  <a:uLnTx/>
                  <a:uFillTx/>
                  <a:latin typeface="Arial" panose="020B0604020202020204"/>
                  <a:ea typeface="+mn-ea"/>
                  <a:cs typeface="+mn-cs"/>
                </a:endParaRPr>
              </a:p>
            </p:txBody>
          </p:sp>
        </p:grpSp>
      </p:grpSp>
      <p:grpSp>
        <p:nvGrpSpPr>
          <p:cNvPr id="94" name="Gruppieren 93">
            <a:extLst>
              <a:ext uri="{FF2B5EF4-FFF2-40B4-BE49-F238E27FC236}">
                <a16:creationId xmlns:a16="http://schemas.microsoft.com/office/drawing/2014/main" id="{453F82BC-6780-0611-45A1-5B64A5575FDD}"/>
              </a:ext>
            </a:extLst>
          </p:cNvPr>
          <p:cNvGrpSpPr/>
          <p:nvPr/>
        </p:nvGrpSpPr>
        <p:grpSpPr>
          <a:xfrm>
            <a:off x="6745659" y="5422473"/>
            <a:ext cx="1366710" cy="623585"/>
            <a:chOff x="6956200" y="2960249"/>
            <a:chExt cx="1366710" cy="623585"/>
          </a:xfrm>
        </p:grpSpPr>
        <p:grpSp>
          <p:nvGrpSpPr>
            <p:cNvPr id="93" name="Gruppieren 92">
              <a:extLst>
                <a:ext uri="{FF2B5EF4-FFF2-40B4-BE49-F238E27FC236}">
                  <a16:creationId xmlns:a16="http://schemas.microsoft.com/office/drawing/2014/main" id="{47AE7C19-96DD-44EF-374A-60EBCFF9C600}"/>
                </a:ext>
              </a:extLst>
            </p:cNvPr>
            <p:cNvGrpSpPr/>
            <p:nvPr/>
          </p:nvGrpSpPr>
          <p:grpSpPr>
            <a:xfrm>
              <a:off x="6956200" y="2963649"/>
              <a:ext cx="628264" cy="620185"/>
              <a:chOff x="7105699" y="5340764"/>
              <a:chExt cx="628264" cy="620185"/>
            </a:xfrm>
          </p:grpSpPr>
          <p:sp>
            <p:nvSpPr>
              <p:cNvPr id="17" name="Google Shape;865;p37">
                <a:extLst>
                  <a:ext uri="{FF2B5EF4-FFF2-40B4-BE49-F238E27FC236}">
                    <a16:creationId xmlns:a16="http://schemas.microsoft.com/office/drawing/2014/main" id="{B98A8039-62EF-742F-81CB-4824D407509D}"/>
                  </a:ext>
                </a:extLst>
              </p:cNvPr>
              <p:cNvSpPr>
                <a:spLocks noChangeArrowheads="1"/>
              </p:cNvSpPr>
              <p:nvPr/>
            </p:nvSpPr>
            <p:spPr bwMode="auto">
              <a:xfrm>
                <a:off x="7105699" y="5340764"/>
                <a:ext cx="628264" cy="620185"/>
              </a:xfrm>
              <a:prstGeom prst="ellipse">
                <a:avLst/>
              </a:prstGeom>
              <a:solidFill>
                <a:schemeClr val="dk2"/>
              </a:solidFill>
              <a:ln>
                <a:noFill/>
              </a:ln>
            </p:spPr>
            <p:txBody>
              <a:bodyPr lIns="91425" tIns="45700" rIns="91425" bIns="457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kumimoji="0" lang="de-DE" altLang="de-DE"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pic>
            <p:nvPicPr>
              <p:cNvPr id="20" name="Grafik 19" descr="Dollar">
                <a:extLst>
                  <a:ext uri="{FF2B5EF4-FFF2-40B4-BE49-F238E27FC236}">
                    <a16:creationId xmlns:a16="http://schemas.microsoft.com/office/drawing/2014/main" id="{8B0BDEA4-49F4-C256-D639-FD9F79CF84C8}"/>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252132" y="5484309"/>
                <a:ext cx="335398" cy="333095"/>
              </a:xfrm>
              <a:prstGeom prst="rect">
                <a:avLst/>
              </a:prstGeom>
            </p:spPr>
          </p:pic>
          <p:sp>
            <p:nvSpPr>
              <p:cNvPr id="21" name="Ellipse 20">
                <a:extLst>
                  <a:ext uri="{FF2B5EF4-FFF2-40B4-BE49-F238E27FC236}">
                    <a16:creationId xmlns:a16="http://schemas.microsoft.com/office/drawing/2014/main" id="{B5956DF9-2504-4520-DA9D-C97F99714A8A}"/>
                  </a:ext>
                </a:extLst>
              </p:cNvPr>
              <p:cNvSpPr/>
              <p:nvPr/>
            </p:nvSpPr>
            <p:spPr>
              <a:xfrm>
                <a:off x="7149831" y="5380856"/>
                <a:ext cx="540000" cy="540000"/>
              </a:xfrm>
              <a:prstGeom prst="ellipse">
                <a:avLst/>
              </a:prstGeom>
              <a:no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
                    <a:srgbClr val="00358E"/>
                  </a:buClr>
                  <a:buSzTx/>
                  <a:buFontTx/>
                  <a:buNone/>
                  <a:tabLst/>
                  <a:defRPr/>
                </a:pPr>
                <a:endParaRPr kumimoji="0" lang="de-DE"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84" name="Gruppieren 83">
              <a:extLst>
                <a:ext uri="{FF2B5EF4-FFF2-40B4-BE49-F238E27FC236}">
                  <a16:creationId xmlns:a16="http://schemas.microsoft.com/office/drawing/2014/main" id="{D47046F6-8D2A-B79E-A2CD-51D60EFE52AC}"/>
                </a:ext>
              </a:extLst>
            </p:cNvPr>
            <p:cNvGrpSpPr/>
            <p:nvPr/>
          </p:nvGrpSpPr>
          <p:grpSpPr>
            <a:xfrm>
              <a:off x="7694646" y="2960249"/>
              <a:ext cx="628264" cy="622696"/>
              <a:chOff x="1135708" y="1740113"/>
              <a:chExt cx="628264" cy="622696"/>
            </a:xfrm>
          </p:grpSpPr>
          <p:sp>
            <p:nvSpPr>
              <p:cNvPr id="85" name="Google Shape;866;p37">
                <a:extLst>
                  <a:ext uri="{FF2B5EF4-FFF2-40B4-BE49-F238E27FC236}">
                    <a16:creationId xmlns:a16="http://schemas.microsoft.com/office/drawing/2014/main" id="{05A035A9-54E7-0316-25B0-E4210A0AA119}"/>
                  </a:ext>
                </a:extLst>
              </p:cNvPr>
              <p:cNvSpPr>
                <a:spLocks noChangeArrowheads="1"/>
              </p:cNvSpPr>
              <p:nvPr/>
            </p:nvSpPr>
            <p:spPr bwMode="auto">
              <a:xfrm>
                <a:off x="1135708" y="1740113"/>
                <a:ext cx="628264" cy="622696"/>
              </a:xfrm>
              <a:prstGeom prst="ellipse">
                <a:avLst/>
              </a:prstGeom>
              <a:solidFill>
                <a:schemeClr val="accent5"/>
              </a:solidFill>
              <a:ln>
                <a:noFill/>
              </a:ln>
            </p:spPr>
            <p:txBody>
              <a:bodyPr lIns="91425" tIns="45700" rIns="91425" bIns="457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kumimoji="0" lang="de-DE" altLang="de-DE"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86" name="Ellipse 85">
                <a:extLst>
                  <a:ext uri="{FF2B5EF4-FFF2-40B4-BE49-F238E27FC236}">
                    <a16:creationId xmlns:a16="http://schemas.microsoft.com/office/drawing/2014/main" id="{A3733655-1D53-37B6-D514-AB759C4BE111}"/>
                  </a:ext>
                </a:extLst>
              </p:cNvPr>
              <p:cNvSpPr/>
              <p:nvPr/>
            </p:nvSpPr>
            <p:spPr>
              <a:xfrm>
                <a:off x="1178006" y="1781461"/>
                <a:ext cx="540000" cy="540000"/>
              </a:xfrm>
              <a:prstGeom prst="ellipse">
                <a:avLst/>
              </a:prstGeom>
              <a:no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
                    <a:srgbClr val="00358E"/>
                  </a:buClr>
                  <a:buSzTx/>
                  <a:buFontTx/>
                  <a:buNone/>
                  <a:tabLst/>
                  <a:defRPr/>
                </a:pPr>
                <a:endParaRPr kumimoji="0" lang="de-DE" sz="14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87" name="Pfeil: nach rechts 86">
                <a:extLst>
                  <a:ext uri="{FF2B5EF4-FFF2-40B4-BE49-F238E27FC236}">
                    <a16:creationId xmlns:a16="http://schemas.microsoft.com/office/drawing/2014/main" id="{CCA74DC2-5C22-2D72-72ED-0E8683770731}"/>
                  </a:ext>
                </a:extLst>
              </p:cNvPr>
              <p:cNvSpPr/>
              <p:nvPr/>
            </p:nvSpPr>
            <p:spPr>
              <a:xfrm rot="2700000">
                <a:off x="1267995" y="1940607"/>
                <a:ext cx="385174" cy="260549"/>
              </a:xfrm>
              <a:prstGeom prst="rightArrow">
                <a:avLst>
                  <a:gd name="adj1" fmla="val 41789"/>
                  <a:gd name="adj2" fmla="val 59536"/>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
                    <a:srgbClr val="00358E"/>
                  </a:buClr>
                  <a:buSzTx/>
                  <a:buFontTx/>
                  <a:buNone/>
                  <a:tabLst/>
                  <a:defRPr/>
                </a:pPr>
                <a:endParaRPr kumimoji="0" lang="de-DE" sz="1400" b="0" i="0" u="none" strike="noStrike" kern="1200" cap="none" spc="0" normalizeH="0" baseline="0" noProof="0" err="1">
                  <a:ln>
                    <a:noFill/>
                  </a:ln>
                  <a:solidFill>
                    <a:srgbClr val="FED210"/>
                  </a:solidFill>
                  <a:effectLst/>
                  <a:uLnTx/>
                  <a:uFillTx/>
                  <a:latin typeface="Arial" panose="020B0604020202020204"/>
                  <a:ea typeface="+mn-ea"/>
                  <a:cs typeface="+mn-cs"/>
                </a:endParaRPr>
              </a:p>
            </p:txBody>
          </p:sp>
        </p:grpSp>
      </p:grpSp>
      <p:sp>
        <p:nvSpPr>
          <p:cNvPr id="96" name="Google Shape;3626;p76">
            <a:extLst>
              <a:ext uri="{FF2B5EF4-FFF2-40B4-BE49-F238E27FC236}">
                <a16:creationId xmlns:a16="http://schemas.microsoft.com/office/drawing/2014/main" id="{15139228-4865-F377-A0B4-D15BDB88359B}"/>
              </a:ext>
            </a:extLst>
          </p:cNvPr>
          <p:cNvSpPr txBox="1">
            <a:spLocks noChangeArrowheads="1"/>
          </p:cNvSpPr>
          <p:nvPr/>
        </p:nvSpPr>
        <p:spPr bwMode="auto">
          <a:xfrm>
            <a:off x="8269793" y="4107096"/>
            <a:ext cx="3721269" cy="1077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5" tIns="45700" rIns="91425" bIns="45700">
            <a:spAutoFit/>
          </a:bodyP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panose="020B0604020202020204" pitchFamily="34" charset="0"/>
              <a:buNone/>
              <a:tabLst/>
              <a:defRPr/>
            </a:pPr>
            <a:r>
              <a:rPr kumimoji="0" lang="de-DE" altLang="en-US" sz="1600" b="1" i="0" u="none" strike="noStrike" kern="1200" cap="none" spc="0" normalizeH="0" baseline="0" noProof="0">
                <a:ln>
                  <a:noFill/>
                </a:ln>
                <a:solidFill>
                  <a:srgbClr val="888888"/>
                </a:solidFill>
                <a:effectLst/>
                <a:uLnTx/>
                <a:uFillTx/>
                <a:latin typeface="Arial" panose="020B0604020202020204"/>
                <a:ea typeface="+mn-ea"/>
                <a:cs typeface="Open Sans" panose="020B0604020202020204" pitchFamily="34" charset="0"/>
                <a:sym typeface="Open Sans" panose="020B0604020202020204" pitchFamily="34" charset="0"/>
              </a:rPr>
              <a:t>Steilere Zinsstruktur „Twist“: </a:t>
            </a:r>
            <a:r>
              <a:rPr kumimoji="0" lang="de-DE" altLang="en-US" sz="1600" b="0" i="0" u="none" strike="noStrike" kern="1200" cap="none" spc="0" normalizeH="0" baseline="0" noProof="0">
                <a:ln>
                  <a:noFill/>
                </a:ln>
                <a:solidFill>
                  <a:srgbClr val="888888"/>
                </a:solidFill>
                <a:effectLst/>
                <a:uLnTx/>
                <a:uFillTx/>
                <a:latin typeface="Arial" panose="020B0604020202020204"/>
                <a:ea typeface="+mn-ea"/>
                <a:cs typeface="Open Sans" panose="020B0604020202020204" pitchFamily="34" charset="0"/>
                <a:sym typeface="Open Sans" panose="020B0604020202020204" pitchFamily="34" charset="0"/>
              </a:rPr>
              <a:t>zu niedrige Leitzinsen, höhere Inflation und mehr Nettoemissionen führen zu einer steileren Renditestrukturkurve. </a:t>
            </a:r>
          </a:p>
        </p:txBody>
      </p:sp>
      <p:sp>
        <p:nvSpPr>
          <p:cNvPr id="97" name="Google Shape;3626;p76">
            <a:extLst>
              <a:ext uri="{FF2B5EF4-FFF2-40B4-BE49-F238E27FC236}">
                <a16:creationId xmlns:a16="http://schemas.microsoft.com/office/drawing/2014/main" id="{D224F9AE-C03E-AEB8-6FAF-046C31BFF549}"/>
              </a:ext>
            </a:extLst>
          </p:cNvPr>
          <p:cNvSpPr txBox="1">
            <a:spLocks noChangeArrowheads="1"/>
          </p:cNvSpPr>
          <p:nvPr/>
        </p:nvSpPr>
        <p:spPr bwMode="auto">
          <a:xfrm>
            <a:off x="8285754" y="5338652"/>
            <a:ext cx="3721269" cy="830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5" tIns="45700" rIns="91425" bIns="45700">
            <a:spAutoFit/>
          </a:bodyP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panose="020B0604020202020204" pitchFamily="34" charset="0"/>
              <a:buNone/>
              <a:tabLst/>
              <a:defRPr/>
            </a:pPr>
            <a:r>
              <a:rPr kumimoji="0" lang="de-DE" altLang="en-US" sz="1600" b="0" i="0" u="none" strike="noStrike" kern="1200" cap="none" spc="0" normalizeH="0" baseline="0" noProof="0">
                <a:ln>
                  <a:noFill/>
                </a:ln>
                <a:solidFill>
                  <a:srgbClr val="888888"/>
                </a:solidFill>
                <a:effectLst/>
                <a:uLnTx/>
                <a:uFillTx/>
                <a:latin typeface="Arial" panose="020B0604020202020204"/>
                <a:ea typeface="+mn-ea"/>
                <a:cs typeface="Open Sans" panose="020B0604020202020204" pitchFamily="34" charset="0"/>
                <a:sym typeface="Open Sans" panose="020B0604020202020204" pitchFamily="34" charset="0"/>
              </a:rPr>
              <a:t>Mittelfristig sollten niedrige Leitzinsen und eine Abkehr von US-Vermögens-werten den </a:t>
            </a:r>
            <a:r>
              <a:rPr kumimoji="0" lang="de-DE" altLang="en-US" sz="1600" b="1" i="0" u="none" strike="noStrike" kern="1200" cap="none" spc="0" normalizeH="0" baseline="0" noProof="0">
                <a:ln>
                  <a:noFill/>
                </a:ln>
                <a:solidFill>
                  <a:srgbClr val="888888"/>
                </a:solidFill>
                <a:effectLst/>
                <a:uLnTx/>
                <a:uFillTx/>
                <a:latin typeface="Arial" panose="020B0604020202020204"/>
                <a:ea typeface="+mn-ea"/>
                <a:cs typeface="Open Sans" panose="020B0604020202020204" pitchFamily="34" charset="0"/>
                <a:sym typeface="Open Sans" panose="020B0604020202020204" pitchFamily="34" charset="0"/>
              </a:rPr>
              <a:t>Dollar schwächen. </a:t>
            </a:r>
          </a:p>
        </p:txBody>
      </p:sp>
      <p:sp>
        <p:nvSpPr>
          <p:cNvPr id="2" name="Google Shape;3656;p76">
            <a:extLst>
              <a:ext uri="{FF2B5EF4-FFF2-40B4-BE49-F238E27FC236}">
                <a16:creationId xmlns:a16="http://schemas.microsoft.com/office/drawing/2014/main" id="{257BCA8B-1EAE-13A9-7B21-4E7C55DB2A6D}"/>
              </a:ext>
            </a:extLst>
          </p:cNvPr>
          <p:cNvSpPr txBox="1">
            <a:spLocks noChangeArrowheads="1"/>
          </p:cNvSpPr>
          <p:nvPr/>
        </p:nvSpPr>
        <p:spPr bwMode="auto">
          <a:xfrm>
            <a:off x="6780829" y="1394878"/>
            <a:ext cx="2432165" cy="251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64D1DA"/>
              </a:buClr>
              <a:buSzPts val="1800"/>
              <a:buFont typeface="Open Sans Semibold" panose="020B0604020202020204" pitchFamily="34" charset="0"/>
              <a:buNone/>
              <a:tabLst/>
              <a:defRPr/>
            </a:pPr>
            <a:r>
              <a:rPr lang="de-DE" altLang="en-US" b="1">
                <a:solidFill>
                  <a:srgbClr val="00358E"/>
                </a:solidFill>
                <a:latin typeface="Arial" panose="020B0604020202020204"/>
                <a:cs typeface="Open Sans Semibold" panose="020B0604020202020204" pitchFamily="34" charset="0"/>
                <a:sym typeface="Open Sans Semibold" panose="020B0604020202020204" pitchFamily="34" charset="0"/>
              </a:rPr>
              <a:t>AKTIEN</a:t>
            </a:r>
            <a:endParaRPr kumimoji="0" lang="de-DE" altLang="en-US" sz="1400" b="0" i="0" u="none" strike="noStrike" kern="1200" cap="none" spc="0" normalizeH="0" baseline="0" noProof="0">
              <a:ln>
                <a:noFill/>
              </a:ln>
              <a:solidFill>
                <a:srgbClr val="00358E"/>
              </a:solidFill>
              <a:effectLst/>
              <a:uLnTx/>
              <a:uFillTx/>
              <a:latin typeface="Arial" panose="020B0604020202020204"/>
              <a:ea typeface="+mn-ea"/>
              <a:cs typeface="Open Sans Semibold" panose="020B0604020202020204" pitchFamily="34" charset="0"/>
              <a:sym typeface="Arial" panose="020B0604020202020204" pitchFamily="34" charset="0"/>
            </a:endParaRPr>
          </a:p>
        </p:txBody>
      </p:sp>
      <p:sp>
        <p:nvSpPr>
          <p:cNvPr id="22" name="Google Shape;3626;p76">
            <a:extLst>
              <a:ext uri="{FF2B5EF4-FFF2-40B4-BE49-F238E27FC236}">
                <a16:creationId xmlns:a16="http://schemas.microsoft.com/office/drawing/2014/main" id="{01AEF3B3-BFE3-DCC1-8B6F-FB7ECF7BDF60}"/>
              </a:ext>
            </a:extLst>
          </p:cNvPr>
          <p:cNvSpPr txBox="1">
            <a:spLocks noChangeArrowheads="1"/>
          </p:cNvSpPr>
          <p:nvPr/>
        </p:nvSpPr>
        <p:spPr bwMode="auto">
          <a:xfrm>
            <a:off x="8269793" y="2614617"/>
            <a:ext cx="3721269" cy="1077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5" tIns="45700" rIns="91425" bIns="45700">
            <a:spAutoFit/>
          </a:bodyP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panose="020B0604020202020204" pitchFamily="34" charset="0"/>
              <a:buNone/>
              <a:tabLst/>
              <a:defRPr/>
            </a:pPr>
            <a:r>
              <a:rPr kumimoji="0" lang="de-DE" altLang="en-US" sz="1600" b="1" i="0" u="none" strike="noStrike" kern="1200" cap="none" spc="0" normalizeH="0" baseline="0" noProof="0">
                <a:ln>
                  <a:noFill/>
                </a:ln>
                <a:solidFill>
                  <a:srgbClr val="888888"/>
                </a:solidFill>
                <a:effectLst/>
                <a:uLnTx/>
                <a:uFillTx/>
                <a:latin typeface="Arial" panose="020B0604020202020204"/>
                <a:ea typeface="+mn-ea"/>
                <a:cs typeface="Open Sans" panose="020B0604020202020204" pitchFamily="34" charset="0"/>
                <a:sym typeface="Open Sans" panose="020B0604020202020204" pitchFamily="34" charset="0"/>
              </a:rPr>
              <a:t>Mittelfristig schwächer („</a:t>
            </a:r>
            <a:r>
              <a:rPr lang="de-DE" altLang="en-US" sz="1600" b="1">
                <a:solidFill>
                  <a:srgbClr val="888888"/>
                </a:solidFill>
                <a:latin typeface="Arial" panose="020B0604020202020204"/>
                <a:cs typeface="Open Sans" panose="020B0604020202020204" pitchFamily="34" charset="0"/>
                <a:sym typeface="Open Sans" panose="020B0604020202020204" pitchFamily="34" charset="0"/>
              </a:rPr>
              <a:t>b</a:t>
            </a:r>
            <a:r>
              <a:rPr kumimoji="0" lang="de-DE" altLang="en-US" sz="1600" b="1" i="0" u="none" strike="noStrike" kern="1200" cap="none" spc="0" normalizeH="0" baseline="0" noProof="0" err="1">
                <a:ln>
                  <a:noFill/>
                </a:ln>
                <a:solidFill>
                  <a:srgbClr val="888888"/>
                </a:solidFill>
                <a:effectLst/>
                <a:uLnTx/>
                <a:uFillTx/>
                <a:latin typeface="Arial" panose="020B0604020202020204"/>
                <a:ea typeface="+mn-ea"/>
                <a:cs typeface="Open Sans" panose="020B0604020202020204" pitchFamily="34" charset="0"/>
                <a:sym typeface="Open Sans" panose="020B0604020202020204" pitchFamily="34" charset="0"/>
              </a:rPr>
              <a:t>öses</a:t>
            </a:r>
            <a:r>
              <a:rPr kumimoji="0" lang="de-DE" altLang="en-US" sz="1600" b="1" i="0" u="none" strike="noStrike" kern="1200" cap="none" spc="0" normalizeH="0" baseline="0" noProof="0">
                <a:ln>
                  <a:noFill/>
                </a:ln>
                <a:solidFill>
                  <a:srgbClr val="888888"/>
                </a:solidFill>
                <a:effectLst/>
                <a:uLnTx/>
                <a:uFillTx/>
                <a:latin typeface="Arial" panose="020B0604020202020204"/>
                <a:ea typeface="+mn-ea"/>
                <a:cs typeface="Open Sans" panose="020B0604020202020204" pitchFamily="34" charset="0"/>
                <a:sym typeface="Open Sans" panose="020B0604020202020204" pitchFamily="34" charset="0"/>
              </a:rPr>
              <a:t> Erwachen“) </a:t>
            </a:r>
            <a:r>
              <a:rPr kumimoji="0" lang="de-DE" altLang="en-US" sz="1600" b="0" i="0" u="none" strike="noStrike" kern="1200" cap="none" spc="0" normalizeH="0" baseline="0" noProof="0">
                <a:ln>
                  <a:noFill/>
                </a:ln>
                <a:solidFill>
                  <a:srgbClr val="888888"/>
                </a:solidFill>
                <a:effectLst/>
                <a:uLnTx/>
                <a:uFillTx/>
                <a:latin typeface="Arial" panose="020B0604020202020204"/>
                <a:ea typeface="+mn-ea"/>
                <a:cs typeface="Open Sans" panose="020B0604020202020204" pitchFamily="34" charset="0"/>
                <a:sym typeface="Open Sans" panose="020B0604020202020204" pitchFamily="34" charset="0"/>
              </a:rPr>
              <a:t>im Zuge schwindenden Wachstums, höherer Bondrenditen und der Erkenntnis: „Trump tut was er sagt“</a:t>
            </a:r>
          </a:p>
        </p:txBody>
      </p:sp>
      <p:grpSp>
        <p:nvGrpSpPr>
          <p:cNvPr id="30" name="Gruppieren 29">
            <a:extLst>
              <a:ext uri="{FF2B5EF4-FFF2-40B4-BE49-F238E27FC236}">
                <a16:creationId xmlns:a16="http://schemas.microsoft.com/office/drawing/2014/main" id="{E1BE19A6-1329-71FE-DD22-758BB3DF3F6B}"/>
              </a:ext>
            </a:extLst>
          </p:cNvPr>
          <p:cNvGrpSpPr/>
          <p:nvPr/>
        </p:nvGrpSpPr>
        <p:grpSpPr>
          <a:xfrm>
            <a:off x="7454983" y="2590280"/>
            <a:ext cx="628264" cy="622696"/>
            <a:chOff x="1135708" y="1740113"/>
            <a:chExt cx="628264" cy="622696"/>
          </a:xfrm>
          <a:solidFill>
            <a:schemeClr val="accent5"/>
          </a:solidFill>
        </p:grpSpPr>
        <p:sp>
          <p:nvSpPr>
            <p:cNvPr id="31" name="Google Shape;866;p37">
              <a:extLst>
                <a:ext uri="{FF2B5EF4-FFF2-40B4-BE49-F238E27FC236}">
                  <a16:creationId xmlns:a16="http://schemas.microsoft.com/office/drawing/2014/main" id="{3C1254ED-5197-93B9-4850-71F0DCD715A0}"/>
                </a:ext>
              </a:extLst>
            </p:cNvPr>
            <p:cNvSpPr>
              <a:spLocks noChangeArrowheads="1"/>
            </p:cNvSpPr>
            <p:nvPr/>
          </p:nvSpPr>
          <p:spPr bwMode="auto">
            <a:xfrm>
              <a:off x="1135708" y="1740113"/>
              <a:ext cx="628264" cy="622696"/>
            </a:xfrm>
            <a:prstGeom prst="ellipse">
              <a:avLst/>
            </a:prstGeom>
            <a:grpFill/>
            <a:ln>
              <a:noFill/>
            </a:ln>
          </p:spPr>
          <p:txBody>
            <a:bodyPr lIns="91425" tIns="45700" rIns="91425" bIns="457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kumimoji="0" lang="de-DE" altLang="de-DE"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38" name="Ellipse 37">
              <a:extLst>
                <a:ext uri="{FF2B5EF4-FFF2-40B4-BE49-F238E27FC236}">
                  <a16:creationId xmlns:a16="http://schemas.microsoft.com/office/drawing/2014/main" id="{2E9BEBF7-AAF4-85D1-1D66-3A9967181B64}"/>
                </a:ext>
              </a:extLst>
            </p:cNvPr>
            <p:cNvSpPr/>
            <p:nvPr/>
          </p:nvSpPr>
          <p:spPr>
            <a:xfrm>
              <a:off x="1178006" y="1781461"/>
              <a:ext cx="540000" cy="540000"/>
            </a:xfrm>
            <a:prstGeom prst="ellipse">
              <a:avLst/>
            </a:prstGeom>
            <a:grp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
                  <a:srgbClr val="00358E"/>
                </a:buClr>
                <a:buSzTx/>
                <a:buFontTx/>
                <a:buNone/>
                <a:tabLst/>
                <a:defRPr/>
              </a:pPr>
              <a:endParaRPr kumimoji="0" lang="de-DE" sz="14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sp>
          <p:nvSpPr>
            <p:cNvPr id="43" name="Pfeil: nach rechts 42">
              <a:extLst>
                <a:ext uri="{FF2B5EF4-FFF2-40B4-BE49-F238E27FC236}">
                  <a16:creationId xmlns:a16="http://schemas.microsoft.com/office/drawing/2014/main" id="{1F23BB2A-6A85-D728-14D4-AEE733FE204A}"/>
                </a:ext>
              </a:extLst>
            </p:cNvPr>
            <p:cNvSpPr/>
            <p:nvPr/>
          </p:nvSpPr>
          <p:spPr>
            <a:xfrm rot="2700000">
              <a:off x="1267995" y="1940607"/>
              <a:ext cx="385174" cy="260549"/>
            </a:xfrm>
            <a:prstGeom prst="rightArrow">
              <a:avLst>
                <a:gd name="adj1" fmla="val 41789"/>
                <a:gd name="adj2" fmla="val 59536"/>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
                  <a:srgbClr val="00358E"/>
                </a:buClr>
                <a:buSzTx/>
                <a:buFontTx/>
                <a:buNone/>
                <a:tabLst/>
                <a:defRPr/>
              </a:pPr>
              <a:endParaRPr kumimoji="0" lang="de-DE" sz="1400" b="0" i="0" u="none" strike="noStrike" kern="1200" cap="none" spc="0" normalizeH="0" baseline="0" noProof="0" err="1">
                <a:ln>
                  <a:noFill/>
                </a:ln>
                <a:solidFill>
                  <a:srgbClr val="FED210"/>
                </a:solidFill>
                <a:effectLst/>
                <a:uLnTx/>
                <a:uFillTx/>
                <a:latin typeface="Arial" panose="020B0604020202020204"/>
                <a:ea typeface="+mn-ea"/>
                <a:cs typeface="+mn-cs"/>
              </a:endParaRPr>
            </a:p>
          </p:txBody>
        </p:sp>
      </p:grpSp>
      <p:grpSp>
        <p:nvGrpSpPr>
          <p:cNvPr id="55" name="Gruppieren 54">
            <a:extLst>
              <a:ext uri="{FF2B5EF4-FFF2-40B4-BE49-F238E27FC236}">
                <a16:creationId xmlns:a16="http://schemas.microsoft.com/office/drawing/2014/main" id="{DD1C7AEB-C3A6-E372-35C9-E815F03730ED}"/>
              </a:ext>
            </a:extLst>
          </p:cNvPr>
          <p:cNvGrpSpPr/>
          <p:nvPr/>
        </p:nvGrpSpPr>
        <p:grpSpPr>
          <a:xfrm>
            <a:off x="6745659" y="2086224"/>
            <a:ext cx="628264" cy="622696"/>
            <a:chOff x="408955" y="1433417"/>
            <a:chExt cx="628264" cy="622696"/>
          </a:xfrm>
        </p:grpSpPr>
        <p:sp>
          <p:nvSpPr>
            <p:cNvPr id="61" name="Google Shape;866;p37">
              <a:extLst>
                <a:ext uri="{FF2B5EF4-FFF2-40B4-BE49-F238E27FC236}">
                  <a16:creationId xmlns:a16="http://schemas.microsoft.com/office/drawing/2014/main" id="{44358C58-4A4F-7E8D-75A5-F014D16F83D7}"/>
                </a:ext>
              </a:extLst>
            </p:cNvPr>
            <p:cNvSpPr>
              <a:spLocks noChangeArrowheads="1"/>
            </p:cNvSpPr>
            <p:nvPr/>
          </p:nvSpPr>
          <p:spPr bwMode="auto">
            <a:xfrm>
              <a:off x="408955" y="1433417"/>
              <a:ext cx="628264" cy="622696"/>
            </a:xfrm>
            <a:prstGeom prst="ellipse">
              <a:avLst/>
            </a:pr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endParaRPr kumimoji="0" lang="de-DE" altLang="de-DE" sz="18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pic>
          <p:nvPicPr>
            <p:cNvPr id="98" name="Grafik 97" descr="Aufwärtstrend">
              <a:extLst>
                <a:ext uri="{FF2B5EF4-FFF2-40B4-BE49-F238E27FC236}">
                  <a16:creationId xmlns:a16="http://schemas.microsoft.com/office/drawing/2014/main" id="{27D0A64A-F73B-C51C-0156-F7C31FE1EB4F}"/>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5388" y="1578218"/>
              <a:ext cx="335398" cy="333095"/>
            </a:xfrm>
            <a:prstGeom prst="rect">
              <a:avLst/>
            </a:prstGeom>
          </p:spPr>
        </p:pic>
        <p:sp>
          <p:nvSpPr>
            <p:cNvPr id="99" name="Ellipse 98">
              <a:extLst>
                <a:ext uri="{FF2B5EF4-FFF2-40B4-BE49-F238E27FC236}">
                  <a16:creationId xmlns:a16="http://schemas.microsoft.com/office/drawing/2014/main" id="{0A3B224D-27B4-D3DD-F19C-DD71670B6C37}"/>
                </a:ext>
              </a:extLst>
            </p:cNvPr>
            <p:cNvSpPr/>
            <p:nvPr/>
          </p:nvSpPr>
          <p:spPr>
            <a:xfrm>
              <a:off x="453087" y="1474765"/>
              <a:ext cx="540000" cy="540000"/>
            </a:xfrm>
            <a:prstGeom prst="ellipse">
              <a:avLst/>
            </a:prstGeom>
            <a:no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0"/>
                </a:spcAft>
                <a:buClr>
                  <a:srgbClr val="00358E"/>
                </a:buClr>
                <a:buSzTx/>
                <a:buFontTx/>
                <a:buNone/>
                <a:tabLst/>
                <a:defRPr/>
              </a:pPr>
              <a:endParaRPr kumimoji="0" lang="de-DE" sz="1400" b="0" i="0" u="none" strike="noStrike" kern="1200" cap="none" spc="0" normalizeH="0" baseline="0" noProof="0" err="1">
                <a:ln>
                  <a:noFill/>
                </a:ln>
                <a:solidFill>
                  <a:prstClr val="black"/>
                </a:solidFill>
                <a:effectLst/>
                <a:uLnTx/>
                <a:uFillTx/>
                <a:latin typeface="Arial" panose="020B0604020202020204"/>
                <a:ea typeface="+mn-ea"/>
                <a:cs typeface="+mn-cs"/>
              </a:endParaRPr>
            </a:p>
          </p:txBody>
        </p:sp>
      </p:grpSp>
      <p:sp>
        <p:nvSpPr>
          <p:cNvPr id="100" name="Google Shape;3626;p76">
            <a:extLst>
              <a:ext uri="{FF2B5EF4-FFF2-40B4-BE49-F238E27FC236}">
                <a16:creationId xmlns:a16="http://schemas.microsoft.com/office/drawing/2014/main" id="{5F334607-1B56-1C6C-F0B8-270290131835}"/>
              </a:ext>
            </a:extLst>
          </p:cNvPr>
          <p:cNvSpPr txBox="1">
            <a:spLocks noChangeArrowheads="1"/>
          </p:cNvSpPr>
          <p:nvPr/>
        </p:nvSpPr>
        <p:spPr bwMode="auto">
          <a:xfrm>
            <a:off x="8269793" y="1415718"/>
            <a:ext cx="3721269" cy="1077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5" tIns="45700" rIns="91425" bIns="45700">
            <a:spAutoFit/>
          </a:bodyP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panose="020B0604020202020204" pitchFamily="34" charset="0"/>
              <a:buNone/>
              <a:tabLst/>
              <a:defRPr/>
            </a:pPr>
            <a:r>
              <a:rPr kumimoji="0" lang="de-DE" altLang="en-US" sz="1600" b="1" i="0" u="none" strike="noStrike" kern="1200" cap="none" spc="0" normalizeH="0" baseline="0" noProof="0">
                <a:ln>
                  <a:noFill/>
                </a:ln>
                <a:solidFill>
                  <a:srgbClr val="888888"/>
                </a:solidFill>
                <a:effectLst/>
                <a:uLnTx/>
                <a:uFillTx/>
                <a:latin typeface="Arial" panose="020B0604020202020204"/>
                <a:ea typeface="+mn-ea"/>
                <a:cs typeface="Open Sans" panose="020B0604020202020204" pitchFamily="34" charset="0"/>
                <a:sym typeface="Open Sans" panose="020B0604020202020204" pitchFamily="34" charset="0"/>
              </a:rPr>
              <a:t>Kurzfristig positiv („schön reden“)</a:t>
            </a:r>
          </a:p>
          <a:p>
            <a:pPr marL="0" marR="0" lvl="0" indent="0" algn="l" defTabSz="914400" rtl="0" eaLnBrk="1" fontAlgn="auto" latinLnBrk="0" hangingPunct="1">
              <a:lnSpc>
                <a:spcPct val="100000"/>
              </a:lnSpc>
              <a:spcBef>
                <a:spcPts val="0"/>
              </a:spcBef>
              <a:spcAft>
                <a:spcPts val="0"/>
              </a:spcAft>
              <a:buClr>
                <a:srgbClr val="000000"/>
              </a:buClr>
              <a:buSzPts val="1200"/>
              <a:buFont typeface="Arial" panose="020B0604020202020204" pitchFamily="34" charset="0"/>
              <a:buNone/>
              <a:tabLst/>
              <a:defRPr/>
            </a:pPr>
            <a:r>
              <a:rPr lang="de-DE" altLang="en-US" sz="1600">
                <a:solidFill>
                  <a:srgbClr val="888888"/>
                </a:solidFill>
                <a:latin typeface="Arial" panose="020B0604020202020204"/>
                <a:cs typeface="Open Sans" panose="020B0604020202020204" pitchFamily="34" charset="0"/>
                <a:sym typeface="Open Sans" panose="020B0604020202020204" pitchFamily="34" charset="0"/>
              </a:rPr>
              <a:t>Reflex auf geringere Unt.-Steuern,</a:t>
            </a:r>
            <a:br>
              <a:rPr lang="de-DE" altLang="en-US" sz="1600">
                <a:solidFill>
                  <a:srgbClr val="888888"/>
                </a:solidFill>
                <a:latin typeface="Arial" panose="020B0604020202020204"/>
                <a:cs typeface="Open Sans" panose="020B0604020202020204" pitchFamily="34" charset="0"/>
                <a:sym typeface="Open Sans" panose="020B0604020202020204" pitchFamily="34" charset="0"/>
              </a:rPr>
            </a:br>
            <a:r>
              <a:rPr lang="de-DE" altLang="en-US" sz="1600">
                <a:solidFill>
                  <a:srgbClr val="888888"/>
                </a:solidFill>
                <a:latin typeface="Arial" panose="020B0604020202020204"/>
                <a:cs typeface="Open Sans" panose="020B0604020202020204" pitchFamily="34" charset="0"/>
                <a:sym typeface="Open Sans" panose="020B0604020202020204" pitchFamily="34" charset="0"/>
              </a:rPr>
              <a:t>De-Regulierung und „Nicht-Wahr-haben-Wollen“ von Trump 2.0 Agenda</a:t>
            </a:r>
            <a:endParaRPr kumimoji="0" lang="de-DE" altLang="en-US" sz="1600" b="0" i="0" u="none" strike="noStrike" kern="1200" cap="none" spc="0" normalizeH="0" baseline="0" noProof="0">
              <a:ln>
                <a:noFill/>
              </a:ln>
              <a:solidFill>
                <a:srgbClr val="888888"/>
              </a:solidFill>
              <a:effectLst/>
              <a:uLnTx/>
              <a:uFillTx/>
              <a:latin typeface="Arial" panose="020B0604020202020204"/>
              <a:ea typeface="+mn-ea"/>
              <a:cs typeface="Open Sans" panose="020B0604020202020204" pitchFamily="34" charset="0"/>
              <a:sym typeface="Open Sans" panose="020B0604020202020204" pitchFamily="34" charset="0"/>
            </a:endParaRPr>
          </a:p>
        </p:txBody>
      </p:sp>
      <p:sp>
        <p:nvSpPr>
          <p:cNvPr id="4" name="Textfeld 3">
            <a:extLst>
              <a:ext uri="{FF2B5EF4-FFF2-40B4-BE49-F238E27FC236}">
                <a16:creationId xmlns:a16="http://schemas.microsoft.com/office/drawing/2014/main" id="{8623CC5D-6684-C361-D731-753D67F5B564}"/>
              </a:ext>
            </a:extLst>
          </p:cNvPr>
          <p:cNvSpPr txBox="1"/>
          <p:nvPr/>
        </p:nvSpPr>
        <p:spPr>
          <a:xfrm>
            <a:off x="361710" y="6185614"/>
            <a:ext cx="6097554" cy="246221"/>
          </a:xfrm>
          <a:prstGeom prst="rect">
            <a:avLst/>
          </a:prstGeom>
          <a:noFill/>
        </p:spPr>
        <p:txBody>
          <a:bodyPr wrap="square">
            <a:spAutoFit/>
          </a:bodyPr>
          <a:lstStyle/>
          <a:p>
            <a:r>
              <a:rPr lang="de-DE" sz="1000" dirty="0"/>
              <a:t>Quellen: Union Investment </a:t>
            </a:r>
          </a:p>
        </p:txBody>
      </p:sp>
    </p:spTree>
    <p:extLst>
      <p:ext uri="{BB962C8B-B14F-4D97-AF65-F5344CB8AC3E}">
        <p14:creationId xmlns:p14="http://schemas.microsoft.com/office/powerpoint/2010/main" val="770881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9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0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9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9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9" grpId="0"/>
      <p:bldP spid="52" grpId="0" animBg="1"/>
      <p:bldP spid="96" grpId="0"/>
      <p:bldP spid="97" grpId="0"/>
      <p:bldP spid="2" grpId="0"/>
      <p:bldP spid="22" grpId="0"/>
      <p:bldP spid="100"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B1DEBC3-2CE3-432D-9D32-776FB170CA9D}"/>
              </a:ext>
            </a:extLst>
          </p:cNvPr>
          <p:cNvSpPr>
            <a:spLocks noGrp="1"/>
          </p:cNvSpPr>
          <p:nvPr>
            <p:ph type="body" sz="quarter" idx="15"/>
          </p:nvPr>
        </p:nvSpPr>
        <p:spPr bwMode="gray">
          <a:xfrm>
            <a:off x="408955" y="1"/>
            <a:ext cx="9545412" cy="1722335"/>
          </a:xfrm>
          <a:solidFill>
            <a:schemeClr val="tx2"/>
          </a:solidFill>
        </p:spPr>
        <p:txBody>
          <a:bodyPr/>
          <a:lstStyle/>
          <a:p>
            <a:r>
              <a:rPr lang="de-DE">
                <a:solidFill>
                  <a:schemeClr val="bg1"/>
                </a:solidFill>
              </a:rPr>
              <a:t>Fazit</a:t>
            </a:r>
          </a:p>
        </p:txBody>
      </p:sp>
      <p:sp>
        <p:nvSpPr>
          <p:cNvPr id="4" name="Rechteck 3">
            <a:extLst>
              <a:ext uri="{FF2B5EF4-FFF2-40B4-BE49-F238E27FC236}">
                <a16:creationId xmlns:a16="http://schemas.microsoft.com/office/drawing/2014/main" id="{A8DFF0B9-5204-4410-917A-5FE2C651D1E3}"/>
              </a:ext>
            </a:extLst>
          </p:cNvPr>
          <p:cNvSpPr/>
          <p:nvPr/>
        </p:nvSpPr>
        <p:spPr bwMode="gray">
          <a:xfrm>
            <a:off x="409575" y="2060575"/>
            <a:ext cx="3527378" cy="424815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2052000" rIns="72000" bIns="72000" numCol="1" spcCol="0" rtlCol="0" fromWordArt="0" anchor="t" anchorCtr="0" forceAA="0" compatLnSpc="1">
            <a:prstTxWarp prst="textNoShape">
              <a:avLst/>
            </a:prstTxWarp>
            <a:noAutofit/>
          </a:bodyPr>
          <a:lstStyle/>
          <a:p>
            <a:pPr algn="ctr">
              <a:spcBef>
                <a:spcPts val="1200"/>
              </a:spcBef>
              <a:buClr>
                <a:schemeClr val="accent1"/>
              </a:buClr>
            </a:pPr>
            <a:r>
              <a:rPr lang="de-DE" sz="2000" dirty="0">
                <a:solidFill>
                  <a:schemeClr val="tx2"/>
                </a:solidFill>
              </a:rPr>
              <a:t>Umfeld wird herausfordern-der, bleibt aber positiv</a:t>
            </a:r>
          </a:p>
          <a:p>
            <a:pPr algn="ctr">
              <a:spcBef>
                <a:spcPts val="1200"/>
              </a:spcBef>
              <a:buClr>
                <a:schemeClr val="accent1"/>
              </a:buClr>
            </a:pPr>
            <a:r>
              <a:rPr lang="de-DE" sz="2000" dirty="0">
                <a:solidFill>
                  <a:schemeClr val="accent2"/>
                </a:solidFill>
              </a:rPr>
              <a:t>US-Wachstum lässt leicht nach, Stabilisierung in Europa und China </a:t>
            </a:r>
            <a:endParaRPr lang="de-DE" sz="2000" dirty="0">
              <a:solidFill>
                <a:schemeClr val="accent2"/>
              </a:solidFill>
              <a:cs typeface="Arial"/>
            </a:endParaRPr>
          </a:p>
        </p:txBody>
      </p:sp>
      <p:sp>
        <p:nvSpPr>
          <p:cNvPr id="5" name="Rechteck 4">
            <a:extLst>
              <a:ext uri="{FF2B5EF4-FFF2-40B4-BE49-F238E27FC236}">
                <a16:creationId xmlns:a16="http://schemas.microsoft.com/office/drawing/2014/main" id="{B0A93FA5-5BFA-416D-A3BF-E7138CDE0E00}"/>
              </a:ext>
            </a:extLst>
          </p:cNvPr>
          <p:cNvSpPr/>
          <p:nvPr/>
        </p:nvSpPr>
        <p:spPr bwMode="gray">
          <a:xfrm>
            <a:off x="4313133" y="2060575"/>
            <a:ext cx="3547979" cy="424815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2052000" rIns="72000" bIns="72000" numCol="1" spcCol="0" rtlCol="0" fromWordArt="0" anchor="t" anchorCtr="0" forceAA="0" compatLnSpc="1">
            <a:prstTxWarp prst="textNoShape">
              <a:avLst/>
            </a:prstTxWarp>
            <a:noAutofit/>
          </a:bodyPr>
          <a:lstStyle/>
          <a:p>
            <a:pPr algn="ctr">
              <a:spcBef>
                <a:spcPts val="1200"/>
              </a:spcBef>
              <a:buClr>
                <a:schemeClr val="accent1"/>
              </a:buClr>
            </a:pPr>
            <a:r>
              <a:rPr lang="de-DE" sz="2000" dirty="0">
                <a:solidFill>
                  <a:schemeClr val="tx2"/>
                </a:solidFill>
              </a:rPr>
              <a:t>Trend zu rückläufiger Inflation läuft langsam aus</a:t>
            </a:r>
          </a:p>
          <a:p>
            <a:pPr algn="ctr">
              <a:spcBef>
                <a:spcPts val="1200"/>
              </a:spcBef>
              <a:buClr>
                <a:schemeClr val="accent1"/>
              </a:buClr>
            </a:pPr>
            <a:r>
              <a:rPr lang="de-DE" sz="2000" dirty="0">
                <a:solidFill>
                  <a:schemeClr val="accent2"/>
                </a:solidFill>
              </a:rPr>
              <a:t>EZB im Zinssenkungszyklus, Fed folgt im September</a:t>
            </a:r>
          </a:p>
        </p:txBody>
      </p:sp>
      <p:sp>
        <p:nvSpPr>
          <p:cNvPr id="6" name="Rechteck 5">
            <a:extLst>
              <a:ext uri="{FF2B5EF4-FFF2-40B4-BE49-F238E27FC236}">
                <a16:creationId xmlns:a16="http://schemas.microsoft.com/office/drawing/2014/main" id="{5AB9F0CE-E298-47F3-8EE5-F71FE8B3ECD5}"/>
              </a:ext>
            </a:extLst>
          </p:cNvPr>
          <p:cNvSpPr/>
          <p:nvPr/>
        </p:nvSpPr>
        <p:spPr bwMode="gray">
          <a:xfrm>
            <a:off x="8257579" y="2060575"/>
            <a:ext cx="3528000" cy="424815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2052000" rIns="36000" bIns="72000" numCol="1" spcCol="0" rtlCol="0" fromWordArt="0" anchor="t" anchorCtr="0" forceAA="0" compatLnSpc="1">
            <a:prstTxWarp prst="textNoShape">
              <a:avLst/>
            </a:prstTxWarp>
            <a:noAutofit/>
          </a:bodyPr>
          <a:lstStyle/>
          <a:p>
            <a:pPr algn="ctr">
              <a:spcBef>
                <a:spcPts val="1200"/>
              </a:spcBef>
              <a:buClr>
                <a:schemeClr val="accent1"/>
              </a:buClr>
            </a:pPr>
            <a:r>
              <a:rPr lang="de-DE" sz="2000" dirty="0">
                <a:solidFill>
                  <a:schemeClr val="tx2"/>
                </a:solidFill>
              </a:rPr>
              <a:t>Unternehmensgewinne dürften in der Breite steigen</a:t>
            </a:r>
          </a:p>
          <a:p>
            <a:pPr algn="ctr">
              <a:spcBef>
                <a:spcPts val="1200"/>
              </a:spcBef>
              <a:buClr>
                <a:schemeClr val="accent1"/>
              </a:buClr>
            </a:pPr>
            <a:r>
              <a:rPr lang="de-DE" sz="2000" dirty="0">
                <a:solidFill>
                  <a:schemeClr val="accent2"/>
                </a:solidFill>
              </a:rPr>
              <a:t>Titelselektion &amp; taktische </a:t>
            </a:r>
            <a:r>
              <a:rPr lang="de-DE" sz="2000" dirty="0" err="1">
                <a:solidFill>
                  <a:schemeClr val="accent2"/>
                </a:solidFill>
              </a:rPr>
              <a:t>Akti-vität</a:t>
            </a:r>
            <a:r>
              <a:rPr lang="de-DE" sz="2000" dirty="0">
                <a:solidFill>
                  <a:schemeClr val="accent2"/>
                </a:solidFill>
              </a:rPr>
              <a:t> zentrale Erfolgsfaktoren</a:t>
            </a:r>
          </a:p>
        </p:txBody>
      </p:sp>
      <p:grpSp>
        <p:nvGrpSpPr>
          <p:cNvPr id="7" name="Group 902">
            <a:extLst>
              <a:ext uri="{FF2B5EF4-FFF2-40B4-BE49-F238E27FC236}">
                <a16:creationId xmlns:a16="http://schemas.microsoft.com/office/drawing/2014/main" id="{80B9238F-FF86-4E3F-BC9C-67396A44FAF0}"/>
              </a:ext>
            </a:extLst>
          </p:cNvPr>
          <p:cNvGrpSpPr>
            <a:grpSpLocks noChangeAspect="1"/>
          </p:cNvGrpSpPr>
          <p:nvPr/>
        </p:nvGrpSpPr>
        <p:grpSpPr bwMode="gray">
          <a:xfrm>
            <a:off x="5702544" y="2818050"/>
            <a:ext cx="790086" cy="879932"/>
            <a:chOff x="4671" y="1543"/>
            <a:chExt cx="1108" cy="1234"/>
          </a:xfrm>
        </p:grpSpPr>
        <p:sp>
          <p:nvSpPr>
            <p:cNvPr id="8" name="Freeform 903">
              <a:extLst>
                <a:ext uri="{FF2B5EF4-FFF2-40B4-BE49-F238E27FC236}">
                  <a16:creationId xmlns:a16="http://schemas.microsoft.com/office/drawing/2014/main" id="{FA4B22BB-4143-4679-9620-E3DB2D3BB4A5}"/>
                </a:ext>
              </a:extLst>
            </p:cNvPr>
            <p:cNvSpPr>
              <a:spLocks noEditPoints="1"/>
            </p:cNvSpPr>
            <p:nvPr/>
          </p:nvSpPr>
          <p:spPr bwMode="gray">
            <a:xfrm>
              <a:off x="4932" y="1543"/>
              <a:ext cx="583" cy="584"/>
            </a:xfrm>
            <a:custGeom>
              <a:avLst/>
              <a:gdLst>
                <a:gd name="T0" fmla="*/ 1495 w 2989"/>
                <a:gd name="T1" fmla="*/ 2990 h 2990"/>
                <a:gd name="T2" fmla="*/ 0 w 2989"/>
                <a:gd name="T3" fmla="*/ 1495 h 2990"/>
                <a:gd name="T4" fmla="*/ 1495 w 2989"/>
                <a:gd name="T5" fmla="*/ 0 h 2990"/>
                <a:gd name="T6" fmla="*/ 2989 w 2989"/>
                <a:gd name="T7" fmla="*/ 1495 h 2990"/>
                <a:gd name="T8" fmla="*/ 1495 w 2989"/>
                <a:gd name="T9" fmla="*/ 2990 h 2990"/>
                <a:gd name="T10" fmla="*/ 1495 w 2989"/>
                <a:gd name="T11" fmla="*/ 399 h 2990"/>
                <a:gd name="T12" fmla="*/ 399 w 2989"/>
                <a:gd name="T13" fmla="*/ 1495 h 2990"/>
                <a:gd name="T14" fmla="*/ 1495 w 2989"/>
                <a:gd name="T15" fmla="*/ 2591 h 2990"/>
                <a:gd name="T16" fmla="*/ 2591 w 2989"/>
                <a:gd name="T17" fmla="*/ 1495 h 2990"/>
                <a:gd name="T18" fmla="*/ 1495 w 2989"/>
                <a:gd name="T19" fmla="*/ 399 h 2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89" h="2990">
                  <a:moveTo>
                    <a:pt x="1495" y="2990"/>
                  </a:moveTo>
                  <a:cubicBezTo>
                    <a:pt x="671" y="2990"/>
                    <a:pt x="0" y="2319"/>
                    <a:pt x="0" y="1495"/>
                  </a:cubicBezTo>
                  <a:cubicBezTo>
                    <a:pt x="0" y="671"/>
                    <a:pt x="671" y="0"/>
                    <a:pt x="1495" y="0"/>
                  </a:cubicBezTo>
                  <a:cubicBezTo>
                    <a:pt x="2319" y="0"/>
                    <a:pt x="2989" y="671"/>
                    <a:pt x="2989" y="1495"/>
                  </a:cubicBezTo>
                  <a:cubicBezTo>
                    <a:pt x="2989" y="2319"/>
                    <a:pt x="2319" y="2990"/>
                    <a:pt x="1495" y="2990"/>
                  </a:cubicBezTo>
                  <a:close/>
                  <a:moveTo>
                    <a:pt x="1495" y="399"/>
                  </a:moveTo>
                  <a:cubicBezTo>
                    <a:pt x="890" y="399"/>
                    <a:pt x="399" y="891"/>
                    <a:pt x="399" y="1495"/>
                  </a:cubicBezTo>
                  <a:cubicBezTo>
                    <a:pt x="399" y="2099"/>
                    <a:pt x="890" y="2591"/>
                    <a:pt x="1495" y="2591"/>
                  </a:cubicBezTo>
                  <a:cubicBezTo>
                    <a:pt x="2099" y="2591"/>
                    <a:pt x="2591" y="2099"/>
                    <a:pt x="2591" y="1495"/>
                  </a:cubicBezTo>
                  <a:cubicBezTo>
                    <a:pt x="2591" y="891"/>
                    <a:pt x="2099" y="399"/>
                    <a:pt x="1495" y="399"/>
                  </a:cubicBezTo>
                  <a:close/>
                </a:path>
              </a:pathLst>
            </a:custGeom>
            <a:solidFill>
              <a:srgbClr val="43B0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904">
              <a:extLst>
                <a:ext uri="{FF2B5EF4-FFF2-40B4-BE49-F238E27FC236}">
                  <a16:creationId xmlns:a16="http://schemas.microsoft.com/office/drawing/2014/main" id="{1BB0E56C-788F-432A-8BF9-2A4BAA177A8D}"/>
                </a:ext>
              </a:extLst>
            </p:cNvPr>
            <p:cNvSpPr>
              <a:spLocks/>
            </p:cNvSpPr>
            <p:nvPr/>
          </p:nvSpPr>
          <p:spPr bwMode="gray">
            <a:xfrm>
              <a:off x="5084" y="1696"/>
              <a:ext cx="214" cy="306"/>
            </a:xfrm>
            <a:custGeom>
              <a:avLst/>
              <a:gdLst>
                <a:gd name="T0" fmla="*/ 1059 w 1100"/>
                <a:gd name="T1" fmla="*/ 278 h 1565"/>
                <a:gd name="T2" fmla="*/ 886 w 1100"/>
                <a:gd name="T3" fmla="*/ 256 h 1565"/>
                <a:gd name="T4" fmla="*/ 469 w 1100"/>
                <a:gd name="T5" fmla="*/ 544 h 1565"/>
                <a:gd name="T6" fmla="*/ 1002 w 1100"/>
                <a:gd name="T7" fmla="*/ 544 h 1565"/>
                <a:gd name="T8" fmla="*/ 980 w 1100"/>
                <a:gd name="T9" fmla="*/ 704 h 1565"/>
                <a:gd name="T10" fmla="*/ 440 w 1100"/>
                <a:gd name="T11" fmla="*/ 704 h 1565"/>
                <a:gd name="T12" fmla="*/ 436 w 1100"/>
                <a:gd name="T13" fmla="*/ 774 h 1565"/>
                <a:gd name="T14" fmla="*/ 440 w 1100"/>
                <a:gd name="T15" fmla="*/ 837 h 1565"/>
                <a:gd name="T16" fmla="*/ 964 w 1100"/>
                <a:gd name="T17" fmla="*/ 837 h 1565"/>
                <a:gd name="T18" fmla="*/ 943 w 1100"/>
                <a:gd name="T19" fmla="*/ 997 h 1565"/>
                <a:gd name="T20" fmla="*/ 467 w 1100"/>
                <a:gd name="T21" fmla="*/ 997 h 1565"/>
                <a:gd name="T22" fmla="*/ 888 w 1100"/>
                <a:gd name="T23" fmla="*/ 1302 h 1565"/>
                <a:gd name="T24" fmla="*/ 1059 w 1100"/>
                <a:gd name="T25" fmla="*/ 1282 h 1565"/>
                <a:gd name="T26" fmla="*/ 1072 w 1100"/>
                <a:gd name="T27" fmla="*/ 1548 h 1565"/>
                <a:gd name="T28" fmla="*/ 875 w 1100"/>
                <a:gd name="T29" fmla="*/ 1565 h 1565"/>
                <a:gd name="T30" fmla="*/ 153 w 1100"/>
                <a:gd name="T31" fmla="*/ 997 h 1565"/>
                <a:gd name="T32" fmla="*/ 0 w 1100"/>
                <a:gd name="T33" fmla="*/ 997 h 1565"/>
                <a:gd name="T34" fmla="*/ 19 w 1100"/>
                <a:gd name="T35" fmla="*/ 837 h 1565"/>
                <a:gd name="T36" fmla="*/ 133 w 1100"/>
                <a:gd name="T37" fmla="*/ 837 h 1565"/>
                <a:gd name="T38" fmla="*/ 131 w 1100"/>
                <a:gd name="T39" fmla="*/ 774 h 1565"/>
                <a:gd name="T40" fmla="*/ 133 w 1100"/>
                <a:gd name="T41" fmla="*/ 704 h 1565"/>
                <a:gd name="T42" fmla="*/ 0 w 1100"/>
                <a:gd name="T43" fmla="*/ 704 h 1565"/>
                <a:gd name="T44" fmla="*/ 19 w 1100"/>
                <a:gd name="T45" fmla="*/ 544 h 1565"/>
                <a:gd name="T46" fmla="*/ 158 w 1100"/>
                <a:gd name="T47" fmla="*/ 544 h 1565"/>
                <a:gd name="T48" fmla="*/ 881 w 1100"/>
                <a:gd name="T49" fmla="*/ 0 h 1565"/>
                <a:gd name="T50" fmla="*/ 1100 w 1100"/>
                <a:gd name="T51" fmla="*/ 17 h 1565"/>
                <a:gd name="T52" fmla="*/ 1059 w 1100"/>
                <a:gd name="T53" fmla="*/ 278 h 1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00" h="1565">
                  <a:moveTo>
                    <a:pt x="1059" y="278"/>
                  </a:moveTo>
                  <a:cubicBezTo>
                    <a:pt x="993" y="263"/>
                    <a:pt x="947" y="256"/>
                    <a:pt x="886" y="256"/>
                  </a:cubicBezTo>
                  <a:cubicBezTo>
                    <a:pt x="701" y="256"/>
                    <a:pt x="530" y="359"/>
                    <a:pt x="469" y="544"/>
                  </a:cubicBezTo>
                  <a:cubicBezTo>
                    <a:pt x="1002" y="544"/>
                    <a:pt x="1002" y="544"/>
                    <a:pt x="1002" y="544"/>
                  </a:cubicBezTo>
                  <a:cubicBezTo>
                    <a:pt x="980" y="704"/>
                    <a:pt x="980" y="704"/>
                    <a:pt x="980" y="704"/>
                  </a:cubicBezTo>
                  <a:cubicBezTo>
                    <a:pt x="440" y="704"/>
                    <a:pt x="440" y="704"/>
                    <a:pt x="440" y="704"/>
                  </a:cubicBezTo>
                  <a:cubicBezTo>
                    <a:pt x="436" y="728"/>
                    <a:pt x="436" y="750"/>
                    <a:pt x="436" y="774"/>
                  </a:cubicBezTo>
                  <a:cubicBezTo>
                    <a:pt x="436" y="796"/>
                    <a:pt x="436" y="818"/>
                    <a:pt x="440" y="837"/>
                  </a:cubicBezTo>
                  <a:cubicBezTo>
                    <a:pt x="964" y="837"/>
                    <a:pt x="964" y="837"/>
                    <a:pt x="964" y="837"/>
                  </a:cubicBezTo>
                  <a:cubicBezTo>
                    <a:pt x="943" y="997"/>
                    <a:pt x="943" y="997"/>
                    <a:pt x="943" y="997"/>
                  </a:cubicBezTo>
                  <a:cubicBezTo>
                    <a:pt x="467" y="997"/>
                    <a:pt x="467" y="997"/>
                    <a:pt x="467" y="997"/>
                  </a:cubicBezTo>
                  <a:cubicBezTo>
                    <a:pt x="526" y="1197"/>
                    <a:pt x="688" y="1302"/>
                    <a:pt x="888" y="1302"/>
                  </a:cubicBezTo>
                  <a:cubicBezTo>
                    <a:pt x="949" y="1302"/>
                    <a:pt x="1002" y="1298"/>
                    <a:pt x="1059" y="1282"/>
                  </a:cubicBezTo>
                  <a:cubicBezTo>
                    <a:pt x="1072" y="1548"/>
                    <a:pt x="1072" y="1548"/>
                    <a:pt x="1072" y="1548"/>
                  </a:cubicBezTo>
                  <a:cubicBezTo>
                    <a:pt x="1013" y="1559"/>
                    <a:pt x="943" y="1565"/>
                    <a:pt x="875" y="1565"/>
                  </a:cubicBezTo>
                  <a:cubicBezTo>
                    <a:pt x="482" y="1565"/>
                    <a:pt x="219" y="1344"/>
                    <a:pt x="153" y="997"/>
                  </a:cubicBezTo>
                  <a:cubicBezTo>
                    <a:pt x="0" y="997"/>
                    <a:pt x="0" y="997"/>
                    <a:pt x="0" y="997"/>
                  </a:cubicBezTo>
                  <a:cubicBezTo>
                    <a:pt x="19" y="837"/>
                    <a:pt x="19" y="837"/>
                    <a:pt x="19" y="837"/>
                  </a:cubicBezTo>
                  <a:cubicBezTo>
                    <a:pt x="133" y="837"/>
                    <a:pt x="133" y="837"/>
                    <a:pt x="133" y="837"/>
                  </a:cubicBezTo>
                  <a:cubicBezTo>
                    <a:pt x="131" y="818"/>
                    <a:pt x="131" y="796"/>
                    <a:pt x="131" y="774"/>
                  </a:cubicBezTo>
                  <a:cubicBezTo>
                    <a:pt x="131" y="750"/>
                    <a:pt x="131" y="728"/>
                    <a:pt x="133" y="704"/>
                  </a:cubicBezTo>
                  <a:cubicBezTo>
                    <a:pt x="0" y="704"/>
                    <a:pt x="0" y="704"/>
                    <a:pt x="0" y="704"/>
                  </a:cubicBezTo>
                  <a:cubicBezTo>
                    <a:pt x="19" y="544"/>
                    <a:pt x="19" y="544"/>
                    <a:pt x="19" y="544"/>
                  </a:cubicBezTo>
                  <a:cubicBezTo>
                    <a:pt x="158" y="544"/>
                    <a:pt x="158" y="544"/>
                    <a:pt x="158" y="544"/>
                  </a:cubicBezTo>
                  <a:cubicBezTo>
                    <a:pt x="245" y="215"/>
                    <a:pt x="513" y="0"/>
                    <a:pt x="881" y="0"/>
                  </a:cubicBezTo>
                  <a:cubicBezTo>
                    <a:pt x="969" y="0"/>
                    <a:pt x="1052" y="9"/>
                    <a:pt x="1100" y="17"/>
                  </a:cubicBezTo>
                  <a:lnTo>
                    <a:pt x="1059" y="278"/>
                  </a:lnTo>
                  <a:close/>
                </a:path>
              </a:pathLst>
            </a:custGeom>
            <a:solidFill>
              <a:srgbClr val="0035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905">
              <a:extLst>
                <a:ext uri="{FF2B5EF4-FFF2-40B4-BE49-F238E27FC236}">
                  <a16:creationId xmlns:a16="http://schemas.microsoft.com/office/drawing/2014/main" id="{0AA26F7F-5042-4A35-A0AC-914ABC411977}"/>
                </a:ext>
              </a:extLst>
            </p:cNvPr>
            <p:cNvSpPr>
              <a:spLocks/>
            </p:cNvSpPr>
            <p:nvPr/>
          </p:nvSpPr>
          <p:spPr bwMode="gray">
            <a:xfrm>
              <a:off x="4671" y="2469"/>
              <a:ext cx="308" cy="308"/>
            </a:xfrm>
            <a:custGeom>
              <a:avLst/>
              <a:gdLst>
                <a:gd name="T0" fmla="*/ 253 w 308"/>
                <a:gd name="T1" fmla="*/ 308 h 308"/>
                <a:gd name="T2" fmla="*/ 0 w 308"/>
                <a:gd name="T3" fmla="*/ 55 h 308"/>
                <a:gd name="T4" fmla="*/ 55 w 308"/>
                <a:gd name="T5" fmla="*/ 0 h 308"/>
                <a:gd name="T6" fmla="*/ 308 w 308"/>
                <a:gd name="T7" fmla="*/ 253 h 308"/>
                <a:gd name="T8" fmla="*/ 253 w 308"/>
                <a:gd name="T9" fmla="*/ 308 h 308"/>
              </a:gdLst>
              <a:ahLst/>
              <a:cxnLst>
                <a:cxn ang="0">
                  <a:pos x="T0" y="T1"/>
                </a:cxn>
                <a:cxn ang="0">
                  <a:pos x="T2" y="T3"/>
                </a:cxn>
                <a:cxn ang="0">
                  <a:pos x="T4" y="T5"/>
                </a:cxn>
                <a:cxn ang="0">
                  <a:pos x="T6" y="T7"/>
                </a:cxn>
                <a:cxn ang="0">
                  <a:pos x="T8" y="T9"/>
                </a:cxn>
              </a:cxnLst>
              <a:rect l="0" t="0" r="r" b="b"/>
              <a:pathLst>
                <a:path w="308" h="308">
                  <a:moveTo>
                    <a:pt x="253" y="308"/>
                  </a:moveTo>
                  <a:lnTo>
                    <a:pt x="0" y="55"/>
                  </a:lnTo>
                  <a:lnTo>
                    <a:pt x="55" y="0"/>
                  </a:lnTo>
                  <a:lnTo>
                    <a:pt x="308" y="253"/>
                  </a:lnTo>
                  <a:lnTo>
                    <a:pt x="253" y="308"/>
                  </a:lnTo>
                  <a:close/>
                </a:path>
              </a:pathLst>
            </a:custGeom>
            <a:solidFill>
              <a:srgbClr val="0035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906">
              <a:extLst>
                <a:ext uri="{FF2B5EF4-FFF2-40B4-BE49-F238E27FC236}">
                  <a16:creationId xmlns:a16="http://schemas.microsoft.com/office/drawing/2014/main" id="{0711E3C1-A13D-4263-BFD1-25EA16409644}"/>
                </a:ext>
              </a:extLst>
            </p:cNvPr>
            <p:cNvSpPr>
              <a:spLocks noEditPoints="1"/>
            </p:cNvSpPr>
            <p:nvPr/>
          </p:nvSpPr>
          <p:spPr bwMode="gray">
            <a:xfrm>
              <a:off x="4775" y="2200"/>
              <a:ext cx="1004" cy="465"/>
            </a:xfrm>
            <a:custGeom>
              <a:avLst/>
              <a:gdLst>
                <a:gd name="T0" fmla="*/ 1286 w 5145"/>
                <a:gd name="T1" fmla="*/ 2382 h 2382"/>
                <a:gd name="T2" fmla="*/ 0 w 5145"/>
                <a:gd name="T3" fmla="*/ 1097 h 2382"/>
                <a:gd name="T4" fmla="*/ 1433 w 5145"/>
                <a:gd name="T5" fmla="*/ 22 h 2382"/>
                <a:gd name="T6" fmla="*/ 3293 w 5145"/>
                <a:gd name="T7" fmla="*/ 22 h 2382"/>
                <a:gd name="T8" fmla="*/ 3784 w 5145"/>
                <a:gd name="T9" fmla="*/ 429 h 2382"/>
                <a:gd name="T10" fmla="*/ 4287 w 5145"/>
                <a:gd name="T11" fmla="*/ 150 h 2382"/>
                <a:gd name="T12" fmla="*/ 5028 w 5145"/>
                <a:gd name="T13" fmla="*/ 180 h 2382"/>
                <a:gd name="T14" fmla="*/ 5132 w 5145"/>
                <a:gd name="T15" fmla="*/ 532 h 2382"/>
                <a:gd name="T16" fmla="*/ 4901 w 5145"/>
                <a:gd name="T17" fmla="*/ 983 h 2382"/>
                <a:gd name="T18" fmla="*/ 4892 w 5145"/>
                <a:gd name="T19" fmla="*/ 990 h 2382"/>
                <a:gd name="T20" fmla="*/ 3035 w 5145"/>
                <a:gd name="T21" fmla="*/ 2124 h 2382"/>
                <a:gd name="T22" fmla="*/ 1854 w 5145"/>
                <a:gd name="T23" fmla="*/ 1927 h 2382"/>
                <a:gd name="T24" fmla="*/ 1286 w 5145"/>
                <a:gd name="T25" fmla="*/ 2382 h 2382"/>
                <a:gd name="T26" fmla="*/ 607 w 5145"/>
                <a:gd name="T27" fmla="*/ 1140 h 2382"/>
                <a:gd name="T28" fmla="*/ 1315 w 5145"/>
                <a:gd name="T29" fmla="*/ 1848 h 2382"/>
                <a:gd name="T30" fmla="*/ 1744 w 5145"/>
                <a:gd name="T31" fmla="*/ 1505 h 2382"/>
                <a:gd name="T32" fmla="*/ 2954 w 5145"/>
                <a:gd name="T33" fmla="*/ 1707 h 2382"/>
                <a:gd name="T34" fmla="*/ 4676 w 5145"/>
                <a:gd name="T35" fmla="*/ 654 h 2382"/>
                <a:gd name="T36" fmla="*/ 4736 w 5145"/>
                <a:gd name="T37" fmla="*/ 458 h 2382"/>
                <a:gd name="T38" fmla="*/ 4500 w 5145"/>
                <a:gd name="T39" fmla="*/ 487 h 2382"/>
                <a:gd name="T40" fmla="*/ 4486 w 5145"/>
                <a:gd name="T41" fmla="*/ 495 h 2382"/>
                <a:gd name="T42" fmla="*/ 3589 w 5145"/>
                <a:gd name="T43" fmla="*/ 994 h 2382"/>
                <a:gd name="T44" fmla="*/ 3563 w 5145"/>
                <a:gd name="T45" fmla="*/ 946 h 2382"/>
                <a:gd name="T46" fmla="*/ 3293 w 5145"/>
                <a:gd name="T47" fmla="*/ 1019 h 2382"/>
                <a:gd name="T48" fmla="*/ 2855 w 5145"/>
                <a:gd name="T49" fmla="*/ 1019 h 2382"/>
                <a:gd name="T50" fmla="*/ 2607 w 5145"/>
                <a:gd name="T51" fmla="*/ 1185 h 2382"/>
                <a:gd name="T52" fmla="*/ 2386 w 5145"/>
                <a:gd name="T53" fmla="*/ 853 h 2382"/>
                <a:gd name="T54" fmla="*/ 2735 w 5145"/>
                <a:gd name="T55" fmla="*/ 620 h 2382"/>
                <a:gd name="T56" fmla="*/ 3293 w 5145"/>
                <a:gd name="T57" fmla="*/ 620 h 2382"/>
                <a:gd name="T58" fmla="*/ 3393 w 5145"/>
                <a:gd name="T59" fmla="*/ 521 h 2382"/>
                <a:gd name="T60" fmla="*/ 3293 w 5145"/>
                <a:gd name="T61" fmla="*/ 421 h 2382"/>
                <a:gd name="T62" fmla="*/ 1566 w 5145"/>
                <a:gd name="T63" fmla="*/ 421 h 2382"/>
                <a:gd name="T64" fmla="*/ 607 w 5145"/>
                <a:gd name="T65" fmla="*/ 1140 h 2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45" h="2382">
                  <a:moveTo>
                    <a:pt x="1286" y="2382"/>
                  </a:moveTo>
                  <a:cubicBezTo>
                    <a:pt x="0" y="1097"/>
                    <a:pt x="0" y="1097"/>
                    <a:pt x="0" y="1097"/>
                  </a:cubicBezTo>
                  <a:cubicBezTo>
                    <a:pt x="1433" y="22"/>
                    <a:pt x="1433" y="22"/>
                    <a:pt x="1433" y="22"/>
                  </a:cubicBezTo>
                  <a:cubicBezTo>
                    <a:pt x="3293" y="22"/>
                    <a:pt x="3293" y="22"/>
                    <a:pt x="3293" y="22"/>
                  </a:cubicBezTo>
                  <a:cubicBezTo>
                    <a:pt x="3551" y="22"/>
                    <a:pt x="3745" y="189"/>
                    <a:pt x="3784" y="429"/>
                  </a:cubicBezTo>
                  <a:cubicBezTo>
                    <a:pt x="4287" y="150"/>
                    <a:pt x="4287" y="150"/>
                    <a:pt x="4287" y="150"/>
                  </a:cubicBezTo>
                  <a:cubicBezTo>
                    <a:pt x="4466" y="37"/>
                    <a:pt x="4849" y="0"/>
                    <a:pt x="5028" y="180"/>
                  </a:cubicBezTo>
                  <a:cubicBezTo>
                    <a:pt x="5109" y="260"/>
                    <a:pt x="5145" y="386"/>
                    <a:pt x="5132" y="532"/>
                  </a:cubicBezTo>
                  <a:cubicBezTo>
                    <a:pt x="5119" y="676"/>
                    <a:pt x="5051" y="880"/>
                    <a:pt x="4901" y="983"/>
                  </a:cubicBezTo>
                  <a:cubicBezTo>
                    <a:pt x="4892" y="990"/>
                    <a:pt x="4892" y="990"/>
                    <a:pt x="4892" y="990"/>
                  </a:cubicBezTo>
                  <a:cubicBezTo>
                    <a:pt x="3035" y="2124"/>
                    <a:pt x="3035" y="2124"/>
                    <a:pt x="3035" y="2124"/>
                  </a:cubicBezTo>
                  <a:cubicBezTo>
                    <a:pt x="1854" y="1927"/>
                    <a:pt x="1854" y="1927"/>
                    <a:pt x="1854" y="1927"/>
                  </a:cubicBezTo>
                  <a:lnTo>
                    <a:pt x="1286" y="2382"/>
                  </a:lnTo>
                  <a:close/>
                  <a:moveTo>
                    <a:pt x="607" y="1140"/>
                  </a:moveTo>
                  <a:cubicBezTo>
                    <a:pt x="1315" y="1848"/>
                    <a:pt x="1315" y="1848"/>
                    <a:pt x="1315" y="1848"/>
                  </a:cubicBezTo>
                  <a:cubicBezTo>
                    <a:pt x="1744" y="1505"/>
                    <a:pt x="1744" y="1505"/>
                    <a:pt x="1744" y="1505"/>
                  </a:cubicBezTo>
                  <a:cubicBezTo>
                    <a:pt x="2954" y="1707"/>
                    <a:pt x="2954" y="1707"/>
                    <a:pt x="2954" y="1707"/>
                  </a:cubicBezTo>
                  <a:cubicBezTo>
                    <a:pt x="4676" y="654"/>
                    <a:pt x="4676" y="654"/>
                    <a:pt x="4676" y="654"/>
                  </a:cubicBezTo>
                  <a:cubicBezTo>
                    <a:pt x="4710" y="625"/>
                    <a:pt x="4743" y="513"/>
                    <a:pt x="4736" y="458"/>
                  </a:cubicBezTo>
                  <a:cubicBezTo>
                    <a:pt x="4686" y="443"/>
                    <a:pt x="4546" y="456"/>
                    <a:pt x="4500" y="487"/>
                  </a:cubicBezTo>
                  <a:cubicBezTo>
                    <a:pt x="4486" y="495"/>
                    <a:pt x="4486" y="495"/>
                    <a:pt x="4486" y="495"/>
                  </a:cubicBezTo>
                  <a:cubicBezTo>
                    <a:pt x="3589" y="994"/>
                    <a:pt x="3589" y="994"/>
                    <a:pt x="3589" y="994"/>
                  </a:cubicBezTo>
                  <a:cubicBezTo>
                    <a:pt x="3563" y="946"/>
                    <a:pt x="3563" y="946"/>
                    <a:pt x="3563" y="946"/>
                  </a:cubicBezTo>
                  <a:cubicBezTo>
                    <a:pt x="3487" y="993"/>
                    <a:pt x="3395" y="1019"/>
                    <a:pt x="3293" y="1019"/>
                  </a:cubicBezTo>
                  <a:cubicBezTo>
                    <a:pt x="2855" y="1019"/>
                    <a:pt x="2855" y="1019"/>
                    <a:pt x="2855" y="1019"/>
                  </a:cubicBezTo>
                  <a:cubicBezTo>
                    <a:pt x="2607" y="1185"/>
                    <a:pt x="2607" y="1185"/>
                    <a:pt x="2607" y="1185"/>
                  </a:cubicBezTo>
                  <a:cubicBezTo>
                    <a:pt x="2386" y="853"/>
                    <a:pt x="2386" y="853"/>
                    <a:pt x="2386" y="853"/>
                  </a:cubicBezTo>
                  <a:cubicBezTo>
                    <a:pt x="2735" y="620"/>
                    <a:pt x="2735" y="620"/>
                    <a:pt x="2735" y="620"/>
                  </a:cubicBezTo>
                  <a:cubicBezTo>
                    <a:pt x="3293" y="620"/>
                    <a:pt x="3293" y="620"/>
                    <a:pt x="3293" y="620"/>
                  </a:cubicBezTo>
                  <a:cubicBezTo>
                    <a:pt x="3393" y="620"/>
                    <a:pt x="3393" y="548"/>
                    <a:pt x="3393" y="521"/>
                  </a:cubicBezTo>
                  <a:cubicBezTo>
                    <a:pt x="3393" y="493"/>
                    <a:pt x="3393" y="421"/>
                    <a:pt x="3293" y="421"/>
                  </a:cubicBezTo>
                  <a:cubicBezTo>
                    <a:pt x="1566" y="421"/>
                    <a:pt x="1566" y="421"/>
                    <a:pt x="1566" y="421"/>
                  </a:cubicBezTo>
                  <a:lnTo>
                    <a:pt x="607" y="1140"/>
                  </a:lnTo>
                  <a:close/>
                </a:path>
              </a:pathLst>
            </a:custGeom>
            <a:solidFill>
              <a:srgbClr val="0035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12" name="Group 1369">
            <a:extLst>
              <a:ext uri="{FF2B5EF4-FFF2-40B4-BE49-F238E27FC236}">
                <a16:creationId xmlns:a16="http://schemas.microsoft.com/office/drawing/2014/main" id="{A35A42BE-03C2-4849-B6BA-421FD3221832}"/>
              </a:ext>
            </a:extLst>
          </p:cNvPr>
          <p:cNvGrpSpPr>
            <a:grpSpLocks noChangeAspect="1"/>
          </p:cNvGrpSpPr>
          <p:nvPr/>
        </p:nvGrpSpPr>
        <p:grpSpPr bwMode="gray">
          <a:xfrm>
            <a:off x="9519938" y="2951434"/>
            <a:ext cx="1003282" cy="613396"/>
            <a:chOff x="1094" y="1775"/>
            <a:chExt cx="1984" cy="1213"/>
          </a:xfrm>
        </p:grpSpPr>
        <p:sp>
          <p:nvSpPr>
            <p:cNvPr id="13" name="Rectangle 1370">
              <a:extLst>
                <a:ext uri="{FF2B5EF4-FFF2-40B4-BE49-F238E27FC236}">
                  <a16:creationId xmlns:a16="http://schemas.microsoft.com/office/drawing/2014/main" id="{1A5F2C58-FE50-401E-B2E4-DE2EFA6774FC}"/>
                </a:ext>
              </a:extLst>
            </p:cNvPr>
            <p:cNvSpPr>
              <a:spLocks noChangeArrowheads="1"/>
            </p:cNvSpPr>
            <p:nvPr/>
          </p:nvSpPr>
          <p:spPr bwMode="gray">
            <a:xfrm>
              <a:off x="1094" y="2878"/>
              <a:ext cx="1984" cy="110"/>
            </a:xfrm>
            <a:prstGeom prst="rect">
              <a:avLst/>
            </a:prstGeom>
            <a:solidFill>
              <a:srgbClr val="0035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1371">
              <a:extLst>
                <a:ext uri="{FF2B5EF4-FFF2-40B4-BE49-F238E27FC236}">
                  <a16:creationId xmlns:a16="http://schemas.microsoft.com/office/drawing/2014/main" id="{6683F754-737A-42D5-9C10-F9A2FC7A19A0}"/>
                </a:ext>
              </a:extLst>
            </p:cNvPr>
            <p:cNvSpPr>
              <a:spLocks/>
            </p:cNvSpPr>
            <p:nvPr/>
          </p:nvSpPr>
          <p:spPr bwMode="gray">
            <a:xfrm>
              <a:off x="1110" y="2138"/>
              <a:ext cx="952" cy="570"/>
            </a:xfrm>
            <a:custGeom>
              <a:avLst/>
              <a:gdLst>
                <a:gd name="T0" fmla="*/ 1057 w 2720"/>
                <a:gd name="T1" fmla="*/ 445 h 1626"/>
                <a:gd name="T2" fmla="*/ 2238 w 2720"/>
                <a:gd name="T3" fmla="*/ 1626 h 1626"/>
                <a:gd name="T4" fmla="*/ 2720 w 2720"/>
                <a:gd name="T5" fmla="*/ 1144 h 1626"/>
                <a:gd name="T6" fmla="*/ 2517 w 2720"/>
                <a:gd name="T7" fmla="*/ 902 h 1626"/>
                <a:gd name="T8" fmla="*/ 2238 w 2720"/>
                <a:gd name="T9" fmla="*/ 1181 h 1626"/>
                <a:gd name="T10" fmla="*/ 1057 w 2720"/>
                <a:gd name="T11" fmla="*/ 0 h 1626"/>
                <a:gd name="T12" fmla="*/ 0 w 2720"/>
                <a:gd name="T13" fmla="*/ 1056 h 1626"/>
                <a:gd name="T14" fmla="*/ 223 w 2720"/>
                <a:gd name="T15" fmla="*/ 1279 h 1626"/>
                <a:gd name="T16" fmla="*/ 1057 w 2720"/>
                <a:gd name="T17" fmla="*/ 445 h 1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20" h="1626">
                  <a:moveTo>
                    <a:pt x="1057" y="445"/>
                  </a:moveTo>
                  <a:cubicBezTo>
                    <a:pt x="2238" y="1626"/>
                    <a:pt x="2238" y="1626"/>
                    <a:pt x="2238" y="1626"/>
                  </a:cubicBezTo>
                  <a:cubicBezTo>
                    <a:pt x="2720" y="1144"/>
                    <a:pt x="2720" y="1144"/>
                    <a:pt x="2720" y="1144"/>
                  </a:cubicBezTo>
                  <a:cubicBezTo>
                    <a:pt x="2643" y="1072"/>
                    <a:pt x="2574" y="991"/>
                    <a:pt x="2517" y="902"/>
                  </a:cubicBezTo>
                  <a:cubicBezTo>
                    <a:pt x="2238" y="1181"/>
                    <a:pt x="2238" y="1181"/>
                    <a:pt x="2238" y="1181"/>
                  </a:cubicBezTo>
                  <a:cubicBezTo>
                    <a:pt x="1057" y="0"/>
                    <a:pt x="1057" y="0"/>
                    <a:pt x="1057" y="0"/>
                  </a:cubicBezTo>
                  <a:cubicBezTo>
                    <a:pt x="0" y="1056"/>
                    <a:pt x="0" y="1056"/>
                    <a:pt x="0" y="1056"/>
                  </a:cubicBezTo>
                  <a:cubicBezTo>
                    <a:pt x="223" y="1279"/>
                    <a:pt x="223" y="1279"/>
                    <a:pt x="223" y="1279"/>
                  </a:cubicBezTo>
                  <a:lnTo>
                    <a:pt x="1057" y="445"/>
                  </a:lnTo>
                  <a:close/>
                </a:path>
              </a:pathLst>
            </a:custGeom>
            <a:solidFill>
              <a:srgbClr val="43B0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372">
              <a:extLst>
                <a:ext uri="{FF2B5EF4-FFF2-40B4-BE49-F238E27FC236}">
                  <a16:creationId xmlns:a16="http://schemas.microsoft.com/office/drawing/2014/main" id="{8B4E6B5F-73C9-4777-9C68-2B8119885C88}"/>
                </a:ext>
              </a:extLst>
            </p:cNvPr>
            <p:cNvSpPr>
              <a:spLocks/>
            </p:cNvSpPr>
            <p:nvPr/>
          </p:nvSpPr>
          <p:spPr bwMode="gray">
            <a:xfrm>
              <a:off x="2071" y="2110"/>
              <a:ext cx="621" cy="376"/>
            </a:xfrm>
            <a:custGeom>
              <a:avLst/>
              <a:gdLst>
                <a:gd name="T0" fmla="*/ 197 w 1775"/>
                <a:gd name="T1" fmla="*/ 1000 h 1071"/>
                <a:gd name="T2" fmla="*/ 752 w 1775"/>
                <a:gd name="T3" fmla="*/ 446 h 1071"/>
                <a:gd name="T4" fmla="*/ 1377 w 1775"/>
                <a:gd name="T5" fmla="*/ 1071 h 1071"/>
                <a:gd name="T6" fmla="*/ 1413 w 1775"/>
                <a:gd name="T7" fmla="*/ 1044 h 1071"/>
                <a:gd name="T8" fmla="*/ 1572 w 1775"/>
                <a:gd name="T9" fmla="*/ 885 h 1071"/>
                <a:gd name="T10" fmla="*/ 1775 w 1775"/>
                <a:gd name="T11" fmla="*/ 302 h 1071"/>
                <a:gd name="T12" fmla="*/ 1772 w 1775"/>
                <a:gd name="T13" fmla="*/ 239 h 1071"/>
                <a:gd name="T14" fmla="*/ 1382 w 1775"/>
                <a:gd name="T15" fmla="*/ 630 h 1071"/>
                <a:gd name="T16" fmla="*/ 752 w 1775"/>
                <a:gd name="T17" fmla="*/ 0 h 1071"/>
                <a:gd name="T18" fmla="*/ 0 w 1775"/>
                <a:gd name="T19" fmla="*/ 752 h 1071"/>
                <a:gd name="T20" fmla="*/ 197 w 1775"/>
                <a:gd name="T21" fmla="*/ 1000 h 10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75" h="1071">
                  <a:moveTo>
                    <a:pt x="197" y="1000"/>
                  </a:moveTo>
                  <a:cubicBezTo>
                    <a:pt x="752" y="446"/>
                    <a:pt x="752" y="446"/>
                    <a:pt x="752" y="446"/>
                  </a:cubicBezTo>
                  <a:cubicBezTo>
                    <a:pt x="1377" y="1071"/>
                    <a:pt x="1377" y="1071"/>
                    <a:pt x="1377" y="1071"/>
                  </a:cubicBezTo>
                  <a:cubicBezTo>
                    <a:pt x="1389" y="1062"/>
                    <a:pt x="1402" y="1053"/>
                    <a:pt x="1413" y="1044"/>
                  </a:cubicBezTo>
                  <a:cubicBezTo>
                    <a:pt x="1572" y="885"/>
                    <a:pt x="1572" y="885"/>
                    <a:pt x="1572" y="885"/>
                  </a:cubicBezTo>
                  <a:cubicBezTo>
                    <a:pt x="1699" y="724"/>
                    <a:pt x="1775" y="522"/>
                    <a:pt x="1775" y="302"/>
                  </a:cubicBezTo>
                  <a:cubicBezTo>
                    <a:pt x="1775" y="281"/>
                    <a:pt x="1773" y="260"/>
                    <a:pt x="1772" y="239"/>
                  </a:cubicBezTo>
                  <a:cubicBezTo>
                    <a:pt x="1382" y="630"/>
                    <a:pt x="1382" y="630"/>
                    <a:pt x="1382" y="630"/>
                  </a:cubicBezTo>
                  <a:cubicBezTo>
                    <a:pt x="752" y="0"/>
                    <a:pt x="752" y="0"/>
                    <a:pt x="752" y="0"/>
                  </a:cubicBezTo>
                  <a:cubicBezTo>
                    <a:pt x="0" y="752"/>
                    <a:pt x="0" y="752"/>
                    <a:pt x="0" y="752"/>
                  </a:cubicBezTo>
                  <a:cubicBezTo>
                    <a:pt x="51" y="846"/>
                    <a:pt x="118" y="929"/>
                    <a:pt x="197" y="1000"/>
                  </a:cubicBezTo>
                  <a:close/>
                </a:path>
              </a:pathLst>
            </a:custGeom>
            <a:solidFill>
              <a:srgbClr val="43B0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Freeform 1374">
              <a:extLst>
                <a:ext uri="{FF2B5EF4-FFF2-40B4-BE49-F238E27FC236}">
                  <a16:creationId xmlns:a16="http://schemas.microsoft.com/office/drawing/2014/main" id="{F7822401-3A92-47AA-8C29-15502B59F06D}"/>
                </a:ext>
              </a:extLst>
            </p:cNvPr>
            <p:cNvSpPr>
              <a:spLocks noEditPoints="1"/>
            </p:cNvSpPr>
            <p:nvPr/>
          </p:nvSpPr>
          <p:spPr bwMode="gray">
            <a:xfrm>
              <a:off x="1921" y="1775"/>
              <a:ext cx="1052" cy="1048"/>
            </a:xfrm>
            <a:custGeom>
              <a:avLst/>
              <a:gdLst>
                <a:gd name="T0" fmla="*/ 403 w 3007"/>
                <a:gd name="T1" fmla="*/ 2181 h 2992"/>
                <a:gd name="T2" fmla="*/ 1259 w 3007"/>
                <a:gd name="T3" fmla="*/ 2519 h 2992"/>
                <a:gd name="T4" fmla="*/ 2031 w 3007"/>
                <a:gd name="T5" fmla="*/ 2254 h 2992"/>
                <a:gd name="T6" fmla="*/ 2723 w 3007"/>
                <a:gd name="T7" fmla="*/ 2946 h 2992"/>
                <a:gd name="T8" fmla="*/ 2834 w 3007"/>
                <a:gd name="T9" fmla="*/ 2992 h 2992"/>
                <a:gd name="T10" fmla="*/ 2946 w 3007"/>
                <a:gd name="T11" fmla="*/ 2946 h 2992"/>
                <a:gd name="T12" fmla="*/ 2946 w 3007"/>
                <a:gd name="T13" fmla="*/ 2723 h 2992"/>
                <a:gd name="T14" fmla="*/ 2253 w 3007"/>
                <a:gd name="T15" fmla="*/ 2031 h 2992"/>
                <a:gd name="T16" fmla="*/ 2516 w 3007"/>
                <a:gd name="T17" fmla="*/ 1328 h 2992"/>
                <a:gd name="T18" fmla="*/ 2519 w 3007"/>
                <a:gd name="T19" fmla="*/ 1260 h 2992"/>
                <a:gd name="T20" fmla="*/ 2473 w 3007"/>
                <a:gd name="T21" fmla="*/ 926 h 2992"/>
                <a:gd name="T22" fmla="*/ 1259 w 3007"/>
                <a:gd name="T23" fmla="*/ 0 h 2992"/>
                <a:gd name="T24" fmla="*/ 0 w 3007"/>
                <a:gd name="T25" fmla="*/ 1260 h 2992"/>
                <a:gd name="T26" fmla="*/ 200 w 3007"/>
                <a:gd name="T27" fmla="*/ 1939 h 2992"/>
                <a:gd name="T28" fmla="*/ 403 w 3007"/>
                <a:gd name="T29" fmla="*/ 2181 h 2992"/>
                <a:gd name="T30" fmla="*/ 315 w 3007"/>
                <a:gd name="T31" fmla="*/ 1260 h 2992"/>
                <a:gd name="T32" fmla="*/ 1259 w 3007"/>
                <a:gd name="T33" fmla="*/ 315 h 2992"/>
                <a:gd name="T34" fmla="*/ 2201 w 3007"/>
                <a:gd name="T35" fmla="*/ 1197 h 2992"/>
                <a:gd name="T36" fmla="*/ 2204 w 3007"/>
                <a:gd name="T37" fmla="*/ 1260 h 2992"/>
                <a:gd name="T38" fmla="*/ 2001 w 3007"/>
                <a:gd name="T39" fmla="*/ 1843 h 2992"/>
                <a:gd name="T40" fmla="*/ 1842 w 3007"/>
                <a:gd name="T41" fmla="*/ 2002 h 2992"/>
                <a:gd name="T42" fmla="*/ 1806 w 3007"/>
                <a:gd name="T43" fmla="*/ 2029 h 2992"/>
                <a:gd name="T44" fmla="*/ 1259 w 3007"/>
                <a:gd name="T45" fmla="*/ 2204 h 2992"/>
                <a:gd name="T46" fmla="*/ 626 w 3007"/>
                <a:gd name="T47" fmla="*/ 1958 h 2992"/>
                <a:gd name="T48" fmla="*/ 429 w 3007"/>
                <a:gd name="T49" fmla="*/ 1710 h 2992"/>
                <a:gd name="T50" fmla="*/ 315 w 3007"/>
                <a:gd name="T51" fmla="*/ 1260 h 2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07" h="2992">
                  <a:moveTo>
                    <a:pt x="403" y="2181"/>
                  </a:moveTo>
                  <a:cubicBezTo>
                    <a:pt x="628" y="2390"/>
                    <a:pt x="929" y="2519"/>
                    <a:pt x="1259" y="2519"/>
                  </a:cubicBezTo>
                  <a:cubicBezTo>
                    <a:pt x="1550" y="2519"/>
                    <a:pt x="1817" y="2419"/>
                    <a:pt x="2031" y="2254"/>
                  </a:cubicBezTo>
                  <a:cubicBezTo>
                    <a:pt x="2723" y="2946"/>
                    <a:pt x="2723" y="2946"/>
                    <a:pt x="2723" y="2946"/>
                  </a:cubicBezTo>
                  <a:cubicBezTo>
                    <a:pt x="2754" y="2976"/>
                    <a:pt x="2794" y="2992"/>
                    <a:pt x="2834" y="2992"/>
                  </a:cubicBezTo>
                  <a:cubicBezTo>
                    <a:pt x="2874" y="2992"/>
                    <a:pt x="2915" y="2976"/>
                    <a:pt x="2946" y="2946"/>
                  </a:cubicBezTo>
                  <a:cubicBezTo>
                    <a:pt x="3007" y="2884"/>
                    <a:pt x="3007" y="2784"/>
                    <a:pt x="2946" y="2723"/>
                  </a:cubicBezTo>
                  <a:cubicBezTo>
                    <a:pt x="2253" y="2031"/>
                    <a:pt x="2253" y="2031"/>
                    <a:pt x="2253" y="2031"/>
                  </a:cubicBezTo>
                  <a:cubicBezTo>
                    <a:pt x="2406" y="1834"/>
                    <a:pt x="2502" y="1592"/>
                    <a:pt x="2516" y="1328"/>
                  </a:cubicBezTo>
                  <a:cubicBezTo>
                    <a:pt x="2518" y="1305"/>
                    <a:pt x="2519" y="1283"/>
                    <a:pt x="2519" y="1260"/>
                  </a:cubicBezTo>
                  <a:cubicBezTo>
                    <a:pt x="2519" y="1144"/>
                    <a:pt x="2502" y="1032"/>
                    <a:pt x="2473" y="926"/>
                  </a:cubicBezTo>
                  <a:cubicBezTo>
                    <a:pt x="2326" y="393"/>
                    <a:pt x="1838" y="0"/>
                    <a:pt x="1259" y="0"/>
                  </a:cubicBezTo>
                  <a:cubicBezTo>
                    <a:pt x="565" y="0"/>
                    <a:pt x="0" y="565"/>
                    <a:pt x="0" y="1260"/>
                  </a:cubicBezTo>
                  <a:cubicBezTo>
                    <a:pt x="0" y="1510"/>
                    <a:pt x="74" y="1743"/>
                    <a:pt x="200" y="1939"/>
                  </a:cubicBezTo>
                  <a:cubicBezTo>
                    <a:pt x="257" y="2028"/>
                    <a:pt x="326" y="2109"/>
                    <a:pt x="403" y="2181"/>
                  </a:cubicBezTo>
                  <a:close/>
                  <a:moveTo>
                    <a:pt x="315" y="1260"/>
                  </a:moveTo>
                  <a:cubicBezTo>
                    <a:pt x="315" y="739"/>
                    <a:pt x="738" y="315"/>
                    <a:pt x="1259" y="315"/>
                  </a:cubicBezTo>
                  <a:cubicBezTo>
                    <a:pt x="1759" y="315"/>
                    <a:pt x="2169" y="705"/>
                    <a:pt x="2201" y="1197"/>
                  </a:cubicBezTo>
                  <a:cubicBezTo>
                    <a:pt x="2202" y="1218"/>
                    <a:pt x="2204" y="1239"/>
                    <a:pt x="2204" y="1260"/>
                  </a:cubicBezTo>
                  <a:cubicBezTo>
                    <a:pt x="2204" y="1480"/>
                    <a:pt x="2128" y="1682"/>
                    <a:pt x="2001" y="1843"/>
                  </a:cubicBezTo>
                  <a:cubicBezTo>
                    <a:pt x="1955" y="1902"/>
                    <a:pt x="1902" y="1955"/>
                    <a:pt x="1842" y="2002"/>
                  </a:cubicBezTo>
                  <a:cubicBezTo>
                    <a:pt x="1831" y="2011"/>
                    <a:pt x="1818" y="2020"/>
                    <a:pt x="1806" y="2029"/>
                  </a:cubicBezTo>
                  <a:cubicBezTo>
                    <a:pt x="1652" y="2139"/>
                    <a:pt x="1463" y="2204"/>
                    <a:pt x="1259" y="2204"/>
                  </a:cubicBezTo>
                  <a:cubicBezTo>
                    <a:pt x="1015" y="2204"/>
                    <a:pt x="794" y="2111"/>
                    <a:pt x="626" y="1958"/>
                  </a:cubicBezTo>
                  <a:cubicBezTo>
                    <a:pt x="547" y="1887"/>
                    <a:pt x="480" y="1804"/>
                    <a:pt x="429" y="1710"/>
                  </a:cubicBezTo>
                  <a:cubicBezTo>
                    <a:pt x="356" y="1576"/>
                    <a:pt x="315" y="1422"/>
                    <a:pt x="315" y="1260"/>
                  </a:cubicBezTo>
                  <a:close/>
                </a:path>
              </a:pathLst>
            </a:custGeom>
            <a:solidFill>
              <a:srgbClr val="0035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18" name="Group 122">
            <a:extLst>
              <a:ext uri="{FF2B5EF4-FFF2-40B4-BE49-F238E27FC236}">
                <a16:creationId xmlns:a16="http://schemas.microsoft.com/office/drawing/2014/main" id="{012A9F84-58F0-4EE3-907F-F974A70681A0}"/>
              </a:ext>
            </a:extLst>
          </p:cNvPr>
          <p:cNvGrpSpPr>
            <a:grpSpLocks noChangeAspect="1"/>
          </p:cNvGrpSpPr>
          <p:nvPr/>
        </p:nvGrpSpPr>
        <p:grpSpPr bwMode="gray">
          <a:xfrm>
            <a:off x="1786208" y="2876639"/>
            <a:ext cx="774112" cy="775314"/>
            <a:chOff x="1446" y="1193"/>
            <a:chExt cx="1931" cy="1934"/>
          </a:xfrm>
        </p:grpSpPr>
        <p:sp>
          <p:nvSpPr>
            <p:cNvPr id="19" name="Freeform 123">
              <a:extLst>
                <a:ext uri="{FF2B5EF4-FFF2-40B4-BE49-F238E27FC236}">
                  <a16:creationId xmlns:a16="http://schemas.microsoft.com/office/drawing/2014/main" id="{8B4F99AA-6548-4EDE-A7F6-7FC85AEFBC2F}"/>
                </a:ext>
              </a:extLst>
            </p:cNvPr>
            <p:cNvSpPr>
              <a:spLocks noEditPoints="1"/>
            </p:cNvSpPr>
            <p:nvPr/>
          </p:nvSpPr>
          <p:spPr bwMode="gray">
            <a:xfrm>
              <a:off x="1567" y="1314"/>
              <a:ext cx="1689" cy="1692"/>
            </a:xfrm>
            <a:custGeom>
              <a:avLst/>
              <a:gdLst>
                <a:gd name="T0" fmla="*/ 4953 w 4960"/>
                <a:gd name="T1" fmla="*/ 2657 h 4960"/>
                <a:gd name="T2" fmla="*/ 4953 w 4960"/>
                <a:gd name="T3" fmla="*/ 2303 h 4960"/>
                <a:gd name="T4" fmla="*/ 3903 w 4960"/>
                <a:gd name="T5" fmla="*/ 1184 h 4960"/>
                <a:gd name="T6" fmla="*/ 4098 w 4960"/>
                <a:gd name="T7" fmla="*/ 602 h 4960"/>
                <a:gd name="T8" fmla="*/ 3428 w 4960"/>
                <a:gd name="T9" fmla="*/ 188 h 4960"/>
                <a:gd name="T10" fmla="*/ 1532 w 4960"/>
                <a:gd name="T11" fmla="*/ 188 h 4960"/>
                <a:gd name="T12" fmla="*/ 862 w 4960"/>
                <a:gd name="T13" fmla="*/ 603 h 4960"/>
                <a:gd name="T14" fmla="*/ 1056 w 4960"/>
                <a:gd name="T15" fmla="*/ 1185 h 4960"/>
                <a:gd name="T16" fmla="*/ 7 w 4960"/>
                <a:gd name="T17" fmla="*/ 2303 h 4960"/>
                <a:gd name="T18" fmla="*/ 7 w 4960"/>
                <a:gd name="T19" fmla="*/ 2657 h 4960"/>
                <a:gd name="T20" fmla="*/ 1034 w 4960"/>
                <a:gd name="T21" fmla="*/ 3695 h 4960"/>
                <a:gd name="T22" fmla="*/ 805 w 4960"/>
                <a:gd name="T23" fmla="*/ 4308 h 4960"/>
                <a:gd name="T24" fmla="*/ 1531 w 4960"/>
                <a:gd name="T25" fmla="*/ 4771 h 4960"/>
                <a:gd name="T26" fmla="*/ 3429 w 4960"/>
                <a:gd name="T27" fmla="*/ 4771 h 4960"/>
                <a:gd name="T28" fmla="*/ 4147 w 4960"/>
                <a:gd name="T29" fmla="*/ 4315 h 4960"/>
                <a:gd name="T30" fmla="*/ 3924 w 4960"/>
                <a:gd name="T31" fmla="*/ 3700 h 4960"/>
                <a:gd name="T32" fmla="*/ 2303 w 4960"/>
                <a:gd name="T33" fmla="*/ 4933 h 4960"/>
                <a:gd name="T34" fmla="*/ 2303 w 4960"/>
                <a:gd name="T35" fmla="*/ 3639 h 4960"/>
                <a:gd name="T36" fmla="*/ 2303 w 4960"/>
                <a:gd name="T37" fmla="*/ 3284 h 4960"/>
                <a:gd name="T38" fmla="*/ 1244 w 4960"/>
                <a:gd name="T39" fmla="*/ 2657 h 4960"/>
                <a:gd name="T40" fmla="*/ 2303 w 4960"/>
                <a:gd name="T41" fmla="*/ 3284 h 4960"/>
                <a:gd name="T42" fmla="*/ 1244 w 4960"/>
                <a:gd name="T43" fmla="*/ 2303 h 4960"/>
                <a:gd name="T44" fmla="*/ 2303 w 4960"/>
                <a:gd name="T45" fmla="*/ 1587 h 4960"/>
                <a:gd name="T46" fmla="*/ 2303 w 4960"/>
                <a:gd name="T47" fmla="*/ 1232 h 4960"/>
                <a:gd name="T48" fmla="*/ 2303 w 4960"/>
                <a:gd name="T49" fmla="*/ 27 h 4960"/>
                <a:gd name="T50" fmla="*/ 2657 w 4960"/>
                <a:gd name="T51" fmla="*/ 27 h 4960"/>
                <a:gd name="T52" fmla="*/ 2657 w 4960"/>
                <a:gd name="T53" fmla="*/ 1232 h 4960"/>
                <a:gd name="T54" fmla="*/ 2657 w 4960"/>
                <a:gd name="T55" fmla="*/ 4933 h 4960"/>
                <a:gd name="T56" fmla="*/ 3500 w 4960"/>
                <a:gd name="T57" fmla="*/ 3870 h 4960"/>
                <a:gd name="T58" fmla="*/ 3600 w 4960"/>
                <a:gd name="T59" fmla="*/ 3526 h 4960"/>
                <a:gd name="T60" fmla="*/ 2657 w 4960"/>
                <a:gd name="T61" fmla="*/ 2657 h 4960"/>
                <a:gd name="T62" fmla="*/ 3600 w 4960"/>
                <a:gd name="T63" fmla="*/ 3526 h 4960"/>
                <a:gd name="T64" fmla="*/ 2657 w 4960"/>
                <a:gd name="T65" fmla="*/ 1587 h 4960"/>
                <a:gd name="T66" fmla="*/ 3716 w 4960"/>
                <a:gd name="T67" fmla="*/ 2303 h 4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60" h="4960">
                  <a:moveTo>
                    <a:pt x="4071" y="2657"/>
                  </a:moveTo>
                  <a:cubicBezTo>
                    <a:pt x="4953" y="2657"/>
                    <a:pt x="4953" y="2657"/>
                    <a:pt x="4953" y="2657"/>
                  </a:cubicBezTo>
                  <a:cubicBezTo>
                    <a:pt x="4957" y="2599"/>
                    <a:pt x="4960" y="2540"/>
                    <a:pt x="4960" y="2480"/>
                  </a:cubicBezTo>
                  <a:cubicBezTo>
                    <a:pt x="4960" y="2420"/>
                    <a:pt x="4957" y="2361"/>
                    <a:pt x="4953" y="2303"/>
                  </a:cubicBezTo>
                  <a:cubicBezTo>
                    <a:pt x="4071" y="2303"/>
                    <a:pt x="4071" y="2303"/>
                    <a:pt x="4071" y="2303"/>
                  </a:cubicBezTo>
                  <a:cubicBezTo>
                    <a:pt x="4058" y="1899"/>
                    <a:pt x="3999" y="1521"/>
                    <a:pt x="3903" y="1184"/>
                  </a:cubicBezTo>
                  <a:cubicBezTo>
                    <a:pt x="4059" y="1089"/>
                    <a:pt x="4208" y="978"/>
                    <a:pt x="4349" y="853"/>
                  </a:cubicBezTo>
                  <a:cubicBezTo>
                    <a:pt x="4271" y="763"/>
                    <a:pt x="4187" y="680"/>
                    <a:pt x="4098" y="602"/>
                  </a:cubicBezTo>
                  <a:cubicBezTo>
                    <a:pt x="3998" y="689"/>
                    <a:pt x="3894" y="768"/>
                    <a:pt x="3787" y="838"/>
                  </a:cubicBezTo>
                  <a:cubicBezTo>
                    <a:pt x="3688" y="587"/>
                    <a:pt x="3567" y="369"/>
                    <a:pt x="3428" y="188"/>
                  </a:cubicBezTo>
                  <a:cubicBezTo>
                    <a:pt x="3136" y="67"/>
                    <a:pt x="2816" y="0"/>
                    <a:pt x="2480" y="0"/>
                  </a:cubicBezTo>
                  <a:cubicBezTo>
                    <a:pt x="2144" y="0"/>
                    <a:pt x="1824" y="67"/>
                    <a:pt x="1532" y="188"/>
                  </a:cubicBezTo>
                  <a:cubicBezTo>
                    <a:pt x="1393" y="369"/>
                    <a:pt x="1271" y="588"/>
                    <a:pt x="1172" y="839"/>
                  </a:cubicBezTo>
                  <a:cubicBezTo>
                    <a:pt x="1065" y="769"/>
                    <a:pt x="961" y="690"/>
                    <a:pt x="862" y="603"/>
                  </a:cubicBezTo>
                  <a:cubicBezTo>
                    <a:pt x="772" y="680"/>
                    <a:pt x="688" y="764"/>
                    <a:pt x="610" y="853"/>
                  </a:cubicBezTo>
                  <a:cubicBezTo>
                    <a:pt x="751" y="979"/>
                    <a:pt x="900" y="1090"/>
                    <a:pt x="1056" y="1185"/>
                  </a:cubicBezTo>
                  <a:cubicBezTo>
                    <a:pt x="961" y="1523"/>
                    <a:pt x="902" y="1900"/>
                    <a:pt x="889" y="2303"/>
                  </a:cubicBezTo>
                  <a:cubicBezTo>
                    <a:pt x="7" y="2303"/>
                    <a:pt x="7" y="2303"/>
                    <a:pt x="7" y="2303"/>
                  </a:cubicBezTo>
                  <a:cubicBezTo>
                    <a:pt x="3" y="2361"/>
                    <a:pt x="0" y="2420"/>
                    <a:pt x="0" y="2480"/>
                  </a:cubicBezTo>
                  <a:cubicBezTo>
                    <a:pt x="0" y="2540"/>
                    <a:pt x="3" y="2599"/>
                    <a:pt x="7" y="2657"/>
                  </a:cubicBezTo>
                  <a:cubicBezTo>
                    <a:pt x="889" y="2657"/>
                    <a:pt x="889" y="2657"/>
                    <a:pt x="889" y="2657"/>
                  </a:cubicBezTo>
                  <a:cubicBezTo>
                    <a:pt x="901" y="3028"/>
                    <a:pt x="952" y="3378"/>
                    <a:pt x="1034" y="3695"/>
                  </a:cubicBezTo>
                  <a:cubicBezTo>
                    <a:pt x="867" y="3796"/>
                    <a:pt x="709" y="3916"/>
                    <a:pt x="562" y="4051"/>
                  </a:cubicBezTo>
                  <a:cubicBezTo>
                    <a:pt x="637" y="4142"/>
                    <a:pt x="718" y="4228"/>
                    <a:pt x="805" y="4308"/>
                  </a:cubicBezTo>
                  <a:cubicBezTo>
                    <a:pt x="912" y="4211"/>
                    <a:pt x="1025" y="4122"/>
                    <a:pt x="1143" y="4045"/>
                  </a:cubicBezTo>
                  <a:cubicBezTo>
                    <a:pt x="1247" y="4327"/>
                    <a:pt x="1378" y="4573"/>
                    <a:pt x="1531" y="4771"/>
                  </a:cubicBezTo>
                  <a:cubicBezTo>
                    <a:pt x="1823" y="4893"/>
                    <a:pt x="2144" y="4960"/>
                    <a:pt x="2480" y="4960"/>
                  </a:cubicBezTo>
                  <a:cubicBezTo>
                    <a:pt x="2816" y="4960"/>
                    <a:pt x="3137" y="4893"/>
                    <a:pt x="3429" y="4771"/>
                  </a:cubicBezTo>
                  <a:cubicBezTo>
                    <a:pt x="3581" y="4574"/>
                    <a:pt x="3711" y="4331"/>
                    <a:pt x="3814" y="4051"/>
                  </a:cubicBezTo>
                  <a:cubicBezTo>
                    <a:pt x="3930" y="4129"/>
                    <a:pt x="4041" y="4217"/>
                    <a:pt x="4147" y="4315"/>
                  </a:cubicBezTo>
                  <a:cubicBezTo>
                    <a:pt x="4234" y="4236"/>
                    <a:pt x="4316" y="4150"/>
                    <a:pt x="4391" y="4059"/>
                  </a:cubicBezTo>
                  <a:cubicBezTo>
                    <a:pt x="4244" y="3923"/>
                    <a:pt x="4088" y="3803"/>
                    <a:pt x="3924" y="3700"/>
                  </a:cubicBezTo>
                  <a:cubicBezTo>
                    <a:pt x="4008" y="3383"/>
                    <a:pt x="4059" y="3031"/>
                    <a:pt x="4071" y="2657"/>
                  </a:cubicBezTo>
                  <a:close/>
                  <a:moveTo>
                    <a:pt x="2303" y="4933"/>
                  </a:moveTo>
                  <a:cubicBezTo>
                    <a:pt x="1957" y="4830"/>
                    <a:pt x="1653" y="4428"/>
                    <a:pt x="1459" y="3868"/>
                  </a:cubicBezTo>
                  <a:cubicBezTo>
                    <a:pt x="1728" y="3740"/>
                    <a:pt x="2015" y="3662"/>
                    <a:pt x="2303" y="3639"/>
                  </a:cubicBezTo>
                  <a:lnTo>
                    <a:pt x="2303" y="4933"/>
                  </a:lnTo>
                  <a:close/>
                  <a:moveTo>
                    <a:pt x="2303" y="3284"/>
                  </a:moveTo>
                  <a:cubicBezTo>
                    <a:pt x="1981" y="3306"/>
                    <a:pt x="1661" y="3389"/>
                    <a:pt x="1360" y="3524"/>
                  </a:cubicBezTo>
                  <a:cubicBezTo>
                    <a:pt x="1295" y="3256"/>
                    <a:pt x="1255" y="2963"/>
                    <a:pt x="1244" y="2657"/>
                  </a:cubicBezTo>
                  <a:cubicBezTo>
                    <a:pt x="2303" y="2657"/>
                    <a:pt x="2303" y="2657"/>
                    <a:pt x="2303" y="2657"/>
                  </a:cubicBezTo>
                  <a:lnTo>
                    <a:pt x="2303" y="3284"/>
                  </a:lnTo>
                  <a:close/>
                  <a:moveTo>
                    <a:pt x="2303" y="2303"/>
                  </a:moveTo>
                  <a:cubicBezTo>
                    <a:pt x="1244" y="2303"/>
                    <a:pt x="1244" y="2303"/>
                    <a:pt x="1244" y="2303"/>
                  </a:cubicBezTo>
                  <a:cubicBezTo>
                    <a:pt x="1256" y="1966"/>
                    <a:pt x="1304" y="1645"/>
                    <a:pt x="1380" y="1355"/>
                  </a:cubicBezTo>
                  <a:cubicBezTo>
                    <a:pt x="1674" y="1487"/>
                    <a:pt x="1985" y="1566"/>
                    <a:pt x="2303" y="1587"/>
                  </a:cubicBezTo>
                  <a:lnTo>
                    <a:pt x="2303" y="2303"/>
                  </a:lnTo>
                  <a:close/>
                  <a:moveTo>
                    <a:pt x="2303" y="1232"/>
                  </a:moveTo>
                  <a:cubicBezTo>
                    <a:pt x="2022" y="1210"/>
                    <a:pt x="1747" y="1136"/>
                    <a:pt x="1487" y="1015"/>
                  </a:cubicBezTo>
                  <a:cubicBezTo>
                    <a:pt x="1681" y="495"/>
                    <a:pt x="1973" y="126"/>
                    <a:pt x="2303" y="27"/>
                  </a:cubicBezTo>
                  <a:lnTo>
                    <a:pt x="2303" y="1232"/>
                  </a:lnTo>
                  <a:close/>
                  <a:moveTo>
                    <a:pt x="2657" y="27"/>
                  </a:moveTo>
                  <a:cubicBezTo>
                    <a:pt x="2986" y="126"/>
                    <a:pt x="3278" y="494"/>
                    <a:pt x="3472" y="1013"/>
                  </a:cubicBezTo>
                  <a:cubicBezTo>
                    <a:pt x="3212" y="1136"/>
                    <a:pt x="2937" y="1210"/>
                    <a:pt x="2657" y="1232"/>
                  </a:cubicBezTo>
                  <a:lnTo>
                    <a:pt x="2657" y="27"/>
                  </a:lnTo>
                  <a:close/>
                  <a:moveTo>
                    <a:pt x="2657" y="4933"/>
                  </a:moveTo>
                  <a:cubicBezTo>
                    <a:pt x="2657" y="3639"/>
                    <a:pt x="2657" y="3639"/>
                    <a:pt x="2657" y="3639"/>
                  </a:cubicBezTo>
                  <a:cubicBezTo>
                    <a:pt x="2947" y="3662"/>
                    <a:pt x="3232" y="3740"/>
                    <a:pt x="3500" y="3870"/>
                  </a:cubicBezTo>
                  <a:cubicBezTo>
                    <a:pt x="3306" y="4429"/>
                    <a:pt x="3002" y="4830"/>
                    <a:pt x="2657" y="4933"/>
                  </a:cubicBezTo>
                  <a:close/>
                  <a:moveTo>
                    <a:pt x="3600" y="3526"/>
                  </a:moveTo>
                  <a:cubicBezTo>
                    <a:pt x="3300" y="3389"/>
                    <a:pt x="2982" y="3306"/>
                    <a:pt x="2657" y="3284"/>
                  </a:cubicBezTo>
                  <a:cubicBezTo>
                    <a:pt x="2657" y="2657"/>
                    <a:pt x="2657" y="2657"/>
                    <a:pt x="2657" y="2657"/>
                  </a:cubicBezTo>
                  <a:cubicBezTo>
                    <a:pt x="3716" y="2657"/>
                    <a:pt x="3716" y="2657"/>
                    <a:pt x="3716" y="2657"/>
                  </a:cubicBezTo>
                  <a:cubicBezTo>
                    <a:pt x="3705" y="2964"/>
                    <a:pt x="3664" y="3258"/>
                    <a:pt x="3600" y="3526"/>
                  </a:cubicBezTo>
                  <a:close/>
                  <a:moveTo>
                    <a:pt x="2657" y="2303"/>
                  </a:moveTo>
                  <a:cubicBezTo>
                    <a:pt x="2657" y="1587"/>
                    <a:pt x="2657" y="1587"/>
                    <a:pt x="2657" y="1587"/>
                  </a:cubicBezTo>
                  <a:cubicBezTo>
                    <a:pt x="2974" y="1566"/>
                    <a:pt x="3285" y="1486"/>
                    <a:pt x="3580" y="1354"/>
                  </a:cubicBezTo>
                  <a:cubicBezTo>
                    <a:pt x="3656" y="1644"/>
                    <a:pt x="3704" y="1965"/>
                    <a:pt x="3716" y="2303"/>
                  </a:cubicBezTo>
                  <a:lnTo>
                    <a:pt x="2657" y="2303"/>
                  </a:lnTo>
                  <a:close/>
                </a:path>
              </a:pathLst>
            </a:custGeom>
            <a:solidFill>
              <a:srgbClr val="43B0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24">
              <a:extLst>
                <a:ext uri="{FF2B5EF4-FFF2-40B4-BE49-F238E27FC236}">
                  <a16:creationId xmlns:a16="http://schemas.microsoft.com/office/drawing/2014/main" id="{8C9A0F0E-FF71-44E2-B463-5DC57DDD0752}"/>
                </a:ext>
              </a:extLst>
            </p:cNvPr>
            <p:cNvSpPr>
              <a:spLocks noEditPoints="1"/>
            </p:cNvSpPr>
            <p:nvPr/>
          </p:nvSpPr>
          <p:spPr bwMode="gray">
            <a:xfrm>
              <a:off x="1446" y="1193"/>
              <a:ext cx="1931" cy="1934"/>
            </a:xfrm>
            <a:custGeom>
              <a:avLst/>
              <a:gdLst>
                <a:gd name="T0" fmla="*/ 2835 w 5670"/>
                <a:gd name="T1" fmla="*/ 0 h 5670"/>
                <a:gd name="T2" fmla="*/ 0 w 5670"/>
                <a:gd name="T3" fmla="*/ 2835 h 5670"/>
                <a:gd name="T4" fmla="*/ 2835 w 5670"/>
                <a:gd name="T5" fmla="*/ 5670 h 5670"/>
                <a:gd name="T6" fmla="*/ 5670 w 5670"/>
                <a:gd name="T7" fmla="*/ 2835 h 5670"/>
                <a:gd name="T8" fmla="*/ 2835 w 5670"/>
                <a:gd name="T9" fmla="*/ 0 h 5670"/>
                <a:gd name="T10" fmla="*/ 4746 w 5670"/>
                <a:gd name="T11" fmla="*/ 4414 h 5670"/>
                <a:gd name="T12" fmla="*/ 4502 w 5670"/>
                <a:gd name="T13" fmla="*/ 4670 h 5670"/>
                <a:gd name="T14" fmla="*/ 3784 w 5670"/>
                <a:gd name="T15" fmla="*/ 5126 h 5670"/>
                <a:gd name="T16" fmla="*/ 2835 w 5670"/>
                <a:gd name="T17" fmla="*/ 5315 h 5670"/>
                <a:gd name="T18" fmla="*/ 1886 w 5670"/>
                <a:gd name="T19" fmla="*/ 5126 h 5670"/>
                <a:gd name="T20" fmla="*/ 1160 w 5670"/>
                <a:gd name="T21" fmla="*/ 4663 h 5670"/>
                <a:gd name="T22" fmla="*/ 917 w 5670"/>
                <a:gd name="T23" fmla="*/ 4406 h 5670"/>
                <a:gd name="T24" fmla="*/ 362 w 5670"/>
                <a:gd name="T25" fmla="*/ 3012 h 5670"/>
                <a:gd name="T26" fmla="*/ 355 w 5670"/>
                <a:gd name="T27" fmla="*/ 2835 h 5670"/>
                <a:gd name="T28" fmla="*/ 362 w 5670"/>
                <a:gd name="T29" fmla="*/ 2658 h 5670"/>
                <a:gd name="T30" fmla="*/ 965 w 5670"/>
                <a:gd name="T31" fmla="*/ 1208 h 5670"/>
                <a:gd name="T32" fmla="*/ 1217 w 5670"/>
                <a:gd name="T33" fmla="*/ 958 h 5670"/>
                <a:gd name="T34" fmla="*/ 1887 w 5670"/>
                <a:gd name="T35" fmla="*/ 543 h 5670"/>
                <a:gd name="T36" fmla="*/ 2835 w 5670"/>
                <a:gd name="T37" fmla="*/ 355 h 5670"/>
                <a:gd name="T38" fmla="*/ 3783 w 5670"/>
                <a:gd name="T39" fmla="*/ 543 h 5670"/>
                <a:gd name="T40" fmla="*/ 4453 w 5670"/>
                <a:gd name="T41" fmla="*/ 957 h 5670"/>
                <a:gd name="T42" fmla="*/ 4704 w 5670"/>
                <a:gd name="T43" fmla="*/ 1208 h 5670"/>
                <a:gd name="T44" fmla="*/ 5308 w 5670"/>
                <a:gd name="T45" fmla="*/ 2658 h 5670"/>
                <a:gd name="T46" fmla="*/ 5315 w 5670"/>
                <a:gd name="T47" fmla="*/ 2835 h 5670"/>
                <a:gd name="T48" fmla="*/ 5308 w 5670"/>
                <a:gd name="T49" fmla="*/ 3012 h 5670"/>
                <a:gd name="T50" fmla="*/ 4746 w 5670"/>
                <a:gd name="T51" fmla="*/ 4414 h 5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670" h="5670">
                  <a:moveTo>
                    <a:pt x="2835" y="0"/>
                  </a:moveTo>
                  <a:cubicBezTo>
                    <a:pt x="1272" y="0"/>
                    <a:pt x="0" y="1272"/>
                    <a:pt x="0" y="2835"/>
                  </a:cubicBezTo>
                  <a:cubicBezTo>
                    <a:pt x="0" y="4398"/>
                    <a:pt x="1272" y="5670"/>
                    <a:pt x="2835" y="5670"/>
                  </a:cubicBezTo>
                  <a:cubicBezTo>
                    <a:pt x="4398" y="5670"/>
                    <a:pt x="5670" y="4398"/>
                    <a:pt x="5670" y="2835"/>
                  </a:cubicBezTo>
                  <a:cubicBezTo>
                    <a:pt x="5670" y="1272"/>
                    <a:pt x="4398" y="0"/>
                    <a:pt x="2835" y="0"/>
                  </a:cubicBezTo>
                  <a:close/>
                  <a:moveTo>
                    <a:pt x="4746" y="4414"/>
                  </a:moveTo>
                  <a:cubicBezTo>
                    <a:pt x="4671" y="4505"/>
                    <a:pt x="4589" y="4591"/>
                    <a:pt x="4502" y="4670"/>
                  </a:cubicBezTo>
                  <a:cubicBezTo>
                    <a:pt x="4292" y="4861"/>
                    <a:pt x="4050" y="5016"/>
                    <a:pt x="3784" y="5126"/>
                  </a:cubicBezTo>
                  <a:cubicBezTo>
                    <a:pt x="3492" y="5248"/>
                    <a:pt x="3171" y="5315"/>
                    <a:pt x="2835" y="5315"/>
                  </a:cubicBezTo>
                  <a:cubicBezTo>
                    <a:pt x="2499" y="5315"/>
                    <a:pt x="2178" y="5248"/>
                    <a:pt x="1886" y="5126"/>
                  </a:cubicBezTo>
                  <a:cubicBezTo>
                    <a:pt x="1617" y="5014"/>
                    <a:pt x="1372" y="4857"/>
                    <a:pt x="1160" y="4663"/>
                  </a:cubicBezTo>
                  <a:cubicBezTo>
                    <a:pt x="1073" y="4583"/>
                    <a:pt x="992" y="4497"/>
                    <a:pt x="917" y="4406"/>
                  </a:cubicBezTo>
                  <a:cubicBezTo>
                    <a:pt x="601" y="4021"/>
                    <a:pt x="399" y="3539"/>
                    <a:pt x="362" y="3012"/>
                  </a:cubicBezTo>
                  <a:cubicBezTo>
                    <a:pt x="358" y="2954"/>
                    <a:pt x="355" y="2895"/>
                    <a:pt x="355" y="2835"/>
                  </a:cubicBezTo>
                  <a:cubicBezTo>
                    <a:pt x="355" y="2775"/>
                    <a:pt x="358" y="2716"/>
                    <a:pt x="362" y="2658"/>
                  </a:cubicBezTo>
                  <a:cubicBezTo>
                    <a:pt x="401" y="2105"/>
                    <a:pt x="622" y="1602"/>
                    <a:pt x="965" y="1208"/>
                  </a:cubicBezTo>
                  <a:cubicBezTo>
                    <a:pt x="1043" y="1119"/>
                    <a:pt x="1127" y="1035"/>
                    <a:pt x="1217" y="958"/>
                  </a:cubicBezTo>
                  <a:cubicBezTo>
                    <a:pt x="1415" y="786"/>
                    <a:pt x="1641" y="646"/>
                    <a:pt x="1887" y="543"/>
                  </a:cubicBezTo>
                  <a:cubicBezTo>
                    <a:pt x="2179" y="422"/>
                    <a:pt x="2499" y="355"/>
                    <a:pt x="2835" y="355"/>
                  </a:cubicBezTo>
                  <a:cubicBezTo>
                    <a:pt x="3171" y="355"/>
                    <a:pt x="3491" y="422"/>
                    <a:pt x="3783" y="543"/>
                  </a:cubicBezTo>
                  <a:cubicBezTo>
                    <a:pt x="4029" y="645"/>
                    <a:pt x="4254" y="786"/>
                    <a:pt x="4453" y="957"/>
                  </a:cubicBezTo>
                  <a:cubicBezTo>
                    <a:pt x="4542" y="1035"/>
                    <a:pt x="4626" y="1118"/>
                    <a:pt x="4704" y="1208"/>
                  </a:cubicBezTo>
                  <a:cubicBezTo>
                    <a:pt x="5048" y="1602"/>
                    <a:pt x="5269" y="2105"/>
                    <a:pt x="5308" y="2658"/>
                  </a:cubicBezTo>
                  <a:cubicBezTo>
                    <a:pt x="5312" y="2716"/>
                    <a:pt x="5315" y="2775"/>
                    <a:pt x="5315" y="2835"/>
                  </a:cubicBezTo>
                  <a:cubicBezTo>
                    <a:pt x="5315" y="2895"/>
                    <a:pt x="5312" y="2954"/>
                    <a:pt x="5308" y="3012"/>
                  </a:cubicBezTo>
                  <a:cubicBezTo>
                    <a:pt x="5271" y="3543"/>
                    <a:pt x="5066" y="4028"/>
                    <a:pt x="4746" y="4414"/>
                  </a:cubicBezTo>
                  <a:close/>
                </a:path>
              </a:pathLst>
            </a:custGeom>
            <a:solidFill>
              <a:srgbClr val="0035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3" name="Textplatzhalter 2">
            <a:extLst>
              <a:ext uri="{FF2B5EF4-FFF2-40B4-BE49-F238E27FC236}">
                <a16:creationId xmlns:a16="http://schemas.microsoft.com/office/drawing/2014/main" id="{8269471E-364D-65AA-98B9-DE7F3E11B6DF}"/>
              </a:ext>
            </a:extLst>
          </p:cNvPr>
          <p:cNvSpPr txBox="1">
            <a:spLocks/>
          </p:cNvSpPr>
          <p:nvPr/>
        </p:nvSpPr>
        <p:spPr>
          <a:xfrm>
            <a:off x="385330" y="6263936"/>
            <a:ext cx="11376025" cy="307777"/>
          </a:xfrm>
          <a:prstGeom prst="rect">
            <a:avLst/>
          </a:prstGeom>
        </p:spPr>
        <p:txBody>
          <a:bodyPr/>
          <a:lstStyle>
            <a:lvl1pPr marL="0" indent="0" algn="l" defTabSz="914400" rtl="0" eaLnBrk="1" latinLnBrk="0" hangingPunct="1">
              <a:spcBef>
                <a:spcPts val="1200"/>
              </a:spcBef>
              <a:buFont typeface="Arial" panose="020B0604020202020204" pitchFamily="34" charset="0"/>
              <a:buNone/>
              <a:defRPr lang="de-DE" sz="1800" b="0" kern="1200" dirty="0">
                <a:solidFill>
                  <a:schemeClr val="tx2"/>
                </a:solidFill>
                <a:latin typeface="+mn-lt"/>
                <a:ea typeface="+mn-ea"/>
                <a:cs typeface="+mn-cs"/>
              </a:defRPr>
            </a:lvl1pPr>
            <a:lvl2pPr marL="0" indent="0" algn="l" defTabSz="914400" rtl="0" eaLnBrk="1" latinLnBrk="0" hangingPunct="1">
              <a:spcBef>
                <a:spcPts val="600"/>
              </a:spcBef>
              <a:buFont typeface="Arial" panose="020B0604020202020204" pitchFamily="34" charset="0"/>
              <a:buNone/>
              <a:defRPr lang="de-DE" sz="1800" kern="1200" dirty="0">
                <a:solidFill>
                  <a:schemeClr val="tx1"/>
                </a:solidFill>
                <a:latin typeface="+mn-lt"/>
                <a:ea typeface="+mn-ea"/>
                <a:cs typeface="+mn-cs"/>
              </a:defRPr>
            </a:lvl2pPr>
            <a:lvl3pPr marL="180000" indent="-180000" algn="l" defTabSz="914400" rtl="0" eaLnBrk="1" latinLnBrk="0" hangingPunct="1">
              <a:spcBef>
                <a:spcPts val="600"/>
              </a:spcBef>
              <a:buClrTx/>
              <a:buFont typeface="Wingdings" panose="05000000000000000000" pitchFamily="2" charset="2"/>
              <a:buChar char=""/>
              <a:defRPr lang="de-DE" sz="1800" kern="1200" dirty="0">
                <a:solidFill>
                  <a:schemeClr val="tx1"/>
                </a:solidFill>
                <a:latin typeface="+mn-lt"/>
                <a:ea typeface="+mn-ea"/>
                <a:cs typeface="+mn-cs"/>
              </a:defRPr>
            </a:lvl3pPr>
            <a:lvl4pPr marL="360000" indent="-180000" algn="l" defTabSz="914400" rtl="0" eaLnBrk="1" latinLnBrk="0" hangingPunct="1">
              <a:spcBef>
                <a:spcPts val="400"/>
              </a:spcBef>
              <a:buClrTx/>
              <a:buFont typeface="Arial" panose="020B0604020202020204" pitchFamily="34" charset="0"/>
              <a:buChar char="•"/>
              <a:defRPr lang="de-DE" sz="1800" kern="1200" dirty="0">
                <a:solidFill>
                  <a:schemeClr val="tx1"/>
                </a:solidFill>
                <a:latin typeface="+mn-lt"/>
                <a:ea typeface="+mn-ea"/>
                <a:cs typeface="+mn-cs"/>
              </a:defRPr>
            </a:lvl4pPr>
            <a:lvl5pPr marL="576000" indent="-216000" algn="l" defTabSz="914400" rtl="0" eaLnBrk="1" latinLnBrk="0" hangingPunct="1">
              <a:spcBef>
                <a:spcPts val="400"/>
              </a:spcBef>
              <a:buFont typeface="Symbol" panose="05050102010706020507" pitchFamily="18" charset="2"/>
              <a:buChar char="-"/>
              <a:defRPr lang="de-DE" sz="1800" kern="1200" dirty="0">
                <a:solidFill>
                  <a:schemeClr val="tx1"/>
                </a:solidFill>
                <a:latin typeface="+mn-lt"/>
                <a:ea typeface="+mn-ea"/>
                <a:cs typeface="+mn-cs"/>
              </a:defRPr>
            </a:lvl5pPr>
            <a:lvl6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6pPr>
            <a:lvl7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7pPr>
            <a:lvl8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8pPr>
            <a:lvl9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9pPr>
          </a:lstStyle>
          <a:p>
            <a:r>
              <a:rPr lang="de-DE" sz="1000" dirty="0"/>
              <a:t>Quelle: Union Investment; Stand: 14. Juni 2024. * Hartwährungen</a:t>
            </a:r>
          </a:p>
        </p:txBody>
      </p:sp>
    </p:spTree>
    <p:extLst>
      <p:ext uri="{BB962C8B-B14F-4D97-AF65-F5344CB8AC3E}">
        <p14:creationId xmlns:p14="http://schemas.microsoft.com/office/powerpoint/2010/main" val="2394322289"/>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EF1B9016-59D8-4D8D-B495-FB124A4AC1D5}"/>
              </a:ext>
            </a:extLst>
          </p:cNvPr>
          <p:cNvSpPr>
            <a:spLocks noGrp="1"/>
          </p:cNvSpPr>
          <p:nvPr>
            <p:ph type="body" sz="quarter" idx="13"/>
          </p:nvPr>
        </p:nvSpPr>
        <p:spPr/>
        <p:txBody>
          <a:bodyPr/>
          <a:lstStyle/>
          <a:p>
            <a:r>
              <a:rPr lang="de-DE" dirty="0"/>
              <a:t>Wie kann ich mich als Investor positionieren?</a:t>
            </a:r>
          </a:p>
        </p:txBody>
      </p:sp>
      <p:sp>
        <p:nvSpPr>
          <p:cNvPr id="3" name="Textplatzhalter 2">
            <a:extLst>
              <a:ext uri="{FF2B5EF4-FFF2-40B4-BE49-F238E27FC236}">
                <a16:creationId xmlns:a16="http://schemas.microsoft.com/office/drawing/2014/main" id="{922B37FC-4EAA-43D6-B1B5-DDDAE665B851}"/>
              </a:ext>
            </a:extLst>
          </p:cNvPr>
          <p:cNvSpPr>
            <a:spLocks noGrp="1"/>
          </p:cNvSpPr>
          <p:nvPr>
            <p:ph type="body" sz="quarter" idx="16"/>
          </p:nvPr>
        </p:nvSpPr>
        <p:spPr/>
        <p:txBody>
          <a:bodyPr/>
          <a:lstStyle/>
          <a:p>
            <a:endParaRPr lang="de-DE" dirty="0"/>
          </a:p>
        </p:txBody>
      </p:sp>
    </p:spTree>
    <p:extLst>
      <p:ext uri="{BB962C8B-B14F-4D97-AF65-F5344CB8AC3E}">
        <p14:creationId xmlns:p14="http://schemas.microsoft.com/office/powerpoint/2010/main" val="977246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platzhalter 13">
            <a:extLst>
              <a:ext uri="{FF2B5EF4-FFF2-40B4-BE49-F238E27FC236}">
                <a16:creationId xmlns:a16="http://schemas.microsoft.com/office/drawing/2014/main" id="{084A0FCC-BA7A-4B91-9C33-0D3446C81144}"/>
              </a:ext>
            </a:extLst>
          </p:cNvPr>
          <p:cNvSpPr>
            <a:spLocks noGrp="1"/>
          </p:cNvSpPr>
          <p:nvPr>
            <p:ph type="body" sz="quarter" idx="23"/>
          </p:nvPr>
        </p:nvSpPr>
        <p:spPr/>
        <p:txBody>
          <a:bodyPr/>
          <a:lstStyle/>
          <a:p>
            <a:r>
              <a:rPr lang="de-DE" dirty="0"/>
              <a:t>Quelle: Union Investment. Stand: 31. Mai 2024</a:t>
            </a:r>
          </a:p>
          <a:p>
            <a:r>
              <a:rPr lang="de-DE" sz="1200" dirty="0">
                <a:effectLst/>
                <a:latin typeface="Arial" panose="020B0604020202020204" pitchFamily="34" charset="0"/>
                <a:ea typeface="Times New Roman" panose="02020603050405020304" pitchFamily="18" charset="0"/>
                <a:cs typeface="Times New Roman" panose="02020603050405020304" pitchFamily="18" charset="0"/>
              </a:rPr>
              <a:t>Die Angaben zur Wertentwicklung basieren auf Vergangenheitswerten. Die Wert- und Ertragsentwicklungen können nicht mit Bestimmtheit vorausgesagt werden. Performanceergebnisse der Vergangenheit lassen keine Rückschlüsse auf die zukünftige Entwicklung zu.</a:t>
            </a:r>
          </a:p>
        </p:txBody>
      </p:sp>
      <p:sp>
        <p:nvSpPr>
          <p:cNvPr id="5" name="Titel 4">
            <a:extLst>
              <a:ext uri="{FF2B5EF4-FFF2-40B4-BE49-F238E27FC236}">
                <a16:creationId xmlns:a16="http://schemas.microsoft.com/office/drawing/2014/main" id="{B3A23A52-F475-4DD6-9C80-ABA43D8F4BEF}"/>
              </a:ext>
            </a:extLst>
          </p:cNvPr>
          <p:cNvSpPr>
            <a:spLocks noGrp="1"/>
          </p:cNvSpPr>
          <p:nvPr>
            <p:ph type="title"/>
          </p:nvPr>
        </p:nvSpPr>
        <p:spPr/>
        <p:txBody>
          <a:bodyPr/>
          <a:lstStyle/>
          <a:p>
            <a:r>
              <a:rPr lang="de-DE"/>
              <a:t>Mit Weitsicht das aktuelle </a:t>
            </a:r>
            <a:r>
              <a:rPr lang="de-DE">
                <a:solidFill>
                  <a:schemeClr val="accent2"/>
                </a:solidFill>
              </a:rPr>
              <a:t>Marktzinsniveau sichern</a:t>
            </a:r>
          </a:p>
        </p:txBody>
      </p:sp>
      <p:sp>
        <p:nvSpPr>
          <p:cNvPr id="8" name="Foliennummernplatzhalter 7">
            <a:extLst>
              <a:ext uri="{FF2B5EF4-FFF2-40B4-BE49-F238E27FC236}">
                <a16:creationId xmlns:a16="http://schemas.microsoft.com/office/drawing/2014/main" id="{7075A249-F188-44D7-B3F6-CD4A450AA1CD}"/>
              </a:ext>
            </a:extLst>
          </p:cNvPr>
          <p:cNvSpPr>
            <a:spLocks noGrp="1"/>
          </p:cNvSpPr>
          <p:nvPr>
            <p:ph type="sldNum" sz="quarter" idx="26"/>
          </p:nvPr>
        </p:nvSpPr>
        <p:spPr/>
        <p:txBody>
          <a:bodyPr/>
          <a:lstStyle/>
          <a:p>
            <a:fld id="{9C89B081-1F44-4440-BC7B-989C90F97B77}" type="slidenum">
              <a:rPr lang="de-DE" smtClean="0"/>
              <a:pPr/>
              <a:t>18</a:t>
            </a:fld>
            <a:endParaRPr lang="de-DE"/>
          </a:p>
        </p:txBody>
      </p:sp>
      <p:pic>
        <p:nvPicPr>
          <p:cNvPr id="25" name="Grafik 24">
            <a:extLst>
              <a:ext uri="{FF2B5EF4-FFF2-40B4-BE49-F238E27FC236}">
                <a16:creationId xmlns:a16="http://schemas.microsoft.com/office/drawing/2014/main" id="{DA385A73-A40C-539A-B46C-1DF9F2D72D0B}"/>
              </a:ext>
            </a:extLst>
          </p:cNvPr>
          <p:cNvPicPr>
            <a:picLocks noChangeAspect="1"/>
          </p:cNvPicPr>
          <p:nvPr/>
        </p:nvPicPr>
        <p:blipFill>
          <a:blip r:embed="rId3"/>
          <a:stretch>
            <a:fillRect/>
          </a:stretch>
        </p:blipFill>
        <p:spPr>
          <a:xfrm>
            <a:off x="409575" y="1263022"/>
            <a:ext cx="11375975" cy="4331935"/>
          </a:xfrm>
          <a:prstGeom prst="rect">
            <a:avLst/>
          </a:prstGeom>
        </p:spPr>
      </p:pic>
    </p:spTree>
    <p:extLst>
      <p:ext uri="{BB962C8B-B14F-4D97-AF65-F5344CB8AC3E}">
        <p14:creationId xmlns:p14="http://schemas.microsoft.com/office/powerpoint/2010/main" val="2150953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Gerader Verbinder 4">
            <a:extLst>
              <a:ext uri="{FF2B5EF4-FFF2-40B4-BE49-F238E27FC236}">
                <a16:creationId xmlns:a16="http://schemas.microsoft.com/office/drawing/2014/main" id="{1F255454-4105-4C00-8597-A3F56388DD89}"/>
              </a:ext>
            </a:extLst>
          </p:cNvPr>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4" name="Titel 3">
            <a:extLst>
              <a:ext uri="{FF2B5EF4-FFF2-40B4-BE49-F238E27FC236}">
                <a16:creationId xmlns:a16="http://schemas.microsoft.com/office/drawing/2014/main" id="{3CB3BE5A-F738-4B0F-9532-C43D03597A15}"/>
              </a:ext>
            </a:extLst>
          </p:cNvPr>
          <p:cNvSpPr>
            <a:spLocks noGrp="1"/>
          </p:cNvSpPr>
          <p:nvPr>
            <p:ph type="title"/>
          </p:nvPr>
        </p:nvSpPr>
        <p:spPr>
          <a:xfrm>
            <a:off x="409575" y="404664"/>
            <a:ext cx="11672178" cy="720000"/>
          </a:xfrm>
        </p:spPr>
        <p:txBody>
          <a:bodyPr/>
          <a:lstStyle/>
          <a:p>
            <a:r>
              <a:rPr lang="de-DE" dirty="0"/>
              <a:t>Schematischer Verlauf des </a:t>
            </a:r>
            <a:r>
              <a:rPr lang="de-DE" dirty="0" err="1"/>
              <a:t>UniEuroRenta</a:t>
            </a:r>
            <a:r>
              <a:rPr lang="de-DE" dirty="0"/>
              <a:t> Unternehmensanleihen 2030 II</a:t>
            </a:r>
          </a:p>
        </p:txBody>
      </p:sp>
      <p:sp>
        <p:nvSpPr>
          <p:cNvPr id="7" name="Foliennummernplatzhalter 6">
            <a:extLst>
              <a:ext uri="{FF2B5EF4-FFF2-40B4-BE49-F238E27FC236}">
                <a16:creationId xmlns:a16="http://schemas.microsoft.com/office/drawing/2014/main" id="{ABCDD0E3-906A-4BCC-8E91-E8DCCDF12005}"/>
              </a:ext>
            </a:extLst>
          </p:cNvPr>
          <p:cNvSpPr>
            <a:spLocks noGrp="1"/>
          </p:cNvSpPr>
          <p:nvPr>
            <p:ph type="sldNum" sz="quarter" idx="26"/>
          </p:nvPr>
        </p:nvSpPr>
        <p:spPr/>
        <p:txBody>
          <a:bodyPr/>
          <a:lstStyle/>
          <a:p>
            <a:fld id="{9C89B081-1F44-4440-BC7B-989C90F97B77}" type="slidenum">
              <a:rPr lang="de-DE" smtClean="0"/>
              <a:pPr/>
              <a:t>19</a:t>
            </a:fld>
            <a:endParaRPr lang="de-DE"/>
          </a:p>
        </p:txBody>
      </p:sp>
      <p:sp>
        <p:nvSpPr>
          <p:cNvPr id="59" name="Textplatzhalter 8">
            <a:extLst>
              <a:ext uri="{FF2B5EF4-FFF2-40B4-BE49-F238E27FC236}">
                <a16:creationId xmlns:a16="http://schemas.microsoft.com/office/drawing/2014/main" id="{130CEB32-3B9E-464D-8FC0-7592C356DFB4}"/>
              </a:ext>
            </a:extLst>
          </p:cNvPr>
          <p:cNvSpPr>
            <a:spLocks noGrp="1"/>
          </p:cNvSpPr>
          <p:nvPr>
            <p:ph type="body" sz="quarter" idx="23"/>
          </p:nvPr>
        </p:nvSpPr>
        <p:spPr>
          <a:xfrm>
            <a:off x="409575" y="5511217"/>
            <a:ext cx="11376025" cy="834480"/>
          </a:xfrm>
        </p:spPr>
        <p:txBody>
          <a:bodyPr/>
          <a:lstStyle/>
          <a:p>
            <a:r>
              <a:rPr lang="de-DE" dirty="0">
                <a:solidFill>
                  <a:schemeClr val="dk1"/>
                </a:solidFill>
              </a:rPr>
              <a:t>Quelle: Union Investment, schematische Darstellung; Stand: Juni 2024</a:t>
            </a:r>
            <a:endParaRPr lang="de-DE" dirty="0"/>
          </a:p>
          <a:p>
            <a:r>
              <a:rPr lang="de-DE" sz="1200" b="0" i="0" u="none" strike="noStrike" dirty="0">
                <a:solidFill>
                  <a:srgbClr val="000000"/>
                </a:solidFill>
                <a:effectLst/>
                <a:latin typeface="+mj-lt"/>
              </a:rPr>
              <a:t>Bei dem schematischen Kursverlauf bezogen auf den Zeitraum 06/2024 </a:t>
            </a:r>
            <a:r>
              <a:rPr lang="de-DE" sz="1200" b="0" i="0" u="none" strike="noStrike">
                <a:solidFill>
                  <a:srgbClr val="000000"/>
                </a:solidFill>
                <a:effectLst/>
                <a:latin typeface="+mj-lt"/>
              </a:rPr>
              <a:t>bis 04/2030 </a:t>
            </a:r>
            <a:r>
              <a:rPr lang="de-DE" sz="1200" b="0" i="0" u="none" strike="noStrike" dirty="0">
                <a:solidFill>
                  <a:srgbClr val="000000"/>
                </a:solidFill>
                <a:effectLst/>
                <a:latin typeface="+mj-lt"/>
              </a:rPr>
              <a:t>zur künftigen Entwicklung handelt es  sich um keinen verlässlichen Indikator für die tatsächliche zukünftige Entwicklung, die von vielen, nicht vorhersagbaren und nicht beeinflussbaren Faktoren abhängt.</a:t>
            </a:r>
            <a:endParaRPr lang="de-DE" sz="1200" dirty="0">
              <a:latin typeface="+mj-lt"/>
            </a:endParaRPr>
          </a:p>
        </p:txBody>
      </p:sp>
      <p:pic>
        <p:nvPicPr>
          <p:cNvPr id="3" name="Grafik 2">
            <a:extLst>
              <a:ext uri="{FF2B5EF4-FFF2-40B4-BE49-F238E27FC236}">
                <a16:creationId xmlns:a16="http://schemas.microsoft.com/office/drawing/2014/main" id="{09059514-F08D-F8D3-1C2A-24A13E990D0A}"/>
              </a:ext>
            </a:extLst>
          </p:cNvPr>
          <p:cNvPicPr>
            <a:picLocks noChangeAspect="1"/>
          </p:cNvPicPr>
          <p:nvPr/>
        </p:nvPicPr>
        <p:blipFill>
          <a:blip r:embed="rId3"/>
          <a:stretch>
            <a:fillRect/>
          </a:stretch>
        </p:blipFill>
        <p:spPr>
          <a:xfrm>
            <a:off x="409575" y="1013878"/>
            <a:ext cx="11376025" cy="4505798"/>
          </a:xfrm>
          <a:prstGeom prst="rect">
            <a:avLst/>
          </a:prstGeom>
        </p:spPr>
      </p:pic>
    </p:spTree>
    <p:extLst>
      <p:ext uri="{BB962C8B-B14F-4D97-AF65-F5344CB8AC3E}">
        <p14:creationId xmlns:p14="http://schemas.microsoft.com/office/powerpoint/2010/main" val="2549175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9550C358-85DF-4946-9731-A0C196D297ED}"/>
              </a:ext>
            </a:extLst>
          </p:cNvPr>
          <p:cNvSpPr>
            <a:spLocks noGrp="1"/>
          </p:cNvSpPr>
          <p:nvPr>
            <p:ph type="body" sz="quarter" idx="23"/>
          </p:nvPr>
        </p:nvSpPr>
        <p:spPr>
          <a:xfrm>
            <a:off x="409575" y="6001543"/>
            <a:ext cx="5048250" cy="307777"/>
          </a:xfrm>
        </p:spPr>
        <p:txBody>
          <a:bodyPr/>
          <a:lstStyle/>
          <a:p>
            <a:r>
              <a:rPr lang="de-DE" dirty="0"/>
              <a:t>Quelle: Union Investment; *Bundesverband Investment und Asset Management (BVI); Stand: 31. Mai 2024</a:t>
            </a:r>
          </a:p>
        </p:txBody>
      </p:sp>
      <p:sp>
        <p:nvSpPr>
          <p:cNvPr id="9" name="Titel 8">
            <a:extLst>
              <a:ext uri="{FF2B5EF4-FFF2-40B4-BE49-F238E27FC236}">
                <a16:creationId xmlns:a16="http://schemas.microsoft.com/office/drawing/2014/main" id="{ADAB0388-CD96-42F0-B384-D6278009E2BD}"/>
              </a:ext>
            </a:extLst>
          </p:cNvPr>
          <p:cNvSpPr>
            <a:spLocks noGrp="1"/>
          </p:cNvSpPr>
          <p:nvPr>
            <p:ph type="title"/>
          </p:nvPr>
        </p:nvSpPr>
        <p:spPr/>
        <p:txBody>
          <a:bodyPr/>
          <a:lstStyle/>
          <a:p>
            <a:r>
              <a:rPr lang="de-DE" dirty="0"/>
              <a:t>Union Investment – </a:t>
            </a:r>
            <a:br>
              <a:rPr lang="de-DE" dirty="0"/>
            </a:br>
            <a:r>
              <a:rPr lang="de-DE" dirty="0"/>
              <a:t>der starke Kooperationspartner der Volksbank Wien </a:t>
            </a:r>
          </a:p>
        </p:txBody>
      </p:sp>
      <p:sp>
        <p:nvSpPr>
          <p:cNvPr id="12" name="Foliennummernplatzhalter 11">
            <a:extLst>
              <a:ext uri="{FF2B5EF4-FFF2-40B4-BE49-F238E27FC236}">
                <a16:creationId xmlns:a16="http://schemas.microsoft.com/office/drawing/2014/main" id="{202F0731-B019-4144-ACEF-6980EB53AED6}"/>
              </a:ext>
            </a:extLst>
          </p:cNvPr>
          <p:cNvSpPr>
            <a:spLocks noGrp="1"/>
          </p:cNvSpPr>
          <p:nvPr>
            <p:ph type="sldNum" sz="quarter" idx="31"/>
          </p:nvPr>
        </p:nvSpPr>
        <p:spPr/>
        <p:txBody>
          <a:bodyPr/>
          <a:lstStyle/>
          <a:p>
            <a:fld id="{9C89B081-1F44-4440-BC7B-989C90F97B77}" type="slidenum">
              <a:rPr lang="de-DE" smtClean="0"/>
              <a:pPr/>
              <a:t>2</a:t>
            </a:fld>
            <a:endParaRPr lang="de-DE" dirty="0"/>
          </a:p>
        </p:txBody>
      </p:sp>
      <p:sp>
        <p:nvSpPr>
          <p:cNvPr id="17" name="Inhaltsplatzhalter 1">
            <a:extLst>
              <a:ext uri="{FF2B5EF4-FFF2-40B4-BE49-F238E27FC236}">
                <a16:creationId xmlns:a16="http://schemas.microsoft.com/office/drawing/2014/main" id="{60FD0878-84D8-4821-A33A-A3867B958DD4}"/>
              </a:ext>
            </a:extLst>
          </p:cNvPr>
          <p:cNvSpPr>
            <a:spLocks noGrp="1"/>
          </p:cNvSpPr>
          <p:nvPr>
            <p:ph sz="quarter" idx="26"/>
          </p:nvPr>
        </p:nvSpPr>
        <p:spPr>
          <a:xfrm>
            <a:off x="6457534" y="1463190"/>
            <a:ext cx="5326586" cy="4248632"/>
          </a:xfrm>
        </p:spPr>
        <p:txBody>
          <a:bodyPr/>
          <a:lstStyle/>
          <a:p>
            <a:pPr marL="0" lvl="2" indent="0">
              <a:spcBef>
                <a:spcPts val="225"/>
              </a:spcBef>
              <a:buClr>
                <a:schemeClr val="dk2"/>
              </a:buClr>
              <a:buSzPts val="1800"/>
              <a:buNone/>
            </a:pPr>
            <a:r>
              <a:rPr lang="de-DE" sz="1600" b="1" dirty="0">
                <a:solidFill>
                  <a:schemeClr val="dk2"/>
                </a:solidFill>
              </a:rPr>
              <a:t>Gegründet 1956, </a:t>
            </a:r>
            <a:r>
              <a:rPr lang="de-DE" sz="1600" dirty="0">
                <a:solidFill>
                  <a:schemeClr val="dk1"/>
                </a:solidFill>
              </a:rPr>
              <a:t>Hauptsitz in </a:t>
            </a:r>
            <a:r>
              <a:rPr lang="de-DE" sz="1600" b="1" dirty="0">
                <a:solidFill>
                  <a:schemeClr val="dk2"/>
                </a:solidFill>
              </a:rPr>
              <a:t>Frankfurt am Main - DE, </a:t>
            </a:r>
          </a:p>
          <a:p>
            <a:pPr marL="0" lvl="2" indent="0">
              <a:spcBef>
                <a:spcPts val="225"/>
              </a:spcBef>
              <a:buClr>
                <a:schemeClr val="dk2"/>
              </a:buClr>
              <a:buSzPts val="1800"/>
              <a:buNone/>
            </a:pPr>
            <a:r>
              <a:rPr lang="de-DE" sz="1600" b="1" dirty="0">
                <a:solidFill>
                  <a:schemeClr val="dk2"/>
                </a:solidFill>
              </a:rPr>
              <a:t>seit 2008 in Österreich vertreten</a:t>
            </a:r>
            <a:br>
              <a:rPr lang="de-DE" sz="1600" b="1" dirty="0">
                <a:solidFill>
                  <a:schemeClr val="dk2"/>
                </a:solidFill>
              </a:rPr>
            </a:br>
            <a:endParaRPr lang="de-DE" sz="1600" b="1" dirty="0">
              <a:solidFill>
                <a:schemeClr val="dk2"/>
              </a:solidFill>
            </a:endParaRPr>
          </a:p>
          <a:p>
            <a:pPr marL="0" lvl="2" indent="0">
              <a:spcBef>
                <a:spcPts val="225"/>
              </a:spcBef>
              <a:buClr>
                <a:schemeClr val="dk2"/>
              </a:buClr>
              <a:buSzPts val="1800"/>
              <a:buNone/>
            </a:pPr>
            <a:r>
              <a:rPr lang="de-DE" sz="1600" b="1" dirty="0">
                <a:solidFill>
                  <a:schemeClr val="dk2"/>
                </a:solidFill>
              </a:rPr>
              <a:t>Aktiver, fundamentaler Asset Manager</a:t>
            </a:r>
            <a:br>
              <a:rPr lang="de-DE" sz="1600" dirty="0">
                <a:solidFill>
                  <a:schemeClr val="dk1"/>
                </a:solidFill>
              </a:rPr>
            </a:br>
            <a:r>
              <a:rPr lang="de-DE" sz="1600" dirty="0">
                <a:solidFill>
                  <a:schemeClr val="dk1"/>
                </a:solidFill>
              </a:rPr>
              <a:t>482 Milliarden Euro Assets </a:t>
            </a:r>
            <a:r>
              <a:rPr lang="de-DE" sz="1600" dirty="0" err="1">
                <a:solidFill>
                  <a:schemeClr val="dk1"/>
                </a:solidFill>
              </a:rPr>
              <a:t>under</a:t>
            </a:r>
            <a:r>
              <a:rPr lang="de-DE" sz="1600" dirty="0">
                <a:solidFill>
                  <a:schemeClr val="dk1"/>
                </a:solidFill>
              </a:rPr>
              <a:t> Management,</a:t>
            </a:r>
            <a:br>
              <a:rPr lang="de-DE" sz="1600" dirty="0">
                <a:solidFill>
                  <a:schemeClr val="dk1"/>
                </a:solidFill>
              </a:rPr>
            </a:br>
            <a:r>
              <a:rPr lang="de-DE" sz="1600" dirty="0">
                <a:solidFill>
                  <a:schemeClr val="dk1"/>
                </a:solidFill>
              </a:rPr>
              <a:t>davon 245 Milliarden Euro für institutionelle Kunden</a:t>
            </a:r>
            <a:endParaRPr lang="de-DE" sz="1400" b="1" dirty="0">
              <a:solidFill>
                <a:schemeClr val="dk2"/>
              </a:solidFill>
            </a:endParaRPr>
          </a:p>
          <a:p>
            <a:pPr marL="0" lvl="2" indent="0">
              <a:spcBef>
                <a:spcPts val="225"/>
              </a:spcBef>
              <a:buClr>
                <a:schemeClr val="dk2"/>
              </a:buClr>
              <a:buSzPts val="1800"/>
              <a:buNone/>
            </a:pPr>
            <a:endParaRPr lang="de-DE" sz="1600" b="1" dirty="0">
              <a:solidFill>
                <a:schemeClr val="dk2"/>
              </a:solidFill>
            </a:endParaRPr>
          </a:p>
          <a:p>
            <a:pPr marL="0" lvl="2" indent="0">
              <a:spcBef>
                <a:spcPts val="225"/>
              </a:spcBef>
              <a:buClr>
                <a:schemeClr val="dk2"/>
              </a:buClr>
              <a:buSzPts val="1800"/>
              <a:buNone/>
            </a:pPr>
            <a:r>
              <a:rPr lang="en-GB" sz="1600" b="1" dirty="0" err="1">
                <a:solidFill>
                  <a:schemeClr val="tx2"/>
                </a:solidFill>
              </a:rPr>
              <a:t>Nachhaltigkeit</a:t>
            </a:r>
            <a:r>
              <a:rPr lang="en-GB" sz="1600" b="1" dirty="0">
                <a:solidFill>
                  <a:schemeClr val="tx2"/>
                </a:solidFill>
              </a:rPr>
              <a:t> </a:t>
            </a:r>
            <a:r>
              <a:rPr lang="en-GB" sz="1600" dirty="0" err="1">
                <a:solidFill>
                  <a:schemeClr val="dk1"/>
                </a:solidFill>
              </a:rPr>
              <a:t>ist</a:t>
            </a:r>
            <a:r>
              <a:rPr lang="en-GB" sz="1600" dirty="0">
                <a:solidFill>
                  <a:schemeClr val="dk1"/>
                </a:solidFill>
              </a:rPr>
              <a:t> </a:t>
            </a:r>
            <a:r>
              <a:rPr lang="en-GB" sz="1600" dirty="0" err="1">
                <a:solidFill>
                  <a:schemeClr val="dk1"/>
                </a:solidFill>
              </a:rPr>
              <a:t>im</a:t>
            </a:r>
            <a:r>
              <a:rPr lang="en-GB" sz="1600" dirty="0">
                <a:solidFill>
                  <a:schemeClr val="dk1"/>
                </a:solidFill>
              </a:rPr>
              <a:t> </a:t>
            </a:r>
            <a:r>
              <a:rPr lang="en-GB" sz="1600" dirty="0" err="1">
                <a:solidFill>
                  <a:schemeClr val="dk1"/>
                </a:solidFill>
              </a:rPr>
              <a:t>Unternehmen</a:t>
            </a:r>
            <a:r>
              <a:rPr lang="en-GB" sz="1600" dirty="0">
                <a:solidFill>
                  <a:schemeClr val="dk1"/>
                </a:solidFill>
              </a:rPr>
              <a:t> und in den </a:t>
            </a:r>
            <a:r>
              <a:rPr lang="en-GB" sz="1600" dirty="0" err="1">
                <a:solidFill>
                  <a:schemeClr val="dk1"/>
                </a:solidFill>
              </a:rPr>
              <a:t>Investmentprozessen</a:t>
            </a:r>
            <a:r>
              <a:rPr lang="en-GB" sz="1600" dirty="0">
                <a:solidFill>
                  <a:schemeClr val="dk1"/>
                </a:solidFill>
              </a:rPr>
              <a:t> </a:t>
            </a:r>
            <a:r>
              <a:rPr lang="en-GB" sz="1600" dirty="0" err="1">
                <a:solidFill>
                  <a:schemeClr val="dk1"/>
                </a:solidFill>
              </a:rPr>
              <a:t>verankert</a:t>
            </a:r>
            <a:br>
              <a:rPr lang="en-GB" sz="1600" dirty="0">
                <a:solidFill>
                  <a:schemeClr val="dk1"/>
                </a:solidFill>
              </a:rPr>
            </a:br>
            <a:endParaRPr lang="en-GB" sz="1600" dirty="0">
              <a:solidFill>
                <a:schemeClr val="dk1"/>
              </a:solidFill>
            </a:endParaRPr>
          </a:p>
          <a:p>
            <a:pPr marL="0" lvl="2" indent="0">
              <a:spcBef>
                <a:spcPts val="225"/>
              </a:spcBef>
              <a:buClr>
                <a:schemeClr val="dk2"/>
              </a:buClr>
              <a:buSzPts val="1800"/>
              <a:buNone/>
            </a:pPr>
            <a:r>
              <a:rPr lang="de-DE" sz="1600" dirty="0">
                <a:solidFill>
                  <a:schemeClr val="dk1"/>
                </a:solidFill>
              </a:rPr>
              <a:t>seit 2016 sehr </a:t>
            </a:r>
            <a:r>
              <a:rPr lang="de-DE" sz="1600" b="1" dirty="0">
                <a:solidFill>
                  <a:schemeClr val="dk2"/>
                </a:solidFill>
              </a:rPr>
              <a:t>erfolgreiche Kooperation </a:t>
            </a:r>
            <a:r>
              <a:rPr lang="de-DE" sz="1600" dirty="0">
                <a:solidFill>
                  <a:schemeClr val="dk1"/>
                </a:solidFill>
              </a:rPr>
              <a:t>mit der </a:t>
            </a:r>
            <a:r>
              <a:rPr lang="de-DE" sz="1600" b="1" dirty="0">
                <a:solidFill>
                  <a:schemeClr val="dk2"/>
                </a:solidFill>
              </a:rPr>
              <a:t>Volksbank Wien</a:t>
            </a:r>
          </a:p>
          <a:p>
            <a:pPr marL="0" lvl="2" indent="0">
              <a:spcBef>
                <a:spcPts val="225"/>
              </a:spcBef>
              <a:buClr>
                <a:schemeClr val="dk2"/>
              </a:buClr>
              <a:buSzPts val="1800"/>
              <a:buNone/>
            </a:pPr>
            <a:endParaRPr lang="de-DE" sz="1600" b="1" dirty="0">
              <a:solidFill>
                <a:schemeClr val="dk2"/>
              </a:solidFill>
            </a:endParaRPr>
          </a:p>
          <a:p>
            <a:pPr marL="0" lvl="2" indent="0">
              <a:spcBef>
                <a:spcPts val="225"/>
              </a:spcBef>
              <a:buClr>
                <a:schemeClr val="dk2"/>
              </a:buClr>
              <a:buSzPts val="1800"/>
              <a:buNone/>
            </a:pPr>
            <a:r>
              <a:rPr lang="de-DE" sz="1600" b="1" dirty="0">
                <a:solidFill>
                  <a:schemeClr val="dk2"/>
                </a:solidFill>
              </a:rPr>
              <a:t>Langjährige Erfahrung </a:t>
            </a:r>
            <a:r>
              <a:rPr lang="de-DE" sz="1600" dirty="0"/>
              <a:t>im Management und Betreuung von </a:t>
            </a:r>
            <a:r>
              <a:rPr lang="de-DE" sz="1600" b="1" dirty="0">
                <a:solidFill>
                  <a:schemeClr val="dk2"/>
                </a:solidFill>
              </a:rPr>
              <a:t>Betriebsvermögen für deutsche und österreichische Kunden </a:t>
            </a:r>
            <a:br>
              <a:rPr lang="de-DE" sz="1600" b="1" dirty="0">
                <a:solidFill>
                  <a:schemeClr val="dk2"/>
                </a:solidFill>
              </a:rPr>
            </a:br>
            <a:endParaRPr lang="de-DE" sz="1600" b="1" dirty="0">
              <a:solidFill>
                <a:schemeClr val="dk2"/>
              </a:solidFill>
            </a:endParaRPr>
          </a:p>
          <a:p>
            <a:pPr marL="0" lvl="2" indent="0">
              <a:spcBef>
                <a:spcPts val="225"/>
              </a:spcBef>
              <a:buClr>
                <a:schemeClr val="dk2"/>
              </a:buClr>
              <a:buSzPts val="1800"/>
              <a:buNone/>
            </a:pPr>
            <a:r>
              <a:rPr lang="de-DE" sz="1600" b="1" dirty="0">
                <a:solidFill>
                  <a:schemeClr val="dk2"/>
                </a:solidFill>
              </a:rPr>
              <a:t>Nr. 2* in Deutschland </a:t>
            </a:r>
            <a:r>
              <a:rPr lang="de-DE" sz="1600" dirty="0"/>
              <a:t>unter institutionelle Asset Managern mit mehr als 4.000 Mitarbeitern</a:t>
            </a:r>
            <a:endParaRPr lang="de-DE" sz="1600" b="1" dirty="0">
              <a:solidFill>
                <a:schemeClr val="dk2"/>
              </a:solidFill>
            </a:endParaRPr>
          </a:p>
          <a:p>
            <a:pPr marL="0" lvl="2" indent="0">
              <a:spcBef>
                <a:spcPts val="225"/>
              </a:spcBef>
              <a:buClr>
                <a:schemeClr val="dk2"/>
              </a:buClr>
              <a:buSzPts val="1800"/>
              <a:buNone/>
            </a:pPr>
            <a:endParaRPr lang="de-DE" b="1" dirty="0">
              <a:solidFill>
                <a:schemeClr val="dk2"/>
              </a:solidFill>
            </a:endParaRPr>
          </a:p>
        </p:txBody>
      </p:sp>
      <p:pic>
        <p:nvPicPr>
          <p:cNvPr id="2" name="Grafik 1">
            <a:extLst>
              <a:ext uri="{FF2B5EF4-FFF2-40B4-BE49-F238E27FC236}">
                <a16:creationId xmlns:a16="http://schemas.microsoft.com/office/drawing/2014/main" id="{EC2B4013-A6F3-1774-059E-7A58A849421D}"/>
              </a:ext>
            </a:extLst>
          </p:cNvPr>
          <p:cNvPicPr>
            <a:picLocks noChangeAspect="1"/>
          </p:cNvPicPr>
          <p:nvPr/>
        </p:nvPicPr>
        <p:blipFill rotWithShape="1">
          <a:blip r:embed="rId3"/>
          <a:srcRect b="10692"/>
          <a:stretch/>
        </p:blipFill>
        <p:spPr>
          <a:xfrm>
            <a:off x="409576" y="1414386"/>
            <a:ext cx="5196204" cy="4548926"/>
          </a:xfrm>
          <a:prstGeom prst="rect">
            <a:avLst/>
          </a:prstGeom>
        </p:spPr>
      </p:pic>
    </p:spTree>
    <p:extLst>
      <p:ext uri="{BB962C8B-B14F-4D97-AF65-F5344CB8AC3E}">
        <p14:creationId xmlns:p14="http://schemas.microsoft.com/office/powerpoint/2010/main" val="360319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8736A82D-8249-A5BB-FA9F-E40122D074C8}"/>
              </a:ext>
            </a:extLst>
          </p:cNvPr>
          <p:cNvSpPr>
            <a:spLocks noGrp="1"/>
          </p:cNvSpPr>
          <p:nvPr>
            <p:ph type="body" sz="quarter" idx="23"/>
          </p:nvPr>
        </p:nvSpPr>
        <p:spPr>
          <a:xfrm>
            <a:off x="409575" y="6001543"/>
            <a:ext cx="11621463" cy="307777"/>
          </a:xfrm>
        </p:spPr>
        <p:txBody>
          <a:bodyPr/>
          <a:lstStyle/>
          <a:p>
            <a:r>
              <a:rPr lang="de-DE" dirty="0"/>
              <a:t>Quelle: Union Investment, eigene Berechnungen. Wertentwicklung vom 31.03.1994 bis 31.03.2024.</a:t>
            </a:r>
          </a:p>
          <a:p>
            <a:r>
              <a:rPr lang="de-DE" sz="1200" dirty="0"/>
              <a:t>Die Angaben zur Wertentwicklung basieren auf Vergangenheitswerten. Die Wert- und Ertragsentwicklungen von Fonds können nicht mit Bestimmtheit vorausgesagt werden. Performanceergebnisse der Vergangenheit lassen keine Rückschlüsse auf die zukünftige Entwicklung zu. Ausgabe- und Rücknahmespesen, Provisionen, Gebühren und andere Entgelte, sowie Steuern sind in der Performanceberechnung nicht berücksichtigt und können sich mindernd auf die angeführte Bruttowertentwicklung auswirken. *Der erwähnte Fonds weist aufgrund der Zusammensetzung des Portfolios oder der verwendeten Portfoliomanagementtechniken eine erhöhte Volatilität auf.</a:t>
            </a:r>
          </a:p>
        </p:txBody>
      </p:sp>
      <p:sp>
        <p:nvSpPr>
          <p:cNvPr id="4" name="Titel 3">
            <a:extLst>
              <a:ext uri="{FF2B5EF4-FFF2-40B4-BE49-F238E27FC236}">
                <a16:creationId xmlns:a16="http://schemas.microsoft.com/office/drawing/2014/main" id="{224CB833-1CF0-AE3C-CBBF-AB5692AAA074}"/>
              </a:ext>
            </a:extLst>
          </p:cNvPr>
          <p:cNvSpPr>
            <a:spLocks noGrp="1"/>
          </p:cNvSpPr>
          <p:nvPr>
            <p:ph type="title"/>
          </p:nvPr>
        </p:nvSpPr>
        <p:spPr/>
        <p:txBody>
          <a:bodyPr/>
          <a:lstStyle/>
          <a:p>
            <a:r>
              <a:rPr lang="de-DE" dirty="0"/>
              <a:t>31 Gründe gegen Aktien – und </a:t>
            </a:r>
            <a:r>
              <a:rPr lang="de-DE" dirty="0">
                <a:solidFill>
                  <a:schemeClr val="accent2"/>
                </a:solidFill>
              </a:rPr>
              <a:t>ein Grund für </a:t>
            </a:r>
            <a:r>
              <a:rPr lang="de-DE" dirty="0" err="1">
                <a:solidFill>
                  <a:schemeClr val="accent2"/>
                </a:solidFill>
              </a:rPr>
              <a:t>UniGlobal</a:t>
            </a:r>
            <a:r>
              <a:rPr lang="de-DE" dirty="0">
                <a:solidFill>
                  <a:schemeClr val="accent2"/>
                </a:solidFill>
              </a:rPr>
              <a:t>*</a:t>
            </a:r>
          </a:p>
        </p:txBody>
      </p:sp>
      <p:sp>
        <p:nvSpPr>
          <p:cNvPr id="5" name="Foliennummernplatzhalter 4">
            <a:extLst>
              <a:ext uri="{FF2B5EF4-FFF2-40B4-BE49-F238E27FC236}">
                <a16:creationId xmlns:a16="http://schemas.microsoft.com/office/drawing/2014/main" id="{DE1AF41A-F248-433A-5BCA-05D13DD7810A}"/>
              </a:ext>
            </a:extLst>
          </p:cNvPr>
          <p:cNvSpPr>
            <a:spLocks noGrp="1"/>
          </p:cNvSpPr>
          <p:nvPr>
            <p:ph type="sldNum" sz="quarter" idx="26"/>
          </p:nvPr>
        </p:nvSpPr>
        <p:spPr/>
        <p:txBody>
          <a:bodyPr/>
          <a:lstStyle/>
          <a:p>
            <a:fld id="{9C89B081-1F44-4440-BC7B-989C90F97B77}" type="slidenum">
              <a:rPr lang="de-DE" smtClean="0"/>
              <a:pPr/>
              <a:t>20</a:t>
            </a:fld>
            <a:endParaRPr lang="de-DE"/>
          </a:p>
        </p:txBody>
      </p:sp>
      <p:pic>
        <p:nvPicPr>
          <p:cNvPr id="7" name="Grafik 6">
            <a:extLst>
              <a:ext uri="{FF2B5EF4-FFF2-40B4-BE49-F238E27FC236}">
                <a16:creationId xmlns:a16="http://schemas.microsoft.com/office/drawing/2014/main" id="{446CCBF0-5E85-F93B-9E33-68B1E0B197C3}"/>
              </a:ext>
            </a:extLst>
          </p:cNvPr>
          <p:cNvPicPr>
            <a:picLocks noChangeAspect="1"/>
          </p:cNvPicPr>
          <p:nvPr/>
        </p:nvPicPr>
        <p:blipFill>
          <a:blip r:embed="rId2"/>
          <a:stretch>
            <a:fillRect/>
          </a:stretch>
        </p:blipFill>
        <p:spPr>
          <a:xfrm>
            <a:off x="409575" y="863605"/>
            <a:ext cx="11376025" cy="4469421"/>
          </a:xfrm>
          <a:prstGeom prst="rect">
            <a:avLst/>
          </a:prstGeom>
        </p:spPr>
      </p:pic>
    </p:spTree>
    <p:extLst>
      <p:ext uri="{BB962C8B-B14F-4D97-AF65-F5344CB8AC3E}">
        <p14:creationId xmlns:p14="http://schemas.microsoft.com/office/powerpoint/2010/main" val="1221064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3CB3BE5A-F738-4B0F-9532-C43D03597A15}"/>
              </a:ext>
            </a:extLst>
          </p:cNvPr>
          <p:cNvSpPr>
            <a:spLocks noGrp="1"/>
          </p:cNvSpPr>
          <p:nvPr>
            <p:ph type="title"/>
          </p:nvPr>
        </p:nvSpPr>
        <p:spPr/>
        <p:txBody>
          <a:bodyPr/>
          <a:lstStyle/>
          <a:p>
            <a:r>
              <a:rPr lang="de-DE" sz="2800" b="1" dirty="0" err="1"/>
              <a:t>UniInstitutional</a:t>
            </a:r>
            <a:r>
              <a:rPr lang="de-DE" sz="2800" b="1" dirty="0"/>
              <a:t> SDG </a:t>
            </a:r>
            <a:r>
              <a:rPr lang="de-DE" sz="2800" b="1" dirty="0" err="1"/>
              <a:t>Equities</a:t>
            </a:r>
            <a:r>
              <a:rPr lang="de-DE" sz="2800" b="1" dirty="0"/>
              <a:t>, </a:t>
            </a:r>
            <a:r>
              <a:rPr lang="de-DE" sz="2800" b="1" dirty="0" err="1"/>
              <a:t>UniRak</a:t>
            </a:r>
            <a:r>
              <a:rPr lang="de-DE" sz="2800" b="1" dirty="0"/>
              <a:t> Nachhaltig, </a:t>
            </a:r>
            <a:r>
              <a:rPr lang="de-DE" sz="2800" b="1" dirty="0" err="1"/>
              <a:t>UniRak</a:t>
            </a:r>
            <a:r>
              <a:rPr lang="de-DE" sz="2800" b="1" dirty="0"/>
              <a:t> Nachhaltig Konservativ </a:t>
            </a:r>
            <a:r>
              <a:rPr lang="de-DE" dirty="0"/>
              <a:t>– nachhaltig in Zukunftsthemen investieren</a:t>
            </a:r>
          </a:p>
        </p:txBody>
      </p:sp>
      <p:sp>
        <p:nvSpPr>
          <p:cNvPr id="7" name="Foliennummernplatzhalter 6">
            <a:extLst>
              <a:ext uri="{FF2B5EF4-FFF2-40B4-BE49-F238E27FC236}">
                <a16:creationId xmlns:a16="http://schemas.microsoft.com/office/drawing/2014/main" id="{ABCDD0E3-906A-4BCC-8E91-E8DCCDF12005}"/>
              </a:ext>
            </a:extLst>
          </p:cNvPr>
          <p:cNvSpPr>
            <a:spLocks noGrp="1"/>
          </p:cNvSpPr>
          <p:nvPr>
            <p:ph type="sldNum" sz="quarter" idx="26"/>
          </p:nvPr>
        </p:nvSpPr>
        <p:spPr/>
        <p:txBody>
          <a:bodyPr/>
          <a:lstStyle/>
          <a:p>
            <a:fld id="{9C89B081-1F44-4440-BC7B-989C90F97B77}" type="slidenum">
              <a:rPr lang="de-DE" smtClean="0"/>
              <a:pPr/>
              <a:t>21</a:t>
            </a:fld>
            <a:endParaRPr lang="de-DE" dirty="0"/>
          </a:p>
        </p:txBody>
      </p:sp>
      <p:sp>
        <p:nvSpPr>
          <p:cNvPr id="59" name="Textplatzhalter 8">
            <a:extLst>
              <a:ext uri="{FF2B5EF4-FFF2-40B4-BE49-F238E27FC236}">
                <a16:creationId xmlns:a16="http://schemas.microsoft.com/office/drawing/2014/main" id="{130CEB32-3B9E-464D-8FC0-7592C356DFB4}"/>
              </a:ext>
            </a:extLst>
          </p:cNvPr>
          <p:cNvSpPr>
            <a:spLocks noGrp="1"/>
          </p:cNvSpPr>
          <p:nvPr>
            <p:ph type="body" sz="quarter" idx="23"/>
          </p:nvPr>
        </p:nvSpPr>
        <p:spPr>
          <a:xfrm>
            <a:off x="409575" y="6428654"/>
            <a:ext cx="11376025" cy="307777"/>
          </a:xfrm>
        </p:spPr>
        <p:txBody>
          <a:bodyPr/>
          <a:lstStyle/>
          <a:p>
            <a:r>
              <a:rPr lang="de-DE" dirty="0">
                <a:solidFill>
                  <a:schemeClr val="dk1"/>
                </a:solidFill>
              </a:rPr>
              <a:t>Quelle: Union Investment, Stand: 19.08.2024</a:t>
            </a:r>
            <a:r>
              <a:rPr lang="de-DE" dirty="0"/>
              <a:t>. Abbildungszeitraum 22.12.2017 bis 16.08.2024.</a:t>
            </a:r>
          </a:p>
          <a:p>
            <a:r>
              <a:rPr lang="de-DE" sz="1200" dirty="0"/>
              <a:t>Die Angaben zur Wertentwicklung basieren auf Vergangenheitswerten. </a:t>
            </a:r>
            <a:r>
              <a:rPr lang="de-DE" sz="1200" dirty="0">
                <a:effectLst/>
                <a:latin typeface="Arial" panose="020B0604020202020204" pitchFamily="34" charset="0"/>
                <a:ea typeface="Times New Roman" panose="02020603050405020304" pitchFamily="18" charset="0"/>
                <a:cs typeface="Times New Roman" panose="02020603050405020304" pitchFamily="18" charset="0"/>
              </a:rPr>
              <a:t>Die Wert- und Ertragsentwicklungen von Fonds können nicht mit Bestimmtheit vorausgesagt werden. Performanceergebnisse der Vergangenheit lassen keine Rückschlüsse auf die zukünftige Entwicklung zu. Ausgabe- und Rücknahmespesen, Provisionen, Gebühren und andere Entgelte, sowie Steuern sind in der Performanceberechnung nicht berücksichtigt und können sich mindernd auf die angeführte Bruttowertentwicklung auswirken. D</a:t>
            </a:r>
            <a:r>
              <a:rPr lang="de-DE" sz="1200" b="0" i="0" u="none" strike="noStrike" dirty="0">
                <a:effectLst/>
                <a:latin typeface="+mj-lt"/>
              </a:rPr>
              <a:t>ie erwähnten Fonds </a:t>
            </a:r>
            <a:r>
              <a:rPr lang="de-DE" sz="1200" b="0" i="0" u="none" strike="noStrike" dirty="0" err="1">
                <a:effectLst/>
                <a:latin typeface="+mj-lt"/>
              </a:rPr>
              <a:t>UniInstitutional</a:t>
            </a:r>
            <a:r>
              <a:rPr lang="de-DE" sz="1200" b="0" i="0" u="none" strike="noStrike" dirty="0">
                <a:effectLst/>
                <a:latin typeface="+mj-lt"/>
              </a:rPr>
              <a:t> SDG </a:t>
            </a:r>
            <a:r>
              <a:rPr lang="de-DE" sz="1200" b="0" i="0" u="none" strike="noStrike" dirty="0" err="1">
                <a:effectLst/>
                <a:latin typeface="+mj-lt"/>
              </a:rPr>
              <a:t>Equities</a:t>
            </a:r>
            <a:r>
              <a:rPr lang="de-DE" sz="1200" b="0" i="0" u="none" strike="noStrike" dirty="0">
                <a:effectLst/>
                <a:latin typeface="+mj-lt"/>
              </a:rPr>
              <a:t>, </a:t>
            </a:r>
            <a:r>
              <a:rPr lang="de-DE" sz="1200" b="0" i="0" u="none" strike="noStrike" dirty="0" err="1">
                <a:effectLst/>
                <a:latin typeface="+mj-lt"/>
              </a:rPr>
              <a:t>UniRak</a:t>
            </a:r>
            <a:r>
              <a:rPr lang="de-DE" sz="1200" b="0" i="0" u="none" strike="noStrike" dirty="0">
                <a:effectLst/>
                <a:latin typeface="+mj-lt"/>
              </a:rPr>
              <a:t> Nachhaltig weisen </a:t>
            </a:r>
            <a:r>
              <a:rPr lang="de-DE" sz="1200" b="0" i="0" u="none" strike="noStrike" dirty="0">
                <a:solidFill>
                  <a:srgbClr val="000000"/>
                </a:solidFill>
                <a:effectLst/>
                <a:latin typeface="+mj-lt"/>
              </a:rPr>
              <a:t>aufgrund der Zusammensetzung des Portfolios oder der verwendeten Portfoliomanagementtechniken eine erhöhte Volatilität auf.</a:t>
            </a:r>
          </a:p>
          <a:p>
            <a:endParaRPr lang="de-DE" sz="1000" dirty="0">
              <a:effectLst/>
              <a:latin typeface="Arial" panose="020B0604020202020204" pitchFamily="34" charset="0"/>
              <a:ea typeface="Times New Roman" panose="02020603050405020304" pitchFamily="18" charset="0"/>
              <a:cs typeface="Times New Roman" panose="02020603050405020304" pitchFamily="18" charset="0"/>
            </a:endParaRPr>
          </a:p>
          <a:p>
            <a:endParaRPr lang="de-DE" dirty="0">
              <a:latin typeface="+mj-lt"/>
            </a:endParaRPr>
          </a:p>
        </p:txBody>
      </p:sp>
      <p:sp>
        <p:nvSpPr>
          <p:cNvPr id="60" name="Ellipse 59">
            <a:extLst>
              <a:ext uri="{FF2B5EF4-FFF2-40B4-BE49-F238E27FC236}">
                <a16:creationId xmlns:a16="http://schemas.microsoft.com/office/drawing/2014/main" id="{1D1961E5-BB44-4A7A-8E73-8D367E799179}"/>
              </a:ext>
            </a:extLst>
          </p:cNvPr>
          <p:cNvSpPr/>
          <p:nvPr/>
        </p:nvSpPr>
        <p:spPr>
          <a:xfrm>
            <a:off x="9549748" y="3595848"/>
            <a:ext cx="2235802" cy="584077"/>
          </a:xfrm>
          <a:prstGeom prst="ellipse">
            <a:avLst/>
          </a:prstGeom>
          <a:solidFill>
            <a:srgbClr val="C8D5E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43" tIns="71943" rIns="71943" bIns="71943" numCol="1" spcCol="0" rtlCol="0" fromWordArt="0" anchor="ctr" anchorCtr="0" forceAA="0" compatLnSpc="1">
            <a:prstTxWarp prst="textNoShape">
              <a:avLst/>
            </a:prstTxWarp>
            <a:noAutofit/>
          </a:bodyPr>
          <a:lstStyle/>
          <a:p>
            <a:pPr algn="ctr" defTabSz="913578"/>
            <a:r>
              <a:rPr lang="de-DE" sz="1000" b="1" dirty="0" err="1"/>
              <a:t>UniRak</a:t>
            </a:r>
            <a:r>
              <a:rPr lang="de-DE" sz="1000" b="1" dirty="0"/>
              <a:t> Nachhaltig Konservativ:</a:t>
            </a:r>
          </a:p>
          <a:p>
            <a:pPr algn="ctr" defTabSz="913578"/>
            <a:r>
              <a:rPr lang="de-DE" sz="1000" b="1" dirty="0">
                <a:solidFill>
                  <a:prstClr val="white"/>
                </a:solidFill>
                <a:latin typeface="Arial" panose="020B0604020202020204"/>
              </a:rPr>
              <a:t>12,99% / 1,85% p.a.</a:t>
            </a:r>
          </a:p>
        </p:txBody>
      </p:sp>
      <p:sp>
        <p:nvSpPr>
          <p:cNvPr id="61" name="Ellipse 60">
            <a:extLst>
              <a:ext uri="{FF2B5EF4-FFF2-40B4-BE49-F238E27FC236}">
                <a16:creationId xmlns:a16="http://schemas.microsoft.com/office/drawing/2014/main" id="{C4A6D453-0456-4010-BFFE-D99BA54A75C5}"/>
              </a:ext>
            </a:extLst>
          </p:cNvPr>
          <p:cNvSpPr/>
          <p:nvPr/>
        </p:nvSpPr>
        <p:spPr>
          <a:xfrm>
            <a:off x="9549799" y="2789317"/>
            <a:ext cx="2235801" cy="58407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43" tIns="71943" rIns="71943" bIns="71943" numCol="1" spcCol="0" rtlCol="0" fromWordArt="0" anchor="ctr" anchorCtr="0" forceAA="0" compatLnSpc="1">
            <a:prstTxWarp prst="textNoShape">
              <a:avLst/>
            </a:prstTxWarp>
            <a:noAutofit/>
          </a:bodyPr>
          <a:lstStyle/>
          <a:p>
            <a:pPr algn="ctr" defTabSz="913578">
              <a:spcBef>
                <a:spcPts val="600"/>
              </a:spcBef>
              <a:buClr>
                <a:srgbClr val="00358E"/>
              </a:buClr>
            </a:pPr>
            <a:r>
              <a:rPr lang="de-DE" sz="1000" b="1" dirty="0" err="1">
                <a:solidFill>
                  <a:prstClr val="white"/>
                </a:solidFill>
                <a:latin typeface="Arial" panose="020B0604020202020204"/>
              </a:rPr>
              <a:t>UniRak</a:t>
            </a:r>
            <a:r>
              <a:rPr lang="de-DE" sz="1000" b="1" dirty="0">
                <a:solidFill>
                  <a:prstClr val="white"/>
                </a:solidFill>
                <a:latin typeface="Arial" panose="020B0604020202020204"/>
              </a:rPr>
              <a:t> Nachhaltig:                             40,90% / 5,29% p.a.</a:t>
            </a:r>
          </a:p>
        </p:txBody>
      </p:sp>
      <p:sp>
        <p:nvSpPr>
          <p:cNvPr id="2" name="Ellipse 1">
            <a:extLst>
              <a:ext uri="{FF2B5EF4-FFF2-40B4-BE49-F238E27FC236}">
                <a16:creationId xmlns:a16="http://schemas.microsoft.com/office/drawing/2014/main" id="{EE9FE086-48E2-5E1B-2A9A-DBA7FE019782}"/>
              </a:ext>
            </a:extLst>
          </p:cNvPr>
          <p:cNvSpPr/>
          <p:nvPr/>
        </p:nvSpPr>
        <p:spPr>
          <a:xfrm>
            <a:off x="9464734" y="2016222"/>
            <a:ext cx="2235802" cy="58407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43" tIns="71943" rIns="71943" bIns="71943" numCol="1" spcCol="0" rtlCol="0" fromWordArt="0" anchor="ctr" anchorCtr="0" forceAA="0" compatLnSpc="1">
            <a:prstTxWarp prst="textNoShape">
              <a:avLst/>
            </a:prstTxWarp>
            <a:noAutofit/>
          </a:bodyPr>
          <a:lstStyle/>
          <a:p>
            <a:pPr algn="ctr" defTabSz="913578"/>
            <a:r>
              <a:rPr lang="de-DE" sz="1000" b="1" dirty="0" err="1"/>
              <a:t>UniInstitutional</a:t>
            </a:r>
            <a:r>
              <a:rPr lang="de-DE" sz="1000" b="1" dirty="0"/>
              <a:t> SDG </a:t>
            </a:r>
            <a:r>
              <a:rPr lang="de-DE" sz="1000" b="1" dirty="0" err="1"/>
              <a:t>Equities</a:t>
            </a:r>
            <a:r>
              <a:rPr lang="de-DE" sz="1000" b="1" dirty="0"/>
              <a:t>:</a:t>
            </a:r>
          </a:p>
          <a:p>
            <a:pPr algn="ctr" defTabSz="913578"/>
            <a:r>
              <a:rPr lang="de-DE" sz="1000" b="1" dirty="0">
                <a:solidFill>
                  <a:prstClr val="white"/>
                </a:solidFill>
                <a:latin typeface="Arial" panose="020B0604020202020204"/>
              </a:rPr>
              <a:t>60,14% / 7,33% p.a.</a:t>
            </a:r>
          </a:p>
        </p:txBody>
      </p:sp>
      <p:pic>
        <p:nvPicPr>
          <p:cNvPr id="5" name="Grafik 4">
            <a:extLst>
              <a:ext uri="{FF2B5EF4-FFF2-40B4-BE49-F238E27FC236}">
                <a16:creationId xmlns:a16="http://schemas.microsoft.com/office/drawing/2014/main" id="{5F822840-3D44-45B9-B551-2D1D6064BBCF}"/>
              </a:ext>
            </a:extLst>
          </p:cNvPr>
          <p:cNvPicPr>
            <a:picLocks noChangeAspect="1"/>
          </p:cNvPicPr>
          <p:nvPr/>
        </p:nvPicPr>
        <p:blipFill>
          <a:blip r:embed="rId3"/>
          <a:stretch>
            <a:fillRect/>
          </a:stretch>
        </p:blipFill>
        <p:spPr>
          <a:xfrm>
            <a:off x="329644" y="1305017"/>
            <a:ext cx="9009665" cy="4069846"/>
          </a:xfrm>
          <a:prstGeom prst="rect">
            <a:avLst/>
          </a:prstGeom>
        </p:spPr>
      </p:pic>
    </p:spTree>
    <p:extLst>
      <p:ext uri="{BB962C8B-B14F-4D97-AF65-F5344CB8AC3E}">
        <p14:creationId xmlns:p14="http://schemas.microsoft.com/office/powerpoint/2010/main" val="1126599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platzhalter 10">
            <a:extLst>
              <a:ext uri="{FF2B5EF4-FFF2-40B4-BE49-F238E27FC236}">
                <a16:creationId xmlns:a16="http://schemas.microsoft.com/office/drawing/2014/main" id="{CACE2A25-C8C1-9C2A-E569-D58FD30E8FE8}"/>
              </a:ext>
            </a:extLst>
          </p:cNvPr>
          <p:cNvPicPr>
            <a:picLocks noGrp="1" noChangeAspect="1"/>
          </p:cNvPicPr>
          <p:nvPr>
            <p:ph type="pic" sz="quarter" idx="25"/>
          </p:nvPr>
        </p:nvPicPr>
        <p:blipFill>
          <a:blip r:embed="rId3"/>
          <a:srcRect t="7497" b="7497"/>
          <a:stretch>
            <a:fillRect/>
          </a:stretch>
        </p:blipFill>
        <p:spPr>
          <a:xfrm>
            <a:off x="0" y="0"/>
            <a:ext cx="12195175" cy="6858000"/>
          </a:xfrm>
          <a:prstGeom prst="rect">
            <a:avLst/>
          </a:prstGeom>
        </p:spPr>
      </p:pic>
      <p:sp>
        <p:nvSpPr>
          <p:cNvPr id="7" name="Textplatzhalter 6">
            <a:extLst>
              <a:ext uri="{FF2B5EF4-FFF2-40B4-BE49-F238E27FC236}">
                <a16:creationId xmlns:a16="http://schemas.microsoft.com/office/drawing/2014/main" id="{72170EDA-58C0-47CB-A58A-641F6DC6D388}"/>
              </a:ext>
            </a:extLst>
          </p:cNvPr>
          <p:cNvSpPr>
            <a:spLocks noGrp="1"/>
          </p:cNvSpPr>
          <p:nvPr>
            <p:ph type="body" sz="quarter" idx="26"/>
          </p:nvPr>
        </p:nvSpPr>
        <p:spPr>
          <a:xfrm>
            <a:off x="492435" y="170141"/>
            <a:ext cx="5470486" cy="4052697"/>
          </a:xfrm>
        </p:spPr>
        <p:txBody>
          <a:bodyPr/>
          <a:lstStyle/>
          <a:p>
            <a:r>
              <a:rPr lang="de-DE"/>
              <a:t>Wir arbeiten für</a:t>
            </a:r>
            <a:br>
              <a:rPr lang="de-DE"/>
            </a:br>
            <a:r>
              <a:rPr lang="de-DE"/>
              <a:t>Ihr Investment</a:t>
            </a:r>
          </a:p>
        </p:txBody>
      </p:sp>
    </p:spTree>
    <p:extLst>
      <p:ext uri="{BB962C8B-B14F-4D97-AF65-F5344CB8AC3E}">
        <p14:creationId xmlns:p14="http://schemas.microsoft.com/office/powerpoint/2010/main" val="2828522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2F010AC7-7BFC-4032-9F02-975DC13023A7}"/>
              </a:ext>
            </a:extLst>
          </p:cNvPr>
          <p:cNvSpPr>
            <a:spLocks noGrp="1"/>
          </p:cNvSpPr>
          <p:nvPr>
            <p:ph sz="quarter" idx="26"/>
          </p:nvPr>
        </p:nvSpPr>
        <p:spPr>
          <a:xfrm>
            <a:off x="409575" y="1417798"/>
            <a:ext cx="3527379" cy="4895752"/>
          </a:xfrm>
        </p:spPr>
        <p:txBody>
          <a:bodyPr/>
          <a:lstStyle/>
          <a:p>
            <a:pPr>
              <a:spcBef>
                <a:spcPts val="500"/>
              </a:spcBef>
            </a:pPr>
            <a:r>
              <a:rPr lang="de-DE" sz="800" b="0" i="0" u="none" strike="noStrike" dirty="0">
                <a:solidFill>
                  <a:srgbClr val="000000"/>
                </a:solidFill>
                <a:effectLst/>
                <a:latin typeface="+mj-lt"/>
              </a:rPr>
              <a:t>Die </a:t>
            </a:r>
            <a:r>
              <a:rPr lang="de-DE" sz="800" b="0" i="0" u="none" strike="noStrike" dirty="0">
                <a:solidFill>
                  <a:schemeClr val="tx1"/>
                </a:solidFill>
                <a:effectLst/>
                <a:latin typeface="+mj-lt"/>
              </a:rPr>
              <a:t>vorliegende </a:t>
            </a:r>
            <a:r>
              <a:rPr lang="de-DE" sz="800" dirty="0">
                <a:solidFill>
                  <a:schemeClr val="dk1"/>
                </a:solidFill>
              </a:rPr>
              <a:t>Marketingmitteilung </a:t>
            </a:r>
            <a:r>
              <a:rPr lang="de-DE" sz="800" b="0" i="0" u="none" strike="noStrike" dirty="0">
                <a:solidFill>
                  <a:schemeClr val="tx1"/>
                </a:solidFill>
                <a:effectLst/>
              </a:rPr>
              <a:t>dient ausschließlich der unverbindlichen Information. </a:t>
            </a:r>
            <a:r>
              <a:rPr lang="de-DE" sz="800" b="1" i="0" u="none" strike="noStrike" dirty="0">
                <a:solidFill>
                  <a:schemeClr val="tx1"/>
                </a:solidFill>
                <a:effectLst/>
              </a:rPr>
              <a:t>Die Inhalte stellen weder ein Angebot bzw. eine Einladung zur Stellung eines </a:t>
            </a:r>
            <a:r>
              <a:rPr lang="de-DE" sz="800" b="1" i="0" u="none" strike="noStrike" dirty="0" err="1">
                <a:solidFill>
                  <a:schemeClr val="tx1"/>
                </a:solidFill>
                <a:effectLst/>
              </a:rPr>
              <a:t>Anbots</a:t>
            </a:r>
            <a:r>
              <a:rPr lang="de-DE" sz="800" b="1" i="0" u="none" strike="noStrike" dirty="0">
                <a:solidFill>
                  <a:schemeClr val="tx1"/>
                </a:solidFill>
                <a:effectLst/>
              </a:rPr>
              <a:t> zum Kauf/Verkauf </a:t>
            </a:r>
            <a:r>
              <a:rPr lang="de-DE" sz="800" b="1" i="0" u="none" strike="noStrike" dirty="0">
                <a:solidFill>
                  <a:srgbClr val="000000"/>
                </a:solidFill>
                <a:effectLst/>
              </a:rPr>
              <a:t>von Finanzinstrumenten noch eine Empfehlung zum Kauf/Verkauf, oder eine sonstige vermögensbezogene, rechtliche oder steuerliche Beratung dar und dienen überdies nicht als Ersatz für eine umfassende Risikoaufklärung bzw. individuelle, fachgerechte Beratung. Sie stammen überdies aus Quellen, die wir als zuverlässig einstufen, für die wir jedoch keinerlei Gewähr übernehmen. Die steuerliche Behandlung hängt von den persönlichen Verhältnissen ab und kann künftigen Änderungen unterworfen sein.</a:t>
            </a:r>
            <a:r>
              <a:rPr lang="de-DE" sz="800" dirty="0"/>
              <a:t> </a:t>
            </a:r>
          </a:p>
          <a:p>
            <a:pPr>
              <a:spcBef>
                <a:spcPts val="500"/>
              </a:spcBef>
            </a:pPr>
            <a:r>
              <a:rPr lang="de-DE" sz="800" b="0" i="0" u="none" strike="noStrike" dirty="0">
                <a:solidFill>
                  <a:srgbClr val="000000"/>
                </a:solidFill>
                <a:effectLst/>
              </a:rPr>
              <a:t>Dieses Dokument wurde mit angemessener Sorgfalt und nach bestem Wissen erstellt. Dennoch wurden die von Dritten stammenden Informationen nicht vollständig überprüft. </a:t>
            </a:r>
            <a:r>
              <a:rPr lang="de-DE" sz="800" dirty="0">
                <a:solidFill>
                  <a:schemeClr val="dk1"/>
                </a:solidFill>
              </a:rPr>
              <a:t>Druckfehler und Irrtümer vorbehalten.</a:t>
            </a:r>
          </a:p>
          <a:p>
            <a:pPr>
              <a:spcBef>
                <a:spcPts val="500"/>
              </a:spcBef>
            </a:pPr>
            <a:r>
              <a:rPr lang="de-DE" sz="800" b="0" i="0" u="none" strike="noStrike" dirty="0">
                <a:solidFill>
                  <a:srgbClr val="000000"/>
                </a:solidFill>
                <a:effectLst/>
              </a:rPr>
              <a:t>Alle Index- bzw. Produktbezeichnungen anderer als der zur Union Investment Gruppe gehörigen Unternehmen können urheber- und markenrechtlich geschützte Produkte und Marken dieser Unternehmen sein.</a:t>
            </a:r>
            <a:r>
              <a:rPr lang="de-DE" sz="800" dirty="0"/>
              <a:t> </a:t>
            </a:r>
          </a:p>
          <a:p>
            <a:pPr>
              <a:spcBef>
                <a:spcPts val="500"/>
              </a:spcBef>
            </a:pPr>
            <a:r>
              <a:rPr lang="de-DE" sz="800" b="0" i="0" u="none" strike="noStrike" dirty="0">
                <a:solidFill>
                  <a:srgbClr val="000000"/>
                </a:solidFill>
                <a:effectLst/>
              </a:rPr>
              <a:t>Ausführliche produktspezifische Informationen, insbesondere zu den Anlagezielen, der Anlagestrategie, dem Risikoprofil und den Risikohinweisen entnehmen Sie dem aktuellen Verkaufsprospekt (bzw. den Informationen für Anleger gemäß § 21 AIFMG), den Anlagebedingungen, den Basisinformationsblättern sowie den Jahres- und Halbjahresberichten, abrufbar kostenlos in deutscher Sprache unter: union-investment.at.</a:t>
            </a:r>
            <a:br>
              <a:rPr lang="de-DE" sz="800" b="0" i="0" u="none" strike="noStrike" dirty="0">
                <a:solidFill>
                  <a:srgbClr val="000000"/>
                </a:solidFill>
                <a:effectLst/>
              </a:rPr>
            </a:br>
            <a:r>
              <a:rPr lang="de-DE" sz="800" b="0" i="0" u="none" strike="noStrike" dirty="0">
                <a:solidFill>
                  <a:srgbClr val="000000"/>
                </a:solidFill>
                <a:effectLst/>
              </a:rPr>
              <a:t>Diese Dokumente bilden die allein verbindliche Grundlage für den Kauf des jeweiligen Fonds von Union Investment. Anleger in Österreich erhalten diese Dokumente auch bei der Zahl- und Vertriebsstelle.</a:t>
            </a:r>
            <a:br>
              <a:rPr lang="de-DE" sz="800" b="0" i="0" u="none" strike="noStrike" dirty="0">
                <a:solidFill>
                  <a:srgbClr val="000000"/>
                </a:solidFill>
                <a:effectLst/>
              </a:rPr>
            </a:br>
            <a:r>
              <a:rPr lang="de-DE" sz="800" b="0" i="0" u="none" strike="noStrike" dirty="0">
                <a:solidFill>
                  <a:srgbClr val="000000"/>
                </a:solidFill>
                <a:effectLst/>
              </a:rPr>
              <a:t>Die Veröffentlichung der Anteilspreise erfolgt unter union-investment.at</a:t>
            </a:r>
            <a:r>
              <a:rPr lang="de-DE" sz="800" dirty="0"/>
              <a:t> </a:t>
            </a:r>
          </a:p>
          <a:p>
            <a:pPr>
              <a:spcBef>
                <a:spcPts val="500"/>
              </a:spcBef>
            </a:pPr>
            <a:r>
              <a:rPr lang="de-DE" sz="800" b="0" i="0" u="none" strike="noStrike" dirty="0">
                <a:solidFill>
                  <a:srgbClr val="000000"/>
                </a:solidFill>
                <a:effectLst/>
              </a:rPr>
              <a:t>Eine Zusammenfassung Ihrer Anlegerrechte in deutscher Sprache und allfällige weitere Informationen zu Instrumenten der kollektiven Rechtsdurchsetzung erhalten Sie unter „Hinweise und Beschwerden“ auf institutional.union-investment.de/</a:t>
            </a:r>
            <a:r>
              <a:rPr lang="de-DE" sz="800" b="0" i="0" u="none" strike="noStrike" dirty="0" err="1">
                <a:solidFill>
                  <a:srgbClr val="000000"/>
                </a:solidFill>
                <a:effectLst/>
              </a:rPr>
              <a:t>startseite-com</a:t>
            </a:r>
            <a:r>
              <a:rPr lang="de-DE" sz="800" b="0" i="0" u="none" strike="noStrike" dirty="0">
                <a:solidFill>
                  <a:srgbClr val="000000"/>
                </a:solidFill>
                <a:effectLst/>
              </a:rPr>
              <a:t>/</a:t>
            </a:r>
            <a:r>
              <a:rPr lang="de-DE" sz="800" b="0" i="0" u="none" strike="noStrike" dirty="0" err="1">
                <a:solidFill>
                  <a:srgbClr val="000000"/>
                </a:solidFill>
                <a:effectLst/>
              </a:rPr>
              <a:t>Ueber</a:t>
            </a:r>
            <a:r>
              <a:rPr lang="de-DE" sz="800" b="0" i="0" u="none" strike="noStrike" dirty="0">
                <a:solidFill>
                  <a:srgbClr val="000000"/>
                </a:solidFill>
                <a:effectLst/>
              </a:rPr>
              <a:t>-uns/Richtlinien_.html beziehungsweise unter www.union-investment.at/beschwerden-realestate. </a:t>
            </a:r>
            <a:br>
              <a:rPr lang="de-DE" sz="800" b="0" i="0" u="none" strike="noStrike" dirty="0">
                <a:solidFill>
                  <a:srgbClr val="000000"/>
                </a:solidFill>
                <a:effectLst/>
              </a:rPr>
            </a:br>
            <a:r>
              <a:rPr lang="de-DE" sz="800" b="0" i="0" u="none" strike="noStrike" dirty="0">
                <a:solidFill>
                  <a:srgbClr val="000000"/>
                </a:solidFill>
                <a:effectLst/>
              </a:rPr>
              <a:t>Beachten Sie, dass die jeweils fondsauflegende Gesellschaft die Vorkehrungen für den Vertrieb der Fondsanteilscheine außerhalb des Fondsherkunftslandes aufheben kann.</a:t>
            </a:r>
            <a:r>
              <a:rPr lang="de-DE" sz="800" dirty="0"/>
              <a:t> </a:t>
            </a:r>
          </a:p>
        </p:txBody>
      </p:sp>
      <p:sp>
        <p:nvSpPr>
          <p:cNvPr id="3" name="Inhaltsplatzhalter 2">
            <a:extLst>
              <a:ext uri="{FF2B5EF4-FFF2-40B4-BE49-F238E27FC236}">
                <a16:creationId xmlns:a16="http://schemas.microsoft.com/office/drawing/2014/main" id="{A09DCB23-8AF8-4620-8B78-3B38B53E6DF9}"/>
              </a:ext>
            </a:extLst>
          </p:cNvPr>
          <p:cNvSpPr>
            <a:spLocks noGrp="1"/>
          </p:cNvSpPr>
          <p:nvPr>
            <p:ph sz="quarter" idx="27"/>
          </p:nvPr>
        </p:nvSpPr>
        <p:spPr>
          <a:xfrm>
            <a:off x="8269300" y="1412776"/>
            <a:ext cx="3527375" cy="4895851"/>
          </a:xfrm>
        </p:spPr>
        <p:txBody>
          <a:bodyPr/>
          <a:lstStyle/>
          <a:p>
            <a:r>
              <a:rPr lang="de-DE" sz="800" b="1" i="0" u="none" strike="noStrike" dirty="0">
                <a:solidFill>
                  <a:srgbClr val="000000"/>
                </a:solidFill>
                <a:effectLst/>
                <a:latin typeface="Arial" panose="020B0604020202020204" pitchFamily="34" charset="0"/>
              </a:rPr>
              <a:t>Impressum</a:t>
            </a:r>
            <a:br>
              <a:rPr lang="de-DE" sz="800" b="1" i="0" u="none" strike="noStrike" dirty="0">
                <a:solidFill>
                  <a:srgbClr val="000000"/>
                </a:solidFill>
                <a:effectLst/>
                <a:latin typeface="Arial" panose="020B0604020202020204" pitchFamily="34" charset="0"/>
              </a:rPr>
            </a:br>
            <a:br>
              <a:rPr lang="de-DE" sz="800" b="0" i="0" u="none" strike="noStrike" dirty="0">
                <a:solidFill>
                  <a:srgbClr val="000000"/>
                </a:solidFill>
                <a:effectLst/>
                <a:latin typeface="Arial" panose="020B0604020202020204" pitchFamily="34" charset="0"/>
              </a:rPr>
            </a:br>
            <a:r>
              <a:rPr lang="de-DE" sz="800" b="1" i="0" u="none" strike="noStrike" dirty="0">
                <a:solidFill>
                  <a:srgbClr val="000000"/>
                </a:solidFill>
                <a:effectLst/>
                <a:latin typeface="Arial" panose="020B0604020202020204" pitchFamily="34" charset="0"/>
              </a:rPr>
              <a:t>Medieninhaber und Hersteller:</a:t>
            </a:r>
            <a:br>
              <a:rPr lang="de-DE" sz="800" b="1" i="0" u="none" strike="noStrike" dirty="0">
                <a:solidFill>
                  <a:srgbClr val="000000"/>
                </a:solidFill>
                <a:effectLst/>
                <a:latin typeface="Arial" panose="020B0604020202020204" pitchFamily="34" charset="0"/>
              </a:rPr>
            </a:br>
            <a:r>
              <a:rPr lang="de-DE" sz="800" b="0" i="0" u="none" strike="noStrike" dirty="0">
                <a:solidFill>
                  <a:srgbClr val="000000"/>
                </a:solidFill>
                <a:effectLst/>
                <a:latin typeface="Arial" panose="020B0604020202020204" pitchFamily="34" charset="0"/>
              </a:rPr>
              <a:t>Union Investment Austria GmbH</a:t>
            </a:r>
            <a:br>
              <a:rPr lang="de-DE" sz="800" b="0" i="0" u="none" strike="noStrike" dirty="0">
                <a:solidFill>
                  <a:srgbClr val="000000"/>
                </a:solidFill>
                <a:effectLst/>
                <a:latin typeface="Arial" panose="020B0604020202020204" pitchFamily="34" charset="0"/>
              </a:rPr>
            </a:br>
            <a:r>
              <a:rPr lang="de-DE" sz="800" b="0" i="0" u="none" strike="noStrike" dirty="0">
                <a:solidFill>
                  <a:srgbClr val="000000"/>
                </a:solidFill>
                <a:effectLst/>
                <a:latin typeface="Arial" panose="020B0604020202020204" pitchFamily="34" charset="0"/>
              </a:rPr>
              <a:t>Schottenring 16</a:t>
            </a:r>
            <a:br>
              <a:rPr lang="de-DE" sz="800" b="0" i="0" u="none" strike="noStrike" dirty="0">
                <a:solidFill>
                  <a:srgbClr val="000000"/>
                </a:solidFill>
                <a:effectLst/>
                <a:latin typeface="Arial" panose="020B0604020202020204" pitchFamily="34" charset="0"/>
              </a:rPr>
            </a:br>
            <a:r>
              <a:rPr lang="de-DE" sz="800" b="0" i="0" u="none" strike="noStrike" dirty="0">
                <a:solidFill>
                  <a:srgbClr val="000000"/>
                </a:solidFill>
                <a:effectLst/>
                <a:latin typeface="Arial" panose="020B0604020202020204" pitchFamily="34" charset="0"/>
              </a:rPr>
              <a:t>1010 Wien</a:t>
            </a:r>
            <a:br>
              <a:rPr lang="de-DE" sz="800" b="0" i="0" u="none" strike="noStrike" dirty="0">
                <a:solidFill>
                  <a:srgbClr val="000000"/>
                </a:solidFill>
                <a:effectLst/>
                <a:latin typeface="Arial" panose="020B0604020202020204" pitchFamily="34" charset="0"/>
              </a:rPr>
            </a:br>
            <a:r>
              <a:rPr lang="de-DE" sz="800" b="0" i="0" u="none" strike="noStrike" dirty="0">
                <a:solidFill>
                  <a:srgbClr val="000000"/>
                </a:solidFill>
                <a:effectLst/>
                <a:latin typeface="Arial" panose="020B0604020202020204" pitchFamily="34" charset="0"/>
              </a:rPr>
              <a:t>E-Mail: privatkunden@union-investment.at</a:t>
            </a:r>
            <a:br>
              <a:rPr lang="de-DE" sz="800" b="0" i="0" u="none" strike="noStrike" dirty="0">
                <a:solidFill>
                  <a:srgbClr val="000000"/>
                </a:solidFill>
                <a:effectLst/>
                <a:latin typeface="Arial" panose="020B0604020202020204" pitchFamily="34" charset="0"/>
              </a:rPr>
            </a:br>
            <a:r>
              <a:rPr lang="de-DE" sz="800" b="0" i="0" u="none" strike="noStrike" dirty="0">
                <a:solidFill>
                  <a:srgbClr val="000000"/>
                </a:solidFill>
                <a:effectLst/>
                <a:latin typeface="Arial" panose="020B0604020202020204" pitchFamily="34" charset="0"/>
              </a:rPr>
              <a:t>www.union-investment.at</a:t>
            </a:r>
            <a:br>
              <a:rPr lang="de-DE" sz="800" b="0" i="0" u="none" strike="noStrike" dirty="0">
                <a:solidFill>
                  <a:srgbClr val="000000"/>
                </a:solidFill>
                <a:effectLst/>
                <a:latin typeface="Arial" panose="020B0604020202020204" pitchFamily="34" charset="0"/>
              </a:rPr>
            </a:br>
            <a:br>
              <a:rPr lang="de-DE" sz="800" b="0" i="0" u="none" strike="noStrike" dirty="0">
                <a:solidFill>
                  <a:srgbClr val="000000"/>
                </a:solidFill>
                <a:effectLst/>
                <a:latin typeface="Arial" panose="020B0604020202020204" pitchFamily="34" charset="0"/>
              </a:rPr>
            </a:br>
            <a:r>
              <a:rPr lang="de-DE" sz="800" b="1" i="0" u="none" strike="noStrike" dirty="0">
                <a:solidFill>
                  <a:srgbClr val="000000"/>
                </a:solidFill>
                <a:effectLst/>
                <a:latin typeface="Arial" panose="020B0604020202020204" pitchFamily="34" charset="0"/>
              </a:rPr>
              <a:t>Verlags- und Herstellungsort:</a:t>
            </a:r>
            <a:r>
              <a:rPr lang="de-DE" sz="800" b="0" i="0" u="none" strike="noStrike" dirty="0">
                <a:solidFill>
                  <a:srgbClr val="000000"/>
                </a:solidFill>
                <a:effectLst/>
                <a:latin typeface="Arial" panose="020B0604020202020204" pitchFamily="34" charset="0"/>
              </a:rPr>
              <a:t> Wien</a:t>
            </a:r>
            <a:br>
              <a:rPr lang="de-DE" sz="800" b="0" i="0" u="none" strike="noStrike" dirty="0">
                <a:solidFill>
                  <a:srgbClr val="000000"/>
                </a:solidFill>
                <a:effectLst/>
                <a:latin typeface="Arial" panose="020B0604020202020204" pitchFamily="34" charset="0"/>
              </a:rPr>
            </a:br>
            <a:br>
              <a:rPr lang="de-DE" sz="800" b="0" i="0" u="none" strike="noStrike" dirty="0">
                <a:solidFill>
                  <a:srgbClr val="000000"/>
                </a:solidFill>
                <a:effectLst/>
                <a:latin typeface="Arial" panose="020B0604020202020204" pitchFamily="34" charset="0"/>
              </a:rPr>
            </a:br>
            <a:r>
              <a:rPr lang="de-DE" sz="800" b="1" i="0" u="none" strike="noStrike" dirty="0">
                <a:solidFill>
                  <a:srgbClr val="000000"/>
                </a:solidFill>
                <a:effectLst/>
                <a:latin typeface="Arial" panose="020B0604020202020204" pitchFamily="34" charset="0"/>
              </a:rPr>
              <a:t>Zahl- und Vertriebsstelle in Österreich:</a:t>
            </a:r>
            <a:br>
              <a:rPr lang="de-DE" sz="800" b="0" i="0" u="none" strike="noStrike" dirty="0">
                <a:solidFill>
                  <a:srgbClr val="000000"/>
                </a:solidFill>
                <a:effectLst/>
                <a:latin typeface="Arial" panose="020B0604020202020204" pitchFamily="34" charset="0"/>
              </a:rPr>
            </a:br>
            <a:r>
              <a:rPr lang="de-DE" sz="800" b="0" i="0" u="none" strike="noStrike" dirty="0">
                <a:solidFill>
                  <a:srgbClr val="000000"/>
                </a:solidFill>
                <a:effectLst/>
                <a:latin typeface="Arial" panose="020B0604020202020204" pitchFamily="34" charset="0"/>
              </a:rPr>
              <a:t>VOLKSBANK WIEN AG</a:t>
            </a:r>
            <a:br>
              <a:rPr lang="de-DE" sz="800" b="0" i="0" u="none" strike="noStrike" dirty="0">
                <a:solidFill>
                  <a:srgbClr val="000000"/>
                </a:solidFill>
                <a:effectLst/>
                <a:latin typeface="Arial" panose="020B0604020202020204" pitchFamily="34" charset="0"/>
              </a:rPr>
            </a:br>
            <a:r>
              <a:rPr lang="de-DE" sz="800" b="0" i="0" u="none" strike="noStrike" dirty="0">
                <a:solidFill>
                  <a:srgbClr val="000000"/>
                </a:solidFill>
                <a:effectLst/>
                <a:latin typeface="Arial" panose="020B0604020202020204" pitchFamily="34" charset="0"/>
              </a:rPr>
              <a:t>Dietrichgasse 25 </a:t>
            </a:r>
            <a:br>
              <a:rPr lang="de-DE" sz="800" b="0" i="0" u="none" strike="noStrike" dirty="0">
                <a:solidFill>
                  <a:srgbClr val="000000"/>
                </a:solidFill>
                <a:effectLst/>
                <a:latin typeface="Arial" panose="020B0604020202020204" pitchFamily="34" charset="0"/>
              </a:rPr>
            </a:br>
            <a:r>
              <a:rPr lang="de-DE" sz="800" b="0" i="0" u="none" strike="noStrike" dirty="0">
                <a:solidFill>
                  <a:srgbClr val="000000"/>
                </a:solidFill>
                <a:effectLst/>
                <a:latin typeface="Arial" panose="020B0604020202020204" pitchFamily="34" charset="0"/>
              </a:rPr>
              <a:t>1030 Wien</a:t>
            </a:r>
            <a:br>
              <a:rPr lang="de-DE" sz="800" b="0" i="0" u="none" strike="noStrike" dirty="0">
                <a:solidFill>
                  <a:srgbClr val="000000"/>
                </a:solidFill>
                <a:effectLst/>
                <a:latin typeface="Arial" panose="020B0604020202020204" pitchFamily="34" charset="0"/>
              </a:rPr>
            </a:br>
            <a:br>
              <a:rPr lang="de-DE" sz="800" b="0" i="0" u="none" strike="noStrike" dirty="0">
                <a:solidFill>
                  <a:srgbClr val="000000"/>
                </a:solidFill>
                <a:effectLst/>
                <a:latin typeface="Arial" panose="020B0604020202020204" pitchFamily="34" charset="0"/>
              </a:rPr>
            </a:br>
            <a:r>
              <a:rPr lang="de-DE" sz="800" b="1" i="0" u="none" strike="noStrike" dirty="0">
                <a:solidFill>
                  <a:srgbClr val="000000"/>
                </a:solidFill>
                <a:effectLst/>
                <a:latin typeface="Arial" panose="020B0604020202020204" pitchFamily="34" charset="0"/>
              </a:rPr>
              <a:t>Stand aller Informationen, Darstellungen und Erläuterungen:</a:t>
            </a:r>
            <a:r>
              <a:rPr lang="de-DE" sz="800" b="0" i="0" u="none" strike="noStrike" dirty="0">
                <a:solidFill>
                  <a:srgbClr val="000000"/>
                </a:solidFill>
                <a:effectLst/>
                <a:latin typeface="Arial" panose="020B0604020202020204" pitchFamily="34" charset="0"/>
              </a:rPr>
              <a:t> </a:t>
            </a:r>
            <a:br>
              <a:rPr lang="de-DE" sz="800" b="0" i="0" u="none" strike="noStrike" dirty="0">
                <a:solidFill>
                  <a:srgbClr val="000000"/>
                </a:solidFill>
                <a:effectLst/>
                <a:latin typeface="Arial" panose="020B0604020202020204" pitchFamily="34" charset="0"/>
              </a:rPr>
            </a:br>
            <a:r>
              <a:rPr lang="de-DE" sz="800" b="0" i="0" u="none" strike="noStrike" dirty="0">
                <a:solidFill>
                  <a:srgbClr val="000000"/>
                </a:solidFill>
                <a:effectLst/>
                <a:latin typeface="Arial" panose="020B0604020202020204" pitchFamily="34" charset="0"/>
              </a:rPr>
              <a:t>23</a:t>
            </a:r>
            <a:r>
              <a:rPr lang="de-DE" sz="800" dirty="0">
                <a:solidFill>
                  <a:srgbClr val="000000"/>
                </a:solidFill>
                <a:latin typeface="Arial" panose="020B0604020202020204" pitchFamily="34" charset="0"/>
              </a:rPr>
              <a:t>.08.</a:t>
            </a:r>
            <a:r>
              <a:rPr lang="de-DE" sz="800" b="0" i="0" u="none" strike="noStrike" dirty="0">
                <a:solidFill>
                  <a:srgbClr val="000000"/>
                </a:solidFill>
                <a:effectLst/>
                <a:latin typeface="Arial" panose="020B0604020202020204" pitchFamily="34" charset="0"/>
              </a:rPr>
              <a:t>2024, sofern nicht anders angegeben</a:t>
            </a:r>
            <a:br>
              <a:rPr lang="de-DE" sz="800" b="0" i="0" u="none" strike="noStrike" dirty="0">
                <a:solidFill>
                  <a:srgbClr val="000000"/>
                </a:solidFill>
                <a:effectLst/>
                <a:latin typeface="Arial" panose="020B0604020202020204" pitchFamily="34" charset="0"/>
              </a:rPr>
            </a:br>
            <a:r>
              <a:rPr lang="de-DE" sz="800" b="0" i="0" u="none" strike="noStrike" dirty="0">
                <a:solidFill>
                  <a:srgbClr val="000000"/>
                </a:solidFill>
                <a:effectLst/>
                <a:latin typeface="Arial" panose="020B0604020202020204" pitchFamily="34" charset="0"/>
              </a:rPr>
              <a:t>Es gilt der Informationsstand zum Aktualisierungszeitpunkt.</a:t>
            </a:r>
          </a:p>
          <a:p>
            <a:r>
              <a:rPr lang="de-DE" sz="800" b="1" dirty="0">
                <a:solidFill>
                  <a:schemeClr val="dk1"/>
                </a:solidFill>
              </a:rPr>
              <a:t>WERBUNG</a:t>
            </a:r>
            <a:endParaRPr lang="de-DE" sz="800" dirty="0">
              <a:solidFill>
                <a:schemeClr val="dk1"/>
              </a:solidFill>
            </a:endParaRPr>
          </a:p>
        </p:txBody>
      </p:sp>
      <p:sp>
        <p:nvSpPr>
          <p:cNvPr id="4" name="Inhaltsplatzhalter 3">
            <a:extLst>
              <a:ext uri="{FF2B5EF4-FFF2-40B4-BE49-F238E27FC236}">
                <a16:creationId xmlns:a16="http://schemas.microsoft.com/office/drawing/2014/main" id="{F1871EB5-F3E2-4B93-8751-2D9219D8D8DA}"/>
              </a:ext>
            </a:extLst>
          </p:cNvPr>
          <p:cNvSpPr>
            <a:spLocks noGrp="1"/>
          </p:cNvSpPr>
          <p:nvPr>
            <p:ph sz="quarter" idx="28"/>
          </p:nvPr>
        </p:nvSpPr>
        <p:spPr>
          <a:xfrm>
            <a:off x="4333574" y="1417699"/>
            <a:ext cx="3527379" cy="4895851"/>
          </a:xfrm>
        </p:spPr>
        <p:txBody>
          <a:bodyPr/>
          <a:lstStyle/>
          <a:p>
            <a:pPr>
              <a:spcBef>
                <a:spcPts val="0"/>
              </a:spcBef>
              <a:spcAft>
                <a:spcPts val="600"/>
              </a:spcAft>
            </a:pPr>
            <a:r>
              <a:rPr lang="de-DE" sz="800" b="0" i="0" u="none" strike="noStrike" dirty="0">
                <a:solidFill>
                  <a:srgbClr val="000000"/>
                </a:solidFill>
                <a:effectLst/>
                <a:latin typeface="+mj-lt"/>
              </a:rPr>
              <a:t>Informationen zur Offenlegungsverordnung unter: ui-link.de/</a:t>
            </a:r>
            <a:r>
              <a:rPr lang="de-DE" sz="800" b="0" i="0" u="none" strike="noStrike" dirty="0" err="1">
                <a:solidFill>
                  <a:srgbClr val="000000"/>
                </a:solidFill>
                <a:effectLst/>
                <a:latin typeface="+mj-lt"/>
              </a:rPr>
              <a:t>offenlegungsverordnung</a:t>
            </a:r>
            <a:endParaRPr lang="de-DE" sz="800" b="0" i="0" u="none" strike="noStrike" dirty="0">
              <a:solidFill>
                <a:srgbClr val="000000"/>
              </a:solidFill>
              <a:effectLst/>
              <a:latin typeface="+mj-lt"/>
            </a:endParaRPr>
          </a:p>
          <a:p>
            <a:pPr>
              <a:spcBef>
                <a:spcPts val="0"/>
              </a:spcBef>
              <a:spcAft>
                <a:spcPts val="600"/>
              </a:spcAft>
            </a:pPr>
            <a:r>
              <a:rPr lang="de-DE" sz="800" dirty="0">
                <a:solidFill>
                  <a:schemeClr val="tx1"/>
                </a:solidFill>
                <a:latin typeface="+mj-lt"/>
              </a:rPr>
              <a:t>Union Investment Fondssparen umfasst keine Spareinlagen gemäß Bankwesengesetz.</a:t>
            </a:r>
          </a:p>
          <a:p>
            <a:pPr>
              <a:spcBef>
                <a:spcPts val="0"/>
              </a:spcBef>
              <a:spcAft>
                <a:spcPts val="600"/>
              </a:spcAft>
            </a:pPr>
            <a:r>
              <a:rPr lang="de-DE" sz="800" b="0" i="0" u="none" strike="noStrike" dirty="0">
                <a:solidFill>
                  <a:srgbClr val="000000"/>
                </a:solidFill>
                <a:effectLst/>
                <a:latin typeface="+mj-lt"/>
              </a:rPr>
              <a:t>Die Angaben zur Wertentwicklung basieren auf Vergangenheitswerten. Die Wert- und Ertragsentwicklungen von Fonds können nicht mit Bestimmtheit vorausgesagt werden. Performanceergebnisse der Vergangenheit lassen keine Rückschlüsse auf die zukünftige Entwicklung zu. Ausgabe- und Rücknahmespesen, Provisionen, Gebühren und andere Entgelte, sowie Steuern sind in der Performanceberechnung nicht berücksichtigt und können sich mindernd auf die angeführte Bruttowertentwicklung auswirken.</a:t>
            </a:r>
          </a:p>
          <a:p>
            <a:pPr>
              <a:spcBef>
                <a:spcPts val="0"/>
              </a:spcBef>
              <a:spcAft>
                <a:spcPts val="600"/>
              </a:spcAft>
            </a:pPr>
            <a:r>
              <a:rPr lang="de-DE" sz="800" b="0" i="0" u="none" strike="noStrike" dirty="0">
                <a:solidFill>
                  <a:schemeClr val="tx1"/>
                </a:solidFill>
                <a:effectLst/>
                <a:latin typeface="+mj-lt"/>
              </a:rPr>
              <a:t>Die erwähnten Fonds </a:t>
            </a:r>
            <a:r>
              <a:rPr lang="de-DE" sz="800" b="0" i="0" u="none" strike="noStrike" dirty="0" err="1">
                <a:solidFill>
                  <a:schemeClr val="tx1"/>
                </a:solidFill>
                <a:effectLst/>
                <a:latin typeface="+mj-lt"/>
              </a:rPr>
              <a:t>UniGlobal</a:t>
            </a:r>
            <a:r>
              <a:rPr lang="de-DE" sz="800" b="0" i="0" u="none" strike="noStrike" dirty="0">
                <a:solidFill>
                  <a:schemeClr val="tx1"/>
                </a:solidFill>
                <a:effectLst/>
                <a:latin typeface="+mj-lt"/>
              </a:rPr>
              <a:t>, </a:t>
            </a:r>
            <a:r>
              <a:rPr lang="de-DE" sz="800" b="0" i="0" u="none" strike="noStrike" dirty="0" err="1">
                <a:solidFill>
                  <a:schemeClr val="tx1"/>
                </a:solidFill>
                <a:effectLst/>
                <a:latin typeface="+mj-lt"/>
              </a:rPr>
              <a:t>UniInstitutional</a:t>
            </a:r>
            <a:r>
              <a:rPr lang="de-DE" sz="800" b="0" i="0" u="none" strike="noStrike" dirty="0">
                <a:solidFill>
                  <a:schemeClr val="tx1"/>
                </a:solidFill>
                <a:effectLst/>
                <a:latin typeface="+mj-lt"/>
              </a:rPr>
              <a:t> SDG </a:t>
            </a:r>
            <a:r>
              <a:rPr lang="de-DE" sz="800" b="0" i="0" u="none" strike="noStrike" dirty="0" err="1">
                <a:solidFill>
                  <a:schemeClr val="tx1"/>
                </a:solidFill>
                <a:effectLst/>
                <a:latin typeface="+mj-lt"/>
              </a:rPr>
              <a:t>Equities</a:t>
            </a:r>
            <a:r>
              <a:rPr lang="de-DE" sz="800" b="0" i="0" u="none" strike="noStrike" dirty="0">
                <a:solidFill>
                  <a:schemeClr val="tx1"/>
                </a:solidFill>
                <a:effectLst/>
                <a:latin typeface="+mj-lt"/>
              </a:rPr>
              <a:t>, </a:t>
            </a:r>
            <a:r>
              <a:rPr lang="de-DE" sz="800" b="0" i="0" u="none" strike="noStrike" dirty="0" err="1">
                <a:solidFill>
                  <a:schemeClr val="tx1"/>
                </a:solidFill>
                <a:effectLst/>
                <a:latin typeface="+mj-lt"/>
              </a:rPr>
              <a:t>UniRak</a:t>
            </a:r>
            <a:r>
              <a:rPr lang="de-DE" sz="800" b="0" i="0" u="none" strike="noStrike" dirty="0">
                <a:solidFill>
                  <a:schemeClr val="tx1"/>
                </a:solidFill>
                <a:effectLst/>
                <a:latin typeface="+mj-lt"/>
              </a:rPr>
              <a:t> Nachhaltig und </a:t>
            </a:r>
            <a:r>
              <a:rPr lang="de-DE" sz="800" b="0" i="0" u="none" strike="noStrike" dirty="0" err="1">
                <a:solidFill>
                  <a:schemeClr val="tx1"/>
                </a:solidFill>
                <a:effectLst/>
                <a:latin typeface="+mj-lt"/>
              </a:rPr>
              <a:t>UniRak</a:t>
            </a:r>
            <a:r>
              <a:rPr lang="de-DE" sz="800" b="0" i="0" u="none" strike="noStrike" dirty="0">
                <a:solidFill>
                  <a:schemeClr val="tx1"/>
                </a:solidFill>
                <a:effectLst/>
                <a:latin typeface="+mj-lt"/>
              </a:rPr>
              <a:t> Nachhaltig Konservativ</a:t>
            </a:r>
            <a:r>
              <a:rPr lang="en-US" sz="800" b="0" i="0" u="none" strike="noStrike" dirty="0">
                <a:solidFill>
                  <a:schemeClr val="tx1"/>
                </a:solidFill>
                <a:effectLst/>
                <a:latin typeface="+mj-lt"/>
              </a:rPr>
              <a:t> </a:t>
            </a:r>
            <a:r>
              <a:rPr lang="de-DE" sz="800" b="0" i="0" u="none" strike="noStrike" dirty="0">
                <a:solidFill>
                  <a:schemeClr val="tx1"/>
                </a:solidFill>
                <a:effectLst/>
                <a:latin typeface="+mj-lt"/>
              </a:rPr>
              <a:t>weisen aufgrund der Zusammensetzung des Portfolios oder der verwendeten Portfoliomanagementtechniken eine erhöhte Volatilität auf.</a:t>
            </a:r>
          </a:p>
        </p:txBody>
      </p:sp>
      <p:sp>
        <p:nvSpPr>
          <p:cNvPr id="6" name="Titel 5">
            <a:extLst>
              <a:ext uri="{FF2B5EF4-FFF2-40B4-BE49-F238E27FC236}">
                <a16:creationId xmlns:a16="http://schemas.microsoft.com/office/drawing/2014/main" id="{7FFD18E3-736F-4A19-8298-138CC177273A}"/>
              </a:ext>
            </a:extLst>
          </p:cNvPr>
          <p:cNvSpPr>
            <a:spLocks noGrp="1"/>
          </p:cNvSpPr>
          <p:nvPr>
            <p:ph type="title"/>
          </p:nvPr>
        </p:nvSpPr>
        <p:spPr/>
        <p:txBody>
          <a:bodyPr/>
          <a:lstStyle/>
          <a:p>
            <a:r>
              <a:rPr lang="de-DE" dirty="0"/>
              <a:t>Rechtliche Hinweise</a:t>
            </a:r>
          </a:p>
        </p:txBody>
      </p:sp>
      <p:sp>
        <p:nvSpPr>
          <p:cNvPr id="5" name="Rechteck 4">
            <a:extLst>
              <a:ext uri="{FF2B5EF4-FFF2-40B4-BE49-F238E27FC236}">
                <a16:creationId xmlns:a16="http://schemas.microsoft.com/office/drawing/2014/main" id="{AE51A4BE-49FE-47CB-ACC5-E85726A87B90}"/>
              </a:ext>
            </a:extLst>
          </p:cNvPr>
          <p:cNvSpPr/>
          <p:nvPr/>
        </p:nvSpPr>
        <p:spPr>
          <a:xfrm>
            <a:off x="7681763" y="6487904"/>
            <a:ext cx="3708412" cy="2174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spcBef>
                <a:spcPts val="600"/>
              </a:spcBef>
              <a:buClr>
                <a:schemeClr val="accent1"/>
              </a:buClr>
              <a:buFontTx/>
              <a:buNone/>
            </a:pPr>
            <a:endParaRPr lang="de-DE" sz="1400" dirty="0" err="1">
              <a:solidFill>
                <a:schemeClr val="tx1"/>
              </a:solidFill>
            </a:endParaRPr>
          </a:p>
        </p:txBody>
      </p:sp>
      <p:sp>
        <p:nvSpPr>
          <p:cNvPr id="10" name="Foliennummernplatzhalter 9">
            <a:extLst>
              <a:ext uri="{FF2B5EF4-FFF2-40B4-BE49-F238E27FC236}">
                <a16:creationId xmlns:a16="http://schemas.microsoft.com/office/drawing/2014/main" id="{174497A9-817D-22BF-683C-93E1C501BD37}"/>
              </a:ext>
            </a:extLst>
          </p:cNvPr>
          <p:cNvSpPr>
            <a:spLocks noGrp="1"/>
          </p:cNvSpPr>
          <p:nvPr>
            <p:ph type="sldNum" sz="quarter" idx="31"/>
          </p:nvPr>
        </p:nvSpPr>
        <p:spPr/>
        <p:txBody>
          <a:bodyPr/>
          <a:lstStyle/>
          <a:p>
            <a:fld id="{9C89B081-1F44-4440-BC7B-989C90F97B77}" type="slidenum">
              <a:rPr lang="de-DE" smtClean="0"/>
              <a:pPr/>
              <a:t>23</a:t>
            </a:fld>
            <a:endParaRPr lang="de-DE" dirty="0"/>
          </a:p>
        </p:txBody>
      </p:sp>
    </p:spTree>
    <p:custDataLst>
      <p:tags r:id="rId1"/>
    </p:custDataLst>
    <p:extLst>
      <p:ext uri="{BB962C8B-B14F-4D97-AF65-F5344CB8AC3E}">
        <p14:creationId xmlns:p14="http://schemas.microsoft.com/office/powerpoint/2010/main" val="4238062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nhaltsplatzhalter 6">
            <a:extLst>
              <a:ext uri="{FF2B5EF4-FFF2-40B4-BE49-F238E27FC236}">
                <a16:creationId xmlns:a16="http://schemas.microsoft.com/office/drawing/2014/main" id="{50EF3EC8-15E2-F617-312A-40BB813D64DA}"/>
              </a:ext>
            </a:extLst>
          </p:cNvPr>
          <p:cNvPicPr>
            <a:picLocks noGrp="1" noChangeAspect="1"/>
          </p:cNvPicPr>
          <p:nvPr>
            <p:ph sz="quarter" idx="14"/>
          </p:nvPr>
        </p:nvPicPr>
        <p:blipFill>
          <a:blip r:embed="rId2"/>
          <a:stretch>
            <a:fillRect/>
          </a:stretch>
        </p:blipFill>
        <p:spPr>
          <a:xfrm>
            <a:off x="212337" y="368006"/>
            <a:ext cx="10715587" cy="5904507"/>
          </a:xfrm>
        </p:spPr>
      </p:pic>
      <p:sp>
        <p:nvSpPr>
          <p:cNvPr id="3" name="Textplatzhalter 2">
            <a:extLst>
              <a:ext uri="{FF2B5EF4-FFF2-40B4-BE49-F238E27FC236}">
                <a16:creationId xmlns:a16="http://schemas.microsoft.com/office/drawing/2014/main" id="{90EBFEC3-5599-9B6A-B0B3-A5107244BE66}"/>
              </a:ext>
            </a:extLst>
          </p:cNvPr>
          <p:cNvSpPr>
            <a:spLocks noGrp="1"/>
          </p:cNvSpPr>
          <p:nvPr>
            <p:ph type="body" sz="quarter" idx="23"/>
          </p:nvPr>
        </p:nvSpPr>
        <p:spPr/>
        <p:txBody>
          <a:bodyPr/>
          <a:lstStyle/>
          <a:p>
            <a:r>
              <a:rPr lang="de-DE" dirty="0"/>
              <a:t>Quelle: Union Investment, Stand 18.07.2024</a:t>
            </a:r>
          </a:p>
        </p:txBody>
      </p:sp>
      <p:sp>
        <p:nvSpPr>
          <p:cNvPr id="5" name="Foliennummernplatzhalter 4">
            <a:extLst>
              <a:ext uri="{FF2B5EF4-FFF2-40B4-BE49-F238E27FC236}">
                <a16:creationId xmlns:a16="http://schemas.microsoft.com/office/drawing/2014/main" id="{8DDE604E-6E2A-329C-C75C-401134F9D538}"/>
              </a:ext>
            </a:extLst>
          </p:cNvPr>
          <p:cNvSpPr>
            <a:spLocks noGrp="1"/>
          </p:cNvSpPr>
          <p:nvPr>
            <p:ph type="sldNum" sz="quarter" idx="26"/>
          </p:nvPr>
        </p:nvSpPr>
        <p:spPr/>
        <p:txBody>
          <a:bodyPr/>
          <a:lstStyle/>
          <a:p>
            <a:fld id="{9C89B081-1F44-4440-BC7B-989C90F97B77}" type="slidenum">
              <a:rPr lang="de-DE" smtClean="0"/>
              <a:pPr/>
              <a:t>3</a:t>
            </a:fld>
            <a:endParaRPr lang="de-DE"/>
          </a:p>
        </p:txBody>
      </p:sp>
      <p:pic>
        <p:nvPicPr>
          <p:cNvPr id="4" name="Grafik 3">
            <a:extLst>
              <a:ext uri="{FF2B5EF4-FFF2-40B4-BE49-F238E27FC236}">
                <a16:creationId xmlns:a16="http://schemas.microsoft.com/office/drawing/2014/main" id="{2CEBE2B2-3C97-DB56-8750-2D1A55AE0861}"/>
              </a:ext>
            </a:extLst>
          </p:cNvPr>
          <p:cNvPicPr>
            <a:picLocks noChangeAspect="1"/>
          </p:cNvPicPr>
          <p:nvPr/>
        </p:nvPicPr>
        <p:blipFill rotWithShape="1">
          <a:blip r:embed="rId3"/>
          <a:srcRect l="55982" t="9248" r="2232" b="10890"/>
          <a:stretch/>
        </p:blipFill>
        <p:spPr>
          <a:xfrm>
            <a:off x="12195175" y="2060575"/>
            <a:ext cx="2796749" cy="1025944"/>
          </a:xfrm>
          <a:prstGeom prst="rect">
            <a:avLst/>
          </a:prstGeom>
        </p:spPr>
      </p:pic>
      <p:pic>
        <p:nvPicPr>
          <p:cNvPr id="8" name="Grafik 7">
            <a:extLst>
              <a:ext uri="{FF2B5EF4-FFF2-40B4-BE49-F238E27FC236}">
                <a16:creationId xmlns:a16="http://schemas.microsoft.com/office/drawing/2014/main" id="{A7D7FE22-10CA-DA09-2213-560C048DAFEC}"/>
              </a:ext>
            </a:extLst>
          </p:cNvPr>
          <p:cNvPicPr>
            <a:picLocks noChangeAspect="1"/>
          </p:cNvPicPr>
          <p:nvPr/>
        </p:nvPicPr>
        <p:blipFill rotWithShape="1">
          <a:blip r:embed="rId4"/>
          <a:srcRect l="5671" t="13876" r="5968" b="7674"/>
          <a:stretch/>
        </p:blipFill>
        <p:spPr>
          <a:xfrm>
            <a:off x="12195175" y="3086519"/>
            <a:ext cx="2796749" cy="1809660"/>
          </a:xfrm>
          <a:prstGeom prst="rect">
            <a:avLst/>
          </a:prstGeom>
        </p:spPr>
      </p:pic>
      <p:pic>
        <p:nvPicPr>
          <p:cNvPr id="10" name="Grafik 9">
            <a:extLst>
              <a:ext uri="{FF2B5EF4-FFF2-40B4-BE49-F238E27FC236}">
                <a16:creationId xmlns:a16="http://schemas.microsoft.com/office/drawing/2014/main" id="{1A23FB83-9913-BB74-6E6C-4D0337CDFB49}"/>
              </a:ext>
            </a:extLst>
          </p:cNvPr>
          <p:cNvPicPr>
            <a:picLocks noChangeAspect="1"/>
          </p:cNvPicPr>
          <p:nvPr/>
        </p:nvPicPr>
        <p:blipFill rotWithShape="1">
          <a:blip r:embed="rId5"/>
          <a:srcRect l="6645" t="8437"/>
          <a:stretch/>
        </p:blipFill>
        <p:spPr>
          <a:xfrm>
            <a:off x="12237189" y="4896179"/>
            <a:ext cx="2875280" cy="892823"/>
          </a:xfrm>
          <a:prstGeom prst="rect">
            <a:avLst/>
          </a:prstGeom>
        </p:spPr>
      </p:pic>
      <p:sp>
        <p:nvSpPr>
          <p:cNvPr id="6" name="Rechteck 5">
            <a:extLst>
              <a:ext uri="{FF2B5EF4-FFF2-40B4-BE49-F238E27FC236}">
                <a16:creationId xmlns:a16="http://schemas.microsoft.com/office/drawing/2014/main" id="{21BD99F3-78EF-9DA5-94F4-C3B5F4F82DEF}"/>
              </a:ext>
            </a:extLst>
          </p:cNvPr>
          <p:cNvSpPr/>
          <p:nvPr/>
        </p:nvSpPr>
        <p:spPr>
          <a:xfrm>
            <a:off x="3414411" y="4445542"/>
            <a:ext cx="457200" cy="1945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spcBef>
                <a:spcPts val="600"/>
              </a:spcBef>
              <a:buClr>
                <a:schemeClr val="accent1"/>
              </a:buClr>
              <a:buFontTx/>
              <a:buNone/>
            </a:pPr>
            <a:endParaRPr lang="de-DE" sz="1400" dirty="0" err="1">
              <a:solidFill>
                <a:schemeClr val="tx1"/>
              </a:solidFill>
            </a:endParaRPr>
          </a:p>
        </p:txBody>
      </p:sp>
    </p:spTree>
    <p:extLst>
      <p:ext uri="{BB962C8B-B14F-4D97-AF65-F5344CB8AC3E}">
        <p14:creationId xmlns:p14="http://schemas.microsoft.com/office/powerpoint/2010/main" val="4158063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nhaltsplatzhalter 6">
            <a:extLst>
              <a:ext uri="{FF2B5EF4-FFF2-40B4-BE49-F238E27FC236}">
                <a16:creationId xmlns:a16="http://schemas.microsoft.com/office/drawing/2014/main" id="{B630B30A-DEF3-E355-0139-AC43CFE2FD3A}"/>
              </a:ext>
            </a:extLst>
          </p:cNvPr>
          <p:cNvPicPr>
            <a:picLocks noGrp="1" noChangeAspect="1"/>
          </p:cNvPicPr>
          <p:nvPr>
            <p:ph sz="quarter" idx="14"/>
          </p:nvPr>
        </p:nvPicPr>
        <p:blipFill>
          <a:blip r:embed="rId2"/>
          <a:stretch>
            <a:fillRect/>
          </a:stretch>
        </p:blipFill>
        <p:spPr>
          <a:xfrm>
            <a:off x="277495" y="288234"/>
            <a:ext cx="10634953" cy="5756275"/>
          </a:xfrm>
        </p:spPr>
      </p:pic>
      <p:sp>
        <p:nvSpPr>
          <p:cNvPr id="3" name="Textplatzhalter 2">
            <a:extLst>
              <a:ext uri="{FF2B5EF4-FFF2-40B4-BE49-F238E27FC236}">
                <a16:creationId xmlns:a16="http://schemas.microsoft.com/office/drawing/2014/main" id="{009215E1-2E35-813F-CA56-9FCECA286EF4}"/>
              </a:ext>
            </a:extLst>
          </p:cNvPr>
          <p:cNvSpPr>
            <a:spLocks noGrp="1"/>
          </p:cNvSpPr>
          <p:nvPr>
            <p:ph type="body" sz="quarter" idx="23"/>
          </p:nvPr>
        </p:nvSpPr>
        <p:spPr/>
        <p:txBody>
          <a:bodyPr/>
          <a:lstStyle/>
          <a:p>
            <a:r>
              <a:rPr lang="de-DE" dirty="0"/>
              <a:t>Quelle: Union Investment, Stand 18.07.2024</a:t>
            </a:r>
          </a:p>
          <a:p>
            <a:endParaRPr lang="de-DE" dirty="0"/>
          </a:p>
        </p:txBody>
      </p:sp>
      <p:sp>
        <p:nvSpPr>
          <p:cNvPr id="5" name="Foliennummernplatzhalter 4">
            <a:extLst>
              <a:ext uri="{FF2B5EF4-FFF2-40B4-BE49-F238E27FC236}">
                <a16:creationId xmlns:a16="http://schemas.microsoft.com/office/drawing/2014/main" id="{0346210F-EB80-1FBE-531A-C96BA8B53E23}"/>
              </a:ext>
            </a:extLst>
          </p:cNvPr>
          <p:cNvSpPr>
            <a:spLocks noGrp="1"/>
          </p:cNvSpPr>
          <p:nvPr>
            <p:ph type="sldNum" sz="quarter" idx="26"/>
          </p:nvPr>
        </p:nvSpPr>
        <p:spPr/>
        <p:txBody>
          <a:bodyPr/>
          <a:lstStyle/>
          <a:p>
            <a:fld id="{9C89B081-1F44-4440-BC7B-989C90F97B77}" type="slidenum">
              <a:rPr lang="de-DE" smtClean="0"/>
              <a:pPr/>
              <a:t>4</a:t>
            </a:fld>
            <a:endParaRPr lang="de-DE"/>
          </a:p>
        </p:txBody>
      </p:sp>
    </p:spTree>
    <p:extLst>
      <p:ext uri="{BB962C8B-B14F-4D97-AF65-F5344CB8AC3E}">
        <p14:creationId xmlns:p14="http://schemas.microsoft.com/office/powerpoint/2010/main" val="1391371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ED10F990-509D-9FA4-BB7A-24FBDB5E04D6}"/>
              </a:ext>
            </a:extLst>
          </p:cNvPr>
          <p:cNvSpPr>
            <a:spLocks noGrp="1"/>
          </p:cNvSpPr>
          <p:nvPr>
            <p:ph sz="quarter" idx="24"/>
          </p:nvPr>
        </p:nvSpPr>
        <p:spPr/>
        <p:txBody>
          <a:bodyPr/>
          <a:lstStyle/>
          <a:p>
            <a:endParaRPr lang="de-DE"/>
          </a:p>
        </p:txBody>
      </p:sp>
      <p:sp>
        <p:nvSpPr>
          <p:cNvPr id="3" name="Inhaltsplatzhalter 2">
            <a:extLst>
              <a:ext uri="{FF2B5EF4-FFF2-40B4-BE49-F238E27FC236}">
                <a16:creationId xmlns:a16="http://schemas.microsoft.com/office/drawing/2014/main" id="{19EC4968-C50E-0ADF-AA71-3CE0257C5A0A}"/>
              </a:ext>
            </a:extLst>
          </p:cNvPr>
          <p:cNvSpPr>
            <a:spLocks noGrp="1"/>
          </p:cNvSpPr>
          <p:nvPr>
            <p:ph sz="quarter" idx="26"/>
          </p:nvPr>
        </p:nvSpPr>
        <p:spPr/>
        <p:txBody>
          <a:bodyPr/>
          <a:lstStyle/>
          <a:p>
            <a:endParaRPr lang="de-DE" dirty="0"/>
          </a:p>
        </p:txBody>
      </p:sp>
      <p:sp>
        <p:nvSpPr>
          <p:cNvPr id="4" name="Textplatzhalter 3">
            <a:extLst>
              <a:ext uri="{FF2B5EF4-FFF2-40B4-BE49-F238E27FC236}">
                <a16:creationId xmlns:a16="http://schemas.microsoft.com/office/drawing/2014/main" id="{6BB0DB85-34EE-C4DD-350F-673A7AD781DD}"/>
              </a:ext>
            </a:extLst>
          </p:cNvPr>
          <p:cNvSpPr>
            <a:spLocks noGrp="1"/>
          </p:cNvSpPr>
          <p:nvPr>
            <p:ph type="body" sz="quarter" idx="19"/>
          </p:nvPr>
        </p:nvSpPr>
        <p:spPr/>
        <p:txBody>
          <a:bodyPr/>
          <a:lstStyle/>
          <a:p>
            <a:endParaRPr lang="de-DE"/>
          </a:p>
        </p:txBody>
      </p:sp>
      <p:sp>
        <p:nvSpPr>
          <p:cNvPr id="5" name="Textplatzhalter 4">
            <a:extLst>
              <a:ext uri="{FF2B5EF4-FFF2-40B4-BE49-F238E27FC236}">
                <a16:creationId xmlns:a16="http://schemas.microsoft.com/office/drawing/2014/main" id="{56D7A423-4168-0602-5ECB-A876AB2E3236}"/>
              </a:ext>
            </a:extLst>
          </p:cNvPr>
          <p:cNvSpPr>
            <a:spLocks noGrp="1"/>
          </p:cNvSpPr>
          <p:nvPr>
            <p:ph type="body" sz="quarter" idx="21"/>
          </p:nvPr>
        </p:nvSpPr>
        <p:spPr/>
        <p:txBody>
          <a:bodyPr/>
          <a:lstStyle/>
          <a:p>
            <a:endParaRPr lang="de-DE"/>
          </a:p>
        </p:txBody>
      </p:sp>
      <p:sp>
        <p:nvSpPr>
          <p:cNvPr id="6" name="Textplatzhalter 5">
            <a:extLst>
              <a:ext uri="{FF2B5EF4-FFF2-40B4-BE49-F238E27FC236}">
                <a16:creationId xmlns:a16="http://schemas.microsoft.com/office/drawing/2014/main" id="{1A2C071B-0644-1E2A-76EB-20C0E27B3400}"/>
              </a:ext>
            </a:extLst>
          </p:cNvPr>
          <p:cNvSpPr>
            <a:spLocks noGrp="1"/>
          </p:cNvSpPr>
          <p:nvPr>
            <p:ph type="body" sz="quarter" idx="27"/>
          </p:nvPr>
        </p:nvSpPr>
        <p:spPr/>
        <p:txBody>
          <a:bodyPr/>
          <a:lstStyle/>
          <a:p>
            <a:endParaRPr lang="de-DE"/>
          </a:p>
        </p:txBody>
      </p:sp>
      <p:sp>
        <p:nvSpPr>
          <p:cNvPr id="7" name="Textplatzhalter 6">
            <a:extLst>
              <a:ext uri="{FF2B5EF4-FFF2-40B4-BE49-F238E27FC236}">
                <a16:creationId xmlns:a16="http://schemas.microsoft.com/office/drawing/2014/main" id="{50DAFC39-E2F7-2376-07CF-CF7C4ECA9594}"/>
              </a:ext>
            </a:extLst>
          </p:cNvPr>
          <p:cNvSpPr>
            <a:spLocks noGrp="1"/>
          </p:cNvSpPr>
          <p:nvPr>
            <p:ph type="body" sz="quarter" idx="28"/>
          </p:nvPr>
        </p:nvSpPr>
        <p:spPr/>
        <p:txBody>
          <a:bodyPr/>
          <a:lstStyle/>
          <a:p>
            <a:endParaRPr lang="de-DE"/>
          </a:p>
        </p:txBody>
      </p:sp>
      <p:sp>
        <p:nvSpPr>
          <p:cNvPr id="8" name="Textplatzhalter 7">
            <a:extLst>
              <a:ext uri="{FF2B5EF4-FFF2-40B4-BE49-F238E27FC236}">
                <a16:creationId xmlns:a16="http://schemas.microsoft.com/office/drawing/2014/main" id="{E7192A32-4C18-697E-20BE-AAC0F893F8AD}"/>
              </a:ext>
            </a:extLst>
          </p:cNvPr>
          <p:cNvSpPr>
            <a:spLocks noGrp="1"/>
          </p:cNvSpPr>
          <p:nvPr>
            <p:ph type="body" sz="quarter" idx="23"/>
          </p:nvPr>
        </p:nvSpPr>
        <p:spPr/>
        <p:txBody>
          <a:bodyPr/>
          <a:lstStyle/>
          <a:p>
            <a:endParaRPr lang="de-DE"/>
          </a:p>
        </p:txBody>
      </p:sp>
      <p:sp>
        <p:nvSpPr>
          <p:cNvPr id="9" name="Titel 8">
            <a:extLst>
              <a:ext uri="{FF2B5EF4-FFF2-40B4-BE49-F238E27FC236}">
                <a16:creationId xmlns:a16="http://schemas.microsoft.com/office/drawing/2014/main" id="{AF1E25BA-7223-7CA9-A133-E0807EF8D0A9}"/>
              </a:ext>
            </a:extLst>
          </p:cNvPr>
          <p:cNvSpPr>
            <a:spLocks noGrp="1"/>
          </p:cNvSpPr>
          <p:nvPr>
            <p:ph type="title"/>
          </p:nvPr>
        </p:nvSpPr>
        <p:spPr/>
        <p:txBody>
          <a:bodyPr/>
          <a:lstStyle/>
          <a:p>
            <a:endParaRPr lang="de-DE"/>
          </a:p>
        </p:txBody>
      </p:sp>
      <p:sp>
        <p:nvSpPr>
          <p:cNvPr id="10" name="Foliennummernplatzhalter 9">
            <a:extLst>
              <a:ext uri="{FF2B5EF4-FFF2-40B4-BE49-F238E27FC236}">
                <a16:creationId xmlns:a16="http://schemas.microsoft.com/office/drawing/2014/main" id="{1E5B4769-D1AA-9D5B-B54D-8479BEE43E9C}"/>
              </a:ext>
            </a:extLst>
          </p:cNvPr>
          <p:cNvSpPr>
            <a:spLocks noGrp="1"/>
          </p:cNvSpPr>
          <p:nvPr>
            <p:ph type="sldNum" sz="quarter" idx="31"/>
          </p:nvPr>
        </p:nvSpPr>
        <p:spPr/>
        <p:txBody>
          <a:bodyPr/>
          <a:lstStyle/>
          <a:p>
            <a:fld id="{9C89B081-1F44-4440-BC7B-989C90F97B77}" type="slidenum">
              <a:rPr lang="de-DE" smtClean="0"/>
              <a:pPr/>
              <a:t>5</a:t>
            </a:fld>
            <a:endParaRPr lang="de-DE"/>
          </a:p>
        </p:txBody>
      </p:sp>
      <p:pic>
        <p:nvPicPr>
          <p:cNvPr id="12" name="Grafik 11">
            <a:extLst>
              <a:ext uri="{FF2B5EF4-FFF2-40B4-BE49-F238E27FC236}">
                <a16:creationId xmlns:a16="http://schemas.microsoft.com/office/drawing/2014/main" id="{5392534F-2162-0491-A151-970B4EB09373}"/>
              </a:ext>
            </a:extLst>
          </p:cNvPr>
          <p:cNvPicPr>
            <a:picLocks noChangeAspect="1"/>
          </p:cNvPicPr>
          <p:nvPr/>
        </p:nvPicPr>
        <p:blipFill>
          <a:blip r:embed="rId3"/>
          <a:stretch>
            <a:fillRect/>
          </a:stretch>
        </p:blipFill>
        <p:spPr>
          <a:xfrm>
            <a:off x="407987" y="441325"/>
            <a:ext cx="10978455" cy="6012011"/>
          </a:xfrm>
          <a:prstGeom prst="rect">
            <a:avLst/>
          </a:prstGeom>
        </p:spPr>
      </p:pic>
      <p:sp>
        <p:nvSpPr>
          <p:cNvPr id="15" name="Textfeld 14">
            <a:extLst>
              <a:ext uri="{FF2B5EF4-FFF2-40B4-BE49-F238E27FC236}">
                <a16:creationId xmlns:a16="http://schemas.microsoft.com/office/drawing/2014/main" id="{A1638C22-4948-2758-DE25-8B9D04070004}"/>
              </a:ext>
            </a:extLst>
          </p:cNvPr>
          <p:cNvSpPr txBox="1"/>
          <p:nvPr/>
        </p:nvSpPr>
        <p:spPr>
          <a:xfrm>
            <a:off x="409575" y="6155431"/>
            <a:ext cx="6099586" cy="276999"/>
          </a:xfrm>
          <a:prstGeom prst="rect">
            <a:avLst/>
          </a:prstGeom>
          <a:noFill/>
        </p:spPr>
        <p:txBody>
          <a:bodyPr wrap="square">
            <a:spAutoFit/>
          </a:bodyPr>
          <a:lstStyle/>
          <a:p>
            <a:r>
              <a:rPr lang="en-US" sz="1200" dirty="0"/>
              <a:t>Quelle: Union Investment, Stand 18.07.2024</a:t>
            </a:r>
          </a:p>
        </p:txBody>
      </p:sp>
    </p:spTree>
    <p:extLst>
      <p:ext uri="{BB962C8B-B14F-4D97-AF65-F5344CB8AC3E}">
        <p14:creationId xmlns:p14="http://schemas.microsoft.com/office/powerpoint/2010/main" val="712946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89243C54-8B2F-0564-8A3D-5414FAFB0E41}"/>
              </a:ext>
            </a:extLst>
          </p:cNvPr>
          <p:cNvSpPr>
            <a:spLocks noGrp="1"/>
          </p:cNvSpPr>
          <p:nvPr>
            <p:ph sz="quarter" idx="26"/>
          </p:nvPr>
        </p:nvSpPr>
        <p:spPr>
          <a:xfrm>
            <a:off x="409575" y="1412776"/>
            <a:ext cx="5182703" cy="271645"/>
          </a:xfrm>
        </p:spPr>
        <p:txBody>
          <a:bodyPr/>
          <a:lstStyle/>
          <a:p>
            <a:r>
              <a:rPr lang="de-DE">
                <a:solidFill>
                  <a:schemeClr val="accent2"/>
                </a:solidFill>
              </a:rPr>
              <a:t>Wertentwicklung</a:t>
            </a:r>
            <a:endParaRPr lang="de-DE"/>
          </a:p>
        </p:txBody>
      </p:sp>
      <p:sp>
        <p:nvSpPr>
          <p:cNvPr id="3" name="Textplatzhalter 2">
            <a:extLst>
              <a:ext uri="{FF2B5EF4-FFF2-40B4-BE49-F238E27FC236}">
                <a16:creationId xmlns:a16="http://schemas.microsoft.com/office/drawing/2014/main" id="{73367C05-0DF2-E942-000D-563D3EDF1C35}"/>
              </a:ext>
            </a:extLst>
          </p:cNvPr>
          <p:cNvSpPr>
            <a:spLocks noGrp="1"/>
          </p:cNvSpPr>
          <p:nvPr>
            <p:ph type="body" sz="quarter" idx="25"/>
          </p:nvPr>
        </p:nvSpPr>
        <p:spPr>
          <a:xfrm>
            <a:off x="446223" y="6258624"/>
            <a:ext cx="11375354" cy="307777"/>
          </a:xfrm>
        </p:spPr>
        <p:txBody>
          <a:bodyPr/>
          <a:lstStyle/>
          <a:p>
            <a:r>
              <a:rPr lang="en-GB" sz="1000" dirty="0"/>
              <a:t>Quelle: Union Investment, LSEG. Stand: 15. August 2024. </a:t>
            </a:r>
            <a:r>
              <a:rPr lang="en-GB" sz="1000" dirty="0" err="1"/>
              <a:t>Indizes</a:t>
            </a:r>
            <a:r>
              <a:rPr lang="en-GB" sz="1000" dirty="0"/>
              <a:t>: </a:t>
            </a:r>
            <a:r>
              <a:rPr lang="en-GB" sz="1000" dirty="0" err="1"/>
              <a:t>Aktienindizes</a:t>
            </a:r>
            <a:r>
              <a:rPr lang="en-GB" sz="1000" dirty="0"/>
              <a:t> </a:t>
            </a:r>
            <a:r>
              <a:rPr lang="en-GB" sz="1000" dirty="0" err="1"/>
              <a:t>wie</a:t>
            </a:r>
            <a:r>
              <a:rPr lang="en-GB" sz="1000" dirty="0"/>
              <a:t> </a:t>
            </a:r>
            <a:r>
              <a:rPr lang="en-GB" sz="1000" dirty="0" err="1"/>
              <a:t>angegeben</a:t>
            </a:r>
            <a:r>
              <a:rPr lang="en-GB" sz="1000" dirty="0"/>
              <a:t>, jew. Net-Return-</a:t>
            </a:r>
            <a:r>
              <a:rPr lang="en-GB" sz="1000" dirty="0" err="1"/>
              <a:t>Variante</a:t>
            </a:r>
            <a:r>
              <a:rPr lang="en-GB" sz="1000" dirty="0"/>
              <a:t>; </a:t>
            </a:r>
            <a:r>
              <a:rPr lang="en-GB" sz="1000" dirty="0" err="1"/>
              <a:t>iBOXX</a:t>
            </a:r>
            <a:r>
              <a:rPr lang="en-GB" sz="1000" dirty="0"/>
              <a:t> Euro Sovereigns, ICE </a:t>
            </a:r>
            <a:r>
              <a:rPr lang="en-GB" sz="1000" dirty="0" err="1"/>
              <a:t>BofA</a:t>
            </a:r>
            <a:r>
              <a:rPr lang="en-GB" sz="1000" dirty="0"/>
              <a:t> Euro Corporates, ICE </a:t>
            </a:r>
            <a:r>
              <a:rPr lang="en-GB" sz="1000" dirty="0" err="1"/>
              <a:t>BofA</a:t>
            </a:r>
            <a:r>
              <a:rPr lang="en-GB" sz="1000" dirty="0"/>
              <a:t> Euro High Yield, JPM EMBI Global Diversified, jew. Total-Return-</a:t>
            </a:r>
            <a:r>
              <a:rPr lang="en-GB" sz="1000" dirty="0" err="1"/>
              <a:t>Variante</a:t>
            </a:r>
            <a:r>
              <a:rPr lang="en-GB" sz="1000" dirty="0"/>
              <a:t>; S&amp;P GSCI Brent Crude Dyn. Roll, S&amp;P GSCI Gold Dyn. Roll und S&amp;P GSCI Copper Dyn. Roll, jew. Excess-Return-</a:t>
            </a:r>
            <a:r>
              <a:rPr lang="en-GB" sz="1000" dirty="0" err="1"/>
              <a:t>Variante</a:t>
            </a:r>
            <a:r>
              <a:rPr lang="en-GB" sz="1000" dirty="0"/>
              <a:t>. </a:t>
            </a:r>
          </a:p>
          <a:p>
            <a:r>
              <a:rPr lang="en-GB" sz="1000" dirty="0"/>
              <a:t>Die </a:t>
            </a:r>
            <a:r>
              <a:rPr lang="en-GB" sz="1000" dirty="0" err="1"/>
              <a:t>Angaben</a:t>
            </a:r>
            <a:r>
              <a:rPr lang="en-GB" sz="1000" dirty="0"/>
              <a:t> </a:t>
            </a:r>
            <a:r>
              <a:rPr lang="en-GB" sz="1000" dirty="0" err="1"/>
              <a:t>zur</a:t>
            </a:r>
            <a:r>
              <a:rPr lang="en-GB" sz="1000" dirty="0"/>
              <a:t> </a:t>
            </a:r>
            <a:r>
              <a:rPr lang="en-GB" sz="1000" dirty="0" err="1"/>
              <a:t>Wertentwicklung</a:t>
            </a:r>
            <a:r>
              <a:rPr lang="en-GB" sz="1000" dirty="0"/>
              <a:t> </a:t>
            </a:r>
            <a:r>
              <a:rPr lang="en-GB" sz="1000" dirty="0" err="1"/>
              <a:t>basieren</a:t>
            </a:r>
            <a:r>
              <a:rPr lang="en-GB" sz="1000" dirty="0"/>
              <a:t> auf </a:t>
            </a:r>
            <a:r>
              <a:rPr lang="en-GB" sz="1000" dirty="0" err="1"/>
              <a:t>Vergangenheitswerten</a:t>
            </a:r>
            <a:r>
              <a:rPr lang="en-GB" sz="1000" dirty="0"/>
              <a:t> und </a:t>
            </a:r>
            <a:r>
              <a:rPr lang="en-GB" sz="1000" dirty="0" err="1"/>
              <a:t>lassen</a:t>
            </a:r>
            <a:r>
              <a:rPr lang="en-GB" sz="1000" dirty="0"/>
              <a:t> </a:t>
            </a:r>
            <a:r>
              <a:rPr lang="en-GB" sz="1000" dirty="0" err="1"/>
              <a:t>keine</a:t>
            </a:r>
            <a:r>
              <a:rPr lang="en-GB" sz="1000" dirty="0"/>
              <a:t> </a:t>
            </a:r>
            <a:r>
              <a:rPr lang="en-GB" sz="1000" dirty="0" err="1"/>
              <a:t>verlässlichen</a:t>
            </a:r>
            <a:r>
              <a:rPr lang="en-GB" sz="1000" dirty="0"/>
              <a:t> </a:t>
            </a:r>
            <a:r>
              <a:rPr lang="en-GB" sz="1000" dirty="0" err="1"/>
              <a:t>Rückschlüsse</a:t>
            </a:r>
            <a:r>
              <a:rPr lang="en-GB" sz="1000" dirty="0"/>
              <a:t> auf die </a:t>
            </a:r>
            <a:r>
              <a:rPr lang="en-GB" sz="1000" dirty="0" err="1"/>
              <a:t>zukünftige</a:t>
            </a:r>
            <a:r>
              <a:rPr lang="en-GB" sz="1000" dirty="0"/>
              <a:t> </a:t>
            </a:r>
            <a:r>
              <a:rPr lang="en-GB" sz="1000" dirty="0" err="1"/>
              <a:t>Entwicklung</a:t>
            </a:r>
            <a:r>
              <a:rPr lang="en-GB" sz="1000" dirty="0"/>
              <a:t> </a:t>
            </a:r>
            <a:r>
              <a:rPr lang="en-GB" sz="1000" dirty="0" err="1"/>
              <a:t>zu</a:t>
            </a:r>
            <a:r>
              <a:rPr lang="en-GB" sz="1000" dirty="0"/>
              <a:t>. * </a:t>
            </a:r>
            <a:r>
              <a:rPr lang="en-GB" sz="1000" dirty="0" err="1"/>
              <a:t>Hartwährungen</a:t>
            </a:r>
            <a:r>
              <a:rPr lang="en-GB" sz="1000" dirty="0"/>
              <a:t>. </a:t>
            </a:r>
            <a:r>
              <a:rPr lang="de-DE" sz="1200" dirty="0">
                <a:effectLst/>
                <a:latin typeface="Arial" panose="020B0604020202020204" pitchFamily="34" charset="0"/>
                <a:ea typeface="Times New Roman" panose="02020603050405020304" pitchFamily="18" charset="0"/>
                <a:cs typeface="Times New Roman" panose="02020603050405020304" pitchFamily="18" charset="0"/>
              </a:rPr>
              <a:t>Die Angaben zur Wertentwicklung basieren auf Vergangenheitswerten. Die Wert- und Ertragsentwicklungen können nicht mit Bestimmtheit vorausgesagt werden. Performanceergebnisse der Vergangenheit lassen keine Rückschlüsse auf die zukünftige Entwicklung zu</a:t>
            </a:r>
            <a:endParaRPr lang="en-GB" sz="1200" dirty="0"/>
          </a:p>
        </p:txBody>
      </p:sp>
      <p:sp>
        <p:nvSpPr>
          <p:cNvPr id="10" name="Titel 9">
            <a:extLst>
              <a:ext uri="{FF2B5EF4-FFF2-40B4-BE49-F238E27FC236}">
                <a16:creationId xmlns:a16="http://schemas.microsoft.com/office/drawing/2014/main" id="{D3A82C59-1084-45F7-BB7C-368C370600C3}"/>
              </a:ext>
            </a:extLst>
          </p:cNvPr>
          <p:cNvSpPr>
            <a:spLocks noGrp="1"/>
          </p:cNvSpPr>
          <p:nvPr>
            <p:ph type="title"/>
          </p:nvPr>
        </p:nvSpPr>
        <p:spPr/>
        <p:txBody>
          <a:bodyPr/>
          <a:lstStyle/>
          <a:p>
            <a:r>
              <a:rPr lang="de-DE" dirty="0"/>
              <a:t>2024: </a:t>
            </a:r>
            <a:r>
              <a:rPr lang="de-DE" dirty="0">
                <a:solidFill>
                  <a:schemeClr val="accent2"/>
                </a:solidFill>
              </a:rPr>
              <a:t>Grüne Vorzeichen in allen Anlageklassen</a:t>
            </a:r>
            <a:endParaRPr lang="de-DE" dirty="0"/>
          </a:p>
        </p:txBody>
      </p:sp>
      <p:grpSp>
        <p:nvGrpSpPr>
          <p:cNvPr id="14" name="Gruppieren 13">
            <a:extLst>
              <a:ext uri="{FF2B5EF4-FFF2-40B4-BE49-F238E27FC236}">
                <a16:creationId xmlns:a16="http://schemas.microsoft.com/office/drawing/2014/main" id="{3D7429CA-E10A-94D6-6268-866E146A1EB7}"/>
              </a:ext>
            </a:extLst>
          </p:cNvPr>
          <p:cNvGrpSpPr/>
          <p:nvPr/>
        </p:nvGrpSpPr>
        <p:grpSpPr>
          <a:xfrm>
            <a:off x="1854764" y="1768004"/>
            <a:ext cx="426399" cy="495362"/>
            <a:chOff x="409575" y="2060575"/>
            <a:chExt cx="426399" cy="495362"/>
          </a:xfrm>
        </p:grpSpPr>
        <p:grpSp>
          <p:nvGrpSpPr>
            <p:cNvPr id="17" name="Group 140">
              <a:extLst>
                <a:ext uri="{FF2B5EF4-FFF2-40B4-BE49-F238E27FC236}">
                  <a16:creationId xmlns:a16="http://schemas.microsoft.com/office/drawing/2014/main" id="{E6CF0049-0B4B-49DC-A836-76B14C33FFCE}"/>
                </a:ext>
              </a:extLst>
            </p:cNvPr>
            <p:cNvGrpSpPr>
              <a:grpSpLocks noChangeAspect="1"/>
            </p:cNvGrpSpPr>
            <p:nvPr/>
          </p:nvGrpSpPr>
          <p:grpSpPr bwMode="gray">
            <a:xfrm>
              <a:off x="409575" y="2060575"/>
              <a:ext cx="353131" cy="288305"/>
              <a:chOff x="1258" y="1666"/>
              <a:chExt cx="1814" cy="1481"/>
            </a:xfrm>
          </p:grpSpPr>
          <p:sp>
            <p:nvSpPr>
              <p:cNvPr id="18" name="Freeform 141">
                <a:extLst>
                  <a:ext uri="{FF2B5EF4-FFF2-40B4-BE49-F238E27FC236}">
                    <a16:creationId xmlns:a16="http://schemas.microsoft.com/office/drawing/2014/main" id="{A989359E-7739-490C-81F4-D6D855C28F5C}"/>
                  </a:ext>
                </a:extLst>
              </p:cNvPr>
              <p:cNvSpPr>
                <a:spLocks/>
              </p:cNvSpPr>
              <p:nvPr/>
            </p:nvSpPr>
            <p:spPr bwMode="gray">
              <a:xfrm>
                <a:off x="1258" y="1666"/>
                <a:ext cx="1757" cy="1249"/>
              </a:xfrm>
              <a:custGeom>
                <a:avLst/>
                <a:gdLst>
                  <a:gd name="T0" fmla="*/ 886 w 5492"/>
                  <a:gd name="T1" fmla="*/ 3543 h 3897"/>
                  <a:gd name="T2" fmla="*/ 355 w 5492"/>
                  <a:gd name="T3" fmla="*/ 3012 h 3897"/>
                  <a:gd name="T4" fmla="*/ 355 w 5492"/>
                  <a:gd name="T5" fmla="*/ 354 h 3897"/>
                  <a:gd name="T6" fmla="*/ 4607 w 5492"/>
                  <a:gd name="T7" fmla="*/ 354 h 3897"/>
                  <a:gd name="T8" fmla="*/ 5138 w 5492"/>
                  <a:gd name="T9" fmla="*/ 886 h 3897"/>
                  <a:gd name="T10" fmla="*/ 5138 w 5492"/>
                  <a:gd name="T11" fmla="*/ 1669 h 3897"/>
                  <a:gd name="T12" fmla="*/ 5491 w 5492"/>
                  <a:gd name="T13" fmla="*/ 1949 h 3897"/>
                  <a:gd name="T14" fmla="*/ 5492 w 5492"/>
                  <a:gd name="T15" fmla="*/ 1949 h 3897"/>
                  <a:gd name="T16" fmla="*/ 5492 w 5492"/>
                  <a:gd name="T17" fmla="*/ 886 h 3897"/>
                  <a:gd name="T18" fmla="*/ 4607 w 5492"/>
                  <a:gd name="T19" fmla="*/ 0 h 3897"/>
                  <a:gd name="T20" fmla="*/ 0 w 5492"/>
                  <a:gd name="T21" fmla="*/ 0 h 3897"/>
                  <a:gd name="T22" fmla="*/ 0 w 5492"/>
                  <a:gd name="T23" fmla="*/ 3012 h 3897"/>
                  <a:gd name="T24" fmla="*/ 886 w 5492"/>
                  <a:gd name="T25" fmla="*/ 3897 h 3897"/>
                  <a:gd name="T26" fmla="*/ 4075 w 5492"/>
                  <a:gd name="T27" fmla="*/ 3897 h 3897"/>
                  <a:gd name="T28" fmla="*/ 4075 w 5492"/>
                  <a:gd name="T29" fmla="*/ 3543 h 3897"/>
                  <a:gd name="T30" fmla="*/ 886 w 5492"/>
                  <a:gd name="T31" fmla="*/ 3543 h 3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92" h="3897">
                    <a:moveTo>
                      <a:pt x="886" y="3543"/>
                    </a:moveTo>
                    <a:cubicBezTo>
                      <a:pt x="593" y="3543"/>
                      <a:pt x="355" y="3305"/>
                      <a:pt x="355" y="3012"/>
                    </a:cubicBezTo>
                    <a:cubicBezTo>
                      <a:pt x="355" y="354"/>
                      <a:pt x="355" y="354"/>
                      <a:pt x="355" y="354"/>
                    </a:cubicBezTo>
                    <a:cubicBezTo>
                      <a:pt x="4607" y="354"/>
                      <a:pt x="4607" y="354"/>
                      <a:pt x="4607" y="354"/>
                    </a:cubicBezTo>
                    <a:cubicBezTo>
                      <a:pt x="4900" y="354"/>
                      <a:pt x="5138" y="593"/>
                      <a:pt x="5138" y="886"/>
                    </a:cubicBezTo>
                    <a:cubicBezTo>
                      <a:pt x="5138" y="1669"/>
                      <a:pt x="5138" y="1669"/>
                      <a:pt x="5138" y="1669"/>
                    </a:cubicBezTo>
                    <a:cubicBezTo>
                      <a:pt x="5279" y="1730"/>
                      <a:pt x="5400" y="1828"/>
                      <a:pt x="5491" y="1949"/>
                    </a:cubicBezTo>
                    <a:cubicBezTo>
                      <a:pt x="5492" y="1949"/>
                      <a:pt x="5492" y="1949"/>
                      <a:pt x="5492" y="1949"/>
                    </a:cubicBezTo>
                    <a:cubicBezTo>
                      <a:pt x="5492" y="886"/>
                      <a:pt x="5492" y="886"/>
                      <a:pt x="5492" y="886"/>
                    </a:cubicBezTo>
                    <a:cubicBezTo>
                      <a:pt x="5492" y="397"/>
                      <a:pt x="5095" y="0"/>
                      <a:pt x="4607" y="0"/>
                    </a:cubicBezTo>
                    <a:cubicBezTo>
                      <a:pt x="0" y="0"/>
                      <a:pt x="0" y="0"/>
                      <a:pt x="0" y="0"/>
                    </a:cubicBezTo>
                    <a:cubicBezTo>
                      <a:pt x="0" y="3012"/>
                      <a:pt x="0" y="3012"/>
                      <a:pt x="0" y="3012"/>
                    </a:cubicBezTo>
                    <a:cubicBezTo>
                      <a:pt x="0" y="3500"/>
                      <a:pt x="398" y="3897"/>
                      <a:pt x="886" y="3897"/>
                    </a:cubicBezTo>
                    <a:cubicBezTo>
                      <a:pt x="4075" y="3897"/>
                      <a:pt x="4075" y="3897"/>
                      <a:pt x="4075" y="3897"/>
                    </a:cubicBezTo>
                    <a:cubicBezTo>
                      <a:pt x="4075" y="3543"/>
                      <a:pt x="4075" y="3543"/>
                      <a:pt x="4075" y="3543"/>
                    </a:cubicBezTo>
                    <a:lnTo>
                      <a:pt x="886" y="3543"/>
                    </a:lnTo>
                    <a:close/>
                  </a:path>
                </a:pathLst>
              </a:custGeom>
              <a:solidFill>
                <a:srgbClr val="0035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de-DE"/>
              </a:p>
            </p:txBody>
          </p:sp>
          <p:sp>
            <p:nvSpPr>
              <p:cNvPr id="19" name="Rectangle 142">
                <a:extLst>
                  <a:ext uri="{FF2B5EF4-FFF2-40B4-BE49-F238E27FC236}">
                    <a16:creationId xmlns:a16="http://schemas.microsoft.com/office/drawing/2014/main" id="{721640A8-F8E4-4A7D-98F7-65C97552D909}"/>
                  </a:ext>
                </a:extLst>
              </p:cNvPr>
              <p:cNvSpPr>
                <a:spLocks noChangeArrowheads="1"/>
              </p:cNvSpPr>
              <p:nvPr/>
            </p:nvSpPr>
            <p:spPr bwMode="gray">
              <a:xfrm>
                <a:off x="1938" y="2574"/>
                <a:ext cx="397" cy="114"/>
              </a:xfrm>
              <a:prstGeom prst="rect">
                <a:avLst/>
              </a:prstGeom>
              <a:solidFill>
                <a:srgbClr val="0035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de-DE"/>
              </a:p>
            </p:txBody>
          </p:sp>
          <p:sp>
            <p:nvSpPr>
              <p:cNvPr id="20" name="Rectangle 143">
                <a:extLst>
                  <a:ext uri="{FF2B5EF4-FFF2-40B4-BE49-F238E27FC236}">
                    <a16:creationId xmlns:a16="http://schemas.microsoft.com/office/drawing/2014/main" id="{0ADAE0A1-08D0-4214-92FB-8EC7F23E871C}"/>
                  </a:ext>
                </a:extLst>
              </p:cNvPr>
              <p:cNvSpPr>
                <a:spLocks noChangeArrowheads="1"/>
              </p:cNvSpPr>
              <p:nvPr/>
            </p:nvSpPr>
            <p:spPr bwMode="gray">
              <a:xfrm>
                <a:off x="1485" y="1893"/>
                <a:ext cx="1304" cy="114"/>
              </a:xfrm>
              <a:prstGeom prst="rect">
                <a:avLst/>
              </a:prstGeom>
              <a:solidFill>
                <a:srgbClr val="0035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de-DE"/>
              </a:p>
            </p:txBody>
          </p:sp>
          <p:sp>
            <p:nvSpPr>
              <p:cNvPr id="22" name="Rectangle 144">
                <a:extLst>
                  <a:ext uri="{FF2B5EF4-FFF2-40B4-BE49-F238E27FC236}">
                    <a16:creationId xmlns:a16="http://schemas.microsoft.com/office/drawing/2014/main" id="{8890CEF3-462E-426C-82B3-8097B40C0F9B}"/>
                  </a:ext>
                </a:extLst>
              </p:cNvPr>
              <p:cNvSpPr>
                <a:spLocks noChangeArrowheads="1"/>
              </p:cNvSpPr>
              <p:nvPr/>
            </p:nvSpPr>
            <p:spPr bwMode="gray">
              <a:xfrm>
                <a:off x="1485" y="2120"/>
                <a:ext cx="964" cy="114"/>
              </a:xfrm>
              <a:prstGeom prst="rect">
                <a:avLst/>
              </a:prstGeom>
              <a:solidFill>
                <a:srgbClr val="0035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endParaRPr lang="de-DE"/>
              </a:p>
            </p:txBody>
          </p:sp>
          <p:sp>
            <p:nvSpPr>
              <p:cNvPr id="23" name="Freeform 145">
                <a:extLst>
                  <a:ext uri="{FF2B5EF4-FFF2-40B4-BE49-F238E27FC236}">
                    <a16:creationId xmlns:a16="http://schemas.microsoft.com/office/drawing/2014/main" id="{5493F32E-7E97-4BAD-BC63-14E83BBC6DEA}"/>
                  </a:ext>
                </a:extLst>
              </p:cNvPr>
              <p:cNvSpPr>
                <a:spLocks noEditPoints="1"/>
              </p:cNvSpPr>
              <p:nvPr/>
            </p:nvSpPr>
            <p:spPr bwMode="gray">
              <a:xfrm>
                <a:off x="2505" y="2177"/>
                <a:ext cx="567" cy="970"/>
              </a:xfrm>
              <a:custGeom>
                <a:avLst/>
                <a:gdLst>
                  <a:gd name="T0" fmla="*/ 1593 w 1772"/>
                  <a:gd name="T1" fmla="*/ 355 h 3027"/>
                  <a:gd name="T2" fmla="*/ 1240 w 1772"/>
                  <a:gd name="T3" fmla="*/ 75 h 3027"/>
                  <a:gd name="T4" fmla="*/ 886 w 1772"/>
                  <a:gd name="T5" fmla="*/ 0 h 3027"/>
                  <a:gd name="T6" fmla="*/ 0 w 1772"/>
                  <a:gd name="T7" fmla="*/ 886 h 3027"/>
                  <a:gd name="T8" fmla="*/ 177 w 1772"/>
                  <a:gd name="T9" fmla="*/ 1415 h 3027"/>
                  <a:gd name="T10" fmla="*/ 177 w 1772"/>
                  <a:gd name="T11" fmla="*/ 1949 h 3027"/>
                  <a:gd name="T12" fmla="*/ 177 w 1772"/>
                  <a:gd name="T13" fmla="*/ 2303 h 3027"/>
                  <a:gd name="T14" fmla="*/ 177 w 1772"/>
                  <a:gd name="T15" fmla="*/ 2835 h 3027"/>
                  <a:gd name="T16" fmla="*/ 294 w 1772"/>
                  <a:gd name="T17" fmla="*/ 3001 h 3027"/>
                  <a:gd name="T18" fmla="*/ 490 w 1772"/>
                  <a:gd name="T19" fmla="*/ 2949 h 3027"/>
                  <a:gd name="T20" fmla="*/ 886 w 1772"/>
                  <a:gd name="T21" fmla="*/ 2478 h 3027"/>
                  <a:gd name="T22" fmla="*/ 1282 w 1772"/>
                  <a:gd name="T23" fmla="*/ 2949 h 3027"/>
                  <a:gd name="T24" fmla="*/ 1417 w 1772"/>
                  <a:gd name="T25" fmla="*/ 3012 h 3027"/>
                  <a:gd name="T26" fmla="*/ 1478 w 1772"/>
                  <a:gd name="T27" fmla="*/ 3001 h 3027"/>
                  <a:gd name="T28" fmla="*/ 1594 w 1772"/>
                  <a:gd name="T29" fmla="*/ 2835 h 3027"/>
                  <a:gd name="T30" fmla="*/ 1594 w 1772"/>
                  <a:gd name="T31" fmla="*/ 1415 h 3027"/>
                  <a:gd name="T32" fmla="*/ 1772 w 1772"/>
                  <a:gd name="T33" fmla="*/ 886 h 3027"/>
                  <a:gd name="T34" fmla="*/ 1593 w 1772"/>
                  <a:gd name="T35" fmla="*/ 355 h 3027"/>
                  <a:gd name="T36" fmla="*/ 1240 w 1772"/>
                  <a:gd name="T37" fmla="*/ 2349 h 3027"/>
                  <a:gd name="T38" fmla="*/ 1021 w 1772"/>
                  <a:gd name="T39" fmla="*/ 2089 h 3027"/>
                  <a:gd name="T40" fmla="*/ 750 w 1772"/>
                  <a:gd name="T41" fmla="*/ 2089 h 3027"/>
                  <a:gd name="T42" fmla="*/ 531 w 1772"/>
                  <a:gd name="T43" fmla="*/ 2349 h 3027"/>
                  <a:gd name="T44" fmla="*/ 531 w 1772"/>
                  <a:gd name="T45" fmla="*/ 1697 h 3027"/>
                  <a:gd name="T46" fmla="*/ 886 w 1772"/>
                  <a:gd name="T47" fmla="*/ 1772 h 3027"/>
                  <a:gd name="T48" fmla="*/ 1240 w 1772"/>
                  <a:gd name="T49" fmla="*/ 1697 h 3027"/>
                  <a:gd name="T50" fmla="*/ 1240 w 1772"/>
                  <a:gd name="T51" fmla="*/ 2349 h 3027"/>
                  <a:gd name="T52" fmla="*/ 886 w 1772"/>
                  <a:gd name="T53" fmla="*/ 1418 h 3027"/>
                  <a:gd name="T54" fmla="*/ 354 w 1772"/>
                  <a:gd name="T55" fmla="*/ 886 h 3027"/>
                  <a:gd name="T56" fmla="*/ 886 w 1772"/>
                  <a:gd name="T57" fmla="*/ 355 h 3027"/>
                  <a:gd name="T58" fmla="*/ 1417 w 1772"/>
                  <a:gd name="T59" fmla="*/ 886 h 3027"/>
                  <a:gd name="T60" fmla="*/ 886 w 1772"/>
                  <a:gd name="T61" fmla="*/ 1418 h 30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72" h="3027">
                    <a:moveTo>
                      <a:pt x="1593" y="355"/>
                    </a:moveTo>
                    <a:cubicBezTo>
                      <a:pt x="1502" y="234"/>
                      <a:pt x="1381" y="136"/>
                      <a:pt x="1240" y="75"/>
                    </a:cubicBezTo>
                    <a:cubicBezTo>
                      <a:pt x="1132" y="27"/>
                      <a:pt x="1012" y="0"/>
                      <a:pt x="886" y="0"/>
                    </a:cubicBezTo>
                    <a:cubicBezTo>
                      <a:pt x="397" y="0"/>
                      <a:pt x="0" y="398"/>
                      <a:pt x="0" y="886"/>
                    </a:cubicBezTo>
                    <a:cubicBezTo>
                      <a:pt x="0" y="1085"/>
                      <a:pt x="66" y="1267"/>
                      <a:pt x="177" y="1415"/>
                    </a:cubicBezTo>
                    <a:cubicBezTo>
                      <a:pt x="177" y="1949"/>
                      <a:pt x="177" y="1949"/>
                      <a:pt x="177" y="1949"/>
                    </a:cubicBezTo>
                    <a:cubicBezTo>
                      <a:pt x="177" y="2303"/>
                      <a:pt x="177" y="2303"/>
                      <a:pt x="177" y="2303"/>
                    </a:cubicBezTo>
                    <a:cubicBezTo>
                      <a:pt x="177" y="2835"/>
                      <a:pt x="177" y="2835"/>
                      <a:pt x="177" y="2835"/>
                    </a:cubicBezTo>
                    <a:cubicBezTo>
                      <a:pt x="177" y="2909"/>
                      <a:pt x="224" y="2976"/>
                      <a:pt x="294" y="3001"/>
                    </a:cubicBezTo>
                    <a:cubicBezTo>
                      <a:pt x="364" y="3027"/>
                      <a:pt x="442" y="3006"/>
                      <a:pt x="490" y="2949"/>
                    </a:cubicBezTo>
                    <a:cubicBezTo>
                      <a:pt x="886" y="2478"/>
                      <a:pt x="886" y="2478"/>
                      <a:pt x="886" y="2478"/>
                    </a:cubicBezTo>
                    <a:cubicBezTo>
                      <a:pt x="1282" y="2949"/>
                      <a:pt x="1282" y="2949"/>
                      <a:pt x="1282" y="2949"/>
                    </a:cubicBezTo>
                    <a:cubicBezTo>
                      <a:pt x="1316" y="2990"/>
                      <a:pt x="1366" y="3012"/>
                      <a:pt x="1417" y="3012"/>
                    </a:cubicBezTo>
                    <a:cubicBezTo>
                      <a:pt x="1438" y="3012"/>
                      <a:pt x="1458" y="3009"/>
                      <a:pt x="1478" y="3001"/>
                    </a:cubicBezTo>
                    <a:cubicBezTo>
                      <a:pt x="1548" y="2976"/>
                      <a:pt x="1594" y="2909"/>
                      <a:pt x="1594" y="2835"/>
                    </a:cubicBezTo>
                    <a:cubicBezTo>
                      <a:pt x="1594" y="1415"/>
                      <a:pt x="1594" y="1415"/>
                      <a:pt x="1594" y="1415"/>
                    </a:cubicBezTo>
                    <a:cubicBezTo>
                      <a:pt x="1705" y="1267"/>
                      <a:pt x="1772" y="1085"/>
                      <a:pt x="1772" y="886"/>
                    </a:cubicBezTo>
                    <a:cubicBezTo>
                      <a:pt x="1772" y="687"/>
                      <a:pt x="1705" y="503"/>
                      <a:pt x="1593" y="355"/>
                    </a:cubicBezTo>
                    <a:close/>
                    <a:moveTo>
                      <a:pt x="1240" y="2349"/>
                    </a:moveTo>
                    <a:cubicBezTo>
                      <a:pt x="1021" y="2089"/>
                      <a:pt x="1021" y="2089"/>
                      <a:pt x="1021" y="2089"/>
                    </a:cubicBezTo>
                    <a:cubicBezTo>
                      <a:pt x="954" y="2009"/>
                      <a:pt x="818" y="2009"/>
                      <a:pt x="750" y="2089"/>
                    </a:cubicBezTo>
                    <a:cubicBezTo>
                      <a:pt x="531" y="2349"/>
                      <a:pt x="531" y="2349"/>
                      <a:pt x="531" y="2349"/>
                    </a:cubicBezTo>
                    <a:cubicBezTo>
                      <a:pt x="531" y="1697"/>
                      <a:pt x="531" y="1697"/>
                      <a:pt x="531" y="1697"/>
                    </a:cubicBezTo>
                    <a:cubicBezTo>
                      <a:pt x="640" y="1745"/>
                      <a:pt x="760" y="1772"/>
                      <a:pt x="886" y="1772"/>
                    </a:cubicBezTo>
                    <a:cubicBezTo>
                      <a:pt x="1012" y="1772"/>
                      <a:pt x="1132" y="1745"/>
                      <a:pt x="1240" y="1697"/>
                    </a:cubicBezTo>
                    <a:lnTo>
                      <a:pt x="1240" y="2349"/>
                    </a:lnTo>
                    <a:close/>
                    <a:moveTo>
                      <a:pt x="886" y="1418"/>
                    </a:moveTo>
                    <a:cubicBezTo>
                      <a:pt x="593" y="1418"/>
                      <a:pt x="354" y="1179"/>
                      <a:pt x="354" y="886"/>
                    </a:cubicBezTo>
                    <a:cubicBezTo>
                      <a:pt x="354" y="593"/>
                      <a:pt x="593" y="355"/>
                      <a:pt x="886" y="355"/>
                    </a:cubicBezTo>
                    <a:cubicBezTo>
                      <a:pt x="1179" y="355"/>
                      <a:pt x="1417" y="593"/>
                      <a:pt x="1417" y="886"/>
                    </a:cubicBezTo>
                    <a:cubicBezTo>
                      <a:pt x="1417" y="1179"/>
                      <a:pt x="1179" y="1418"/>
                      <a:pt x="886" y="1418"/>
                    </a:cubicBezTo>
                    <a:close/>
                  </a:path>
                </a:pathLst>
              </a:custGeom>
              <a:solidFill>
                <a:srgbClr val="43B0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de-DE"/>
              </a:p>
            </p:txBody>
          </p:sp>
        </p:grpSp>
        <p:sp>
          <p:nvSpPr>
            <p:cNvPr id="24" name="Textfeld 23">
              <a:extLst>
                <a:ext uri="{FF2B5EF4-FFF2-40B4-BE49-F238E27FC236}">
                  <a16:creationId xmlns:a16="http://schemas.microsoft.com/office/drawing/2014/main" id="{809186D3-CD63-48A4-93E1-62D971CBE88B}"/>
                </a:ext>
              </a:extLst>
            </p:cNvPr>
            <p:cNvSpPr txBox="1"/>
            <p:nvPr/>
          </p:nvSpPr>
          <p:spPr bwMode="gray">
            <a:xfrm>
              <a:off x="409575" y="2371271"/>
              <a:ext cx="426399" cy="184666"/>
            </a:xfrm>
            <a:prstGeom prst="rect">
              <a:avLst/>
            </a:prstGeom>
            <a:noFill/>
          </p:spPr>
          <p:txBody>
            <a:bodyPr wrap="none" lIns="0" tIns="0" rIns="0" bIns="0" rtlCol="0" anchor="ctr">
              <a:spAutoFit/>
            </a:bodyPr>
            <a:lstStyle/>
            <a:p>
              <a:pPr marL="0" indent="0" algn="ctr">
                <a:spcBef>
                  <a:spcPts val="600"/>
                </a:spcBef>
                <a:buClr>
                  <a:schemeClr val="accent1"/>
                </a:buClr>
                <a:buFontTx/>
                <a:buNone/>
              </a:pPr>
              <a:r>
                <a:rPr lang="de-DE" sz="1200">
                  <a:solidFill>
                    <a:schemeClr val="tx2"/>
                  </a:solidFill>
                </a:rPr>
                <a:t>Aktien</a:t>
              </a:r>
            </a:p>
          </p:txBody>
        </p:sp>
      </p:grpSp>
      <p:grpSp>
        <p:nvGrpSpPr>
          <p:cNvPr id="12" name="Gruppieren 11">
            <a:extLst>
              <a:ext uri="{FF2B5EF4-FFF2-40B4-BE49-F238E27FC236}">
                <a16:creationId xmlns:a16="http://schemas.microsoft.com/office/drawing/2014/main" id="{814AF244-E3A8-A500-A95A-FD5F76639DBD}"/>
              </a:ext>
            </a:extLst>
          </p:cNvPr>
          <p:cNvGrpSpPr/>
          <p:nvPr/>
        </p:nvGrpSpPr>
        <p:grpSpPr>
          <a:xfrm>
            <a:off x="8360522" y="1768004"/>
            <a:ext cx="654475" cy="572689"/>
            <a:chOff x="409575" y="4407396"/>
            <a:chExt cx="654475" cy="572689"/>
          </a:xfrm>
        </p:grpSpPr>
        <p:sp>
          <p:nvSpPr>
            <p:cNvPr id="26" name="Textfeld 25">
              <a:extLst>
                <a:ext uri="{FF2B5EF4-FFF2-40B4-BE49-F238E27FC236}">
                  <a16:creationId xmlns:a16="http://schemas.microsoft.com/office/drawing/2014/main" id="{BB13ACF1-7C6C-4C04-8800-8D09CEDB0892}"/>
                </a:ext>
              </a:extLst>
            </p:cNvPr>
            <p:cNvSpPr txBox="1"/>
            <p:nvPr/>
          </p:nvSpPr>
          <p:spPr bwMode="gray">
            <a:xfrm>
              <a:off x="409575" y="4795419"/>
              <a:ext cx="654475" cy="184666"/>
            </a:xfrm>
            <a:prstGeom prst="rect">
              <a:avLst/>
            </a:prstGeom>
            <a:noFill/>
          </p:spPr>
          <p:txBody>
            <a:bodyPr wrap="none" lIns="0" tIns="0" rIns="0" bIns="0" rtlCol="0" anchor="ctr">
              <a:spAutoFit/>
            </a:bodyPr>
            <a:lstStyle/>
            <a:p>
              <a:pPr marL="0" indent="0" algn="ctr">
                <a:spcBef>
                  <a:spcPts val="600"/>
                </a:spcBef>
                <a:buClr>
                  <a:schemeClr val="accent1"/>
                </a:buClr>
                <a:buFontTx/>
                <a:buNone/>
              </a:pPr>
              <a:r>
                <a:rPr lang="de-DE" sz="1200">
                  <a:solidFill>
                    <a:schemeClr val="tx2"/>
                  </a:solidFill>
                </a:rPr>
                <a:t>Rohstoffe</a:t>
              </a:r>
            </a:p>
          </p:txBody>
        </p:sp>
        <p:grpSp>
          <p:nvGrpSpPr>
            <p:cNvPr id="27" name="Group 1993">
              <a:extLst>
                <a:ext uri="{FF2B5EF4-FFF2-40B4-BE49-F238E27FC236}">
                  <a16:creationId xmlns:a16="http://schemas.microsoft.com/office/drawing/2014/main" id="{16EB120E-7ED0-459D-A489-46F54FF1FD6C}"/>
                </a:ext>
              </a:extLst>
            </p:cNvPr>
            <p:cNvGrpSpPr>
              <a:grpSpLocks noChangeAspect="1"/>
            </p:cNvGrpSpPr>
            <p:nvPr/>
          </p:nvGrpSpPr>
          <p:grpSpPr bwMode="gray">
            <a:xfrm>
              <a:off x="409575" y="4407396"/>
              <a:ext cx="329511" cy="340315"/>
              <a:chOff x="1521" y="1752"/>
              <a:chExt cx="1098" cy="1134"/>
            </a:xfrm>
          </p:grpSpPr>
          <p:sp>
            <p:nvSpPr>
              <p:cNvPr id="29" name="Freeform 1994">
                <a:extLst>
                  <a:ext uri="{FF2B5EF4-FFF2-40B4-BE49-F238E27FC236}">
                    <a16:creationId xmlns:a16="http://schemas.microsoft.com/office/drawing/2014/main" id="{264DD7D3-CF42-4287-89FF-673277084CF4}"/>
                  </a:ext>
                </a:extLst>
              </p:cNvPr>
              <p:cNvSpPr>
                <a:spLocks/>
              </p:cNvSpPr>
              <p:nvPr/>
            </p:nvSpPr>
            <p:spPr bwMode="gray">
              <a:xfrm>
                <a:off x="2310" y="2233"/>
                <a:ext cx="309" cy="172"/>
              </a:xfrm>
              <a:custGeom>
                <a:avLst/>
                <a:gdLst>
                  <a:gd name="T0" fmla="*/ 309 w 309"/>
                  <a:gd name="T1" fmla="*/ 172 h 172"/>
                  <a:gd name="T2" fmla="*/ 0 w 309"/>
                  <a:gd name="T3" fmla="*/ 172 h 172"/>
                  <a:gd name="T4" fmla="*/ 0 w 309"/>
                  <a:gd name="T5" fmla="*/ 103 h 172"/>
                  <a:gd name="T6" fmla="*/ 240 w 309"/>
                  <a:gd name="T7" fmla="*/ 103 h 172"/>
                  <a:gd name="T8" fmla="*/ 240 w 309"/>
                  <a:gd name="T9" fmla="*/ 69 h 172"/>
                  <a:gd name="T10" fmla="*/ 0 w 309"/>
                  <a:gd name="T11" fmla="*/ 69 h 172"/>
                  <a:gd name="T12" fmla="*/ 0 w 309"/>
                  <a:gd name="T13" fmla="*/ 0 h 172"/>
                  <a:gd name="T14" fmla="*/ 309 w 309"/>
                  <a:gd name="T15" fmla="*/ 0 h 172"/>
                  <a:gd name="T16" fmla="*/ 309 w 309"/>
                  <a:gd name="T17"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172">
                    <a:moveTo>
                      <a:pt x="309" y="172"/>
                    </a:moveTo>
                    <a:lnTo>
                      <a:pt x="0" y="172"/>
                    </a:lnTo>
                    <a:lnTo>
                      <a:pt x="0" y="103"/>
                    </a:lnTo>
                    <a:lnTo>
                      <a:pt x="240" y="103"/>
                    </a:lnTo>
                    <a:lnTo>
                      <a:pt x="240" y="69"/>
                    </a:lnTo>
                    <a:lnTo>
                      <a:pt x="0" y="69"/>
                    </a:lnTo>
                    <a:lnTo>
                      <a:pt x="0" y="0"/>
                    </a:lnTo>
                    <a:lnTo>
                      <a:pt x="309" y="0"/>
                    </a:lnTo>
                    <a:lnTo>
                      <a:pt x="309" y="172"/>
                    </a:lnTo>
                    <a:close/>
                  </a:path>
                </a:pathLst>
              </a:custGeom>
              <a:solidFill>
                <a:srgbClr val="0035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1995">
                <a:extLst>
                  <a:ext uri="{FF2B5EF4-FFF2-40B4-BE49-F238E27FC236}">
                    <a16:creationId xmlns:a16="http://schemas.microsoft.com/office/drawing/2014/main" id="{92296FB1-BC00-4FED-A161-77C726C7CB1B}"/>
                  </a:ext>
                </a:extLst>
              </p:cNvPr>
              <p:cNvSpPr>
                <a:spLocks noEditPoints="1"/>
              </p:cNvSpPr>
              <p:nvPr/>
            </p:nvSpPr>
            <p:spPr bwMode="gray">
              <a:xfrm>
                <a:off x="1521" y="1752"/>
                <a:ext cx="1098" cy="1134"/>
              </a:xfrm>
              <a:custGeom>
                <a:avLst/>
                <a:gdLst>
                  <a:gd name="T0" fmla="*/ 5670 w 5670"/>
                  <a:gd name="T1" fmla="*/ 886 h 5846"/>
                  <a:gd name="T2" fmla="*/ 5670 w 5670"/>
                  <a:gd name="T3" fmla="*/ 0 h 5846"/>
                  <a:gd name="T4" fmla="*/ 0 w 5670"/>
                  <a:gd name="T5" fmla="*/ 0 h 5846"/>
                  <a:gd name="T6" fmla="*/ 0 w 5670"/>
                  <a:gd name="T7" fmla="*/ 886 h 5846"/>
                  <a:gd name="T8" fmla="*/ 355 w 5670"/>
                  <a:gd name="T9" fmla="*/ 886 h 5846"/>
                  <a:gd name="T10" fmla="*/ 355 w 5670"/>
                  <a:gd name="T11" fmla="*/ 2480 h 5846"/>
                  <a:gd name="T12" fmla="*/ 0 w 5670"/>
                  <a:gd name="T13" fmla="*/ 2480 h 5846"/>
                  <a:gd name="T14" fmla="*/ 0 w 5670"/>
                  <a:gd name="T15" fmla="*/ 3366 h 5846"/>
                  <a:gd name="T16" fmla="*/ 355 w 5670"/>
                  <a:gd name="T17" fmla="*/ 3366 h 5846"/>
                  <a:gd name="T18" fmla="*/ 355 w 5670"/>
                  <a:gd name="T19" fmla="*/ 4960 h 5846"/>
                  <a:gd name="T20" fmla="*/ 0 w 5670"/>
                  <a:gd name="T21" fmla="*/ 4960 h 5846"/>
                  <a:gd name="T22" fmla="*/ 0 w 5670"/>
                  <a:gd name="T23" fmla="*/ 5846 h 5846"/>
                  <a:gd name="T24" fmla="*/ 5670 w 5670"/>
                  <a:gd name="T25" fmla="*/ 5846 h 5846"/>
                  <a:gd name="T26" fmla="*/ 5670 w 5670"/>
                  <a:gd name="T27" fmla="*/ 4960 h 5846"/>
                  <a:gd name="T28" fmla="*/ 5315 w 5670"/>
                  <a:gd name="T29" fmla="*/ 4960 h 5846"/>
                  <a:gd name="T30" fmla="*/ 5315 w 5670"/>
                  <a:gd name="T31" fmla="*/ 3366 h 5846"/>
                  <a:gd name="T32" fmla="*/ 5670 w 5670"/>
                  <a:gd name="T33" fmla="*/ 3366 h 5846"/>
                  <a:gd name="T34" fmla="*/ 5670 w 5670"/>
                  <a:gd name="T35" fmla="*/ 2480 h 5846"/>
                  <a:gd name="T36" fmla="*/ 5315 w 5670"/>
                  <a:gd name="T37" fmla="*/ 2480 h 5846"/>
                  <a:gd name="T38" fmla="*/ 5315 w 5670"/>
                  <a:gd name="T39" fmla="*/ 886 h 5846"/>
                  <a:gd name="T40" fmla="*/ 5670 w 5670"/>
                  <a:gd name="T41" fmla="*/ 886 h 5846"/>
                  <a:gd name="T42" fmla="*/ 5315 w 5670"/>
                  <a:gd name="T43" fmla="*/ 5492 h 5846"/>
                  <a:gd name="T44" fmla="*/ 355 w 5670"/>
                  <a:gd name="T45" fmla="*/ 5492 h 5846"/>
                  <a:gd name="T46" fmla="*/ 355 w 5670"/>
                  <a:gd name="T47" fmla="*/ 5315 h 5846"/>
                  <a:gd name="T48" fmla="*/ 5315 w 5670"/>
                  <a:gd name="T49" fmla="*/ 5315 h 5846"/>
                  <a:gd name="T50" fmla="*/ 5315 w 5670"/>
                  <a:gd name="T51" fmla="*/ 5492 h 5846"/>
                  <a:gd name="T52" fmla="*/ 5315 w 5670"/>
                  <a:gd name="T53" fmla="*/ 3012 h 5846"/>
                  <a:gd name="T54" fmla="*/ 4248 w 5670"/>
                  <a:gd name="T55" fmla="*/ 3012 h 5846"/>
                  <a:gd name="T56" fmla="*/ 4180 w 5670"/>
                  <a:gd name="T57" fmla="*/ 3366 h 5846"/>
                  <a:gd name="T58" fmla="*/ 4961 w 5670"/>
                  <a:gd name="T59" fmla="*/ 3366 h 5846"/>
                  <a:gd name="T60" fmla="*/ 4961 w 5670"/>
                  <a:gd name="T61" fmla="*/ 4960 h 5846"/>
                  <a:gd name="T62" fmla="*/ 709 w 5670"/>
                  <a:gd name="T63" fmla="*/ 4960 h 5846"/>
                  <a:gd name="T64" fmla="*/ 709 w 5670"/>
                  <a:gd name="T65" fmla="*/ 3366 h 5846"/>
                  <a:gd name="T66" fmla="*/ 1490 w 5670"/>
                  <a:gd name="T67" fmla="*/ 3366 h 5846"/>
                  <a:gd name="T68" fmla="*/ 1422 w 5670"/>
                  <a:gd name="T69" fmla="*/ 3012 h 5846"/>
                  <a:gd name="T70" fmla="*/ 355 w 5670"/>
                  <a:gd name="T71" fmla="*/ 3012 h 5846"/>
                  <a:gd name="T72" fmla="*/ 355 w 5670"/>
                  <a:gd name="T73" fmla="*/ 2834 h 5846"/>
                  <a:gd name="T74" fmla="*/ 1422 w 5670"/>
                  <a:gd name="T75" fmla="*/ 2834 h 5846"/>
                  <a:gd name="T76" fmla="*/ 1490 w 5670"/>
                  <a:gd name="T77" fmla="*/ 2480 h 5846"/>
                  <a:gd name="T78" fmla="*/ 709 w 5670"/>
                  <a:gd name="T79" fmla="*/ 2480 h 5846"/>
                  <a:gd name="T80" fmla="*/ 709 w 5670"/>
                  <a:gd name="T81" fmla="*/ 886 h 5846"/>
                  <a:gd name="T82" fmla="*/ 4961 w 5670"/>
                  <a:gd name="T83" fmla="*/ 886 h 5846"/>
                  <a:gd name="T84" fmla="*/ 4961 w 5670"/>
                  <a:gd name="T85" fmla="*/ 2480 h 5846"/>
                  <a:gd name="T86" fmla="*/ 4180 w 5670"/>
                  <a:gd name="T87" fmla="*/ 2480 h 5846"/>
                  <a:gd name="T88" fmla="*/ 4248 w 5670"/>
                  <a:gd name="T89" fmla="*/ 2834 h 5846"/>
                  <a:gd name="T90" fmla="*/ 5315 w 5670"/>
                  <a:gd name="T91" fmla="*/ 2834 h 5846"/>
                  <a:gd name="T92" fmla="*/ 5315 w 5670"/>
                  <a:gd name="T93" fmla="*/ 3012 h 5846"/>
                  <a:gd name="T94" fmla="*/ 355 w 5670"/>
                  <a:gd name="T95" fmla="*/ 531 h 5846"/>
                  <a:gd name="T96" fmla="*/ 355 w 5670"/>
                  <a:gd name="T97" fmla="*/ 354 h 5846"/>
                  <a:gd name="T98" fmla="*/ 5315 w 5670"/>
                  <a:gd name="T99" fmla="*/ 354 h 5846"/>
                  <a:gd name="T100" fmla="*/ 5315 w 5670"/>
                  <a:gd name="T101" fmla="*/ 531 h 5846"/>
                  <a:gd name="T102" fmla="*/ 355 w 5670"/>
                  <a:gd name="T103" fmla="*/ 531 h 5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70" h="5846">
                    <a:moveTo>
                      <a:pt x="5670" y="886"/>
                    </a:moveTo>
                    <a:cubicBezTo>
                      <a:pt x="5670" y="0"/>
                      <a:pt x="5670" y="0"/>
                      <a:pt x="5670" y="0"/>
                    </a:cubicBezTo>
                    <a:cubicBezTo>
                      <a:pt x="0" y="0"/>
                      <a:pt x="0" y="0"/>
                      <a:pt x="0" y="0"/>
                    </a:cubicBezTo>
                    <a:cubicBezTo>
                      <a:pt x="0" y="886"/>
                      <a:pt x="0" y="886"/>
                      <a:pt x="0" y="886"/>
                    </a:cubicBezTo>
                    <a:cubicBezTo>
                      <a:pt x="355" y="886"/>
                      <a:pt x="355" y="886"/>
                      <a:pt x="355" y="886"/>
                    </a:cubicBezTo>
                    <a:cubicBezTo>
                      <a:pt x="355" y="2480"/>
                      <a:pt x="355" y="2480"/>
                      <a:pt x="355" y="2480"/>
                    </a:cubicBezTo>
                    <a:cubicBezTo>
                      <a:pt x="0" y="2480"/>
                      <a:pt x="0" y="2480"/>
                      <a:pt x="0" y="2480"/>
                    </a:cubicBezTo>
                    <a:cubicBezTo>
                      <a:pt x="0" y="3366"/>
                      <a:pt x="0" y="3366"/>
                      <a:pt x="0" y="3366"/>
                    </a:cubicBezTo>
                    <a:cubicBezTo>
                      <a:pt x="355" y="3366"/>
                      <a:pt x="355" y="3366"/>
                      <a:pt x="355" y="3366"/>
                    </a:cubicBezTo>
                    <a:cubicBezTo>
                      <a:pt x="355" y="4960"/>
                      <a:pt x="355" y="4960"/>
                      <a:pt x="355" y="4960"/>
                    </a:cubicBezTo>
                    <a:cubicBezTo>
                      <a:pt x="0" y="4960"/>
                      <a:pt x="0" y="4960"/>
                      <a:pt x="0" y="4960"/>
                    </a:cubicBezTo>
                    <a:cubicBezTo>
                      <a:pt x="0" y="5846"/>
                      <a:pt x="0" y="5846"/>
                      <a:pt x="0" y="5846"/>
                    </a:cubicBezTo>
                    <a:cubicBezTo>
                      <a:pt x="5670" y="5846"/>
                      <a:pt x="5670" y="5846"/>
                      <a:pt x="5670" y="5846"/>
                    </a:cubicBezTo>
                    <a:cubicBezTo>
                      <a:pt x="5670" y="4960"/>
                      <a:pt x="5670" y="4960"/>
                      <a:pt x="5670" y="4960"/>
                    </a:cubicBezTo>
                    <a:cubicBezTo>
                      <a:pt x="5315" y="4960"/>
                      <a:pt x="5315" y="4960"/>
                      <a:pt x="5315" y="4960"/>
                    </a:cubicBezTo>
                    <a:cubicBezTo>
                      <a:pt x="5315" y="3366"/>
                      <a:pt x="5315" y="3366"/>
                      <a:pt x="5315" y="3366"/>
                    </a:cubicBezTo>
                    <a:cubicBezTo>
                      <a:pt x="5670" y="3366"/>
                      <a:pt x="5670" y="3366"/>
                      <a:pt x="5670" y="3366"/>
                    </a:cubicBezTo>
                    <a:cubicBezTo>
                      <a:pt x="5670" y="2480"/>
                      <a:pt x="5670" y="2480"/>
                      <a:pt x="5670" y="2480"/>
                    </a:cubicBezTo>
                    <a:cubicBezTo>
                      <a:pt x="5315" y="2480"/>
                      <a:pt x="5315" y="2480"/>
                      <a:pt x="5315" y="2480"/>
                    </a:cubicBezTo>
                    <a:cubicBezTo>
                      <a:pt x="5315" y="886"/>
                      <a:pt x="5315" y="886"/>
                      <a:pt x="5315" y="886"/>
                    </a:cubicBezTo>
                    <a:lnTo>
                      <a:pt x="5670" y="886"/>
                    </a:lnTo>
                    <a:close/>
                    <a:moveTo>
                      <a:pt x="5315" y="5492"/>
                    </a:moveTo>
                    <a:cubicBezTo>
                      <a:pt x="355" y="5492"/>
                      <a:pt x="355" y="5492"/>
                      <a:pt x="355" y="5492"/>
                    </a:cubicBezTo>
                    <a:cubicBezTo>
                      <a:pt x="355" y="5315"/>
                      <a:pt x="355" y="5315"/>
                      <a:pt x="355" y="5315"/>
                    </a:cubicBezTo>
                    <a:cubicBezTo>
                      <a:pt x="5315" y="5315"/>
                      <a:pt x="5315" y="5315"/>
                      <a:pt x="5315" y="5315"/>
                    </a:cubicBezTo>
                    <a:lnTo>
                      <a:pt x="5315" y="5492"/>
                    </a:lnTo>
                    <a:close/>
                    <a:moveTo>
                      <a:pt x="5315" y="3012"/>
                    </a:moveTo>
                    <a:cubicBezTo>
                      <a:pt x="4248" y="3012"/>
                      <a:pt x="4248" y="3012"/>
                      <a:pt x="4248" y="3012"/>
                    </a:cubicBezTo>
                    <a:cubicBezTo>
                      <a:pt x="4240" y="3135"/>
                      <a:pt x="4218" y="3253"/>
                      <a:pt x="4180" y="3366"/>
                    </a:cubicBezTo>
                    <a:cubicBezTo>
                      <a:pt x="4961" y="3366"/>
                      <a:pt x="4961" y="3366"/>
                      <a:pt x="4961" y="3366"/>
                    </a:cubicBezTo>
                    <a:cubicBezTo>
                      <a:pt x="4961" y="4960"/>
                      <a:pt x="4961" y="4960"/>
                      <a:pt x="4961" y="4960"/>
                    </a:cubicBezTo>
                    <a:cubicBezTo>
                      <a:pt x="709" y="4960"/>
                      <a:pt x="709" y="4960"/>
                      <a:pt x="709" y="4960"/>
                    </a:cubicBezTo>
                    <a:cubicBezTo>
                      <a:pt x="709" y="3366"/>
                      <a:pt x="709" y="3366"/>
                      <a:pt x="709" y="3366"/>
                    </a:cubicBezTo>
                    <a:cubicBezTo>
                      <a:pt x="1490" y="3366"/>
                      <a:pt x="1490" y="3366"/>
                      <a:pt x="1490" y="3366"/>
                    </a:cubicBezTo>
                    <a:cubicBezTo>
                      <a:pt x="1452" y="3253"/>
                      <a:pt x="1430" y="3135"/>
                      <a:pt x="1422" y="3012"/>
                    </a:cubicBezTo>
                    <a:cubicBezTo>
                      <a:pt x="355" y="3012"/>
                      <a:pt x="355" y="3012"/>
                      <a:pt x="355" y="3012"/>
                    </a:cubicBezTo>
                    <a:cubicBezTo>
                      <a:pt x="355" y="2834"/>
                      <a:pt x="355" y="2834"/>
                      <a:pt x="355" y="2834"/>
                    </a:cubicBezTo>
                    <a:cubicBezTo>
                      <a:pt x="1422" y="2834"/>
                      <a:pt x="1422" y="2834"/>
                      <a:pt x="1422" y="2834"/>
                    </a:cubicBezTo>
                    <a:cubicBezTo>
                      <a:pt x="1430" y="2711"/>
                      <a:pt x="1452" y="2593"/>
                      <a:pt x="1490" y="2480"/>
                    </a:cubicBezTo>
                    <a:cubicBezTo>
                      <a:pt x="709" y="2480"/>
                      <a:pt x="709" y="2480"/>
                      <a:pt x="709" y="2480"/>
                    </a:cubicBezTo>
                    <a:cubicBezTo>
                      <a:pt x="709" y="886"/>
                      <a:pt x="709" y="886"/>
                      <a:pt x="709" y="886"/>
                    </a:cubicBezTo>
                    <a:cubicBezTo>
                      <a:pt x="4961" y="886"/>
                      <a:pt x="4961" y="886"/>
                      <a:pt x="4961" y="886"/>
                    </a:cubicBezTo>
                    <a:cubicBezTo>
                      <a:pt x="4961" y="2480"/>
                      <a:pt x="4961" y="2480"/>
                      <a:pt x="4961" y="2480"/>
                    </a:cubicBezTo>
                    <a:cubicBezTo>
                      <a:pt x="4180" y="2480"/>
                      <a:pt x="4180" y="2480"/>
                      <a:pt x="4180" y="2480"/>
                    </a:cubicBezTo>
                    <a:cubicBezTo>
                      <a:pt x="4218" y="2593"/>
                      <a:pt x="4240" y="2711"/>
                      <a:pt x="4248" y="2834"/>
                    </a:cubicBezTo>
                    <a:cubicBezTo>
                      <a:pt x="5315" y="2834"/>
                      <a:pt x="5315" y="2834"/>
                      <a:pt x="5315" y="2834"/>
                    </a:cubicBezTo>
                    <a:lnTo>
                      <a:pt x="5315" y="3012"/>
                    </a:lnTo>
                    <a:close/>
                    <a:moveTo>
                      <a:pt x="355" y="531"/>
                    </a:moveTo>
                    <a:cubicBezTo>
                      <a:pt x="355" y="354"/>
                      <a:pt x="355" y="354"/>
                      <a:pt x="355" y="354"/>
                    </a:cubicBezTo>
                    <a:cubicBezTo>
                      <a:pt x="5315" y="354"/>
                      <a:pt x="5315" y="354"/>
                      <a:pt x="5315" y="354"/>
                    </a:cubicBezTo>
                    <a:cubicBezTo>
                      <a:pt x="5315" y="531"/>
                      <a:pt x="5315" y="531"/>
                      <a:pt x="5315" y="531"/>
                    </a:cubicBezTo>
                    <a:lnTo>
                      <a:pt x="355" y="531"/>
                    </a:lnTo>
                    <a:close/>
                  </a:path>
                </a:pathLst>
              </a:custGeom>
              <a:solidFill>
                <a:srgbClr val="0035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1996">
                <a:extLst>
                  <a:ext uri="{FF2B5EF4-FFF2-40B4-BE49-F238E27FC236}">
                    <a16:creationId xmlns:a16="http://schemas.microsoft.com/office/drawing/2014/main" id="{65DAD04A-25CA-425B-B25B-BBD7C9030261}"/>
                  </a:ext>
                </a:extLst>
              </p:cNvPr>
              <p:cNvSpPr>
                <a:spLocks noEditPoints="1"/>
              </p:cNvSpPr>
              <p:nvPr/>
            </p:nvSpPr>
            <p:spPr bwMode="gray">
              <a:xfrm>
                <a:off x="1796" y="2044"/>
                <a:ext cx="548" cy="550"/>
              </a:xfrm>
              <a:custGeom>
                <a:avLst/>
                <a:gdLst>
                  <a:gd name="T0" fmla="*/ 2830 w 2834"/>
                  <a:gd name="T1" fmla="*/ 1328 h 2834"/>
                  <a:gd name="T2" fmla="*/ 2762 w 2834"/>
                  <a:gd name="T3" fmla="*/ 974 h 2834"/>
                  <a:gd name="T4" fmla="*/ 1417 w 2834"/>
                  <a:gd name="T5" fmla="*/ 0 h 2834"/>
                  <a:gd name="T6" fmla="*/ 72 w 2834"/>
                  <a:gd name="T7" fmla="*/ 974 h 2834"/>
                  <a:gd name="T8" fmla="*/ 4 w 2834"/>
                  <a:gd name="T9" fmla="*/ 1328 h 2834"/>
                  <a:gd name="T10" fmla="*/ 0 w 2834"/>
                  <a:gd name="T11" fmla="*/ 1417 h 2834"/>
                  <a:gd name="T12" fmla="*/ 4 w 2834"/>
                  <a:gd name="T13" fmla="*/ 1506 h 2834"/>
                  <a:gd name="T14" fmla="*/ 72 w 2834"/>
                  <a:gd name="T15" fmla="*/ 1860 h 2834"/>
                  <a:gd name="T16" fmla="*/ 1417 w 2834"/>
                  <a:gd name="T17" fmla="*/ 2834 h 2834"/>
                  <a:gd name="T18" fmla="*/ 2762 w 2834"/>
                  <a:gd name="T19" fmla="*/ 1860 h 2834"/>
                  <a:gd name="T20" fmla="*/ 2830 w 2834"/>
                  <a:gd name="T21" fmla="*/ 1506 h 2834"/>
                  <a:gd name="T22" fmla="*/ 2834 w 2834"/>
                  <a:gd name="T23" fmla="*/ 1417 h 2834"/>
                  <a:gd name="T24" fmla="*/ 2830 w 2834"/>
                  <a:gd name="T25" fmla="*/ 1328 h 2834"/>
                  <a:gd name="T26" fmla="*/ 1417 w 2834"/>
                  <a:gd name="T27" fmla="*/ 2480 h 2834"/>
                  <a:gd name="T28" fmla="*/ 354 w 2834"/>
                  <a:gd name="T29" fmla="*/ 1417 h 2834"/>
                  <a:gd name="T30" fmla="*/ 1417 w 2834"/>
                  <a:gd name="T31" fmla="*/ 354 h 2834"/>
                  <a:gd name="T32" fmla="*/ 2480 w 2834"/>
                  <a:gd name="T33" fmla="*/ 1417 h 2834"/>
                  <a:gd name="T34" fmla="*/ 1417 w 2834"/>
                  <a:gd name="T35" fmla="*/ 2480 h 2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34" h="2834">
                    <a:moveTo>
                      <a:pt x="2830" y="1328"/>
                    </a:moveTo>
                    <a:cubicBezTo>
                      <a:pt x="2822" y="1205"/>
                      <a:pt x="2800" y="1087"/>
                      <a:pt x="2762" y="974"/>
                    </a:cubicBezTo>
                    <a:cubicBezTo>
                      <a:pt x="2576" y="409"/>
                      <a:pt x="2044" y="0"/>
                      <a:pt x="1417" y="0"/>
                    </a:cubicBezTo>
                    <a:cubicBezTo>
                      <a:pt x="790" y="0"/>
                      <a:pt x="258" y="409"/>
                      <a:pt x="72" y="974"/>
                    </a:cubicBezTo>
                    <a:cubicBezTo>
                      <a:pt x="34" y="1087"/>
                      <a:pt x="12" y="1205"/>
                      <a:pt x="4" y="1328"/>
                    </a:cubicBezTo>
                    <a:cubicBezTo>
                      <a:pt x="2" y="1358"/>
                      <a:pt x="0" y="1387"/>
                      <a:pt x="0" y="1417"/>
                    </a:cubicBezTo>
                    <a:cubicBezTo>
                      <a:pt x="0" y="1447"/>
                      <a:pt x="2" y="1476"/>
                      <a:pt x="4" y="1506"/>
                    </a:cubicBezTo>
                    <a:cubicBezTo>
                      <a:pt x="12" y="1629"/>
                      <a:pt x="34" y="1747"/>
                      <a:pt x="72" y="1860"/>
                    </a:cubicBezTo>
                    <a:cubicBezTo>
                      <a:pt x="258" y="2425"/>
                      <a:pt x="790" y="2834"/>
                      <a:pt x="1417" y="2834"/>
                    </a:cubicBezTo>
                    <a:cubicBezTo>
                      <a:pt x="2044" y="2834"/>
                      <a:pt x="2576" y="2425"/>
                      <a:pt x="2762" y="1860"/>
                    </a:cubicBezTo>
                    <a:cubicBezTo>
                      <a:pt x="2800" y="1747"/>
                      <a:pt x="2822" y="1629"/>
                      <a:pt x="2830" y="1506"/>
                    </a:cubicBezTo>
                    <a:cubicBezTo>
                      <a:pt x="2832" y="1476"/>
                      <a:pt x="2834" y="1447"/>
                      <a:pt x="2834" y="1417"/>
                    </a:cubicBezTo>
                    <a:cubicBezTo>
                      <a:pt x="2834" y="1387"/>
                      <a:pt x="2832" y="1358"/>
                      <a:pt x="2830" y="1328"/>
                    </a:cubicBezTo>
                    <a:close/>
                    <a:moveTo>
                      <a:pt x="1417" y="2480"/>
                    </a:moveTo>
                    <a:cubicBezTo>
                      <a:pt x="831" y="2480"/>
                      <a:pt x="354" y="2003"/>
                      <a:pt x="354" y="1417"/>
                    </a:cubicBezTo>
                    <a:cubicBezTo>
                      <a:pt x="354" y="831"/>
                      <a:pt x="831" y="354"/>
                      <a:pt x="1417" y="354"/>
                    </a:cubicBezTo>
                    <a:cubicBezTo>
                      <a:pt x="2003" y="354"/>
                      <a:pt x="2480" y="831"/>
                      <a:pt x="2480" y="1417"/>
                    </a:cubicBezTo>
                    <a:cubicBezTo>
                      <a:pt x="2480" y="2003"/>
                      <a:pt x="2003" y="2480"/>
                      <a:pt x="1417" y="2480"/>
                    </a:cubicBezTo>
                    <a:close/>
                  </a:path>
                </a:pathLst>
              </a:custGeom>
              <a:solidFill>
                <a:srgbClr val="43B0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1997">
                <a:extLst>
                  <a:ext uri="{FF2B5EF4-FFF2-40B4-BE49-F238E27FC236}">
                    <a16:creationId xmlns:a16="http://schemas.microsoft.com/office/drawing/2014/main" id="{0D14763E-5D3D-4427-876B-3F205DA500F0}"/>
                  </a:ext>
                </a:extLst>
              </p:cNvPr>
              <p:cNvSpPr>
                <a:spLocks noEditPoints="1"/>
              </p:cNvSpPr>
              <p:nvPr/>
            </p:nvSpPr>
            <p:spPr bwMode="gray">
              <a:xfrm>
                <a:off x="1967" y="2180"/>
                <a:ext cx="206" cy="277"/>
              </a:xfrm>
              <a:custGeom>
                <a:avLst/>
                <a:gdLst>
                  <a:gd name="T0" fmla="*/ 531 w 1062"/>
                  <a:gd name="T1" fmla="*/ 0 h 1428"/>
                  <a:gd name="T2" fmla="*/ 395 w 1062"/>
                  <a:gd name="T3" fmla="*/ 163 h 1428"/>
                  <a:gd name="T4" fmla="*/ 0 w 1062"/>
                  <a:gd name="T5" fmla="*/ 896 h 1428"/>
                  <a:gd name="T6" fmla="*/ 531 w 1062"/>
                  <a:gd name="T7" fmla="*/ 1428 h 1428"/>
                  <a:gd name="T8" fmla="*/ 1062 w 1062"/>
                  <a:gd name="T9" fmla="*/ 896 h 1428"/>
                  <a:gd name="T10" fmla="*/ 667 w 1062"/>
                  <a:gd name="T11" fmla="*/ 163 h 1428"/>
                  <a:gd name="T12" fmla="*/ 531 w 1062"/>
                  <a:gd name="T13" fmla="*/ 0 h 1428"/>
                  <a:gd name="T14" fmla="*/ 531 w 1062"/>
                  <a:gd name="T15" fmla="*/ 1073 h 1428"/>
                  <a:gd name="T16" fmla="*/ 354 w 1062"/>
                  <a:gd name="T17" fmla="*/ 896 h 1428"/>
                  <a:gd name="T18" fmla="*/ 531 w 1062"/>
                  <a:gd name="T19" fmla="*/ 568 h 1428"/>
                  <a:gd name="T20" fmla="*/ 708 w 1062"/>
                  <a:gd name="T21" fmla="*/ 896 h 1428"/>
                  <a:gd name="T22" fmla="*/ 531 w 1062"/>
                  <a:gd name="T23" fmla="*/ 1073 h 1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62" h="1428">
                    <a:moveTo>
                      <a:pt x="531" y="0"/>
                    </a:moveTo>
                    <a:cubicBezTo>
                      <a:pt x="395" y="163"/>
                      <a:pt x="395" y="163"/>
                      <a:pt x="395" y="163"/>
                    </a:cubicBezTo>
                    <a:cubicBezTo>
                      <a:pt x="276" y="305"/>
                      <a:pt x="0" y="662"/>
                      <a:pt x="0" y="896"/>
                    </a:cubicBezTo>
                    <a:cubicBezTo>
                      <a:pt x="0" y="1189"/>
                      <a:pt x="238" y="1428"/>
                      <a:pt x="531" y="1428"/>
                    </a:cubicBezTo>
                    <a:cubicBezTo>
                      <a:pt x="824" y="1428"/>
                      <a:pt x="1062" y="1189"/>
                      <a:pt x="1062" y="896"/>
                    </a:cubicBezTo>
                    <a:cubicBezTo>
                      <a:pt x="1062" y="662"/>
                      <a:pt x="786" y="305"/>
                      <a:pt x="667" y="163"/>
                    </a:cubicBezTo>
                    <a:lnTo>
                      <a:pt x="531" y="0"/>
                    </a:lnTo>
                    <a:close/>
                    <a:moveTo>
                      <a:pt x="531" y="1073"/>
                    </a:moveTo>
                    <a:cubicBezTo>
                      <a:pt x="433" y="1073"/>
                      <a:pt x="354" y="994"/>
                      <a:pt x="354" y="896"/>
                    </a:cubicBezTo>
                    <a:cubicBezTo>
                      <a:pt x="356" y="846"/>
                      <a:pt x="430" y="711"/>
                      <a:pt x="531" y="568"/>
                    </a:cubicBezTo>
                    <a:cubicBezTo>
                      <a:pt x="632" y="710"/>
                      <a:pt x="706" y="846"/>
                      <a:pt x="708" y="896"/>
                    </a:cubicBezTo>
                    <a:cubicBezTo>
                      <a:pt x="708" y="994"/>
                      <a:pt x="629" y="1073"/>
                      <a:pt x="531" y="1073"/>
                    </a:cubicBezTo>
                    <a:close/>
                  </a:path>
                </a:pathLst>
              </a:custGeom>
              <a:solidFill>
                <a:srgbClr val="43B0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grpSp>
        <p:nvGrpSpPr>
          <p:cNvPr id="13" name="Gruppieren 12">
            <a:extLst>
              <a:ext uri="{FF2B5EF4-FFF2-40B4-BE49-F238E27FC236}">
                <a16:creationId xmlns:a16="http://schemas.microsoft.com/office/drawing/2014/main" id="{4542E488-3DFF-C0E9-3B9E-071AD529624E}"/>
              </a:ext>
            </a:extLst>
          </p:cNvPr>
          <p:cNvGrpSpPr/>
          <p:nvPr/>
        </p:nvGrpSpPr>
        <p:grpSpPr>
          <a:xfrm>
            <a:off x="5723224" y="1768004"/>
            <a:ext cx="493725" cy="580876"/>
            <a:chOff x="409575" y="3454623"/>
            <a:chExt cx="493725" cy="580876"/>
          </a:xfrm>
        </p:grpSpPr>
        <p:sp>
          <p:nvSpPr>
            <p:cNvPr id="25" name="Textfeld 24">
              <a:extLst>
                <a:ext uri="{FF2B5EF4-FFF2-40B4-BE49-F238E27FC236}">
                  <a16:creationId xmlns:a16="http://schemas.microsoft.com/office/drawing/2014/main" id="{351D56ED-081C-47B9-B4BD-81ACCC90827C}"/>
                </a:ext>
              </a:extLst>
            </p:cNvPr>
            <p:cNvSpPr txBox="1"/>
            <p:nvPr/>
          </p:nvSpPr>
          <p:spPr bwMode="gray">
            <a:xfrm>
              <a:off x="409575" y="3850833"/>
              <a:ext cx="493725" cy="184666"/>
            </a:xfrm>
            <a:prstGeom prst="rect">
              <a:avLst/>
            </a:prstGeom>
            <a:noFill/>
          </p:spPr>
          <p:txBody>
            <a:bodyPr wrap="none" lIns="0" tIns="0" rIns="0" bIns="0" rtlCol="0" anchor="ctr">
              <a:spAutoFit/>
            </a:bodyPr>
            <a:lstStyle/>
            <a:p>
              <a:pPr marL="0" indent="0" algn="ctr">
                <a:spcBef>
                  <a:spcPts val="600"/>
                </a:spcBef>
                <a:buClr>
                  <a:schemeClr val="accent1"/>
                </a:buClr>
                <a:buFontTx/>
                <a:buNone/>
              </a:pPr>
              <a:r>
                <a:rPr lang="de-DE" sz="1200">
                  <a:solidFill>
                    <a:schemeClr val="tx2"/>
                  </a:solidFill>
                </a:rPr>
                <a:t>Renten</a:t>
              </a:r>
            </a:p>
          </p:txBody>
        </p:sp>
        <p:pic>
          <p:nvPicPr>
            <p:cNvPr id="37" name="Grafik 36">
              <a:extLst>
                <a:ext uri="{FF2B5EF4-FFF2-40B4-BE49-F238E27FC236}">
                  <a16:creationId xmlns:a16="http://schemas.microsoft.com/office/drawing/2014/main" id="{DF97A8E4-62BB-4F09-BD5F-019E174670F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gray">
            <a:xfrm>
              <a:off x="409575" y="3454623"/>
              <a:ext cx="360039" cy="360039"/>
            </a:xfrm>
            <a:prstGeom prst="rect">
              <a:avLst/>
            </a:prstGeom>
          </p:spPr>
        </p:pic>
      </p:grpSp>
      <p:grpSp>
        <p:nvGrpSpPr>
          <p:cNvPr id="77" name="Gruppieren 76">
            <a:extLst>
              <a:ext uri="{FF2B5EF4-FFF2-40B4-BE49-F238E27FC236}">
                <a16:creationId xmlns:a16="http://schemas.microsoft.com/office/drawing/2014/main" id="{84D2DE01-A55B-2988-11EA-0A8181863768}"/>
              </a:ext>
            </a:extLst>
          </p:cNvPr>
          <p:cNvGrpSpPr/>
          <p:nvPr/>
        </p:nvGrpSpPr>
        <p:grpSpPr>
          <a:xfrm>
            <a:off x="10518982" y="1768004"/>
            <a:ext cx="791883" cy="521182"/>
            <a:chOff x="10518982" y="1773080"/>
            <a:chExt cx="791883" cy="521182"/>
          </a:xfrm>
        </p:grpSpPr>
        <p:sp>
          <p:nvSpPr>
            <p:cNvPr id="28" name="Textfeld 27">
              <a:extLst>
                <a:ext uri="{FF2B5EF4-FFF2-40B4-BE49-F238E27FC236}">
                  <a16:creationId xmlns:a16="http://schemas.microsoft.com/office/drawing/2014/main" id="{484915BF-6E51-458D-9690-2E16F44EFFEF}"/>
                </a:ext>
              </a:extLst>
            </p:cNvPr>
            <p:cNvSpPr txBox="1"/>
            <p:nvPr/>
          </p:nvSpPr>
          <p:spPr bwMode="gray">
            <a:xfrm>
              <a:off x="10518982" y="2109596"/>
              <a:ext cx="791883" cy="184666"/>
            </a:xfrm>
            <a:prstGeom prst="rect">
              <a:avLst/>
            </a:prstGeom>
            <a:noFill/>
          </p:spPr>
          <p:txBody>
            <a:bodyPr wrap="none" lIns="0" tIns="0" rIns="0" bIns="0" rtlCol="0" anchor="ctr">
              <a:spAutoFit/>
            </a:bodyPr>
            <a:lstStyle/>
            <a:p>
              <a:pPr marL="0" indent="0" algn="ctr">
                <a:spcBef>
                  <a:spcPts val="600"/>
                </a:spcBef>
                <a:buClr>
                  <a:schemeClr val="accent1"/>
                </a:buClr>
                <a:buFontTx/>
                <a:buNone/>
              </a:pPr>
              <a:r>
                <a:rPr lang="de-DE" sz="1200">
                  <a:solidFill>
                    <a:schemeClr val="tx2"/>
                  </a:solidFill>
                </a:rPr>
                <a:t>Währungen</a:t>
              </a:r>
            </a:p>
          </p:txBody>
        </p:sp>
        <p:pic>
          <p:nvPicPr>
            <p:cNvPr id="43" name="Euro UI-Blau/UI-Grün">
              <a:extLst>
                <a:ext uri="{FF2B5EF4-FFF2-40B4-BE49-F238E27FC236}">
                  <a16:creationId xmlns:a16="http://schemas.microsoft.com/office/drawing/2014/main" id="{7D2B3BB0-2352-4026-851E-D384ECA0DC62}"/>
                </a:ext>
              </a:extLst>
            </p:cNvPr>
            <p:cNvPicPr>
              <a:picLocks noChangeAspect="1"/>
            </p:cNvPicPr>
            <p:nvPr>
              <p:custDataLst>
                <p:tags r:id="rId1"/>
              </p:custDataLst>
            </p:nvPr>
          </p:nvPicPr>
          <p:blipFill>
            <a:blip r:embed="rId5" cstate="print">
              <a:extLst>
                <a:ext uri="{28A0092B-C50C-407E-A947-70E740481C1C}">
                  <a14:useLocalDpi xmlns:a14="http://schemas.microsoft.com/office/drawing/2010/main" val="0"/>
                </a:ext>
              </a:extLst>
            </a:blip>
            <a:stretch>
              <a:fillRect/>
            </a:stretch>
          </p:blipFill>
          <p:spPr bwMode="gray">
            <a:xfrm>
              <a:off x="10518982" y="1773080"/>
              <a:ext cx="302319" cy="302319"/>
            </a:xfrm>
            <a:prstGeom prst="rect">
              <a:avLst/>
            </a:prstGeom>
          </p:spPr>
        </p:pic>
      </p:grpSp>
      <p:graphicFrame>
        <p:nvGraphicFramePr>
          <p:cNvPr id="30" name="Inhaltsplatzhalter 13">
            <a:extLst>
              <a:ext uri="{FF2B5EF4-FFF2-40B4-BE49-F238E27FC236}">
                <a16:creationId xmlns:a16="http://schemas.microsoft.com/office/drawing/2014/main" id="{99F59790-74D2-4005-A306-C967DAA637D4}"/>
              </a:ext>
            </a:extLst>
          </p:cNvPr>
          <p:cNvGraphicFramePr>
            <a:graphicFrameLocks/>
          </p:cNvGraphicFramePr>
          <p:nvPr/>
        </p:nvGraphicFramePr>
        <p:xfrm>
          <a:off x="409575" y="2060576"/>
          <a:ext cx="11448651" cy="3323090"/>
        </p:xfrm>
        <a:graphic>
          <a:graphicData uri="http://schemas.openxmlformats.org/drawingml/2006/chart">
            <c:chart xmlns:c="http://schemas.openxmlformats.org/drawingml/2006/chart" xmlns:r="http://schemas.openxmlformats.org/officeDocument/2006/relationships" r:id="rId6"/>
          </a:graphicData>
        </a:graphic>
      </p:graphicFrame>
      <p:sp>
        <p:nvSpPr>
          <p:cNvPr id="15" name="Textfeld 14">
            <a:extLst>
              <a:ext uri="{FF2B5EF4-FFF2-40B4-BE49-F238E27FC236}">
                <a16:creationId xmlns:a16="http://schemas.microsoft.com/office/drawing/2014/main" id="{729833AE-113F-47C4-FF2A-722859FAA614}"/>
              </a:ext>
            </a:extLst>
          </p:cNvPr>
          <p:cNvSpPr txBox="1"/>
          <p:nvPr/>
        </p:nvSpPr>
        <p:spPr>
          <a:xfrm>
            <a:off x="409575" y="5101620"/>
            <a:ext cx="878427" cy="514738"/>
          </a:xfrm>
          <a:prstGeom prst="rect">
            <a:avLst/>
          </a:prstGeom>
          <a:noFill/>
        </p:spPr>
        <p:txBody>
          <a:bodyPr wrap="none" lIns="72000" tIns="72000" rIns="72000" bIns="72000" rtlCol="0" anchor="t">
            <a:spAutoFit/>
          </a:bodyPr>
          <a:lstStyle/>
          <a:p>
            <a:pPr marL="0" indent="0" algn="ctr">
              <a:buClr>
                <a:schemeClr val="accent1"/>
              </a:buClr>
              <a:buFontTx/>
              <a:buNone/>
            </a:pPr>
            <a:r>
              <a:rPr lang="de-DE" sz="1200"/>
              <a:t>EURO</a:t>
            </a:r>
          </a:p>
          <a:p>
            <a:pPr marL="0" indent="0" algn="ctr">
              <a:buClr>
                <a:schemeClr val="accent1"/>
              </a:buClr>
              <a:buFontTx/>
              <a:buNone/>
            </a:pPr>
            <a:r>
              <a:rPr lang="de-DE" sz="1200"/>
              <a:t>STOXX 50</a:t>
            </a:r>
          </a:p>
        </p:txBody>
      </p:sp>
      <p:sp>
        <p:nvSpPr>
          <p:cNvPr id="16" name="Textfeld 15">
            <a:extLst>
              <a:ext uri="{FF2B5EF4-FFF2-40B4-BE49-F238E27FC236}">
                <a16:creationId xmlns:a16="http://schemas.microsoft.com/office/drawing/2014/main" id="{665FADE2-9916-F04A-AE4B-DA19A8F1F3C1}"/>
              </a:ext>
            </a:extLst>
          </p:cNvPr>
          <p:cNvSpPr txBox="1"/>
          <p:nvPr/>
        </p:nvSpPr>
        <p:spPr>
          <a:xfrm>
            <a:off x="1294809" y="5101620"/>
            <a:ext cx="453183" cy="514738"/>
          </a:xfrm>
          <a:prstGeom prst="rect">
            <a:avLst/>
          </a:prstGeom>
          <a:noFill/>
        </p:spPr>
        <p:txBody>
          <a:bodyPr wrap="none" lIns="72000" tIns="72000" rIns="72000" bIns="72000" rtlCol="0" anchor="t">
            <a:spAutoFit/>
          </a:bodyPr>
          <a:lstStyle/>
          <a:p>
            <a:pPr marL="0" indent="0" algn="ctr">
              <a:buClr>
                <a:schemeClr val="accent1"/>
              </a:buClr>
              <a:buFontTx/>
              <a:buNone/>
            </a:pPr>
            <a:r>
              <a:rPr lang="de-DE" sz="1200"/>
              <a:t>S&amp;P</a:t>
            </a:r>
          </a:p>
          <a:p>
            <a:pPr marL="0" indent="0" algn="ctr">
              <a:buClr>
                <a:schemeClr val="accent1"/>
              </a:buClr>
              <a:buFontTx/>
              <a:buNone/>
            </a:pPr>
            <a:r>
              <a:rPr lang="de-DE" sz="1200"/>
              <a:t>500</a:t>
            </a:r>
          </a:p>
        </p:txBody>
      </p:sp>
      <p:sp>
        <p:nvSpPr>
          <p:cNvPr id="41" name="Textfeld 40">
            <a:extLst>
              <a:ext uri="{FF2B5EF4-FFF2-40B4-BE49-F238E27FC236}">
                <a16:creationId xmlns:a16="http://schemas.microsoft.com/office/drawing/2014/main" id="{89E63200-B597-D815-E75A-8F4AF383F55F}"/>
              </a:ext>
            </a:extLst>
          </p:cNvPr>
          <p:cNvSpPr txBox="1"/>
          <p:nvPr/>
        </p:nvSpPr>
        <p:spPr>
          <a:xfrm>
            <a:off x="1825937" y="5101620"/>
            <a:ext cx="672795" cy="514738"/>
          </a:xfrm>
          <a:prstGeom prst="rect">
            <a:avLst/>
          </a:prstGeom>
          <a:noFill/>
        </p:spPr>
        <p:txBody>
          <a:bodyPr wrap="none" lIns="72000" tIns="72000" rIns="72000" bIns="72000" rtlCol="0" anchor="t">
            <a:spAutoFit/>
          </a:bodyPr>
          <a:lstStyle/>
          <a:p>
            <a:pPr marL="0" indent="0" algn="ctr">
              <a:buClr>
                <a:schemeClr val="accent1"/>
              </a:buClr>
              <a:buFontTx/>
              <a:buNone/>
            </a:pPr>
            <a:r>
              <a:rPr lang="de-DE" sz="1200" dirty="0"/>
              <a:t>Nasdaq</a:t>
            </a:r>
          </a:p>
          <a:p>
            <a:pPr marL="0" indent="0" algn="ctr">
              <a:buClr>
                <a:schemeClr val="accent1"/>
              </a:buClr>
              <a:buFontTx/>
              <a:buNone/>
            </a:pPr>
            <a:r>
              <a:rPr lang="de-DE" sz="1200" dirty="0"/>
              <a:t>100</a:t>
            </a:r>
          </a:p>
        </p:txBody>
      </p:sp>
      <p:sp>
        <p:nvSpPr>
          <p:cNvPr id="65" name="Textfeld 64">
            <a:extLst>
              <a:ext uri="{FF2B5EF4-FFF2-40B4-BE49-F238E27FC236}">
                <a16:creationId xmlns:a16="http://schemas.microsoft.com/office/drawing/2014/main" id="{75633961-440B-6FC9-C348-93C4B6083927}"/>
              </a:ext>
            </a:extLst>
          </p:cNvPr>
          <p:cNvSpPr txBox="1"/>
          <p:nvPr/>
        </p:nvSpPr>
        <p:spPr>
          <a:xfrm>
            <a:off x="2527943" y="5101620"/>
            <a:ext cx="562187" cy="514738"/>
          </a:xfrm>
          <a:prstGeom prst="rect">
            <a:avLst/>
          </a:prstGeom>
          <a:noFill/>
        </p:spPr>
        <p:txBody>
          <a:bodyPr wrap="none" lIns="72000" tIns="72000" rIns="72000" bIns="72000" rtlCol="0" anchor="t">
            <a:spAutoFit/>
          </a:bodyPr>
          <a:lstStyle/>
          <a:p>
            <a:pPr marL="0" indent="0" algn="ctr">
              <a:buClr>
                <a:schemeClr val="accent1"/>
              </a:buClr>
              <a:buFontTx/>
              <a:buNone/>
            </a:pPr>
            <a:r>
              <a:rPr lang="de-DE" sz="1200"/>
              <a:t>Nikkei</a:t>
            </a:r>
          </a:p>
          <a:p>
            <a:pPr marL="0" indent="0" algn="ctr">
              <a:buClr>
                <a:schemeClr val="accent1"/>
              </a:buClr>
              <a:buFontTx/>
              <a:buNone/>
            </a:pPr>
            <a:r>
              <a:rPr lang="de-DE" sz="1200"/>
              <a:t>225</a:t>
            </a:r>
          </a:p>
        </p:txBody>
      </p:sp>
      <p:sp>
        <p:nvSpPr>
          <p:cNvPr id="66" name="Textfeld 65">
            <a:extLst>
              <a:ext uri="{FF2B5EF4-FFF2-40B4-BE49-F238E27FC236}">
                <a16:creationId xmlns:a16="http://schemas.microsoft.com/office/drawing/2014/main" id="{ACC310EB-F607-EBA7-127F-5419571D2E5A}"/>
              </a:ext>
            </a:extLst>
          </p:cNvPr>
          <p:cNvSpPr txBox="1"/>
          <p:nvPr/>
        </p:nvSpPr>
        <p:spPr>
          <a:xfrm>
            <a:off x="2998004" y="5101620"/>
            <a:ext cx="1009425" cy="514738"/>
          </a:xfrm>
          <a:prstGeom prst="rect">
            <a:avLst/>
          </a:prstGeom>
          <a:noFill/>
        </p:spPr>
        <p:txBody>
          <a:bodyPr wrap="none" lIns="72000" tIns="72000" rIns="72000" bIns="72000" rtlCol="0" anchor="t">
            <a:spAutoFit/>
          </a:bodyPr>
          <a:lstStyle/>
          <a:p>
            <a:pPr marL="0" indent="0" algn="ctr">
              <a:buClr>
                <a:schemeClr val="accent1"/>
              </a:buClr>
              <a:buFontTx/>
              <a:buNone/>
            </a:pPr>
            <a:r>
              <a:rPr lang="de-DE" sz="1200"/>
              <a:t>MSCI</a:t>
            </a:r>
          </a:p>
          <a:p>
            <a:pPr marL="0" indent="0" algn="ctr">
              <a:buClr>
                <a:schemeClr val="accent1"/>
              </a:buClr>
              <a:buFontTx/>
              <a:buNone/>
            </a:pPr>
            <a:r>
              <a:rPr lang="de-DE" sz="1200" err="1"/>
              <a:t>Em</a:t>
            </a:r>
            <a:r>
              <a:rPr lang="de-DE" sz="1200"/>
              <a:t>. </a:t>
            </a:r>
            <a:r>
              <a:rPr lang="de-DE" sz="1200" err="1"/>
              <a:t>Markets</a:t>
            </a:r>
            <a:endParaRPr lang="de-DE" sz="1200"/>
          </a:p>
        </p:txBody>
      </p:sp>
      <p:sp>
        <p:nvSpPr>
          <p:cNvPr id="67" name="Textfeld 66">
            <a:extLst>
              <a:ext uri="{FF2B5EF4-FFF2-40B4-BE49-F238E27FC236}">
                <a16:creationId xmlns:a16="http://schemas.microsoft.com/office/drawing/2014/main" id="{CCA663E3-05D1-1BC8-1E2D-BBA7F6C8186C}"/>
              </a:ext>
            </a:extLst>
          </p:cNvPr>
          <p:cNvSpPr txBox="1"/>
          <p:nvPr/>
        </p:nvSpPr>
        <p:spPr>
          <a:xfrm>
            <a:off x="6371861" y="5027187"/>
            <a:ext cx="799432" cy="699404"/>
          </a:xfrm>
          <a:prstGeom prst="rect">
            <a:avLst/>
          </a:prstGeom>
          <a:noFill/>
        </p:spPr>
        <p:txBody>
          <a:bodyPr wrap="none" lIns="72000" tIns="72000" rIns="72000" bIns="72000" rtlCol="0" anchor="t">
            <a:spAutoFit/>
          </a:bodyPr>
          <a:lstStyle/>
          <a:p>
            <a:pPr marL="0" indent="0" algn="ctr">
              <a:buClr>
                <a:schemeClr val="accent1"/>
              </a:buClr>
              <a:buFontTx/>
              <a:buNone/>
            </a:pPr>
            <a:r>
              <a:rPr lang="de-DE" sz="1200" dirty="0"/>
              <a:t>EM-</a:t>
            </a:r>
          </a:p>
          <a:p>
            <a:pPr marL="0" indent="0" algn="ctr">
              <a:buClr>
                <a:schemeClr val="accent1"/>
              </a:buClr>
              <a:buFontTx/>
              <a:buNone/>
            </a:pPr>
            <a:r>
              <a:rPr lang="de-DE" sz="1200" dirty="0"/>
              <a:t>Staats-</a:t>
            </a:r>
          </a:p>
          <a:p>
            <a:pPr marL="0" indent="0" algn="ctr">
              <a:buClr>
                <a:schemeClr val="accent1"/>
              </a:buClr>
              <a:buFontTx/>
              <a:buNone/>
            </a:pPr>
            <a:r>
              <a:rPr lang="de-DE" sz="1200" dirty="0"/>
              <a:t>anleihen*</a:t>
            </a:r>
          </a:p>
        </p:txBody>
      </p:sp>
      <p:sp>
        <p:nvSpPr>
          <p:cNvPr id="68" name="Textfeld 67">
            <a:extLst>
              <a:ext uri="{FF2B5EF4-FFF2-40B4-BE49-F238E27FC236}">
                <a16:creationId xmlns:a16="http://schemas.microsoft.com/office/drawing/2014/main" id="{079136A5-8895-FC5C-5A89-F5190CEC02AE}"/>
              </a:ext>
            </a:extLst>
          </p:cNvPr>
          <p:cNvSpPr txBox="1"/>
          <p:nvPr/>
        </p:nvSpPr>
        <p:spPr>
          <a:xfrm>
            <a:off x="5129630" y="5022712"/>
            <a:ext cx="613483" cy="699404"/>
          </a:xfrm>
          <a:prstGeom prst="rect">
            <a:avLst/>
          </a:prstGeom>
          <a:noFill/>
        </p:spPr>
        <p:txBody>
          <a:bodyPr wrap="none" lIns="72000" tIns="72000" rIns="72000" bIns="72000" rtlCol="0" anchor="t">
            <a:spAutoFit/>
          </a:bodyPr>
          <a:lstStyle/>
          <a:p>
            <a:pPr marL="0" indent="0" algn="ctr">
              <a:buClr>
                <a:schemeClr val="accent1"/>
              </a:buClr>
              <a:buFontTx/>
              <a:buNone/>
            </a:pPr>
            <a:r>
              <a:rPr lang="de-DE" sz="1200"/>
              <a:t>Euro-</a:t>
            </a:r>
          </a:p>
          <a:p>
            <a:pPr marL="0" indent="0" algn="ctr">
              <a:buClr>
                <a:schemeClr val="accent1"/>
              </a:buClr>
              <a:buFontTx/>
              <a:buNone/>
            </a:pPr>
            <a:r>
              <a:rPr lang="de-DE" sz="1200" err="1"/>
              <a:t>Corpo</a:t>
            </a:r>
            <a:r>
              <a:rPr lang="de-DE" sz="1200"/>
              <a:t>-</a:t>
            </a:r>
          </a:p>
          <a:p>
            <a:pPr marL="0" indent="0" algn="ctr">
              <a:buClr>
                <a:schemeClr val="accent1"/>
              </a:buClr>
              <a:buFontTx/>
              <a:buNone/>
            </a:pPr>
            <a:r>
              <a:rPr lang="de-DE" sz="1200" err="1"/>
              <a:t>rates</a:t>
            </a:r>
            <a:endParaRPr lang="de-DE" sz="1200"/>
          </a:p>
        </p:txBody>
      </p:sp>
      <p:sp>
        <p:nvSpPr>
          <p:cNvPr id="69" name="Textfeld 68">
            <a:extLst>
              <a:ext uri="{FF2B5EF4-FFF2-40B4-BE49-F238E27FC236}">
                <a16:creationId xmlns:a16="http://schemas.microsoft.com/office/drawing/2014/main" id="{34D892DE-3840-F83D-D987-F6351DE4912E}"/>
              </a:ext>
            </a:extLst>
          </p:cNvPr>
          <p:cNvSpPr txBox="1"/>
          <p:nvPr/>
        </p:nvSpPr>
        <p:spPr>
          <a:xfrm>
            <a:off x="5836446" y="5027187"/>
            <a:ext cx="520509" cy="699404"/>
          </a:xfrm>
          <a:prstGeom prst="rect">
            <a:avLst/>
          </a:prstGeom>
          <a:noFill/>
        </p:spPr>
        <p:txBody>
          <a:bodyPr wrap="none" lIns="72000" tIns="72000" rIns="72000" bIns="72000" rtlCol="0" anchor="t">
            <a:spAutoFit/>
          </a:bodyPr>
          <a:lstStyle/>
          <a:p>
            <a:pPr marL="0" indent="0" algn="ctr">
              <a:buClr>
                <a:schemeClr val="accent1"/>
              </a:buClr>
              <a:buFontTx/>
              <a:buNone/>
            </a:pPr>
            <a:r>
              <a:rPr lang="de-DE" sz="1200"/>
              <a:t>Euro-</a:t>
            </a:r>
          </a:p>
          <a:p>
            <a:pPr marL="0" indent="0" algn="ctr">
              <a:buClr>
                <a:schemeClr val="accent1"/>
              </a:buClr>
              <a:buFontTx/>
              <a:buNone/>
            </a:pPr>
            <a:r>
              <a:rPr lang="de-DE" sz="1200"/>
              <a:t>High </a:t>
            </a:r>
          </a:p>
          <a:p>
            <a:pPr marL="0" indent="0" algn="ctr">
              <a:buClr>
                <a:schemeClr val="accent1"/>
              </a:buClr>
              <a:buFontTx/>
              <a:buNone/>
            </a:pPr>
            <a:r>
              <a:rPr lang="de-DE" sz="1200" err="1"/>
              <a:t>Yield</a:t>
            </a:r>
            <a:endParaRPr lang="de-DE" sz="1200"/>
          </a:p>
        </p:txBody>
      </p:sp>
      <p:sp>
        <p:nvSpPr>
          <p:cNvPr id="70" name="Textfeld 69">
            <a:extLst>
              <a:ext uri="{FF2B5EF4-FFF2-40B4-BE49-F238E27FC236}">
                <a16:creationId xmlns:a16="http://schemas.microsoft.com/office/drawing/2014/main" id="{23958483-54D1-6BD7-2153-1666CAB01F55}"/>
              </a:ext>
            </a:extLst>
          </p:cNvPr>
          <p:cNvSpPr txBox="1"/>
          <p:nvPr/>
        </p:nvSpPr>
        <p:spPr>
          <a:xfrm>
            <a:off x="4407369" y="5013027"/>
            <a:ext cx="722487" cy="699404"/>
          </a:xfrm>
          <a:prstGeom prst="rect">
            <a:avLst/>
          </a:prstGeom>
          <a:noFill/>
        </p:spPr>
        <p:txBody>
          <a:bodyPr wrap="none" lIns="72000" tIns="72000" rIns="72000" bIns="72000" rtlCol="0" anchor="t">
            <a:spAutoFit/>
          </a:bodyPr>
          <a:lstStyle/>
          <a:p>
            <a:pPr marL="0" indent="0" algn="ctr">
              <a:buClr>
                <a:schemeClr val="accent1"/>
              </a:buClr>
              <a:buFontTx/>
              <a:buNone/>
            </a:pPr>
            <a:r>
              <a:rPr lang="de-DE" sz="1200" dirty="0"/>
              <a:t>Euro-</a:t>
            </a:r>
          </a:p>
          <a:p>
            <a:pPr marL="0" indent="0" algn="ctr">
              <a:buClr>
                <a:schemeClr val="accent1"/>
              </a:buClr>
              <a:buFontTx/>
              <a:buNone/>
            </a:pPr>
            <a:r>
              <a:rPr lang="de-DE" sz="1200" dirty="0"/>
              <a:t>Staats-</a:t>
            </a:r>
          </a:p>
          <a:p>
            <a:pPr marL="0" indent="0" algn="ctr">
              <a:buClr>
                <a:schemeClr val="accent1"/>
              </a:buClr>
              <a:buFontTx/>
              <a:buNone/>
            </a:pPr>
            <a:r>
              <a:rPr lang="de-DE" sz="1200" dirty="0"/>
              <a:t>anleihen</a:t>
            </a:r>
          </a:p>
        </p:txBody>
      </p:sp>
      <p:sp>
        <p:nvSpPr>
          <p:cNvPr id="71" name="Textfeld 70">
            <a:extLst>
              <a:ext uri="{FF2B5EF4-FFF2-40B4-BE49-F238E27FC236}">
                <a16:creationId xmlns:a16="http://schemas.microsoft.com/office/drawing/2014/main" id="{BEEB9949-1FFE-2E13-EFA2-EDA4EB985EC7}"/>
              </a:ext>
            </a:extLst>
          </p:cNvPr>
          <p:cNvSpPr txBox="1"/>
          <p:nvPr/>
        </p:nvSpPr>
        <p:spPr>
          <a:xfrm>
            <a:off x="7683476" y="5326033"/>
            <a:ext cx="717679" cy="330072"/>
          </a:xfrm>
          <a:prstGeom prst="rect">
            <a:avLst/>
          </a:prstGeom>
          <a:noFill/>
        </p:spPr>
        <p:txBody>
          <a:bodyPr wrap="none" lIns="72000" tIns="72000" rIns="72000" bIns="72000" rtlCol="0" anchor="t">
            <a:spAutoFit/>
          </a:bodyPr>
          <a:lstStyle/>
          <a:p>
            <a:pPr marL="0" indent="0" algn="ctr">
              <a:buClr>
                <a:schemeClr val="accent1"/>
              </a:buClr>
              <a:buFontTx/>
              <a:buNone/>
            </a:pPr>
            <a:r>
              <a:rPr lang="de-DE" sz="1200"/>
              <a:t>Brent-Öl</a:t>
            </a:r>
          </a:p>
        </p:txBody>
      </p:sp>
      <p:sp>
        <p:nvSpPr>
          <p:cNvPr id="72" name="Textfeld 71">
            <a:extLst>
              <a:ext uri="{FF2B5EF4-FFF2-40B4-BE49-F238E27FC236}">
                <a16:creationId xmlns:a16="http://schemas.microsoft.com/office/drawing/2014/main" id="{DAF73E4F-C02E-C9AA-B2F6-8D2DC6CF94BE}"/>
              </a:ext>
            </a:extLst>
          </p:cNvPr>
          <p:cNvSpPr txBox="1"/>
          <p:nvPr/>
        </p:nvSpPr>
        <p:spPr>
          <a:xfrm>
            <a:off x="8358836" y="5326033"/>
            <a:ext cx="717679" cy="330072"/>
          </a:xfrm>
          <a:prstGeom prst="rect">
            <a:avLst/>
          </a:prstGeom>
          <a:noFill/>
        </p:spPr>
        <p:txBody>
          <a:bodyPr wrap="square" lIns="72000" tIns="72000" rIns="72000" bIns="72000" rtlCol="0" anchor="t">
            <a:spAutoFit/>
          </a:bodyPr>
          <a:lstStyle/>
          <a:p>
            <a:pPr marL="0" indent="0" algn="ctr">
              <a:buClr>
                <a:schemeClr val="accent1"/>
              </a:buClr>
              <a:buFontTx/>
              <a:buNone/>
            </a:pPr>
            <a:r>
              <a:rPr lang="de-DE" sz="1200"/>
              <a:t>Gold</a:t>
            </a:r>
          </a:p>
        </p:txBody>
      </p:sp>
      <p:sp>
        <p:nvSpPr>
          <p:cNvPr id="73" name="Textfeld 72">
            <a:extLst>
              <a:ext uri="{FF2B5EF4-FFF2-40B4-BE49-F238E27FC236}">
                <a16:creationId xmlns:a16="http://schemas.microsoft.com/office/drawing/2014/main" id="{B1362A00-BD04-8635-809D-B09161640812}"/>
              </a:ext>
            </a:extLst>
          </p:cNvPr>
          <p:cNvSpPr txBox="1"/>
          <p:nvPr/>
        </p:nvSpPr>
        <p:spPr>
          <a:xfrm>
            <a:off x="9014997" y="5326033"/>
            <a:ext cx="717679" cy="330072"/>
          </a:xfrm>
          <a:prstGeom prst="rect">
            <a:avLst/>
          </a:prstGeom>
          <a:noFill/>
        </p:spPr>
        <p:txBody>
          <a:bodyPr wrap="square" lIns="72000" tIns="72000" rIns="72000" bIns="72000" rtlCol="0" anchor="t">
            <a:spAutoFit/>
          </a:bodyPr>
          <a:lstStyle/>
          <a:p>
            <a:pPr marL="0" indent="0" algn="ctr">
              <a:buClr>
                <a:schemeClr val="accent1"/>
              </a:buClr>
              <a:buFontTx/>
              <a:buNone/>
            </a:pPr>
            <a:r>
              <a:rPr lang="de-DE" sz="1200"/>
              <a:t>Kupfer</a:t>
            </a:r>
          </a:p>
        </p:txBody>
      </p:sp>
      <p:sp>
        <p:nvSpPr>
          <p:cNvPr id="74" name="Foliennummernplatzhalter 8">
            <a:extLst>
              <a:ext uri="{FF2B5EF4-FFF2-40B4-BE49-F238E27FC236}">
                <a16:creationId xmlns:a16="http://schemas.microsoft.com/office/drawing/2014/main" id="{8EBD91D0-6221-8AC0-F99A-FE74F0830C7C}"/>
              </a:ext>
            </a:extLst>
          </p:cNvPr>
          <p:cNvSpPr txBox="1">
            <a:spLocks/>
          </p:cNvSpPr>
          <p:nvPr/>
        </p:nvSpPr>
        <p:spPr bwMode="gray">
          <a:xfrm>
            <a:off x="11504750" y="151200"/>
            <a:ext cx="280800" cy="180000"/>
          </a:xfrm>
          <a:prstGeom prst="rect">
            <a:avLst/>
          </a:prstGeom>
        </p:spPr>
        <p:txBody>
          <a:bodyPr vert="horz" lIns="0" tIns="0" rIns="0" bIns="0" rtlCol="0" anchor="t"/>
          <a:lstStyle>
            <a:defPPr>
              <a:defRPr lang="de-DE"/>
            </a:defPPr>
            <a:lvl1pPr algn="r">
              <a:defRPr sz="1000">
                <a:solidFill>
                  <a:srgbClr val="888888"/>
                </a:solidFill>
              </a:defRPr>
            </a:lvl1pPr>
            <a:lvl2pPr marL="0" indent="0" algn="l" defTabSz="914400" rtl="0" eaLnBrk="1" latinLnBrk="0" hangingPunct="1">
              <a:spcBef>
                <a:spcPts val="600"/>
              </a:spcBef>
              <a:buFont typeface="Arial" panose="020B0604020202020204" pitchFamily="34" charset="0"/>
              <a:buNone/>
              <a:defRPr lang="de-DE" sz="1800" kern="1200" dirty="0">
                <a:solidFill>
                  <a:schemeClr val="tx1"/>
                </a:solidFill>
                <a:latin typeface="+mn-lt"/>
                <a:ea typeface="+mn-ea"/>
                <a:cs typeface="+mn-cs"/>
              </a:defRPr>
            </a:lvl2pPr>
            <a:lvl3pPr marL="180000" indent="-180000" algn="l" defTabSz="914400" rtl="0" eaLnBrk="1" latinLnBrk="0" hangingPunct="1">
              <a:spcBef>
                <a:spcPts val="600"/>
              </a:spcBef>
              <a:buClrTx/>
              <a:buFont typeface="Wingdings" panose="05000000000000000000" pitchFamily="2" charset="2"/>
              <a:buChar char=""/>
              <a:defRPr lang="de-DE" sz="1800" kern="1200" dirty="0">
                <a:solidFill>
                  <a:schemeClr val="tx1"/>
                </a:solidFill>
                <a:latin typeface="+mn-lt"/>
                <a:ea typeface="+mn-ea"/>
                <a:cs typeface="+mn-cs"/>
              </a:defRPr>
            </a:lvl3pPr>
            <a:lvl4pPr marL="360000" indent="-180000" algn="l" defTabSz="914400" rtl="0" eaLnBrk="1" latinLnBrk="0" hangingPunct="1">
              <a:spcBef>
                <a:spcPts val="400"/>
              </a:spcBef>
              <a:buClrTx/>
              <a:buFont typeface="Arial" panose="020B0604020202020204" pitchFamily="34" charset="0"/>
              <a:buChar char="•"/>
              <a:defRPr lang="de-DE" sz="1800" kern="1200" dirty="0">
                <a:solidFill>
                  <a:schemeClr val="tx1"/>
                </a:solidFill>
                <a:latin typeface="+mn-lt"/>
                <a:ea typeface="+mn-ea"/>
                <a:cs typeface="+mn-cs"/>
              </a:defRPr>
            </a:lvl4pPr>
            <a:lvl5pPr marL="576000" indent="-216000" algn="l" defTabSz="914400" rtl="0" eaLnBrk="1" latinLnBrk="0" hangingPunct="1">
              <a:spcBef>
                <a:spcPts val="400"/>
              </a:spcBef>
              <a:buFont typeface="Symbol" panose="05050102010706020507" pitchFamily="18" charset="2"/>
              <a:buChar char="-"/>
              <a:defRPr lang="de-DE" sz="1800" kern="1200" dirty="0">
                <a:solidFill>
                  <a:schemeClr val="tx1"/>
                </a:solidFill>
                <a:latin typeface="+mn-lt"/>
                <a:ea typeface="+mn-ea"/>
                <a:cs typeface="+mn-cs"/>
              </a:defRPr>
            </a:lvl5pPr>
            <a:lvl6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6pPr>
            <a:lvl7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7pPr>
            <a:lvl8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8pPr>
            <a:lvl9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9pPr>
          </a:lstStyle>
          <a:p>
            <a:fld id="{9C89B081-1F44-4440-BC7B-989C90F97B77}" type="slidenum">
              <a:rPr lang="de-DE"/>
              <a:pPr/>
              <a:t>6</a:t>
            </a:fld>
            <a:endParaRPr lang="de-DE"/>
          </a:p>
        </p:txBody>
      </p:sp>
      <p:sp>
        <p:nvSpPr>
          <p:cNvPr id="75" name="Textfeld 74">
            <a:extLst>
              <a:ext uri="{FF2B5EF4-FFF2-40B4-BE49-F238E27FC236}">
                <a16:creationId xmlns:a16="http://schemas.microsoft.com/office/drawing/2014/main" id="{9D646C8E-A809-BAA8-B76C-78E9717B7DCC}"/>
              </a:ext>
            </a:extLst>
          </p:cNvPr>
          <p:cNvSpPr txBox="1"/>
          <p:nvPr/>
        </p:nvSpPr>
        <p:spPr>
          <a:xfrm>
            <a:off x="10311303" y="5247125"/>
            <a:ext cx="717679" cy="514738"/>
          </a:xfrm>
          <a:prstGeom prst="rect">
            <a:avLst/>
          </a:prstGeom>
          <a:noFill/>
        </p:spPr>
        <p:txBody>
          <a:bodyPr wrap="square" lIns="72000" tIns="72000" rIns="72000" bIns="72000" rtlCol="0" anchor="t">
            <a:spAutoFit/>
          </a:bodyPr>
          <a:lstStyle/>
          <a:p>
            <a:pPr marL="0" indent="0" algn="ctr">
              <a:buClr>
                <a:schemeClr val="accent1"/>
              </a:buClr>
              <a:buFontTx/>
              <a:buNone/>
            </a:pPr>
            <a:r>
              <a:rPr lang="de-DE" sz="1200"/>
              <a:t>USD vs.</a:t>
            </a:r>
          </a:p>
          <a:p>
            <a:pPr marL="0" indent="0" algn="ctr">
              <a:buClr>
                <a:schemeClr val="accent1"/>
              </a:buClr>
              <a:buFontTx/>
              <a:buNone/>
            </a:pPr>
            <a:r>
              <a:rPr lang="de-DE" sz="1200"/>
              <a:t>EUR</a:t>
            </a:r>
          </a:p>
        </p:txBody>
      </p:sp>
      <p:sp>
        <p:nvSpPr>
          <p:cNvPr id="76" name="Textfeld 75">
            <a:extLst>
              <a:ext uri="{FF2B5EF4-FFF2-40B4-BE49-F238E27FC236}">
                <a16:creationId xmlns:a16="http://schemas.microsoft.com/office/drawing/2014/main" id="{075FB8AF-EE90-FBDD-2C0F-25CCAABE270A}"/>
              </a:ext>
            </a:extLst>
          </p:cNvPr>
          <p:cNvSpPr txBox="1"/>
          <p:nvPr/>
        </p:nvSpPr>
        <p:spPr>
          <a:xfrm>
            <a:off x="10981443" y="5247700"/>
            <a:ext cx="717679" cy="514738"/>
          </a:xfrm>
          <a:prstGeom prst="rect">
            <a:avLst/>
          </a:prstGeom>
          <a:noFill/>
        </p:spPr>
        <p:txBody>
          <a:bodyPr wrap="square" lIns="72000" tIns="72000" rIns="72000" bIns="72000" rtlCol="0" anchor="t">
            <a:spAutoFit/>
          </a:bodyPr>
          <a:lstStyle/>
          <a:p>
            <a:pPr marL="0" indent="0" algn="ctr">
              <a:buClr>
                <a:schemeClr val="accent1"/>
              </a:buClr>
              <a:buFontTx/>
              <a:buNone/>
            </a:pPr>
            <a:r>
              <a:rPr lang="de-DE" sz="1200"/>
              <a:t>JPY vs.</a:t>
            </a:r>
          </a:p>
          <a:p>
            <a:pPr marL="0" indent="0" algn="ctr">
              <a:buClr>
                <a:schemeClr val="accent1"/>
              </a:buClr>
              <a:buFontTx/>
              <a:buNone/>
            </a:pPr>
            <a:r>
              <a:rPr lang="de-DE" sz="1200"/>
              <a:t>EUR</a:t>
            </a:r>
          </a:p>
        </p:txBody>
      </p:sp>
    </p:spTree>
    <p:extLst>
      <p:ext uri="{BB962C8B-B14F-4D97-AF65-F5344CB8AC3E}">
        <p14:creationId xmlns:p14="http://schemas.microsoft.com/office/powerpoint/2010/main" val="2723771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1" name="Titel 3">
            <a:extLst>
              <a:ext uri="{FF2B5EF4-FFF2-40B4-BE49-F238E27FC236}">
                <a16:creationId xmlns:a16="http://schemas.microsoft.com/office/drawing/2014/main" id="{9AC390D3-E533-4C12-AE1D-5F3CC35D323B}"/>
              </a:ext>
            </a:extLst>
          </p:cNvPr>
          <p:cNvSpPr>
            <a:spLocks noGrp="1"/>
          </p:cNvSpPr>
          <p:nvPr>
            <p:ph type="title"/>
          </p:nvPr>
        </p:nvSpPr>
        <p:spPr>
          <a:xfrm>
            <a:off x="406400" y="403225"/>
            <a:ext cx="11376025" cy="720725"/>
          </a:xfrm>
        </p:spPr>
        <p:txBody>
          <a:bodyPr/>
          <a:lstStyle/>
          <a:p>
            <a:r>
              <a:rPr lang="de-DE" altLang="de-DE" dirty="0"/>
              <a:t>Die Fed wird der EZB im 2. Halbjahr </a:t>
            </a:r>
            <a:r>
              <a:rPr lang="de-DE" altLang="de-DE" dirty="0">
                <a:solidFill>
                  <a:schemeClr val="accent2"/>
                </a:solidFill>
              </a:rPr>
              <a:t>in den Zinssenkungszyklus folgen </a:t>
            </a:r>
            <a:endParaRPr altLang="de-DE" dirty="0">
              <a:solidFill>
                <a:schemeClr val="accent2"/>
              </a:solidFill>
            </a:endParaRPr>
          </a:p>
        </p:txBody>
      </p:sp>
      <p:sp>
        <p:nvSpPr>
          <p:cNvPr id="48132" name="Textplatzhalter 7">
            <a:extLst>
              <a:ext uri="{FF2B5EF4-FFF2-40B4-BE49-F238E27FC236}">
                <a16:creationId xmlns:a16="http://schemas.microsoft.com/office/drawing/2014/main" id="{BBB234B4-1AAF-4699-9137-ED49F9A2897B}"/>
              </a:ext>
            </a:extLst>
          </p:cNvPr>
          <p:cNvSpPr>
            <a:spLocks noGrp="1"/>
          </p:cNvSpPr>
          <p:nvPr>
            <p:ph type="body" sz="quarter" idx="23"/>
          </p:nvPr>
        </p:nvSpPr>
        <p:spPr>
          <a:xfrm>
            <a:off x="437267" y="6184324"/>
            <a:ext cx="11374438" cy="307975"/>
          </a:xfrm>
        </p:spPr>
        <p:txBody>
          <a:bodyPr/>
          <a:lstStyle/>
          <a:p>
            <a:pPr>
              <a:spcBef>
                <a:spcPct val="0"/>
              </a:spcBef>
            </a:pPr>
            <a:r>
              <a:rPr altLang="de-DE" dirty="0"/>
              <a:t>Quelle: Union Investment, </a:t>
            </a:r>
            <a:r>
              <a:rPr altLang="de-DE" dirty="0" err="1"/>
              <a:t>Macrobond</a:t>
            </a:r>
            <a:r>
              <a:rPr altLang="de-DE" dirty="0"/>
              <a:t>; Stand: 15. August </a:t>
            </a:r>
            <a:r>
              <a:rPr lang="de-DE" altLang="de-DE" dirty="0"/>
              <a:t>2024. * Basispunkte</a:t>
            </a:r>
          </a:p>
          <a:p>
            <a:pPr>
              <a:spcBef>
                <a:spcPct val="0"/>
              </a:spcBef>
            </a:pPr>
            <a:r>
              <a:rPr lang="de-DE" sz="1200" dirty="0">
                <a:latin typeface="Arial" panose="020B0604020202020204" pitchFamily="34" charset="0"/>
                <a:cs typeface="Times New Roman" panose="02020603050405020304" pitchFamily="18" charset="0"/>
              </a:rPr>
              <a:t>B</a:t>
            </a:r>
            <a:r>
              <a:rPr lang="de-DE" sz="1200" dirty="0"/>
              <a:t>ei der Prognose bezogen auf den Zeitraum 06/2024 bis 12/2025 zur künftigen Entwicklung handelt es sich um keinen verlässlichen Indikator für die tatsächliche zukünftige Entwicklung, die von vielen, nicht vorhersagbaren und nicht beeinflussbaren Faktoren abhängt. Die angeführte Prognose beruht auf angemessenen, durch objektive Daten gestützten Annahmen.</a:t>
            </a:r>
          </a:p>
          <a:p>
            <a:pPr>
              <a:spcBef>
                <a:spcPct val="0"/>
              </a:spcBef>
            </a:pPr>
            <a:r>
              <a:rPr lang="de-DE" altLang="de-DE" dirty="0"/>
              <a:t>.</a:t>
            </a:r>
            <a:endParaRPr altLang="de-DE" dirty="0"/>
          </a:p>
        </p:txBody>
      </p:sp>
      <p:sp>
        <p:nvSpPr>
          <p:cNvPr id="45" name="Rechteck 44">
            <a:extLst>
              <a:ext uri="{FF2B5EF4-FFF2-40B4-BE49-F238E27FC236}">
                <a16:creationId xmlns:a16="http://schemas.microsoft.com/office/drawing/2014/main" id="{4E1E2862-1792-44D4-9D18-84BCF2C104D8}"/>
              </a:ext>
            </a:extLst>
          </p:cNvPr>
          <p:cNvSpPr/>
          <p:nvPr/>
        </p:nvSpPr>
        <p:spPr>
          <a:xfrm>
            <a:off x="417100" y="1136040"/>
            <a:ext cx="1204912" cy="21961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1981" tIns="71981" rIns="71981" bIns="71981"/>
          <a:lstStyle/>
          <a:p>
            <a:pPr>
              <a:spcBef>
                <a:spcPts val="600"/>
              </a:spcBef>
              <a:buClr>
                <a:schemeClr val="accent1"/>
              </a:buClr>
              <a:defRPr/>
            </a:pPr>
            <a:endParaRPr lang="de-DE" sz="1400">
              <a:solidFill>
                <a:srgbClr val="000000"/>
              </a:solidFill>
            </a:endParaRPr>
          </a:p>
        </p:txBody>
      </p:sp>
      <p:sp>
        <p:nvSpPr>
          <p:cNvPr id="48143" name="Pentagon 15">
            <a:extLst>
              <a:ext uri="{FF2B5EF4-FFF2-40B4-BE49-F238E27FC236}">
                <a16:creationId xmlns:a16="http://schemas.microsoft.com/office/drawing/2014/main" id="{14C93E50-91DE-4D3B-8668-8BA812CF58F3}"/>
              </a:ext>
            </a:extLst>
          </p:cNvPr>
          <p:cNvSpPr>
            <a:spLocks noChangeArrowheads="1"/>
          </p:cNvSpPr>
          <p:nvPr/>
        </p:nvSpPr>
        <p:spPr bwMode="gray">
          <a:xfrm>
            <a:off x="1512888" y="1136040"/>
            <a:ext cx="1786992" cy="2196189"/>
          </a:xfrm>
          <a:prstGeom prst="homePlate">
            <a:avLst>
              <a:gd name="adj" fmla="val 33468"/>
            </a:avLst>
          </a:prstGeom>
          <a:solidFill>
            <a:srgbClr val="1386DD"/>
          </a:solidFill>
          <a:ln>
            <a:noFill/>
          </a:ln>
        </p:spPr>
        <p:txBody>
          <a:bodyPr lIns="71981" tIns="71981" rIns="0" bIns="71981" anchor="ctr"/>
          <a:lstStyle>
            <a:lvl1pPr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a:spcBef>
                <a:spcPct val="0"/>
              </a:spcBef>
              <a:spcAft>
                <a:spcPts val="600"/>
              </a:spcAft>
              <a:buClr>
                <a:schemeClr val="bg1"/>
              </a:buClr>
            </a:pPr>
            <a:r>
              <a:rPr lang="de-DE" altLang="de-DE" sz="1400" b="0" dirty="0">
                <a:solidFill>
                  <a:srgbClr val="FFFFFF"/>
                </a:solidFill>
                <a:latin typeface="Arial"/>
                <a:cs typeface="Arial"/>
              </a:rPr>
              <a:t>Nach vier Leit-</a:t>
            </a:r>
            <a:r>
              <a:rPr lang="de-DE" altLang="de-DE" sz="1400" b="0" dirty="0" err="1">
                <a:solidFill>
                  <a:srgbClr val="FFFFFF"/>
                </a:solidFill>
                <a:latin typeface="Arial"/>
                <a:cs typeface="Arial"/>
              </a:rPr>
              <a:t>zinsanhebungen</a:t>
            </a:r>
            <a:r>
              <a:rPr lang="de-DE" altLang="de-DE" sz="1400" b="0" dirty="0">
                <a:solidFill>
                  <a:srgbClr val="FFFFFF"/>
                </a:solidFill>
                <a:latin typeface="Arial"/>
                <a:cs typeface="Arial"/>
              </a:rPr>
              <a:t> um jeweils 25 BP* ist Zinsgipfel mit 5,25 bis 5,5 Prozent im Juli erreicht</a:t>
            </a:r>
            <a:endParaRPr lang="de-DE" sz="1400" dirty="0">
              <a:latin typeface="Arial"/>
              <a:cs typeface="Arial"/>
            </a:endParaRPr>
          </a:p>
        </p:txBody>
      </p:sp>
      <p:sp>
        <p:nvSpPr>
          <p:cNvPr id="48145" name="Eingekerbter Richtungspfeil 10">
            <a:extLst>
              <a:ext uri="{FF2B5EF4-FFF2-40B4-BE49-F238E27FC236}">
                <a16:creationId xmlns:a16="http://schemas.microsoft.com/office/drawing/2014/main" id="{70B70659-0DDA-4AB2-B2FE-BB4BFBCAE63C}"/>
              </a:ext>
            </a:extLst>
          </p:cNvPr>
          <p:cNvSpPr>
            <a:spLocks noChangeArrowheads="1"/>
          </p:cNvSpPr>
          <p:nvPr/>
        </p:nvSpPr>
        <p:spPr bwMode="gray">
          <a:xfrm>
            <a:off x="2740470" y="1128237"/>
            <a:ext cx="1944000" cy="2196187"/>
          </a:xfrm>
          <a:prstGeom prst="chevron">
            <a:avLst>
              <a:gd name="adj" fmla="val 31101"/>
            </a:avLst>
          </a:prstGeom>
          <a:solidFill>
            <a:schemeClr val="accent6"/>
          </a:solidFill>
          <a:ln>
            <a:noFill/>
          </a:ln>
        </p:spPr>
        <p:txBody>
          <a:bodyPr vert="horz" lIns="36000" tIns="71981" rIns="0" bIns="71981" anchor="ctr"/>
          <a:lstStyle>
            <a:lvl1pPr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a:spcBef>
                <a:spcPts val="600"/>
              </a:spcBef>
              <a:buClr>
                <a:schemeClr val="accent1"/>
              </a:buClr>
            </a:pPr>
            <a:endParaRPr lang="de-DE" altLang="de-DE" sz="1400" dirty="0">
              <a:solidFill>
                <a:srgbClr val="000000"/>
              </a:solidFill>
            </a:endParaRPr>
          </a:p>
        </p:txBody>
      </p:sp>
      <p:sp>
        <p:nvSpPr>
          <p:cNvPr id="48146" name="Eingekerbter Richtungspfeil 10">
            <a:extLst>
              <a:ext uri="{FF2B5EF4-FFF2-40B4-BE49-F238E27FC236}">
                <a16:creationId xmlns:a16="http://schemas.microsoft.com/office/drawing/2014/main" id="{B53D9953-8839-49CF-B27A-36ED04D3F39D}"/>
              </a:ext>
            </a:extLst>
          </p:cNvPr>
          <p:cNvSpPr>
            <a:spLocks noChangeArrowheads="1"/>
          </p:cNvSpPr>
          <p:nvPr/>
        </p:nvSpPr>
        <p:spPr bwMode="gray">
          <a:xfrm>
            <a:off x="4125073" y="1136040"/>
            <a:ext cx="1944000" cy="2196187"/>
          </a:xfrm>
          <a:prstGeom prst="chevron">
            <a:avLst>
              <a:gd name="adj" fmla="val 31103"/>
            </a:avLst>
          </a:prstGeom>
          <a:solidFill>
            <a:schemeClr val="accent6"/>
          </a:solidFill>
          <a:ln>
            <a:noFill/>
          </a:ln>
        </p:spPr>
        <p:txBody>
          <a:bodyPr lIns="36000" tIns="71981" rIns="0" bIns="71981"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600"/>
              </a:spcBef>
              <a:buClr>
                <a:schemeClr val="accent1"/>
              </a:buClr>
            </a:pPr>
            <a:endParaRPr lang="de-DE" altLang="de-DE" sz="1400" dirty="0">
              <a:solidFill>
                <a:srgbClr val="FFFFFF"/>
              </a:solidFill>
              <a:cs typeface="Arial" panose="020B0604020202020204" pitchFamily="34" charset="0"/>
            </a:endParaRPr>
          </a:p>
          <a:p>
            <a:pPr>
              <a:spcBef>
                <a:spcPts val="600"/>
              </a:spcBef>
              <a:buClr>
                <a:schemeClr val="accent1"/>
              </a:buClr>
            </a:pPr>
            <a:endParaRPr lang="de-DE" altLang="de-DE" sz="1400" dirty="0">
              <a:solidFill>
                <a:srgbClr val="000000"/>
              </a:solidFill>
            </a:endParaRPr>
          </a:p>
        </p:txBody>
      </p:sp>
      <p:pic>
        <p:nvPicPr>
          <p:cNvPr id="48163" name="Grafik 67">
            <a:extLst>
              <a:ext uri="{FF2B5EF4-FFF2-40B4-BE49-F238E27FC236}">
                <a16:creationId xmlns:a16="http://schemas.microsoft.com/office/drawing/2014/main" id="{22A404F8-97EA-4584-B27E-85AD4C32919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9575" y="1687171"/>
            <a:ext cx="1103312" cy="1103313"/>
          </a:xfrm>
          <a:prstGeom prst="rect">
            <a:avLst/>
          </a:prstGeom>
          <a:solidFill>
            <a:srgbClr val="1386DD"/>
          </a:solidFill>
          <a:ln>
            <a:noFill/>
          </a:ln>
        </p:spPr>
      </p:pic>
      <p:sp>
        <p:nvSpPr>
          <p:cNvPr id="23" name="Rechteck 22">
            <a:extLst>
              <a:ext uri="{FF2B5EF4-FFF2-40B4-BE49-F238E27FC236}">
                <a16:creationId xmlns:a16="http://schemas.microsoft.com/office/drawing/2014/main" id="{581B2F1A-1242-4238-8A5F-226949D0177C}"/>
              </a:ext>
            </a:extLst>
          </p:cNvPr>
          <p:cNvSpPr/>
          <p:nvPr/>
        </p:nvSpPr>
        <p:spPr>
          <a:xfrm>
            <a:off x="409575" y="3363755"/>
            <a:ext cx="1176338" cy="219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1981" tIns="71981" rIns="71981" bIns="71981"/>
          <a:lstStyle/>
          <a:p>
            <a:pPr>
              <a:spcBef>
                <a:spcPts val="600"/>
              </a:spcBef>
              <a:buClr>
                <a:schemeClr val="accent1"/>
              </a:buClr>
              <a:defRPr/>
            </a:pPr>
            <a:endParaRPr lang="de-DE" sz="1400">
              <a:solidFill>
                <a:srgbClr val="000000"/>
              </a:solidFill>
            </a:endParaRPr>
          </a:p>
        </p:txBody>
      </p:sp>
      <p:sp>
        <p:nvSpPr>
          <p:cNvPr id="24" name="Pentagon 15">
            <a:extLst>
              <a:ext uri="{FF2B5EF4-FFF2-40B4-BE49-F238E27FC236}">
                <a16:creationId xmlns:a16="http://schemas.microsoft.com/office/drawing/2014/main" id="{331C0CDD-A934-46D8-9788-19401D3B7C42}"/>
              </a:ext>
            </a:extLst>
          </p:cNvPr>
          <p:cNvSpPr>
            <a:spLocks noChangeArrowheads="1"/>
          </p:cNvSpPr>
          <p:nvPr/>
        </p:nvSpPr>
        <p:spPr bwMode="gray">
          <a:xfrm>
            <a:off x="1524663" y="3363753"/>
            <a:ext cx="1785600" cy="2196000"/>
          </a:xfrm>
          <a:prstGeom prst="homePlate">
            <a:avLst>
              <a:gd name="adj" fmla="val 32689"/>
            </a:avLst>
          </a:prstGeom>
          <a:solidFill>
            <a:schemeClr val="tx2"/>
          </a:solidFill>
          <a:ln>
            <a:noFill/>
          </a:ln>
        </p:spPr>
        <p:txBody>
          <a:bodyPr lIns="71981" tIns="71981" rIns="0" bIns="71981" anchor="ctr"/>
          <a:lstStyle>
            <a:lvl1pPr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a:spcBef>
                <a:spcPts val="600"/>
              </a:spcBef>
              <a:buClr>
                <a:schemeClr val="accent1"/>
              </a:buClr>
            </a:pPr>
            <a:r>
              <a:rPr lang="de-DE" altLang="de-DE" sz="1400" dirty="0">
                <a:solidFill>
                  <a:srgbClr val="FFFFFF"/>
                </a:solidFill>
                <a:cs typeface="Arial" panose="020B0604020202020204" pitchFamily="34" charset="0"/>
              </a:rPr>
              <a:t>Nach zwei Leit-</a:t>
            </a:r>
            <a:r>
              <a:rPr lang="de-DE" altLang="de-DE" sz="1400" dirty="0" err="1">
                <a:solidFill>
                  <a:srgbClr val="FFFFFF"/>
                </a:solidFill>
                <a:cs typeface="Arial" panose="020B0604020202020204" pitchFamily="34" charset="0"/>
              </a:rPr>
              <a:t>zinsanhebungen</a:t>
            </a:r>
            <a:r>
              <a:rPr lang="de-DE" altLang="de-DE" sz="1400" dirty="0">
                <a:solidFill>
                  <a:srgbClr val="FFFFFF"/>
                </a:solidFill>
                <a:cs typeface="Arial" panose="020B0604020202020204" pitchFamily="34" charset="0"/>
              </a:rPr>
              <a:t> um je 50 BP und drei um 25 BP ist Zinsgipfel mit 4,0 Prozent (Einlage-satz) im Septem-</a:t>
            </a:r>
            <a:r>
              <a:rPr lang="de-DE" altLang="de-DE" sz="1400" dirty="0" err="1">
                <a:solidFill>
                  <a:srgbClr val="FFFFFF"/>
                </a:solidFill>
                <a:cs typeface="Arial" panose="020B0604020202020204" pitchFamily="34" charset="0"/>
              </a:rPr>
              <a:t>ber</a:t>
            </a:r>
            <a:r>
              <a:rPr lang="de-DE" altLang="de-DE" sz="1400" dirty="0">
                <a:solidFill>
                  <a:srgbClr val="FFFFFF"/>
                </a:solidFill>
                <a:cs typeface="Arial" panose="020B0604020202020204" pitchFamily="34" charset="0"/>
              </a:rPr>
              <a:t> erreicht</a:t>
            </a:r>
            <a:endParaRPr lang="de-DE" altLang="de-DE" sz="1400" dirty="0">
              <a:solidFill>
                <a:srgbClr val="000000"/>
              </a:solidFill>
            </a:endParaRPr>
          </a:p>
        </p:txBody>
      </p:sp>
      <p:sp>
        <p:nvSpPr>
          <p:cNvPr id="26" name="Eingekerbter Richtungspfeil 8">
            <a:extLst>
              <a:ext uri="{FF2B5EF4-FFF2-40B4-BE49-F238E27FC236}">
                <a16:creationId xmlns:a16="http://schemas.microsoft.com/office/drawing/2014/main" id="{4FB84DEB-55BF-4C10-9C41-D00123D1B117}"/>
              </a:ext>
            </a:extLst>
          </p:cNvPr>
          <p:cNvSpPr>
            <a:spLocks noChangeArrowheads="1"/>
          </p:cNvSpPr>
          <p:nvPr/>
        </p:nvSpPr>
        <p:spPr bwMode="gray">
          <a:xfrm>
            <a:off x="2759720" y="3363750"/>
            <a:ext cx="1944000" cy="2195999"/>
          </a:xfrm>
          <a:prstGeom prst="chevron">
            <a:avLst>
              <a:gd name="adj" fmla="val 31087"/>
            </a:avLst>
          </a:prstGeom>
          <a:solidFill>
            <a:schemeClr val="tx2"/>
          </a:solidFill>
          <a:ln>
            <a:noFill/>
          </a:ln>
          <a:extLst>
            <a:ext uri="{91240B29-F687-4F45-9708-019B960494DF}">
              <a14:hiddenLine xmlns:a14="http://schemas.microsoft.com/office/drawing/2010/main" w="9525" algn="ctr">
                <a:solidFill>
                  <a:srgbClr val="000000"/>
                </a:solidFill>
                <a:round/>
                <a:headEnd/>
                <a:tailEnd/>
              </a14:hiddenLine>
            </a:ext>
          </a:extLst>
        </p:spPr>
        <p:txBody>
          <a:bodyPr lIns="71981" tIns="71981" rIns="0" bIns="71981"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600"/>
              </a:spcBef>
              <a:buClr>
                <a:schemeClr val="accent1"/>
              </a:buClr>
            </a:pPr>
            <a:endParaRPr lang="de-DE" altLang="de-DE" sz="1400" dirty="0">
              <a:solidFill>
                <a:srgbClr val="000000"/>
              </a:solidFill>
            </a:endParaRPr>
          </a:p>
        </p:txBody>
      </p:sp>
      <p:sp>
        <p:nvSpPr>
          <p:cNvPr id="27" name="Eingekerbter Richtungspfeil 10">
            <a:extLst>
              <a:ext uri="{FF2B5EF4-FFF2-40B4-BE49-F238E27FC236}">
                <a16:creationId xmlns:a16="http://schemas.microsoft.com/office/drawing/2014/main" id="{D0D8591C-CD71-42F2-893C-0DC059702E30}"/>
              </a:ext>
            </a:extLst>
          </p:cNvPr>
          <p:cNvSpPr>
            <a:spLocks noChangeArrowheads="1"/>
          </p:cNvSpPr>
          <p:nvPr/>
        </p:nvSpPr>
        <p:spPr bwMode="gray">
          <a:xfrm>
            <a:off x="4150412" y="3371553"/>
            <a:ext cx="1961630" cy="2196000"/>
          </a:xfrm>
          <a:prstGeom prst="chevron">
            <a:avLst>
              <a:gd name="adj" fmla="val 31095"/>
            </a:avLst>
          </a:prstGeom>
          <a:solidFill>
            <a:schemeClr val="tx2"/>
          </a:solidFill>
          <a:ln>
            <a:noFill/>
          </a:ln>
        </p:spPr>
        <p:txBody>
          <a:bodyPr lIns="71981" tIns="71981" rIns="0" bIns="71981" anchor="ctr"/>
          <a:lstStyle>
            <a:lvl1pPr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a:spcBef>
                <a:spcPts val="600"/>
              </a:spcBef>
              <a:buClr>
                <a:schemeClr val="accent1"/>
              </a:buClr>
            </a:pPr>
            <a:endParaRPr lang="de-DE" altLang="de-DE" sz="1400" dirty="0">
              <a:solidFill>
                <a:srgbClr val="000000"/>
              </a:solidFill>
            </a:endParaRPr>
          </a:p>
        </p:txBody>
      </p:sp>
      <p:sp>
        <p:nvSpPr>
          <p:cNvPr id="28" name="Ellipse 27">
            <a:extLst>
              <a:ext uri="{FF2B5EF4-FFF2-40B4-BE49-F238E27FC236}">
                <a16:creationId xmlns:a16="http://schemas.microsoft.com/office/drawing/2014/main" id="{34B7E3A1-8D26-4748-8686-6A66AD8E1D26}"/>
              </a:ext>
            </a:extLst>
          </p:cNvPr>
          <p:cNvSpPr/>
          <p:nvPr/>
        </p:nvSpPr>
        <p:spPr>
          <a:xfrm>
            <a:off x="523875" y="4183536"/>
            <a:ext cx="866775" cy="86677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lstStyle/>
          <a:p>
            <a:pPr eaLnBrk="1" fontAlgn="auto" hangingPunct="1">
              <a:spcBef>
                <a:spcPts val="600"/>
              </a:spcBef>
              <a:spcAft>
                <a:spcPts val="0"/>
              </a:spcAft>
              <a:buClr>
                <a:schemeClr val="accent1"/>
              </a:buClr>
              <a:defRPr/>
            </a:pPr>
            <a:endParaRPr lang="de-DE" sz="1400">
              <a:solidFill>
                <a:srgbClr val="000000"/>
              </a:solidFill>
            </a:endParaRPr>
          </a:p>
        </p:txBody>
      </p:sp>
      <p:pic>
        <p:nvPicPr>
          <p:cNvPr id="30" name="Inhaltsplatzhalter 10">
            <a:extLst>
              <a:ext uri="{FF2B5EF4-FFF2-40B4-BE49-F238E27FC236}">
                <a16:creationId xmlns:a16="http://schemas.microsoft.com/office/drawing/2014/main" id="{8E1F3805-53BE-4E2F-9BD7-CD4F68E81A9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43648" r="36066" b="42531"/>
          <a:stretch>
            <a:fillRect/>
          </a:stretch>
        </p:blipFill>
        <p:spPr bwMode="auto">
          <a:xfrm>
            <a:off x="437267" y="3869947"/>
            <a:ext cx="1204912" cy="106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Foliennummernplatzhalter 7">
            <a:extLst>
              <a:ext uri="{FF2B5EF4-FFF2-40B4-BE49-F238E27FC236}">
                <a16:creationId xmlns:a16="http://schemas.microsoft.com/office/drawing/2014/main" id="{421028BF-AC55-4C68-BE17-8573E2BFB2FC}"/>
              </a:ext>
            </a:extLst>
          </p:cNvPr>
          <p:cNvSpPr txBox="1">
            <a:spLocks/>
          </p:cNvSpPr>
          <p:nvPr/>
        </p:nvSpPr>
        <p:spPr>
          <a:xfrm>
            <a:off x="11504750" y="151200"/>
            <a:ext cx="280800" cy="180000"/>
          </a:xfrm>
          <a:prstGeom prst="rect">
            <a:avLst/>
          </a:prstGeom>
        </p:spPr>
        <p:txBody>
          <a:bodyPr vert="horz" lIns="0" tIns="0" rIns="0" bIns="0" rtlCol="0" anchor="t"/>
          <a:lstStyle>
            <a:defPPr>
              <a:defRPr lang="de-DE"/>
            </a:defPPr>
            <a:lvl1pPr algn="r">
              <a:defRPr sz="1000">
                <a:solidFill>
                  <a:srgbClr val="888888"/>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89B081-1F44-4440-BC7B-989C90F97B77}" type="slidenum">
              <a:rPr lang="de-DE"/>
              <a:pPr/>
              <a:t>7</a:t>
            </a:fld>
            <a:endParaRPr lang="de-DE"/>
          </a:p>
        </p:txBody>
      </p:sp>
      <p:sp>
        <p:nvSpPr>
          <p:cNvPr id="3" name="Foliennummernplatzhalter 2">
            <a:extLst>
              <a:ext uri="{FF2B5EF4-FFF2-40B4-BE49-F238E27FC236}">
                <a16:creationId xmlns:a16="http://schemas.microsoft.com/office/drawing/2014/main" id="{D091B654-C866-44F0-9148-49116F58EDCC}"/>
              </a:ext>
            </a:extLst>
          </p:cNvPr>
          <p:cNvSpPr>
            <a:spLocks noGrp="1"/>
          </p:cNvSpPr>
          <p:nvPr>
            <p:ph type="sldNum" sz="quarter" idx="26"/>
          </p:nvPr>
        </p:nvSpPr>
        <p:spPr/>
        <p:txBody>
          <a:bodyPr/>
          <a:lstStyle/>
          <a:p>
            <a:fld id="{9C89B081-1F44-4440-BC7B-989C90F97B77}" type="slidenum">
              <a:rPr lang="de-DE" smtClean="0"/>
              <a:pPr/>
              <a:t>7</a:t>
            </a:fld>
            <a:endParaRPr lang="de-DE"/>
          </a:p>
        </p:txBody>
      </p:sp>
      <p:sp>
        <p:nvSpPr>
          <p:cNvPr id="4" name="Textfeld 52">
            <a:extLst>
              <a:ext uri="{FF2B5EF4-FFF2-40B4-BE49-F238E27FC236}">
                <a16:creationId xmlns:a16="http://schemas.microsoft.com/office/drawing/2014/main" id="{8E5EE977-58CA-7183-A98D-BB1992E60004}"/>
              </a:ext>
            </a:extLst>
          </p:cNvPr>
          <p:cNvSpPr txBox="1">
            <a:spLocks noChangeArrowheads="1"/>
          </p:cNvSpPr>
          <p:nvPr/>
        </p:nvSpPr>
        <p:spPr bwMode="auto">
          <a:xfrm>
            <a:off x="1892247" y="772512"/>
            <a:ext cx="600659" cy="391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600"/>
              </a:spcBef>
              <a:buClr>
                <a:schemeClr val="accent1"/>
              </a:buClr>
            </a:pPr>
            <a:r>
              <a:rPr lang="de-DE" altLang="de-DE" sz="1600" dirty="0">
                <a:solidFill>
                  <a:srgbClr val="003F74"/>
                </a:solidFill>
              </a:rPr>
              <a:t>2023</a:t>
            </a:r>
          </a:p>
        </p:txBody>
      </p:sp>
      <p:sp>
        <p:nvSpPr>
          <p:cNvPr id="6" name="Textfeld 53">
            <a:extLst>
              <a:ext uri="{FF2B5EF4-FFF2-40B4-BE49-F238E27FC236}">
                <a16:creationId xmlns:a16="http://schemas.microsoft.com/office/drawing/2014/main" id="{C8679B4D-3A23-1648-4542-CD014FB38429}"/>
              </a:ext>
            </a:extLst>
          </p:cNvPr>
          <p:cNvSpPr txBox="1">
            <a:spLocks noChangeArrowheads="1"/>
          </p:cNvSpPr>
          <p:nvPr/>
        </p:nvSpPr>
        <p:spPr bwMode="auto">
          <a:xfrm>
            <a:off x="3247114" y="772512"/>
            <a:ext cx="600659" cy="391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600"/>
              </a:spcBef>
              <a:buClr>
                <a:schemeClr val="accent1"/>
              </a:buClr>
            </a:pPr>
            <a:r>
              <a:rPr lang="de-DE" altLang="de-DE" sz="1600" dirty="0">
                <a:solidFill>
                  <a:srgbClr val="003F74"/>
                </a:solidFill>
              </a:rPr>
              <a:t>2024</a:t>
            </a:r>
          </a:p>
        </p:txBody>
      </p:sp>
      <p:sp>
        <p:nvSpPr>
          <p:cNvPr id="14" name="Textfeld 54">
            <a:extLst>
              <a:ext uri="{FF2B5EF4-FFF2-40B4-BE49-F238E27FC236}">
                <a16:creationId xmlns:a16="http://schemas.microsoft.com/office/drawing/2014/main" id="{CD796FE9-4001-7981-B6BC-8D7A84A2AF54}"/>
              </a:ext>
            </a:extLst>
          </p:cNvPr>
          <p:cNvSpPr txBox="1">
            <a:spLocks noChangeArrowheads="1"/>
          </p:cNvSpPr>
          <p:nvPr/>
        </p:nvSpPr>
        <p:spPr bwMode="auto">
          <a:xfrm>
            <a:off x="4684470" y="772512"/>
            <a:ext cx="600659" cy="391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ts val="600"/>
              </a:spcBef>
              <a:buClr>
                <a:schemeClr val="accent1"/>
              </a:buClr>
            </a:pPr>
            <a:r>
              <a:rPr lang="de-DE" altLang="de-DE" sz="1600" dirty="0">
                <a:solidFill>
                  <a:srgbClr val="003F74"/>
                </a:solidFill>
              </a:rPr>
              <a:t>2025</a:t>
            </a:r>
          </a:p>
        </p:txBody>
      </p:sp>
      <p:sp>
        <p:nvSpPr>
          <p:cNvPr id="10" name="Textfeld 9">
            <a:extLst>
              <a:ext uri="{FF2B5EF4-FFF2-40B4-BE49-F238E27FC236}">
                <a16:creationId xmlns:a16="http://schemas.microsoft.com/office/drawing/2014/main" id="{A3B59FA4-8866-9DA1-0A3C-9336B07C916C}"/>
              </a:ext>
            </a:extLst>
          </p:cNvPr>
          <p:cNvSpPr txBox="1"/>
          <p:nvPr/>
        </p:nvSpPr>
        <p:spPr>
          <a:xfrm>
            <a:off x="3182462" y="1541635"/>
            <a:ext cx="1418644" cy="1384995"/>
          </a:xfrm>
          <a:prstGeom prst="rect">
            <a:avLst/>
          </a:prstGeom>
          <a:noFill/>
        </p:spPr>
        <p:txBody>
          <a:bodyPr wrap="square">
            <a:spAutoFit/>
          </a:bodyPr>
          <a:lstStyle/>
          <a:p>
            <a:pPr>
              <a:spcBef>
                <a:spcPts val="600"/>
              </a:spcBef>
              <a:buClr>
                <a:schemeClr val="accent1"/>
              </a:buClr>
              <a:tabLst>
                <a:tab pos="182563" algn="l"/>
              </a:tabLst>
            </a:pPr>
            <a:r>
              <a:rPr lang="de-DE" altLang="de-DE" sz="1400" dirty="0" err="1">
                <a:solidFill>
                  <a:schemeClr val="bg1"/>
                </a:solidFill>
                <a:cs typeface="Arial" panose="020B0604020202020204" pitchFamily="34" charset="0"/>
              </a:rPr>
              <a:t>Zinssenkun</a:t>
            </a:r>
            <a:r>
              <a:rPr lang="de-DE" altLang="de-DE" sz="1400" dirty="0">
                <a:solidFill>
                  <a:schemeClr val="bg1"/>
                </a:solidFill>
                <a:cs typeface="Arial" panose="020B0604020202020204" pitchFamily="34" charset="0"/>
              </a:rPr>
              <a:t>-gen ab Sep-    	</a:t>
            </a:r>
            <a:r>
              <a:rPr lang="de-DE" altLang="de-DE" sz="1400" dirty="0" err="1">
                <a:solidFill>
                  <a:schemeClr val="bg1"/>
                </a:solidFill>
                <a:cs typeface="Arial" panose="020B0604020202020204" pitchFamily="34" charset="0"/>
              </a:rPr>
              <a:t>tember</a:t>
            </a:r>
            <a:r>
              <a:rPr lang="de-DE" altLang="de-DE" sz="1400" dirty="0">
                <a:solidFill>
                  <a:schemeClr val="bg1"/>
                </a:solidFill>
                <a:cs typeface="Arial" panose="020B0604020202020204" pitchFamily="34" charset="0"/>
              </a:rPr>
              <a:t> um 	</a:t>
            </a:r>
            <a:r>
              <a:rPr lang="de-DE" altLang="de-DE" sz="1400">
                <a:solidFill>
                  <a:schemeClr val="bg1"/>
                </a:solidFill>
                <a:cs typeface="Arial" panose="020B0604020202020204" pitchFamily="34" charset="0"/>
              </a:rPr>
              <a:t>insgesamt 50 </a:t>
            </a:r>
            <a:r>
              <a:rPr lang="de-DE" altLang="de-DE" sz="1400" dirty="0">
                <a:solidFill>
                  <a:schemeClr val="bg1"/>
                </a:solidFill>
                <a:cs typeface="Arial" panose="020B0604020202020204" pitchFamily="34" charset="0"/>
              </a:rPr>
              <a:t>BP auf 4,75  bis 5 Prozent</a:t>
            </a:r>
            <a:endParaRPr lang="de-DE" altLang="de-DE" sz="1400" dirty="0">
              <a:solidFill>
                <a:schemeClr val="bg1"/>
              </a:solidFill>
            </a:endParaRPr>
          </a:p>
        </p:txBody>
      </p:sp>
      <p:sp>
        <p:nvSpPr>
          <p:cNvPr id="12" name="Textfeld 11">
            <a:extLst>
              <a:ext uri="{FF2B5EF4-FFF2-40B4-BE49-F238E27FC236}">
                <a16:creationId xmlns:a16="http://schemas.microsoft.com/office/drawing/2014/main" id="{C74B9EE1-ABB1-A90B-47FC-4C1DB5B50850}"/>
              </a:ext>
            </a:extLst>
          </p:cNvPr>
          <p:cNvSpPr txBox="1"/>
          <p:nvPr/>
        </p:nvSpPr>
        <p:spPr>
          <a:xfrm>
            <a:off x="4559381" y="1451723"/>
            <a:ext cx="1379396" cy="1600438"/>
          </a:xfrm>
          <a:prstGeom prst="rect">
            <a:avLst/>
          </a:prstGeom>
          <a:noFill/>
        </p:spPr>
        <p:txBody>
          <a:bodyPr wrap="square">
            <a:spAutoFit/>
          </a:bodyPr>
          <a:lstStyle/>
          <a:p>
            <a:pPr>
              <a:spcBef>
                <a:spcPts val="600"/>
              </a:spcBef>
              <a:buClr>
                <a:schemeClr val="accent1"/>
              </a:buClr>
              <a:tabLst>
                <a:tab pos="182563" algn="l"/>
              </a:tabLst>
            </a:pPr>
            <a:r>
              <a:rPr lang="de-DE" altLang="de-DE" sz="1400" dirty="0" err="1">
                <a:solidFill>
                  <a:srgbClr val="FFFFFF"/>
                </a:solidFill>
                <a:cs typeface="Arial" panose="020B0604020202020204" pitchFamily="34" charset="0"/>
              </a:rPr>
              <a:t>Zinssenkun</a:t>
            </a:r>
            <a:r>
              <a:rPr lang="de-DE" altLang="de-DE" sz="1400" dirty="0">
                <a:solidFill>
                  <a:srgbClr val="FFFFFF"/>
                </a:solidFill>
                <a:cs typeface="Arial" panose="020B0604020202020204" pitchFamily="34" charset="0"/>
              </a:rPr>
              <a:t>-gen im ersten 	Halbjahr um 	insgesamt 	50 BP auf  4,25 bis 4,5 Prozent</a:t>
            </a:r>
            <a:endParaRPr lang="de-DE" altLang="de-DE" sz="1400" dirty="0">
              <a:solidFill>
                <a:srgbClr val="000000"/>
              </a:solidFill>
            </a:endParaRPr>
          </a:p>
        </p:txBody>
      </p:sp>
      <p:sp>
        <p:nvSpPr>
          <p:cNvPr id="15" name="Textfeld 14">
            <a:extLst>
              <a:ext uri="{FF2B5EF4-FFF2-40B4-BE49-F238E27FC236}">
                <a16:creationId xmlns:a16="http://schemas.microsoft.com/office/drawing/2014/main" id="{1F558099-66FD-75F2-A6D2-F15DD19FE83C}"/>
              </a:ext>
            </a:extLst>
          </p:cNvPr>
          <p:cNvSpPr txBox="1"/>
          <p:nvPr/>
        </p:nvSpPr>
        <p:spPr>
          <a:xfrm>
            <a:off x="3247114" y="3651336"/>
            <a:ext cx="1312267" cy="1600438"/>
          </a:xfrm>
          <a:prstGeom prst="rect">
            <a:avLst/>
          </a:prstGeom>
          <a:noFill/>
        </p:spPr>
        <p:txBody>
          <a:bodyPr wrap="square">
            <a:spAutoFit/>
          </a:bodyPr>
          <a:lstStyle/>
          <a:p>
            <a:pPr>
              <a:spcBef>
                <a:spcPts val="600"/>
              </a:spcBef>
              <a:buClr>
                <a:schemeClr val="accent1"/>
              </a:buClr>
              <a:tabLst>
                <a:tab pos="182563" algn="l"/>
              </a:tabLst>
            </a:pPr>
            <a:r>
              <a:rPr lang="de-DE" altLang="de-DE" sz="1400" dirty="0" err="1">
                <a:solidFill>
                  <a:srgbClr val="FFFFFF"/>
                </a:solidFill>
                <a:cs typeface="Arial" panose="020B0604020202020204" pitchFamily="34" charset="0"/>
              </a:rPr>
              <a:t>Zinssenkun</a:t>
            </a:r>
            <a:r>
              <a:rPr lang="de-DE" altLang="de-DE" sz="1400" dirty="0">
                <a:solidFill>
                  <a:srgbClr val="FFFFFF"/>
                </a:solidFill>
                <a:cs typeface="Arial" panose="020B0604020202020204" pitchFamily="34" charset="0"/>
              </a:rPr>
              <a:t>-gen ab Juni um insgesamt 	75 BP auf 3,25 Prozent (Einlagesatz) Ende 2024</a:t>
            </a:r>
            <a:endParaRPr lang="de-DE" altLang="de-DE" sz="1400" dirty="0">
              <a:solidFill>
                <a:srgbClr val="000000"/>
              </a:solidFill>
            </a:endParaRPr>
          </a:p>
        </p:txBody>
      </p:sp>
      <p:sp>
        <p:nvSpPr>
          <p:cNvPr id="17" name="Textfeld 16">
            <a:extLst>
              <a:ext uri="{FF2B5EF4-FFF2-40B4-BE49-F238E27FC236}">
                <a16:creationId xmlns:a16="http://schemas.microsoft.com/office/drawing/2014/main" id="{CA92E21F-0FFD-2166-B124-CF2CD3175F68}"/>
              </a:ext>
            </a:extLst>
          </p:cNvPr>
          <p:cNvSpPr txBox="1"/>
          <p:nvPr/>
        </p:nvSpPr>
        <p:spPr>
          <a:xfrm>
            <a:off x="4583471" y="3793970"/>
            <a:ext cx="1403315" cy="1384995"/>
          </a:xfrm>
          <a:prstGeom prst="rect">
            <a:avLst/>
          </a:prstGeom>
          <a:noFill/>
        </p:spPr>
        <p:txBody>
          <a:bodyPr wrap="square">
            <a:spAutoFit/>
          </a:bodyPr>
          <a:lstStyle/>
          <a:p>
            <a:pPr>
              <a:tabLst>
                <a:tab pos="182563" algn="l"/>
              </a:tabLst>
            </a:pPr>
            <a:r>
              <a:rPr lang="de-DE" altLang="de-DE" sz="1400" dirty="0" err="1">
                <a:solidFill>
                  <a:srgbClr val="FFFFFF"/>
                </a:solidFill>
                <a:cs typeface="Arial" panose="020B0604020202020204" pitchFamily="34" charset="0"/>
              </a:rPr>
              <a:t>Zinssenkun</a:t>
            </a:r>
            <a:r>
              <a:rPr lang="de-DE" altLang="de-DE" sz="1400" dirty="0">
                <a:solidFill>
                  <a:srgbClr val="FFFFFF"/>
                </a:solidFill>
                <a:cs typeface="Arial" panose="020B0604020202020204" pitchFamily="34" charset="0"/>
              </a:rPr>
              <a:t>-gen um </a:t>
            </a:r>
            <a:r>
              <a:rPr lang="de-DE" altLang="de-DE" sz="1400" dirty="0" err="1">
                <a:solidFill>
                  <a:srgbClr val="FFFFFF"/>
                </a:solidFill>
                <a:cs typeface="Arial" panose="020B0604020202020204" pitchFamily="34" charset="0"/>
              </a:rPr>
              <a:t>insge</a:t>
            </a:r>
            <a:r>
              <a:rPr lang="de-DE" altLang="de-DE" sz="1400" dirty="0">
                <a:solidFill>
                  <a:srgbClr val="FFFFFF"/>
                </a:solidFill>
                <a:cs typeface="Arial" panose="020B0604020202020204" pitchFamily="34" charset="0"/>
              </a:rPr>
              <a:t>-	samt 100 BP 	auf 2,25 Pro-zent (Einlage-satz)</a:t>
            </a:r>
            <a:endParaRPr lang="de-DE" sz="1400" dirty="0"/>
          </a:p>
        </p:txBody>
      </p:sp>
      <p:sp>
        <p:nvSpPr>
          <p:cNvPr id="18" name="Textplatzhalter 20">
            <a:extLst>
              <a:ext uri="{FF2B5EF4-FFF2-40B4-BE49-F238E27FC236}">
                <a16:creationId xmlns:a16="http://schemas.microsoft.com/office/drawing/2014/main" id="{0F2B4D4A-A35C-99D5-2E69-F6610749A9EF}"/>
              </a:ext>
            </a:extLst>
          </p:cNvPr>
          <p:cNvSpPr txBox="1">
            <a:spLocks/>
          </p:cNvSpPr>
          <p:nvPr/>
        </p:nvSpPr>
        <p:spPr>
          <a:xfrm>
            <a:off x="6173150" y="807629"/>
            <a:ext cx="5472000" cy="276999"/>
          </a:xfrm>
          <a:prstGeom prst="rect">
            <a:avLst/>
          </a:prstGeom>
        </p:spPr>
        <p:txBody>
          <a:bodyPr/>
          <a:lstStyle>
            <a:lvl1pPr marL="0" indent="0" algn="l" defTabSz="914400" rtl="0" eaLnBrk="1" latinLnBrk="0" hangingPunct="1">
              <a:spcBef>
                <a:spcPts val="1200"/>
              </a:spcBef>
              <a:buFont typeface="Arial" panose="020B0604020202020204" pitchFamily="34" charset="0"/>
              <a:buNone/>
              <a:defRPr lang="de-DE" sz="1800" b="0" kern="1200" dirty="0">
                <a:solidFill>
                  <a:schemeClr val="tx2"/>
                </a:solidFill>
                <a:latin typeface="+mn-lt"/>
                <a:ea typeface="+mn-ea"/>
                <a:cs typeface="+mn-cs"/>
              </a:defRPr>
            </a:lvl1pPr>
            <a:lvl2pPr marL="0" indent="0" algn="l" defTabSz="914400" rtl="0" eaLnBrk="1" latinLnBrk="0" hangingPunct="1">
              <a:spcBef>
                <a:spcPts val="600"/>
              </a:spcBef>
              <a:buFont typeface="Arial" panose="020B0604020202020204" pitchFamily="34" charset="0"/>
              <a:buNone/>
              <a:defRPr lang="de-DE" sz="1800" kern="1200" dirty="0">
                <a:solidFill>
                  <a:schemeClr val="tx1"/>
                </a:solidFill>
                <a:latin typeface="+mn-lt"/>
                <a:ea typeface="+mn-ea"/>
                <a:cs typeface="+mn-cs"/>
              </a:defRPr>
            </a:lvl2pPr>
            <a:lvl3pPr marL="180000" indent="-180000" algn="l" defTabSz="914400" rtl="0" eaLnBrk="1" latinLnBrk="0" hangingPunct="1">
              <a:spcBef>
                <a:spcPts val="600"/>
              </a:spcBef>
              <a:buClrTx/>
              <a:buFont typeface="Wingdings" panose="05000000000000000000" pitchFamily="2" charset="2"/>
              <a:buChar char=""/>
              <a:defRPr lang="de-DE" sz="1800" kern="1200" dirty="0">
                <a:solidFill>
                  <a:schemeClr val="tx1"/>
                </a:solidFill>
                <a:latin typeface="+mn-lt"/>
                <a:ea typeface="+mn-ea"/>
                <a:cs typeface="+mn-cs"/>
              </a:defRPr>
            </a:lvl3pPr>
            <a:lvl4pPr marL="360000" indent="-180000" algn="l" defTabSz="914400" rtl="0" eaLnBrk="1" latinLnBrk="0" hangingPunct="1">
              <a:spcBef>
                <a:spcPts val="400"/>
              </a:spcBef>
              <a:buClrTx/>
              <a:buFont typeface="Arial" panose="020B0604020202020204" pitchFamily="34" charset="0"/>
              <a:buChar char="•"/>
              <a:defRPr lang="de-DE" sz="1800" kern="1200" dirty="0">
                <a:solidFill>
                  <a:schemeClr val="tx1"/>
                </a:solidFill>
                <a:latin typeface="+mn-lt"/>
                <a:ea typeface="+mn-ea"/>
                <a:cs typeface="+mn-cs"/>
              </a:defRPr>
            </a:lvl4pPr>
            <a:lvl5pPr marL="576000" indent="-216000" algn="l" defTabSz="914400" rtl="0" eaLnBrk="1" latinLnBrk="0" hangingPunct="1">
              <a:spcBef>
                <a:spcPts val="400"/>
              </a:spcBef>
              <a:buFont typeface="Symbol" panose="05050102010706020507" pitchFamily="18" charset="2"/>
              <a:buChar char="-"/>
              <a:defRPr lang="de-DE" sz="1800" kern="1200" dirty="0">
                <a:solidFill>
                  <a:schemeClr val="tx1"/>
                </a:solidFill>
                <a:latin typeface="+mn-lt"/>
                <a:ea typeface="+mn-ea"/>
                <a:cs typeface="+mn-cs"/>
              </a:defRPr>
            </a:lvl5pPr>
            <a:lvl6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6pPr>
            <a:lvl7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7pPr>
            <a:lvl8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8pPr>
            <a:lvl9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9pPr>
          </a:lstStyle>
          <a:p>
            <a:r>
              <a:rPr lang="de-DE" dirty="0">
                <a:solidFill>
                  <a:schemeClr val="accent2"/>
                </a:solidFill>
              </a:rPr>
              <a:t>Saldo der globalen Leitzinserhöhungen/-senkungen</a:t>
            </a:r>
          </a:p>
        </p:txBody>
      </p:sp>
      <p:sp>
        <p:nvSpPr>
          <p:cNvPr id="19" name="Textplatzhalter 7">
            <a:extLst>
              <a:ext uri="{FF2B5EF4-FFF2-40B4-BE49-F238E27FC236}">
                <a16:creationId xmlns:a16="http://schemas.microsoft.com/office/drawing/2014/main" id="{69AAC010-1383-4596-FD0B-5075F4865D0C}"/>
              </a:ext>
            </a:extLst>
          </p:cNvPr>
          <p:cNvSpPr txBox="1">
            <a:spLocks/>
          </p:cNvSpPr>
          <p:nvPr/>
        </p:nvSpPr>
        <p:spPr>
          <a:xfrm>
            <a:off x="6313611" y="1140869"/>
            <a:ext cx="5472000" cy="215444"/>
          </a:xfrm>
          <a:prstGeom prst="rect">
            <a:avLst/>
          </a:prstGeom>
        </p:spPr>
        <p:txBody>
          <a:bodyPr/>
          <a:lstStyle>
            <a:lvl1pPr marL="0" indent="0" algn="l" defTabSz="914400" rtl="0" eaLnBrk="1" latinLnBrk="0" hangingPunct="1">
              <a:spcBef>
                <a:spcPts val="1200"/>
              </a:spcBef>
              <a:buFont typeface="Arial" panose="020B0604020202020204" pitchFamily="34" charset="0"/>
              <a:buNone/>
              <a:defRPr lang="de-DE" sz="1800" b="0" kern="1200" dirty="0">
                <a:solidFill>
                  <a:schemeClr val="tx2"/>
                </a:solidFill>
                <a:latin typeface="+mn-lt"/>
                <a:ea typeface="+mn-ea"/>
                <a:cs typeface="+mn-cs"/>
              </a:defRPr>
            </a:lvl1pPr>
            <a:lvl2pPr marL="0" indent="0" algn="l" defTabSz="914400" rtl="0" eaLnBrk="1" latinLnBrk="0" hangingPunct="1">
              <a:spcBef>
                <a:spcPts val="600"/>
              </a:spcBef>
              <a:buFont typeface="Arial" panose="020B0604020202020204" pitchFamily="34" charset="0"/>
              <a:buNone/>
              <a:defRPr lang="de-DE" sz="1800" kern="1200" dirty="0">
                <a:solidFill>
                  <a:schemeClr val="tx1"/>
                </a:solidFill>
                <a:latin typeface="+mn-lt"/>
                <a:ea typeface="+mn-ea"/>
                <a:cs typeface="+mn-cs"/>
              </a:defRPr>
            </a:lvl2pPr>
            <a:lvl3pPr marL="180000" indent="-180000" algn="l" defTabSz="914400" rtl="0" eaLnBrk="1" latinLnBrk="0" hangingPunct="1">
              <a:spcBef>
                <a:spcPts val="600"/>
              </a:spcBef>
              <a:buClrTx/>
              <a:buFont typeface="Wingdings" panose="05000000000000000000" pitchFamily="2" charset="2"/>
              <a:buChar char=""/>
              <a:defRPr lang="de-DE" sz="1800" kern="1200" dirty="0">
                <a:solidFill>
                  <a:schemeClr val="tx1"/>
                </a:solidFill>
                <a:latin typeface="+mn-lt"/>
                <a:ea typeface="+mn-ea"/>
                <a:cs typeface="+mn-cs"/>
              </a:defRPr>
            </a:lvl3pPr>
            <a:lvl4pPr marL="360000" indent="-180000" algn="l" defTabSz="914400" rtl="0" eaLnBrk="1" latinLnBrk="0" hangingPunct="1">
              <a:spcBef>
                <a:spcPts val="400"/>
              </a:spcBef>
              <a:buClrTx/>
              <a:buFont typeface="Arial" panose="020B0604020202020204" pitchFamily="34" charset="0"/>
              <a:buChar char="•"/>
              <a:defRPr lang="de-DE" sz="1800" kern="1200" dirty="0">
                <a:solidFill>
                  <a:schemeClr val="tx1"/>
                </a:solidFill>
                <a:latin typeface="+mn-lt"/>
                <a:ea typeface="+mn-ea"/>
                <a:cs typeface="+mn-cs"/>
              </a:defRPr>
            </a:lvl4pPr>
            <a:lvl5pPr marL="576000" indent="-216000" algn="l" defTabSz="914400" rtl="0" eaLnBrk="1" latinLnBrk="0" hangingPunct="1">
              <a:spcBef>
                <a:spcPts val="400"/>
              </a:spcBef>
              <a:buFont typeface="Symbol" panose="05050102010706020507" pitchFamily="18" charset="2"/>
              <a:buChar char="-"/>
              <a:defRPr lang="de-DE" sz="1800" kern="1200" dirty="0">
                <a:solidFill>
                  <a:schemeClr val="tx1"/>
                </a:solidFill>
                <a:latin typeface="+mn-lt"/>
                <a:ea typeface="+mn-ea"/>
                <a:cs typeface="+mn-cs"/>
              </a:defRPr>
            </a:lvl5pPr>
            <a:lvl6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6pPr>
            <a:lvl7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7pPr>
            <a:lvl8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8pPr>
            <a:lvl9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9pPr>
          </a:lstStyle>
          <a:p>
            <a:r>
              <a:rPr lang="de-DE"/>
              <a:t>	</a:t>
            </a:r>
          </a:p>
        </p:txBody>
      </p:sp>
      <p:graphicFrame>
        <p:nvGraphicFramePr>
          <p:cNvPr id="20" name="Object 4">
            <a:extLst>
              <a:ext uri="{FF2B5EF4-FFF2-40B4-BE49-F238E27FC236}">
                <a16:creationId xmlns:a16="http://schemas.microsoft.com/office/drawing/2014/main" id="{C55C1356-7A3C-C9B6-124C-758FD2117217}"/>
              </a:ext>
            </a:extLst>
          </p:cNvPr>
          <p:cNvGraphicFramePr>
            <a:graphicFrameLocks noChangeAspect="1"/>
          </p:cNvGraphicFramePr>
          <p:nvPr>
            <p:extLst>
              <p:ext uri="{D42A27DB-BD31-4B8C-83A1-F6EECF244321}">
                <p14:modId xmlns:p14="http://schemas.microsoft.com/office/powerpoint/2010/main" val="3916854522"/>
              </p:ext>
            </p:extLst>
          </p:nvPr>
        </p:nvGraphicFramePr>
        <p:xfrm>
          <a:off x="6313488" y="1509972"/>
          <a:ext cx="5472112" cy="4248150"/>
        </p:xfrm>
        <a:graphic>
          <a:graphicData uri="http://schemas.openxmlformats.org/presentationml/2006/ole">
            <mc:AlternateContent xmlns:mc="http://schemas.openxmlformats.org/markup-compatibility/2006">
              <mc:Choice xmlns:v="urn:schemas-microsoft-com:vml" Requires="v">
                <p:oleObj name="Macrobond document" r:id="rId5" imgW="5472408" imgH="4248153" progId="Mbnd.mbnd">
                  <p:embed/>
                </p:oleObj>
              </mc:Choice>
              <mc:Fallback>
                <p:oleObj name="Macrobond document" r:id="rId5" imgW="5472408" imgH="4248153" progId="Mbnd.mbnd">
                  <p:embed/>
                  <p:pic>
                    <p:nvPicPr>
                      <p:cNvPr id="20" name="Object 4">
                        <a:extLst>
                          <a:ext uri="{FF2B5EF4-FFF2-40B4-BE49-F238E27FC236}">
                            <a16:creationId xmlns:a16="http://schemas.microsoft.com/office/drawing/2014/main" id="{C55C1356-7A3C-C9B6-124C-758FD2117217}"/>
                          </a:ext>
                        </a:extLst>
                      </p:cNvPr>
                      <p:cNvPicPr/>
                      <p:nvPr/>
                    </p:nvPicPr>
                    <p:blipFill>
                      <a:blip r:embed="rId6"/>
                      <a:stretch>
                        <a:fillRect/>
                      </a:stretch>
                    </p:blipFill>
                    <p:spPr>
                      <a:xfrm>
                        <a:off x="6313488" y="1509972"/>
                        <a:ext cx="5472112" cy="4248150"/>
                      </a:xfrm>
                      <a:prstGeom prst="rect">
                        <a:avLst/>
                      </a:prstGeom>
                    </p:spPr>
                  </p:pic>
                </p:oleObj>
              </mc:Fallback>
            </mc:AlternateContent>
          </a:graphicData>
        </a:graphic>
      </p:graphicFrame>
      <p:sp>
        <p:nvSpPr>
          <p:cNvPr id="21" name="Rechteck 20">
            <a:extLst>
              <a:ext uri="{FF2B5EF4-FFF2-40B4-BE49-F238E27FC236}">
                <a16:creationId xmlns:a16="http://schemas.microsoft.com/office/drawing/2014/main" id="{35817359-843D-8AFD-B6A6-9FC5AEADE30B}"/>
              </a:ext>
            </a:extLst>
          </p:cNvPr>
          <p:cNvSpPr/>
          <p:nvPr/>
        </p:nvSpPr>
        <p:spPr>
          <a:xfrm>
            <a:off x="6097587" y="5441704"/>
            <a:ext cx="1651722" cy="380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spcBef>
                <a:spcPts val="600"/>
              </a:spcBef>
              <a:buClr>
                <a:schemeClr val="accent1"/>
              </a:buClr>
              <a:buFontTx/>
              <a:buNone/>
            </a:pPr>
            <a:endParaRPr lang="de-DE" sz="1400" err="1">
              <a:solidFill>
                <a:schemeClr val="tx1"/>
              </a:solidFill>
            </a:endParaRPr>
          </a:p>
        </p:txBody>
      </p:sp>
      <p:sp>
        <p:nvSpPr>
          <p:cNvPr id="22" name="Textplatzhalter 11">
            <a:extLst>
              <a:ext uri="{FF2B5EF4-FFF2-40B4-BE49-F238E27FC236}">
                <a16:creationId xmlns:a16="http://schemas.microsoft.com/office/drawing/2014/main" id="{A40699D9-D6E3-49B1-7080-15D4CDBB13E9}"/>
              </a:ext>
            </a:extLst>
          </p:cNvPr>
          <p:cNvSpPr txBox="1">
            <a:spLocks/>
          </p:cNvSpPr>
          <p:nvPr/>
        </p:nvSpPr>
        <p:spPr bwMode="gray">
          <a:xfrm>
            <a:off x="6276975" y="1140869"/>
            <a:ext cx="5471380" cy="215444"/>
          </a:xfrm>
          <a:prstGeom prst="rect">
            <a:avLst/>
          </a:prstGeom>
        </p:spPr>
        <p:txBody>
          <a:bodyPr vert="horz" lIns="0" tIns="0" rIns="0" bIns="0" rtlCol="0">
            <a:noAutofit/>
          </a:bodyPr>
          <a:lstStyle>
            <a:lvl1pPr marL="0" indent="0" algn="l" defTabSz="914400" rtl="0" eaLnBrk="1" latinLnBrk="0" hangingPunct="1">
              <a:spcBef>
                <a:spcPts val="0"/>
              </a:spcBef>
              <a:buFont typeface="Arial" panose="020B0604020202020204" pitchFamily="34" charset="0"/>
              <a:buNone/>
              <a:defRPr lang="de-DE" sz="1400" b="0" kern="1200" dirty="0">
                <a:solidFill>
                  <a:schemeClr val="tx2"/>
                </a:solidFill>
                <a:latin typeface="+mn-lt"/>
                <a:ea typeface="+mn-ea"/>
                <a:cs typeface="+mn-cs"/>
              </a:defRPr>
            </a:lvl1pPr>
            <a:lvl2pPr marL="0" indent="0" algn="l" defTabSz="914400" rtl="0" eaLnBrk="1" latinLnBrk="0" hangingPunct="1">
              <a:spcBef>
                <a:spcPts val="600"/>
              </a:spcBef>
              <a:buFont typeface="Arial" panose="020B0604020202020204" pitchFamily="34" charset="0"/>
              <a:buNone/>
              <a:defRPr lang="de-DE" sz="1800" kern="1200" dirty="0">
                <a:solidFill>
                  <a:schemeClr val="tx1"/>
                </a:solidFill>
                <a:latin typeface="+mn-lt"/>
                <a:ea typeface="+mn-ea"/>
                <a:cs typeface="+mn-cs"/>
              </a:defRPr>
            </a:lvl2pPr>
            <a:lvl3pPr marL="180000" indent="-180000" algn="l" defTabSz="914400" rtl="0" eaLnBrk="1" latinLnBrk="0" hangingPunct="1">
              <a:spcBef>
                <a:spcPts val="600"/>
              </a:spcBef>
              <a:buClrTx/>
              <a:buFont typeface="Wingdings" panose="05000000000000000000" pitchFamily="2" charset="2"/>
              <a:buChar char=""/>
              <a:defRPr lang="de-DE" sz="1800" kern="1200" dirty="0">
                <a:solidFill>
                  <a:schemeClr val="tx1"/>
                </a:solidFill>
                <a:latin typeface="+mn-lt"/>
                <a:ea typeface="+mn-ea"/>
                <a:cs typeface="+mn-cs"/>
              </a:defRPr>
            </a:lvl3pPr>
            <a:lvl4pPr marL="360000" indent="-180000" algn="l" defTabSz="914400" rtl="0" eaLnBrk="1" latinLnBrk="0" hangingPunct="1">
              <a:spcBef>
                <a:spcPts val="400"/>
              </a:spcBef>
              <a:buClrTx/>
              <a:buFont typeface="Arial" panose="020B0604020202020204" pitchFamily="34" charset="0"/>
              <a:buChar char="•"/>
              <a:defRPr lang="de-DE" sz="1800" kern="1200" dirty="0">
                <a:solidFill>
                  <a:schemeClr val="tx1"/>
                </a:solidFill>
                <a:latin typeface="+mn-lt"/>
                <a:ea typeface="+mn-ea"/>
                <a:cs typeface="+mn-cs"/>
              </a:defRPr>
            </a:lvl4pPr>
            <a:lvl5pPr marL="576000" indent="-216000" algn="l" defTabSz="914400" rtl="0" eaLnBrk="1" latinLnBrk="0" hangingPunct="1">
              <a:spcBef>
                <a:spcPts val="400"/>
              </a:spcBef>
              <a:buFont typeface="Symbol" panose="05050102010706020507" pitchFamily="18" charset="2"/>
              <a:buChar char="-"/>
              <a:defRPr lang="de-DE" sz="1800" kern="1200" dirty="0">
                <a:solidFill>
                  <a:schemeClr val="tx1"/>
                </a:solidFill>
                <a:latin typeface="+mn-lt"/>
                <a:ea typeface="+mn-ea"/>
                <a:cs typeface="+mn-cs"/>
              </a:defRPr>
            </a:lvl5pPr>
            <a:lvl6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6pPr>
            <a:lvl7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7pPr>
            <a:lvl8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8pPr>
            <a:lvl9pPr marL="576000" indent="-216000" algn="l" defTabSz="91440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9pPr>
          </a:lstStyle>
          <a:p>
            <a:r>
              <a:rPr lang="de-DE" dirty="0"/>
              <a:t>Leitzinsen in Prozent </a:t>
            </a:r>
          </a:p>
        </p:txBody>
      </p:sp>
    </p:spTree>
    <p:extLst>
      <p:ext uri="{BB962C8B-B14F-4D97-AF65-F5344CB8AC3E}">
        <p14:creationId xmlns:p14="http://schemas.microsoft.com/office/powerpoint/2010/main" val="498888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F31E927E-89D9-49CC-965C-DD9ED932A57D}"/>
              </a:ext>
            </a:extLst>
          </p:cNvPr>
          <p:cNvSpPr>
            <a:spLocks noGrp="1"/>
          </p:cNvSpPr>
          <p:nvPr>
            <p:ph type="body" sz="quarter" idx="19"/>
          </p:nvPr>
        </p:nvSpPr>
        <p:spPr>
          <a:xfrm>
            <a:off x="409575" y="1048881"/>
            <a:ext cx="5688012" cy="276999"/>
          </a:xfrm>
        </p:spPr>
        <p:txBody>
          <a:bodyPr/>
          <a:lstStyle/>
          <a:p>
            <a:r>
              <a:rPr lang="de-DE" dirty="0"/>
              <a:t>Solide Erträge mit Unternehmensanleihen</a:t>
            </a:r>
          </a:p>
        </p:txBody>
      </p:sp>
      <p:sp>
        <p:nvSpPr>
          <p:cNvPr id="5" name="Textplatzhalter 4">
            <a:extLst>
              <a:ext uri="{FF2B5EF4-FFF2-40B4-BE49-F238E27FC236}">
                <a16:creationId xmlns:a16="http://schemas.microsoft.com/office/drawing/2014/main" id="{5F08E521-5E43-49DB-BB65-3E99041C91EE}"/>
              </a:ext>
            </a:extLst>
          </p:cNvPr>
          <p:cNvSpPr>
            <a:spLocks noGrp="1"/>
          </p:cNvSpPr>
          <p:nvPr>
            <p:ph type="body" sz="quarter" idx="21"/>
          </p:nvPr>
        </p:nvSpPr>
        <p:spPr>
          <a:xfrm>
            <a:off x="409575" y="1336813"/>
            <a:ext cx="5471380" cy="215444"/>
          </a:xfrm>
        </p:spPr>
        <p:txBody>
          <a:bodyPr/>
          <a:lstStyle/>
          <a:p>
            <a:r>
              <a:rPr lang="de-DE"/>
              <a:t>Laufende Verzinsung im Vergleich</a:t>
            </a:r>
          </a:p>
        </p:txBody>
      </p:sp>
      <p:sp>
        <p:nvSpPr>
          <p:cNvPr id="6" name="Textplatzhalter 5">
            <a:extLst>
              <a:ext uri="{FF2B5EF4-FFF2-40B4-BE49-F238E27FC236}">
                <a16:creationId xmlns:a16="http://schemas.microsoft.com/office/drawing/2014/main" id="{4D222539-A2C7-4738-974D-62BC5C9F9ECD}"/>
              </a:ext>
            </a:extLst>
          </p:cNvPr>
          <p:cNvSpPr>
            <a:spLocks noGrp="1"/>
          </p:cNvSpPr>
          <p:nvPr>
            <p:ph type="body" sz="quarter" idx="27"/>
          </p:nvPr>
        </p:nvSpPr>
        <p:spPr>
          <a:xfrm>
            <a:off x="6313611" y="1048881"/>
            <a:ext cx="5472000" cy="276999"/>
          </a:xfrm>
        </p:spPr>
        <p:txBody>
          <a:bodyPr/>
          <a:lstStyle/>
          <a:p>
            <a:r>
              <a:rPr lang="de-DE" dirty="0"/>
              <a:t>Renditestrukturen invertiert und/oder sehr flach</a:t>
            </a:r>
          </a:p>
        </p:txBody>
      </p:sp>
      <p:sp>
        <p:nvSpPr>
          <p:cNvPr id="7" name="Textplatzhalter 6">
            <a:extLst>
              <a:ext uri="{FF2B5EF4-FFF2-40B4-BE49-F238E27FC236}">
                <a16:creationId xmlns:a16="http://schemas.microsoft.com/office/drawing/2014/main" id="{E5B71A5E-7EEA-4E45-82F4-DD5CFF8A685F}"/>
              </a:ext>
            </a:extLst>
          </p:cNvPr>
          <p:cNvSpPr>
            <a:spLocks noGrp="1"/>
          </p:cNvSpPr>
          <p:nvPr>
            <p:ph type="body" sz="quarter" idx="28"/>
          </p:nvPr>
        </p:nvSpPr>
        <p:spPr>
          <a:xfrm>
            <a:off x="6313611" y="1336813"/>
            <a:ext cx="5472000" cy="215444"/>
          </a:xfrm>
        </p:spPr>
        <p:txBody>
          <a:bodyPr/>
          <a:lstStyle/>
          <a:p>
            <a:r>
              <a:rPr lang="de-DE"/>
              <a:t>Renditestrukturkurven der einzelnen Rentensegmente	</a:t>
            </a:r>
          </a:p>
        </p:txBody>
      </p:sp>
      <p:sp>
        <p:nvSpPr>
          <p:cNvPr id="14" name="Titel 8">
            <a:extLst>
              <a:ext uri="{FF2B5EF4-FFF2-40B4-BE49-F238E27FC236}">
                <a16:creationId xmlns:a16="http://schemas.microsoft.com/office/drawing/2014/main" id="{0FED91C4-7DD5-4299-9948-6B32EF488CB1}"/>
              </a:ext>
            </a:extLst>
          </p:cNvPr>
          <p:cNvSpPr>
            <a:spLocks noGrp="1"/>
          </p:cNvSpPr>
          <p:nvPr>
            <p:ph type="title"/>
          </p:nvPr>
        </p:nvSpPr>
        <p:spPr>
          <a:xfrm>
            <a:off x="409575" y="404813"/>
            <a:ext cx="11376025" cy="719137"/>
          </a:xfrm>
        </p:spPr>
        <p:txBody>
          <a:bodyPr/>
          <a:lstStyle/>
          <a:p>
            <a:r>
              <a:rPr lang="de-DE" dirty="0">
                <a:solidFill>
                  <a:schemeClr val="accent2"/>
                </a:solidFill>
              </a:rPr>
              <a:t>Investment Grade-</a:t>
            </a:r>
            <a:r>
              <a:rPr lang="de-DE" dirty="0" err="1">
                <a:solidFill>
                  <a:schemeClr val="accent2"/>
                </a:solidFill>
              </a:rPr>
              <a:t>Corporates</a:t>
            </a:r>
            <a:r>
              <a:rPr lang="de-DE" dirty="0">
                <a:solidFill>
                  <a:schemeClr val="accent2"/>
                </a:solidFill>
              </a:rPr>
              <a:t> </a:t>
            </a:r>
            <a:r>
              <a:rPr lang="de-DE" dirty="0">
                <a:solidFill>
                  <a:schemeClr val="accent1"/>
                </a:solidFill>
              </a:rPr>
              <a:t>mit attraktivem Chance-Risiko-Profil</a:t>
            </a:r>
          </a:p>
        </p:txBody>
      </p:sp>
      <p:sp>
        <p:nvSpPr>
          <p:cNvPr id="15" name="Textplatzhalter 1">
            <a:extLst>
              <a:ext uri="{FF2B5EF4-FFF2-40B4-BE49-F238E27FC236}">
                <a16:creationId xmlns:a16="http://schemas.microsoft.com/office/drawing/2014/main" id="{FEA80D28-D493-49FE-85AA-0AE3EE33740B}"/>
              </a:ext>
            </a:extLst>
          </p:cNvPr>
          <p:cNvSpPr>
            <a:spLocks noGrp="1"/>
          </p:cNvSpPr>
          <p:nvPr>
            <p:ph type="body" sz="quarter" idx="23"/>
          </p:nvPr>
        </p:nvSpPr>
        <p:spPr>
          <a:xfrm>
            <a:off x="411162" y="6145212"/>
            <a:ext cx="11374438" cy="307975"/>
          </a:xfrm>
        </p:spPr>
        <p:txBody>
          <a:bodyPr/>
          <a:lstStyle/>
          <a:p>
            <a:r>
              <a:rPr lang="de-DE" dirty="0"/>
              <a:t>Quelle: LSEG, Bloomberg, Union Investment; Stand: 15. August 2024. *Hartwährung</a:t>
            </a:r>
          </a:p>
          <a:p>
            <a:r>
              <a:rPr lang="de-DE" sz="1200" dirty="0">
                <a:effectLst/>
                <a:latin typeface="Arial" panose="020B0604020202020204" pitchFamily="34" charset="0"/>
                <a:ea typeface="Times New Roman" panose="02020603050405020304" pitchFamily="18" charset="0"/>
                <a:cs typeface="Times New Roman" panose="02020603050405020304" pitchFamily="18" charset="0"/>
              </a:rPr>
              <a:t>Die Angaben zur Wertentwicklung basieren auf Vergangenheitswerten. Die Wert- und Ertragsentwicklungen können nicht mit Bestimmtheit vorausgesagt werden. Performanceergebnisse der Vergangenheit lassen keine Rückschlüsse auf die zukünftige Entwicklung zu.</a:t>
            </a:r>
          </a:p>
          <a:p>
            <a:endParaRPr lang="de-DE" dirty="0"/>
          </a:p>
        </p:txBody>
      </p:sp>
      <p:graphicFrame>
        <p:nvGraphicFramePr>
          <p:cNvPr id="29" name="Inhaltsplatzhalter 28">
            <a:extLst>
              <a:ext uri="{FF2B5EF4-FFF2-40B4-BE49-F238E27FC236}">
                <a16:creationId xmlns:a16="http://schemas.microsoft.com/office/drawing/2014/main" id="{9F532F8F-0697-4F4C-AD4F-CC6B61E253F3}"/>
              </a:ext>
            </a:extLst>
          </p:cNvPr>
          <p:cNvGraphicFramePr>
            <a:graphicFrameLocks noGrp="1"/>
          </p:cNvGraphicFramePr>
          <p:nvPr>
            <p:ph sz="quarter" idx="26"/>
            <p:extLst>
              <p:ext uri="{D42A27DB-BD31-4B8C-83A1-F6EECF244321}">
                <p14:modId xmlns:p14="http://schemas.microsoft.com/office/powerpoint/2010/main" val="1536616621"/>
              </p:ext>
            </p:extLst>
          </p:nvPr>
        </p:nvGraphicFramePr>
        <p:xfrm>
          <a:off x="264939" y="1665373"/>
          <a:ext cx="5616016" cy="3940175"/>
        </p:xfrm>
        <a:graphic>
          <a:graphicData uri="http://schemas.openxmlformats.org/drawingml/2006/chart">
            <c:chart xmlns:c="http://schemas.openxmlformats.org/drawingml/2006/chart" xmlns:r="http://schemas.openxmlformats.org/officeDocument/2006/relationships" r:id="rId4"/>
          </a:graphicData>
        </a:graphic>
      </p:graphicFrame>
      <p:cxnSp>
        <p:nvCxnSpPr>
          <p:cNvPr id="30" name="Gerade Verbindung mit Pfeil 29">
            <a:extLst>
              <a:ext uri="{FF2B5EF4-FFF2-40B4-BE49-F238E27FC236}">
                <a16:creationId xmlns:a16="http://schemas.microsoft.com/office/drawing/2014/main" id="{D596875D-0791-41E1-9A93-B9848FAE60FF}"/>
              </a:ext>
            </a:extLst>
          </p:cNvPr>
          <p:cNvCxnSpPr>
            <a:cxnSpLocks/>
          </p:cNvCxnSpPr>
          <p:nvPr/>
        </p:nvCxnSpPr>
        <p:spPr>
          <a:xfrm flipV="1">
            <a:off x="2848340" y="3722330"/>
            <a:ext cx="256810" cy="734419"/>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1" name="Gerade Verbindung mit Pfeil 30">
            <a:extLst>
              <a:ext uri="{FF2B5EF4-FFF2-40B4-BE49-F238E27FC236}">
                <a16:creationId xmlns:a16="http://schemas.microsoft.com/office/drawing/2014/main" id="{309F74E3-ABC4-4043-80B1-74A8EC5F1500}"/>
              </a:ext>
            </a:extLst>
          </p:cNvPr>
          <p:cNvCxnSpPr>
            <a:cxnSpLocks/>
          </p:cNvCxnSpPr>
          <p:nvPr/>
        </p:nvCxnSpPr>
        <p:spPr>
          <a:xfrm flipV="1">
            <a:off x="691592" y="3857193"/>
            <a:ext cx="221419" cy="659706"/>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2" name="Gerade Verbindung mit Pfeil 31">
            <a:extLst>
              <a:ext uri="{FF2B5EF4-FFF2-40B4-BE49-F238E27FC236}">
                <a16:creationId xmlns:a16="http://schemas.microsoft.com/office/drawing/2014/main" id="{C7748870-76E2-4C8F-A87D-529E8110E81D}"/>
              </a:ext>
            </a:extLst>
          </p:cNvPr>
          <p:cNvCxnSpPr>
            <a:cxnSpLocks/>
          </p:cNvCxnSpPr>
          <p:nvPr/>
        </p:nvCxnSpPr>
        <p:spPr>
          <a:xfrm flipV="1">
            <a:off x="3934691" y="2655530"/>
            <a:ext cx="246784" cy="84137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4" name="Gerade Verbindung mit Pfeil 33">
            <a:extLst>
              <a:ext uri="{FF2B5EF4-FFF2-40B4-BE49-F238E27FC236}">
                <a16:creationId xmlns:a16="http://schemas.microsoft.com/office/drawing/2014/main" id="{BA5ACB4F-0082-44EE-9BF9-BBA6B940B83B}"/>
              </a:ext>
            </a:extLst>
          </p:cNvPr>
          <p:cNvCxnSpPr>
            <a:cxnSpLocks/>
          </p:cNvCxnSpPr>
          <p:nvPr/>
        </p:nvCxnSpPr>
        <p:spPr>
          <a:xfrm flipV="1">
            <a:off x="5063008" y="2131655"/>
            <a:ext cx="194792" cy="66852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8" name="Rechteck 7">
            <a:extLst>
              <a:ext uri="{FF2B5EF4-FFF2-40B4-BE49-F238E27FC236}">
                <a16:creationId xmlns:a16="http://schemas.microsoft.com/office/drawing/2014/main" id="{A6F19AD2-DEE6-4FD4-BC82-D8BA6A46E528}"/>
              </a:ext>
            </a:extLst>
          </p:cNvPr>
          <p:cNvSpPr/>
          <p:nvPr/>
        </p:nvSpPr>
        <p:spPr>
          <a:xfrm>
            <a:off x="264938" y="4955670"/>
            <a:ext cx="5470525" cy="4235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spcBef>
                <a:spcPts val="600"/>
              </a:spcBef>
              <a:buClr>
                <a:schemeClr val="accent1"/>
              </a:buClr>
              <a:buFontTx/>
              <a:buNone/>
            </a:pPr>
            <a:endParaRPr lang="de-DE" sz="1400" err="1">
              <a:solidFill>
                <a:schemeClr val="tx1"/>
              </a:solidFill>
            </a:endParaRPr>
          </a:p>
        </p:txBody>
      </p:sp>
      <p:sp>
        <p:nvSpPr>
          <p:cNvPr id="3" name="Textfeld 2">
            <a:extLst>
              <a:ext uri="{FF2B5EF4-FFF2-40B4-BE49-F238E27FC236}">
                <a16:creationId xmlns:a16="http://schemas.microsoft.com/office/drawing/2014/main" id="{948BB7A7-3AEB-463A-9AB8-F3958893D273}"/>
              </a:ext>
            </a:extLst>
          </p:cNvPr>
          <p:cNvSpPr txBox="1"/>
          <p:nvPr/>
        </p:nvSpPr>
        <p:spPr>
          <a:xfrm>
            <a:off x="402579" y="4978014"/>
            <a:ext cx="1158504" cy="514738"/>
          </a:xfrm>
          <a:prstGeom prst="rect">
            <a:avLst/>
          </a:prstGeom>
          <a:solidFill>
            <a:schemeClr val="bg2"/>
          </a:solidFill>
        </p:spPr>
        <p:txBody>
          <a:bodyPr wrap="square" lIns="72000" tIns="72000" rIns="72000" bIns="72000" rtlCol="0" anchor="t">
            <a:spAutoFit/>
          </a:bodyPr>
          <a:lstStyle/>
          <a:p>
            <a:pPr marL="0" indent="0" algn="ctr">
              <a:spcBef>
                <a:spcPts val="600"/>
              </a:spcBef>
              <a:buClr>
                <a:schemeClr val="accent1"/>
              </a:buClr>
              <a:buFontTx/>
              <a:buNone/>
            </a:pPr>
            <a:r>
              <a:rPr lang="de-DE" sz="1200"/>
              <a:t>Staatsanleihen</a:t>
            </a:r>
            <a:br>
              <a:rPr lang="de-DE" sz="1200"/>
            </a:br>
            <a:r>
              <a:rPr lang="de-DE" sz="1200"/>
              <a:t>Euroland</a:t>
            </a:r>
          </a:p>
        </p:txBody>
      </p:sp>
      <p:sp>
        <p:nvSpPr>
          <p:cNvPr id="16" name="Textfeld 15">
            <a:extLst>
              <a:ext uri="{FF2B5EF4-FFF2-40B4-BE49-F238E27FC236}">
                <a16:creationId xmlns:a16="http://schemas.microsoft.com/office/drawing/2014/main" id="{4B39F041-497C-400A-8A6E-9CE584DC803E}"/>
              </a:ext>
            </a:extLst>
          </p:cNvPr>
          <p:cNvSpPr txBox="1"/>
          <p:nvPr/>
        </p:nvSpPr>
        <p:spPr>
          <a:xfrm>
            <a:off x="2592936" y="4980520"/>
            <a:ext cx="1056379" cy="699404"/>
          </a:xfrm>
          <a:prstGeom prst="rect">
            <a:avLst/>
          </a:prstGeom>
          <a:solidFill>
            <a:schemeClr val="bg2"/>
          </a:solidFill>
        </p:spPr>
        <p:txBody>
          <a:bodyPr wrap="none" lIns="0" tIns="72000" rIns="0" bIns="72000" rtlCol="0" anchor="t">
            <a:spAutoFit/>
          </a:bodyPr>
          <a:lstStyle/>
          <a:p>
            <a:pPr marL="0" indent="0" algn="ctr">
              <a:spcBef>
                <a:spcPts val="600"/>
              </a:spcBef>
              <a:buClr>
                <a:schemeClr val="accent1"/>
              </a:buClr>
              <a:buFontTx/>
              <a:buNone/>
            </a:pPr>
            <a:r>
              <a:rPr lang="de-DE" sz="1200" dirty="0"/>
              <a:t>Unternehmens-</a:t>
            </a:r>
            <a:br>
              <a:rPr lang="de-DE" sz="1200" dirty="0"/>
            </a:br>
            <a:r>
              <a:rPr lang="de-DE" sz="1200" dirty="0"/>
              <a:t>anleihen</a:t>
            </a:r>
            <a:br>
              <a:rPr lang="de-DE" sz="1200" dirty="0"/>
            </a:br>
            <a:r>
              <a:rPr lang="de-DE" sz="1200" dirty="0"/>
              <a:t>hoher Bonität</a:t>
            </a:r>
          </a:p>
        </p:txBody>
      </p:sp>
      <p:sp>
        <p:nvSpPr>
          <p:cNvPr id="18" name="Textfeld 17">
            <a:extLst>
              <a:ext uri="{FF2B5EF4-FFF2-40B4-BE49-F238E27FC236}">
                <a16:creationId xmlns:a16="http://schemas.microsoft.com/office/drawing/2014/main" id="{9E048765-D7D2-4D03-848C-A15800BE1D36}"/>
              </a:ext>
            </a:extLst>
          </p:cNvPr>
          <p:cNvSpPr txBox="1"/>
          <p:nvPr/>
        </p:nvSpPr>
        <p:spPr>
          <a:xfrm>
            <a:off x="4729435" y="4980520"/>
            <a:ext cx="1158504" cy="699404"/>
          </a:xfrm>
          <a:prstGeom prst="rect">
            <a:avLst/>
          </a:prstGeom>
          <a:solidFill>
            <a:schemeClr val="bg2"/>
          </a:solidFill>
        </p:spPr>
        <p:txBody>
          <a:bodyPr wrap="none" lIns="72000" tIns="72000" rIns="72000" bIns="72000" rtlCol="0" anchor="t">
            <a:spAutoFit/>
          </a:bodyPr>
          <a:lstStyle/>
          <a:p>
            <a:pPr marL="0" indent="0" algn="ctr">
              <a:spcBef>
                <a:spcPts val="600"/>
              </a:spcBef>
              <a:buClr>
                <a:schemeClr val="accent1"/>
              </a:buClr>
              <a:buFontTx/>
              <a:buNone/>
            </a:pPr>
            <a:r>
              <a:rPr lang="de-DE" sz="1200"/>
              <a:t>Staatsanleihen</a:t>
            </a:r>
            <a:br>
              <a:rPr lang="de-DE" sz="1200"/>
            </a:br>
            <a:r>
              <a:rPr lang="de-DE" sz="1200"/>
              <a:t>Schwellen-</a:t>
            </a:r>
            <a:br>
              <a:rPr lang="de-DE" sz="1200"/>
            </a:br>
            <a:r>
              <a:rPr lang="de-DE" sz="1200" err="1"/>
              <a:t>länder</a:t>
            </a:r>
            <a:r>
              <a:rPr lang="de-DE" sz="1200"/>
              <a:t>*</a:t>
            </a:r>
          </a:p>
        </p:txBody>
      </p:sp>
      <p:sp>
        <p:nvSpPr>
          <p:cNvPr id="12" name="Foliennummernplatzhalter 11">
            <a:extLst>
              <a:ext uri="{FF2B5EF4-FFF2-40B4-BE49-F238E27FC236}">
                <a16:creationId xmlns:a16="http://schemas.microsoft.com/office/drawing/2014/main" id="{241A712D-917E-4A5F-A3C2-038886DE0273}"/>
              </a:ext>
            </a:extLst>
          </p:cNvPr>
          <p:cNvSpPr>
            <a:spLocks noGrp="1"/>
          </p:cNvSpPr>
          <p:nvPr>
            <p:ph type="sldNum" sz="quarter" idx="31"/>
          </p:nvPr>
        </p:nvSpPr>
        <p:spPr/>
        <p:txBody>
          <a:bodyPr/>
          <a:lstStyle/>
          <a:p>
            <a:fld id="{9C89B081-1F44-4440-BC7B-989C90F97B77}" type="slidenum">
              <a:rPr lang="de-DE" smtClean="0"/>
              <a:pPr/>
              <a:t>8</a:t>
            </a:fld>
            <a:endParaRPr lang="de-DE"/>
          </a:p>
        </p:txBody>
      </p:sp>
      <p:sp>
        <p:nvSpPr>
          <p:cNvPr id="17" name="Textfeld 16">
            <a:extLst>
              <a:ext uri="{FF2B5EF4-FFF2-40B4-BE49-F238E27FC236}">
                <a16:creationId xmlns:a16="http://schemas.microsoft.com/office/drawing/2014/main" id="{59257520-6924-4AB8-9C80-14D3C2CA2184}"/>
              </a:ext>
            </a:extLst>
          </p:cNvPr>
          <p:cNvSpPr txBox="1"/>
          <p:nvPr/>
        </p:nvSpPr>
        <p:spPr>
          <a:xfrm>
            <a:off x="3721323" y="4980520"/>
            <a:ext cx="1056379" cy="699404"/>
          </a:xfrm>
          <a:prstGeom prst="rect">
            <a:avLst/>
          </a:prstGeom>
          <a:solidFill>
            <a:schemeClr val="bg2"/>
          </a:solidFill>
        </p:spPr>
        <p:txBody>
          <a:bodyPr wrap="none" lIns="0" tIns="72000" rIns="0" bIns="72000" rtlCol="0" anchor="t">
            <a:spAutoFit/>
          </a:bodyPr>
          <a:lstStyle/>
          <a:p>
            <a:pPr marL="0" indent="0" algn="ctr">
              <a:spcBef>
                <a:spcPts val="600"/>
              </a:spcBef>
              <a:buClr>
                <a:schemeClr val="accent1"/>
              </a:buClr>
              <a:buFontTx/>
              <a:buNone/>
            </a:pPr>
            <a:r>
              <a:rPr lang="de-DE" sz="1200"/>
              <a:t>Unternehmens-</a:t>
            </a:r>
            <a:br>
              <a:rPr lang="de-DE" sz="1200"/>
            </a:br>
            <a:r>
              <a:rPr lang="de-DE" sz="1200"/>
              <a:t>anleihen</a:t>
            </a:r>
            <a:br>
              <a:rPr lang="de-DE" sz="1200"/>
            </a:br>
            <a:r>
              <a:rPr lang="de-DE" sz="1200"/>
              <a:t>Hochzins</a:t>
            </a:r>
          </a:p>
        </p:txBody>
      </p:sp>
      <p:sp>
        <p:nvSpPr>
          <p:cNvPr id="26" name="Textfeld 25">
            <a:extLst>
              <a:ext uri="{FF2B5EF4-FFF2-40B4-BE49-F238E27FC236}">
                <a16:creationId xmlns:a16="http://schemas.microsoft.com/office/drawing/2014/main" id="{EA2656D8-D9CD-4283-AC9A-F03BB9972C05}"/>
              </a:ext>
            </a:extLst>
          </p:cNvPr>
          <p:cNvSpPr txBox="1"/>
          <p:nvPr/>
        </p:nvSpPr>
        <p:spPr>
          <a:xfrm>
            <a:off x="1561083" y="4978014"/>
            <a:ext cx="959097" cy="514738"/>
          </a:xfrm>
          <a:prstGeom prst="rect">
            <a:avLst/>
          </a:prstGeom>
          <a:solidFill>
            <a:schemeClr val="bg2"/>
          </a:solidFill>
        </p:spPr>
        <p:txBody>
          <a:bodyPr wrap="square" lIns="72000" tIns="72000" rIns="72000" bIns="72000" rtlCol="0" anchor="t">
            <a:spAutoFit/>
          </a:bodyPr>
          <a:lstStyle/>
          <a:p>
            <a:pPr marL="0" indent="0" algn="ctr">
              <a:buClr>
                <a:schemeClr val="accent1"/>
              </a:buClr>
              <a:buFontTx/>
              <a:buNone/>
            </a:pPr>
            <a:r>
              <a:rPr lang="de-DE" sz="1200" err="1"/>
              <a:t>Covered</a:t>
            </a:r>
            <a:endParaRPr lang="de-DE" sz="1200"/>
          </a:p>
          <a:p>
            <a:pPr marL="0" indent="0" algn="ctr">
              <a:buClr>
                <a:schemeClr val="accent1"/>
              </a:buClr>
              <a:buFontTx/>
              <a:buNone/>
            </a:pPr>
            <a:r>
              <a:rPr lang="de-DE" sz="1200"/>
              <a:t>Bonds</a:t>
            </a:r>
          </a:p>
        </p:txBody>
      </p:sp>
      <p:cxnSp>
        <p:nvCxnSpPr>
          <p:cNvPr id="27" name="Gerade Verbindung mit Pfeil 26">
            <a:extLst>
              <a:ext uri="{FF2B5EF4-FFF2-40B4-BE49-F238E27FC236}">
                <a16:creationId xmlns:a16="http://schemas.microsoft.com/office/drawing/2014/main" id="{FAC90507-5447-48EF-8296-FC62DE80D553}"/>
              </a:ext>
            </a:extLst>
          </p:cNvPr>
          <p:cNvCxnSpPr>
            <a:cxnSpLocks/>
          </p:cNvCxnSpPr>
          <p:nvPr/>
        </p:nvCxnSpPr>
        <p:spPr>
          <a:xfrm flipV="1">
            <a:off x="1791877" y="3931880"/>
            <a:ext cx="227423" cy="68429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aphicFrame>
        <p:nvGraphicFramePr>
          <p:cNvPr id="33" name="Linien">
            <a:extLst>
              <a:ext uri="{FF2B5EF4-FFF2-40B4-BE49-F238E27FC236}">
                <a16:creationId xmlns:a16="http://schemas.microsoft.com/office/drawing/2014/main" id="{1F3E14C1-FD5B-4247-967F-7A7DD99AE13C}"/>
              </a:ext>
            </a:extLst>
          </p:cNvPr>
          <p:cNvGraphicFramePr>
            <a:graphicFrameLocks noGrp="1"/>
          </p:cNvGraphicFramePr>
          <p:nvPr>
            <p:ph sz="quarter" idx="24"/>
            <p:custDataLst>
              <p:tags r:id="rId1"/>
            </p:custDataLst>
            <p:extLst>
              <p:ext uri="{D42A27DB-BD31-4B8C-83A1-F6EECF244321}">
                <p14:modId xmlns:p14="http://schemas.microsoft.com/office/powerpoint/2010/main" val="420286294"/>
              </p:ext>
            </p:extLst>
          </p:nvPr>
        </p:nvGraphicFramePr>
        <p:xfrm>
          <a:off x="6313488" y="1696681"/>
          <a:ext cx="5472112" cy="4248149"/>
        </p:xfrm>
        <a:graphic>
          <a:graphicData uri="http://schemas.openxmlformats.org/drawingml/2006/chart">
            <c:chart xmlns:c="http://schemas.openxmlformats.org/drawingml/2006/chart" xmlns:r="http://schemas.openxmlformats.org/officeDocument/2006/relationships" r:id="rId5"/>
          </a:graphicData>
        </a:graphic>
      </p:graphicFrame>
      <p:sp>
        <p:nvSpPr>
          <p:cNvPr id="21" name="Rechteck 20">
            <a:extLst>
              <a:ext uri="{FF2B5EF4-FFF2-40B4-BE49-F238E27FC236}">
                <a16:creationId xmlns:a16="http://schemas.microsoft.com/office/drawing/2014/main" id="{A4A4720E-5350-4A1F-AE49-3A3D735E7DB6}"/>
              </a:ext>
            </a:extLst>
          </p:cNvPr>
          <p:cNvSpPr/>
          <p:nvPr/>
        </p:nvSpPr>
        <p:spPr>
          <a:xfrm>
            <a:off x="2569315" y="1984985"/>
            <a:ext cx="1080000" cy="3694939"/>
          </a:xfrm>
          <a:prstGeom prst="rect">
            <a:avLst/>
          </a:prstGeom>
          <a:noFill/>
          <a:ln w="19050">
            <a:solidFill>
              <a:srgbClr val="E4244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spcBef>
                <a:spcPts val="600"/>
              </a:spcBef>
              <a:buClr>
                <a:schemeClr val="accent1"/>
              </a:buClr>
              <a:buFontTx/>
              <a:buNone/>
            </a:pPr>
            <a:endParaRPr lang="de-DE" sz="1400" err="1">
              <a:solidFill>
                <a:schemeClr val="tx1"/>
              </a:solidFill>
            </a:endParaRPr>
          </a:p>
        </p:txBody>
      </p:sp>
    </p:spTree>
    <p:extLst>
      <p:ext uri="{BB962C8B-B14F-4D97-AF65-F5344CB8AC3E}">
        <p14:creationId xmlns:p14="http://schemas.microsoft.com/office/powerpoint/2010/main" val="2236816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E19D4041-04E6-853F-6A56-E665D2A89E1F}"/>
              </a:ext>
            </a:extLst>
          </p:cNvPr>
          <p:cNvSpPr>
            <a:spLocks noGrp="1"/>
          </p:cNvSpPr>
          <p:nvPr>
            <p:ph type="body" sz="quarter" idx="19"/>
          </p:nvPr>
        </p:nvSpPr>
        <p:spPr>
          <a:xfrm>
            <a:off x="409575" y="992895"/>
            <a:ext cx="3631483" cy="276999"/>
          </a:xfrm>
        </p:spPr>
        <p:txBody>
          <a:bodyPr/>
          <a:lstStyle/>
          <a:p>
            <a:r>
              <a:rPr lang="de-DE" dirty="0"/>
              <a:t>Produktion im Seitwärtstrend</a:t>
            </a:r>
          </a:p>
        </p:txBody>
      </p:sp>
      <p:sp>
        <p:nvSpPr>
          <p:cNvPr id="39" name="Textplatzhalter 38">
            <a:extLst>
              <a:ext uri="{FF2B5EF4-FFF2-40B4-BE49-F238E27FC236}">
                <a16:creationId xmlns:a16="http://schemas.microsoft.com/office/drawing/2014/main" id="{BBB88D92-657A-B289-AF25-42B052314A18}"/>
              </a:ext>
            </a:extLst>
          </p:cNvPr>
          <p:cNvSpPr>
            <a:spLocks noGrp="1"/>
          </p:cNvSpPr>
          <p:nvPr>
            <p:ph type="body" sz="quarter" idx="21"/>
          </p:nvPr>
        </p:nvSpPr>
        <p:spPr>
          <a:xfrm>
            <a:off x="409575" y="1280827"/>
            <a:ext cx="3527379" cy="215444"/>
          </a:xfrm>
        </p:spPr>
        <p:txBody>
          <a:bodyPr/>
          <a:lstStyle/>
          <a:p>
            <a:r>
              <a:rPr lang="de-DE" dirty="0"/>
              <a:t>ISM Manufacturing New Orders</a:t>
            </a:r>
          </a:p>
        </p:txBody>
      </p:sp>
      <p:sp>
        <p:nvSpPr>
          <p:cNvPr id="44" name="Textplatzhalter 43">
            <a:extLst>
              <a:ext uri="{FF2B5EF4-FFF2-40B4-BE49-F238E27FC236}">
                <a16:creationId xmlns:a16="http://schemas.microsoft.com/office/drawing/2014/main" id="{682EB4B7-19EC-F2DF-D0DE-72CC486DBE19}"/>
              </a:ext>
            </a:extLst>
          </p:cNvPr>
          <p:cNvSpPr>
            <a:spLocks noGrp="1"/>
          </p:cNvSpPr>
          <p:nvPr>
            <p:ph type="body" sz="quarter" idx="31"/>
          </p:nvPr>
        </p:nvSpPr>
        <p:spPr>
          <a:xfrm>
            <a:off x="4333875" y="992895"/>
            <a:ext cx="3738409" cy="276999"/>
          </a:xfrm>
        </p:spPr>
        <p:txBody>
          <a:bodyPr/>
          <a:lstStyle/>
          <a:p>
            <a:r>
              <a:rPr lang="de-DE" dirty="0"/>
              <a:t>Konsum: Erwartungen konsolidieren</a:t>
            </a:r>
          </a:p>
        </p:txBody>
      </p:sp>
      <p:sp>
        <p:nvSpPr>
          <p:cNvPr id="46" name="Textplatzhalter 45">
            <a:extLst>
              <a:ext uri="{FF2B5EF4-FFF2-40B4-BE49-F238E27FC236}">
                <a16:creationId xmlns:a16="http://schemas.microsoft.com/office/drawing/2014/main" id="{FE4B71B6-6D6D-0DAE-D533-AFA592A2609E}"/>
              </a:ext>
            </a:extLst>
          </p:cNvPr>
          <p:cNvSpPr>
            <a:spLocks noGrp="1"/>
          </p:cNvSpPr>
          <p:nvPr>
            <p:ph type="body" sz="quarter" idx="32"/>
          </p:nvPr>
        </p:nvSpPr>
        <p:spPr>
          <a:xfrm>
            <a:off x="4333875" y="1280827"/>
            <a:ext cx="3527379" cy="215444"/>
          </a:xfrm>
        </p:spPr>
        <p:txBody>
          <a:bodyPr/>
          <a:lstStyle/>
          <a:p>
            <a:r>
              <a:rPr lang="de-DE" dirty="0"/>
              <a:t>Univ. </a:t>
            </a:r>
            <a:r>
              <a:rPr lang="de-DE" dirty="0" err="1"/>
              <a:t>of</a:t>
            </a:r>
            <a:r>
              <a:rPr lang="de-DE" dirty="0"/>
              <a:t> Michigan Consumer </a:t>
            </a:r>
            <a:r>
              <a:rPr lang="de-DE" dirty="0" err="1"/>
              <a:t>Expectations</a:t>
            </a:r>
            <a:endParaRPr lang="de-DE" dirty="0"/>
          </a:p>
        </p:txBody>
      </p:sp>
      <p:sp>
        <p:nvSpPr>
          <p:cNvPr id="48" name="Textplatzhalter 47">
            <a:extLst>
              <a:ext uri="{FF2B5EF4-FFF2-40B4-BE49-F238E27FC236}">
                <a16:creationId xmlns:a16="http://schemas.microsoft.com/office/drawing/2014/main" id="{84095BD0-FF18-C8C5-72C0-563B483F448E}"/>
              </a:ext>
            </a:extLst>
          </p:cNvPr>
          <p:cNvSpPr>
            <a:spLocks noGrp="1"/>
          </p:cNvSpPr>
          <p:nvPr>
            <p:ph type="body" sz="quarter" idx="33"/>
          </p:nvPr>
        </p:nvSpPr>
        <p:spPr>
          <a:xfrm>
            <a:off x="8258175" y="992895"/>
            <a:ext cx="3527375" cy="276999"/>
          </a:xfrm>
        </p:spPr>
        <p:txBody>
          <a:bodyPr/>
          <a:lstStyle/>
          <a:p>
            <a:r>
              <a:rPr lang="de-DE" dirty="0"/>
              <a:t>Inflation: Stabile Erwartungen</a:t>
            </a:r>
          </a:p>
        </p:txBody>
      </p:sp>
      <p:sp>
        <p:nvSpPr>
          <p:cNvPr id="51" name="Textplatzhalter 50">
            <a:extLst>
              <a:ext uri="{FF2B5EF4-FFF2-40B4-BE49-F238E27FC236}">
                <a16:creationId xmlns:a16="http://schemas.microsoft.com/office/drawing/2014/main" id="{13CE2C44-780F-D1B7-6461-F16FD251D42A}"/>
              </a:ext>
            </a:extLst>
          </p:cNvPr>
          <p:cNvSpPr>
            <a:spLocks noGrp="1"/>
          </p:cNvSpPr>
          <p:nvPr>
            <p:ph type="body" sz="quarter" idx="34"/>
          </p:nvPr>
        </p:nvSpPr>
        <p:spPr>
          <a:xfrm>
            <a:off x="8258175" y="1280827"/>
            <a:ext cx="3527375" cy="215444"/>
          </a:xfrm>
        </p:spPr>
        <p:txBody>
          <a:bodyPr/>
          <a:lstStyle/>
          <a:p>
            <a:r>
              <a:rPr lang="de-DE" dirty="0"/>
              <a:t>Conference Board 1J-Inflationserwartungen</a:t>
            </a:r>
          </a:p>
        </p:txBody>
      </p:sp>
      <p:sp>
        <p:nvSpPr>
          <p:cNvPr id="40" name="Textplatzhalter 39">
            <a:extLst>
              <a:ext uri="{FF2B5EF4-FFF2-40B4-BE49-F238E27FC236}">
                <a16:creationId xmlns:a16="http://schemas.microsoft.com/office/drawing/2014/main" id="{CAF9A740-9EC6-9D51-4CBD-EDACC878B291}"/>
              </a:ext>
            </a:extLst>
          </p:cNvPr>
          <p:cNvSpPr>
            <a:spLocks noGrp="1"/>
          </p:cNvSpPr>
          <p:nvPr>
            <p:ph type="body" sz="quarter" idx="25"/>
          </p:nvPr>
        </p:nvSpPr>
        <p:spPr/>
        <p:txBody>
          <a:bodyPr/>
          <a:lstStyle/>
          <a:p>
            <a:r>
              <a:rPr lang="de-DE" dirty="0"/>
              <a:t>Quelle: Bloomberg, Union Investment. Stand: 15. August 2024. </a:t>
            </a:r>
            <a:r>
              <a:rPr lang="de-DE" dirty="0">
                <a:effectLst/>
                <a:ea typeface="Calibri" panose="020F0502020204030204" pitchFamily="34" charset="0"/>
                <a:cs typeface="Times New Roman" panose="02020603050405020304" pitchFamily="18" charset="0"/>
              </a:rPr>
              <a:t>Die Quellenangabe bezieht sich auf alle angeführten Grafiken.</a:t>
            </a:r>
            <a:endParaRPr lang="de-DE" dirty="0"/>
          </a:p>
          <a:p>
            <a:r>
              <a:rPr lang="de-DE" sz="1200" dirty="0">
                <a:effectLst/>
                <a:latin typeface="Arial" panose="020B0604020202020204" pitchFamily="34" charset="0"/>
                <a:ea typeface="Times New Roman" panose="02020603050405020304" pitchFamily="18" charset="0"/>
                <a:cs typeface="Times New Roman" panose="02020603050405020304" pitchFamily="18" charset="0"/>
              </a:rPr>
              <a:t>Die Angaben zur Wertentwicklung basieren auf Vergangenheitswerten. Die Wert- und Ertragsentwicklungen können nicht mit Bestimmtheit vorausgesagt werden. Performanceergebnisse der Vergangenheit lassen keine Rückschlüsse auf die zukünftige Entwicklung zu.</a:t>
            </a:r>
          </a:p>
          <a:p>
            <a:endParaRPr lang="de-DE" dirty="0"/>
          </a:p>
        </p:txBody>
      </p:sp>
      <p:sp>
        <p:nvSpPr>
          <p:cNvPr id="2" name="Titel 1">
            <a:extLst>
              <a:ext uri="{FF2B5EF4-FFF2-40B4-BE49-F238E27FC236}">
                <a16:creationId xmlns:a16="http://schemas.microsoft.com/office/drawing/2014/main" id="{C911EA55-5EF2-4542-8C3B-D96364CC5692}"/>
              </a:ext>
            </a:extLst>
          </p:cNvPr>
          <p:cNvSpPr>
            <a:spLocks noGrp="1"/>
          </p:cNvSpPr>
          <p:nvPr>
            <p:ph type="title"/>
          </p:nvPr>
        </p:nvSpPr>
        <p:spPr>
          <a:xfrm>
            <a:off x="409574" y="404664"/>
            <a:ext cx="11536619" cy="720000"/>
          </a:xfrm>
        </p:spPr>
        <p:txBody>
          <a:bodyPr/>
          <a:lstStyle/>
          <a:p>
            <a:r>
              <a:rPr lang="de-DE" dirty="0">
                <a:solidFill>
                  <a:schemeClr val="dk2"/>
                </a:solidFill>
              </a:rPr>
              <a:t>US-Wirtschaft mit </a:t>
            </a:r>
            <a:r>
              <a:rPr lang="de-DE" dirty="0"/>
              <a:t>solider, aber </a:t>
            </a:r>
            <a:r>
              <a:rPr lang="de-DE" dirty="0">
                <a:solidFill>
                  <a:schemeClr val="accent2"/>
                </a:solidFill>
              </a:rPr>
              <a:t>leicht nachlassender Wachstumsdynamik</a:t>
            </a:r>
          </a:p>
        </p:txBody>
      </p:sp>
      <p:graphicFrame>
        <p:nvGraphicFramePr>
          <p:cNvPr id="52" name="Inhaltsplatzhalter 51">
            <a:extLst>
              <a:ext uri="{FF2B5EF4-FFF2-40B4-BE49-F238E27FC236}">
                <a16:creationId xmlns:a16="http://schemas.microsoft.com/office/drawing/2014/main" id="{5C85574A-7EFE-6832-6235-6C182D20739B}"/>
              </a:ext>
            </a:extLst>
          </p:cNvPr>
          <p:cNvGraphicFramePr>
            <a:graphicFrameLocks noGrp="1"/>
          </p:cNvGraphicFramePr>
          <p:nvPr>
            <p:ph sz="quarter" idx="26"/>
            <p:extLst>
              <p:ext uri="{D42A27DB-BD31-4B8C-83A1-F6EECF244321}">
                <p14:modId xmlns:p14="http://schemas.microsoft.com/office/powerpoint/2010/main" val="1365966865"/>
              </p:ext>
            </p:extLst>
          </p:nvPr>
        </p:nvGraphicFramePr>
        <p:xfrm>
          <a:off x="409575" y="1640694"/>
          <a:ext cx="3527425" cy="394096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4" name="Inhaltsplatzhalter 53">
            <a:extLst>
              <a:ext uri="{FF2B5EF4-FFF2-40B4-BE49-F238E27FC236}">
                <a16:creationId xmlns:a16="http://schemas.microsoft.com/office/drawing/2014/main" id="{E79985CD-F14E-F4B4-1E02-71761A07D602}"/>
              </a:ext>
            </a:extLst>
          </p:cNvPr>
          <p:cNvGraphicFramePr>
            <a:graphicFrameLocks noGrp="1"/>
          </p:cNvGraphicFramePr>
          <p:nvPr>
            <p:ph sz="quarter" idx="28"/>
            <p:extLst>
              <p:ext uri="{D42A27DB-BD31-4B8C-83A1-F6EECF244321}">
                <p14:modId xmlns:p14="http://schemas.microsoft.com/office/powerpoint/2010/main" val="370554970"/>
              </p:ext>
            </p:extLst>
          </p:nvPr>
        </p:nvGraphicFramePr>
        <p:xfrm>
          <a:off x="4333875" y="1640694"/>
          <a:ext cx="3527425" cy="394096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7" name="Inhaltsplatzhalter 56">
            <a:extLst>
              <a:ext uri="{FF2B5EF4-FFF2-40B4-BE49-F238E27FC236}">
                <a16:creationId xmlns:a16="http://schemas.microsoft.com/office/drawing/2014/main" id="{88E2D954-A147-FEE5-5176-DF1594161852}"/>
              </a:ext>
            </a:extLst>
          </p:cNvPr>
          <p:cNvGraphicFramePr>
            <a:graphicFrameLocks noGrp="1"/>
          </p:cNvGraphicFramePr>
          <p:nvPr>
            <p:ph sz="quarter" idx="27"/>
            <p:extLst>
              <p:ext uri="{D42A27DB-BD31-4B8C-83A1-F6EECF244321}">
                <p14:modId xmlns:p14="http://schemas.microsoft.com/office/powerpoint/2010/main" val="1431838164"/>
              </p:ext>
            </p:extLst>
          </p:nvPr>
        </p:nvGraphicFramePr>
        <p:xfrm>
          <a:off x="8258175" y="1640694"/>
          <a:ext cx="3527425" cy="3940968"/>
        </p:xfrm>
        <a:graphic>
          <a:graphicData uri="http://schemas.openxmlformats.org/drawingml/2006/chart">
            <c:chart xmlns:c="http://schemas.openxmlformats.org/drawingml/2006/chart" xmlns:r="http://schemas.openxmlformats.org/officeDocument/2006/relationships" r:id="rId5"/>
          </a:graphicData>
        </a:graphic>
      </p:graphicFrame>
      <p:sp>
        <p:nvSpPr>
          <p:cNvPr id="5" name="Foliennummernplatzhalter 4">
            <a:extLst>
              <a:ext uri="{FF2B5EF4-FFF2-40B4-BE49-F238E27FC236}">
                <a16:creationId xmlns:a16="http://schemas.microsoft.com/office/drawing/2014/main" id="{A442B92A-67A4-074C-37EC-A95FE8FFEE86}"/>
              </a:ext>
            </a:extLst>
          </p:cNvPr>
          <p:cNvSpPr>
            <a:spLocks noGrp="1"/>
          </p:cNvSpPr>
          <p:nvPr>
            <p:ph type="sldNum" sz="quarter" idx="37"/>
          </p:nvPr>
        </p:nvSpPr>
        <p:spPr/>
        <p:txBody>
          <a:bodyPr/>
          <a:lstStyle/>
          <a:p>
            <a:fld id="{9C89B081-1F44-4440-BC7B-989C90F97B77}" type="slidenum">
              <a:rPr lang="de-DE" smtClean="0"/>
              <a:pPr/>
              <a:t>9</a:t>
            </a:fld>
            <a:endParaRPr lang="de-DE" dirty="0"/>
          </a:p>
        </p:txBody>
      </p:sp>
    </p:spTree>
    <p:extLst>
      <p:ext uri="{BB962C8B-B14F-4D97-AF65-F5344CB8AC3E}">
        <p14:creationId xmlns:p14="http://schemas.microsoft.com/office/powerpoint/2010/main" val="43770217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 name="THINKCELLUNDODONOTDELETE" val="0"/>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IAAAAAAAAAAwAAAAMAAAAA/////wQAMwwAAAAAAAAAAAAAIAD///////////////8AAAD///////////////8DAAAAAwD///////8DAAAAAwD///////8DAAAAAwD///////////////////////////////////////////////////////////////////////////////////////////////////////////////////////////////////////////////////////////////////////////////////////////////////////////////////////////////////////////////////////////////////////////////////////////////////////////////////////////////////////////////////////////////////////////////////////////////////////////////////////////////////////////////////////////////////////////////8BACAA////////////////AAAO////////AwAAAAIA////////////////////////////////////////////////////////////////////////////////////////////////////////////////////////////////////////////////////////////////////////////////////////////////////////////////////////////////////////////////////////////////////////////////////////////////////////////////////////////////////////////////////////////////////////////////////////////////////////////////////////////////////////////////////////////////////////////////////////////////////////////////////////AgABAP///////wQAAAACABAACxZvHfFzeJdLp6vSF/mrLsQFAAAAAAADAAAAAwADAAAAAQADAAMA////////BAAAAAMAEAALZyyMJg8Hi0S0F0DBdvEIUwUAAAABAAMAAAAAAAMAAAACAAMAAAAAAP///////wM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BQMAAAAAAAAAAAAACAB////////////////AAAA////////////////BAAAAAMA////////BAAAAAIA////////BAAAAAIA////////////////////////////////////////////////////////////////////////////////////////////////////////////////////////////////////////////////////////////////////////////////////////////////////////////////////////////////////////////////////////////////////////////////////////////////////////////////////////////////////////////////////////////////////////////////////////////////////////////////////////////////////////////////////////////////////////////////AQAgAf///////////////wAADv///////wQAAAACAP///////////////////////////////////////////////////////////////////////////////////////////////////////////////////////////////////////////////////////////////////////////////////////////////////////////////////////////////////////////////////////////////////////////////////////////////////////////////////////////////////////////////////////////////////////////////////////////////////////////////////////////////////////////////////////////////////////////////////////////////////////////////////////wIAAwEDAAAAAgD///////8aAAZMaW5rZWRTaGFwZXNEYXRhUHJvcGVydHlfMAUAAAAAAAQAAAADAAQAAAABAAQAAAAAAP///////wQAAAAAAP///////w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BZvHfFzeJdLp6vSF/mrLsQDRGF0YQAbAAAABExpbmtlZFNoYXBlRGF0YQAFAAAAAAACTmFtZQAZAAAATGlua2VkU2hhcGVzRGF0YVByb3BlcnR5ABBWZXJzaW9uAAAAAAAJTGFzdFdyaXRlAOBrOheKAQAAAAEA/////8YAxgAAAAVfaWQAEAAAAARnLIwmDweLRLQXQMF28QhTA0RhdGEAUwAAAAhQcmVzZW50YXRpb25TY2FubmVkRm9yTGlua2VkU2hhcGVzAAECTnVtYmVyRm9ybWF0U2VwYXJhdG9yTW9kZQAKAAAAQXV0b21hdGljAAACTmFtZQAkAAAATGlua2VkU2hhcGVQcmVzZW50YXRpb25TZXR0aW5nc0RhdGEAEFZlcnNpb24AAAAAAAlMYXN0V3JpdGUAPWw6F4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282036194610621"/>
  <p:tag name="EMPOWERCHARTSPROPERTIES_B_LENGTH" val="24576"/>
</p:tagLst>
</file>

<file path=ppt/tags/tag10.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75784250_1825_441A_A2C7_0F059BFA7C39&quot;,&quot;SourceFullName&quot;:&quot;https://unioninvestment-my.sharepoint.com/personal/xz49fe1_union-investment_de/Documents/Tools/Tool US Politics.xlsm&quot;,&quot;LastUpdate&quot;:&quot;2024-08-15 10:45 AM&quot;,&quot;UpdatedBy&quot;:&quot;XZ49FE1&quot;,&quot;IsLinked&quot;:false,&quot;IsBrokenLink&quot;:false,&quot;Type&quot;:1}"/>
</p:tagLst>
</file>

<file path=ppt/tags/tag11.xml><?xml version="1.0" encoding="utf-8"?>
<p:tagLst xmlns:a="http://schemas.openxmlformats.org/drawingml/2006/main" xmlns:r="http://schemas.openxmlformats.org/officeDocument/2006/relationships" xmlns:p="http://schemas.openxmlformats.org/presentationml/2006/main">
  <p:tag name="MIO_GUID" val="7df12706-7cf8-47e8-bfa3-b9227bda6f6c"/>
  <p:tag name="MIO_EKGUID" val="41081e26-cdf2-43de-a618-f4e1c9184d01"/>
  <p:tag name="MIO_UPDATE" val="True"/>
  <p:tag name="MIO_VERSION" val="24.10.2023 13:00:05"/>
  <p:tag name="MIO_DBID" val="108497A2-9460-4F1F-8F82-399011FBFC80"/>
  <p:tag name="MIO_LASTDOWNLOADED" val="03.11.2023 11:54:48.084"/>
  <p:tag name="MIO_OBJECTNAME" val="Rechtliche Hinweise"/>
  <p:tag name="MIO_LASTEDITORNAME" val="Marlene Bierer"/>
</p:tagLst>
</file>

<file path=ppt/tags/tag2.xml><?xml version="1.0" encoding="utf-8"?>
<p:tagLst xmlns:a="http://schemas.openxmlformats.org/drawingml/2006/main" xmlns:r="http://schemas.openxmlformats.org/officeDocument/2006/relationships" xmlns:p="http://schemas.openxmlformats.org/presentationml/2006/main">
  <p:tag name="MIO_EK" val="3639"/>
  <p:tag name="MIO_FALLBACK_LAYOUT" val="18"/>
  <p:tag name="MIO_SHOW_DATE" val="True"/>
  <p:tag name="MIO_SHOW_FOOTER" val="True"/>
  <p:tag name="MIO_SHOW_PAGENUMBER" val="True"/>
  <p:tag name="MIO_AVOID_BLANK_LAYOUT" val="True"/>
  <p:tag name="MIO_CD_LAYOUT_VALID_AREA" val="False"/>
  <p:tag name="MIO_NUMBER_OF_VALID_LAYOUTS" val="35"/>
  <p:tag name="MIO_HDS" val="True"/>
  <p:tag name="MIO_SKIPVERSION" val="01.01.0001 00:00:00"/>
  <p:tag name="MIO_EKGUID" val="30386d2a-9af8-4477-936f-285a29f32580"/>
  <p:tag name="MIO_UPDATE" val="True"/>
  <p:tag name="MIO_VERSION" val="08.04.2021 07:29:43"/>
  <p:tag name="MIO_DBID" val="108497A2-9460-4F1F-8F82-399011FBFC80"/>
  <p:tag name="MIO_LASTDOWNLOADED" val="12.04.2021 16:58:56"/>
  <p:tag name="MIO_OBJECTNAME" val="Union Investment Vorlage UI-Blau"/>
  <p:tag name="MIO_CDID" val="f8df07cd-ca2e-4e22-b311-8af9e89b73b7"/>
</p:tagLst>
</file>

<file path=ppt/tags/tag3.xml><?xml version="1.0" encoding="utf-8"?>
<p:tagLst xmlns:a="http://schemas.openxmlformats.org/drawingml/2006/main" xmlns:r="http://schemas.openxmlformats.org/officeDocument/2006/relationships" xmlns:p="http://schemas.openxmlformats.org/presentationml/2006/main">
  <p:tag name="MIO_EK" val="3639"/>
  <p:tag name="MIO_FALLBACK_LAYOUT" val="18"/>
  <p:tag name="MIO_SHOW_DATE" val="True"/>
  <p:tag name="MIO_SHOW_FOOTER" val="True"/>
  <p:tag name="MIO_SHOW_PAGENUMBER" val="True"/>
  <p:tag name="MIO_AVOID_BLANK_LAYOUT" val="True"/>
  <p:tag name="MIO_CD_LAYOUT_VALID_AREA" val="False"/>
  <p:tag name="MIO_NUMBER_OF_VALID_LAYOUTS" val="35"/>
  <p:tag name="MIO_HDS" val="True"/>
  <p:tag name="MIO_SKIPVERSION" val="01.01.0001 00:00:00"/>
  <p:tag name="MIO_EKGUID" val="188618c4-be8d-4981-b8f0-fc9f0d447b0c"/>
  <p:tag name="MIO_UPDATE" val="True"/>
  <p:tag name="MIO_VERSION" val="08.04.2021 07:29:57"/>
  <p:tag name="MIO_DBID" val="108497A2-9460-4F1F-8F82-399011FBFC80"/>
  <p:tag name="MIO_LASTDOWNLOADED" val="08.11.2021 08:18:51"/>
  <p:tag name="MIO_OBJECTNAME" val="Union Investment Vorlage Grau"/>
  <p:tag name="MIO_CDID" val="b7c284fd-e90c-49ba-97e5-9fea8cb4f968"/>
</p:tagLst>
</file>

<file path=ppt/tags/tag4.xml><?xml version="1.0" encoding="utf-8"?>
<p:tagLst xmlns:a="http://schemas.openxmlformats.org/drawingml/2006/main" xmlns:r="http://schemas.openxmlformats.org/officeDocument/2006/relationships" xmlns:p="http://schemas.openxmlformats.org/presentationml/2006/main">
  <p:tag name="MIO_EK" val="3639"/>
  <p:tag name="MIO_FALLBACK_LAYOUT" val="18"/>
  <p:tag name="MIO_SHOW_DATE" val="True"/>
  <p:tag name="MIO_SHOW_FOOTER" val="True"/>
  <p:tag name="MIO_SHOW_PAGENUMBER" val="True"/>
  <p:tag name="MIO_AVOID_BLANK_LAYOUT" val="True"/>
  <p:tag name="MIO_CD_LAYOUT_VALID_AREA" val="False"/>
  <p:tag name="MIO_NUMBER_OF_VALID_LAYOUTS" val="35"/>
  <p:tag name="MIO_HDS" val="True"/>
  <p:tag name="MIO_SKIPVERSION" val="01.01.0001 00:00:00"/>
  <p:tag name="MIO_EKGUID" val="30386d2a-9af8-4477-936f-285a29f32580"/>
  <p:tag name="MIO_UPDATE" val="True"/>
  <p:tag name="MIO_VERSION" val="08.04.2021 07:29:43"/>
  <p:tag name="MIO_DBID" val="108497A2-9460-4F1F-8F82-399011FBFC80"/>
  <p:tag name="MIO_LASTDOWNLOADED" val="12.04.2021 16:58:56"/>
  <p:tag name="MIO_OBJECTNAME" val="Union Investment Vorlage UI-Blau"/>
  <p:tag name="MIO_CDID" val="f8df07cd-ca2e-4e22-b311-8af9e89b73b7"/>
</p:tagLst>
</file>

<file path=ppt/tags/tag5.xml><?xml version="1.0" encoding="utf-8"?>
<p:tagLst xmlns:a="http://schemas.openxmlformats.org/drawingml/2006/main" xmlns:r="http://schemas.openxmlformats.org/officeDocument/2006/relationships" xmlns:p="http://schemas.openxmlformats.org/presentationml/2006/main">
  <p:tag name="MIO_GUID" val="a002c30d-834d-4958-bec0-28eaced40002"/>
  <p:tag name="MIO_EKGUID" val="a1f12bf4-101a-43a4-bd8e-66f5b525cced"/>
  <p:tag name="MIO_UPDATE" val="True"/>
  <p:tag name="MIO_VERSION" val="26.11.2021 07:42:50"/>
  <p:tag name="MIO_DBID" val="108497A2-9460-4F1F-8F82-399011FBFC80"/>
  <p:tag name="MIO_LASTDOWNLOADED" val="05.05.2022 13:47:02"/>
  <p:tag name="MIO_OBJECTNAME" val="Union Investment Austria GmbH / Ort, TT.MM.JJJJ"/>
  <p:tag name="MIO_LASTEDITORNAME" val="Marlene Bierer"/>
</p:tagLst>
</file>

<file path=ppt/tags/tag6.xml><?xml version="1.0" encoding="utf-8"?>
<p:tagLst xmlns:a="http://schemas.openxmlformats.org/drawingml/2006/main" xmlns:r="http://schemas.openxmlformats.org/officeDocument/2006/relationships" xmlns:p="http://schemas.openxmlformats.org/presentationml/2006/main">
  <p:tag name="MIO_EKGUID" val="c85ee9d6-aaa6-4a59-b31a-922b5d05f286"/>
  <p:tag name="MIO_GUID" val="2295fcc9-868a-4612-8ecb-03f6af515f24"/>
  <p:tag name="MIO_UPDATE" val="True"/>
  <p:tag name="MIO_VERSION" val="27.10.2021 10:15:14"/>
  <p:tag name="MIO_DBID" val="108497A2-9460-4F1F-8F82-399011FBFC80"/>
  <p:tag name="MIO_LASTDOWNLOADED" val="28.10.2022 10:07:23"/>
  <p:tag name="MIO_OBJECTNAME" val="Euro UI-Blau/UI-Grün"/>
  <p:tag name="MIO_LASTEDITORNAME" val="Sandra Clemens"/>
</p:tagLst>
</file>

<file path=ppt/tags/tag7.xml><?xml version="1.0" encoding="utf-8"?>
<p:tagLst xmlns:a="http://schemas.openxmlformats.org/drawingml/2006/main" xmlns:r="http://schemas.openxmlformats.org/officeDocument/2006/relationships" xmlns:p="http://schemas.openxmlformats.org/presentationml/2006/main">
  <p:tag name="MIO_GUID" val="a10d6007-c98b-4a3a-a397-1553e366315c"/>
  <p:tag name="MIO_EK" val="2069"/>
  <p:tag name="MIO_EKGUID" val="06c53297-37e1-4ac3-b949-8b454cd14d13"/>
  <p:tag name="MIO_UPDATE" val="True"/>
  <p:tag name="MIO_VERSION" val="24.11.2021 10:27:51"/>
  <p:tag name="MIO_DBID" val="108497A2-9460-4F1F-8F82-399011FBFC80"/>
  <p:tag name="MIO_LASTDOWNLOADED" val="02.03.2023 11:39:55"/>
  <p:tag name="MIO_OBJECTNAME" val="Linien"/>
  <p:tag name="MIO_LASTEDITORNAME" val="Sandra Clemens"/>
</p:tagLst>
</file>

<file path=ppt/tags/tag8.xml><?xml version="1.0" encoding="utf-8"?>
<p:tagLst xmlns:a="http://schemas.openxmlformats.org/drawingml/2006/main" xmlns:r="http://schemas.openxmlformats.org/officeDocument/2006/relationships" xmlns:p="http://schemas.openxmlformats.org/presentationml/2006/main">
  <p:tag name="MIO_GUID" val="f6c33bd2-231d-4358-8edd-17d53f12895f"/>
  <p:tag name="MIO_EKGUID" val="a2af8e09-cf3d-4973-bc67-5bd81582116e"/>
  <p:tag name="MIO_UPDATE" val="True"/>
  <p:tag name="MIO_VERSION" val="04.07.2017 14:07:52"/>
  <p:tag name="MIO_DBID" val="108497A2-9460-4F1F-8F82-399011FBFC80"/>
  <p:tag name="MIO_LASTDOWNLOADED" val="17.10.2019 13:24:51"/>
  <p:tag name="MIO_OBJECTNAME" val="Text Inhalt bankinterne Verwendung"/>
  <p:tag name="MIO_LASTEDITORNAME" val="Sandra Clemens"/>
</p:tagLst>
</file>

<file path=ppt/tags/tag9.xml><?xml version="1.0" encoding="utf-8"?>
<p:tagLst xmlns:a="http://schemas.openxmlformats.org/drawingml/2006/main" xmlns:r="http://schemas.openxmlformats.org/officeDocument/2006/relationships" xmlns:p="http://schemas.openxmlformats.org/presentationml/2006/main">
  <p:tag name="MIO_GUID" val="5f0837ee-222d-403d-b609-ef0251da2649"/>
  <p:tag name="MIO_EK" val="2643"/>
  <p:tag name="MIO_EKGUID" val="bb43970a-438e-4829-826f-477a52ae0df3"/>
  <p:tag name="MIO_UPDATE" val="True"/>
  <p:tag name="MIO_VERSION" val="10.01.2023 07:48:29"/>
  <p:tag name="MIO_DBID" val="108497A2-9460-4F1F-8F82-399011FBFC80"/>
  <p:tag name="MIO_LASTDOWNLOADED" val="29.02.2024 06:57:33.655"/>
  <p:tag name="MIO_OBJECTNAME" val="Tabelle weißer Hintergrund–graue wechselnde Zeilenfarbe"/>
  <p:tag name="MIO_LASTEDITORNAME" val="Sandra Clemens"/>
</p:tagLst>
</file>

<file path=ppt/theme/theme1.xml><?xml version="1.0" encoding="utf-8"?>
<a:theme xmlns:a="http://schemas.openxmlformats.org/drawingml/2006/main" name="Union Investment UI-Blau">
  <a:themeElements>
    <a:clrScheme name="UI 2019">
      <a:dk1>
        <a:sysClr val="windowText" lastClr="000000"/>
      </a:dk1>
      <a:lt1>
        <a:sysClr val="window" lastClr="FFFFFF"/>
      </a:lt1>
      <a:dk2>
        <a:srgbClr val="00358E"/>
      </a:dk2>
      <a:lt2>
        <a:srgbClr val="FFFFFF"/>
      </a:lt2>
      <a:accent1>
        <a:srgbClr val="00358E"/>
      </a:accent1>
      <a:accent2>
        <a:srgbClr val="43B02A"/>
      </a:accent2>
      <a:accent3>
        <a:srgbClr val="C3C3C3"/>
      </a:accent3>
      <a:accent4>
        <a:srgbClr val="008D92"/>
      </a:accent4>
      <a:accent5>
        <a:srgbClr val="FED210"/>
      </a:accent5>
      <a:accent6>
        <a:srgbClr val="1386DD"/>
      </a:accent6>
      <a:hlink>
        <a:srgbClr val="0070C0"/>
      </a:hlink>
      <a:folHlink>
        <a:srgbClr val="7030A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9E9E9"/>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marL="0" indent="0" algn="l">
          <a:spcBef>
            <a:spcPts val="600"/>
          </a:spcBef>
          <a:buClr>
            <a:schemeClr val="accent1"/>
          </a:buClr>
          <a:buFontTx/>
          <a:buNone/>
          <a:defRPr sz="14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88888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nchor="t">
        <a:spAutoFit/>
      </a:bodyPr>
      <a:lstStyle>
        <a:defPPr marL="0" indent="0">
          <a:spcBef>
            <a:spcPts val="600"/>
          </a:spcBef>
          <a:buClr>
            <a:schemeClr val="accent1"/>
          </a:buClr>
          <a:buFontTx/>
          <a:buNone/>
          <a:defRPr sz="1400" dirty="0" err="1"/>
        </a:defPPr>
      </a:lstStyle>
    </a:txDef>
  </a:objectDefaults>
  <a:extraClrSchemeLst/>
  <a:custClrLst>
    <a:custClr>
      <a:srgbClr val="873FD5"/>
    </a:custClr>
    <a:custClr>
      <a:srgbClr val="BAD71C"/>
    </a:custClr>
    <a:custClr>
      <a:srgbClr val="466DAF"/>
    </a:custClr>
    <a:custClr>
      <a:srgbClr val="8ED082"/>
    </a:custClr>
    <a:custClr>
      <a:srgbClr val="888888"/>
    </a:custClr>
    <a:custClr>
      <a:srgbClr val="72B8BC"/>
    </a:custClr>
    <a:custClr>
      <a:srgbClr val="FFFFFF"/>
    </a:custClr>
    <a:custClr>
      <a:srgbClr val="43B02A"/>
    </a:custClr>
    <a:custClr>
      <a:srgbClr val="FED210"/>
    </a:custClr>
    <a:custClr>
      <a:srgbClr val="E42444"/>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E9E9E9"/>
    </a:custClr>
    <a:custClr>
      <a:srgbClr val="C3C3C3"/>
    </a:custClr>
    <a:custClr>
      <a:srgbClr val="C8D5E7"/>
    </a:custClr>
    <a:custClr>
      <a:srgbClr val="99ABD0"/>
    </a:custClr>
  </a:custClrLst>
  <a:extLst>
    <a:ext uri="{05A4C25C-085E-4340-85A3-A5531E510DB2}">
      <thm15:themeFamily xmlns:thm15="http://schemas.microsoft.com/office/thememl/2012/main" name="blank..potx" id="{859E9171-80D8-4CAF-9B3C-4EC19CD57143}" vid="{5E0A3ED2-26D1-4820-96BB-DF625F7415DD}"/>
    </a:ext>
  </a:extLst>
</a:theme>
</file>

<file path=ppt/theme/theme2.xml><?xml version="1.0" encoding="utf-8"?>
<a:theme xmlns:a="http://schemas.openxmlformats.org/drawingml/2006/main" name="Union Investment Grau">
  <a:themeElements>
    <a:clrScheme name="UI 2019">
      <a:dk1>
        <a:sysClr val="windowText" lastClr="000000"/>
      </a:dk1>
      <a:lt1>
        <a:sysClr val="window" lastClr="FFFFFF"/>
      </a:lt1>
      <a:dk2>
        <a:srgbClr val="00358E"/>
      </a:dk2>
      <a:lt2>
        <a:srgbClr val="FFFFFF"/>
      </a:lt2>
      <a:accent1>
        <a:srgbClr val="00358E"/>
      </a:accent1>
      <a:accent2>
        <a:srgbClr val="43B02A"/>
      </a:accent2>
      <a:accent3>
        <a:srgbClr val="C3C3C3"/>
      </a:accent3>
      <a:accent4>
        <a:srgbClr val="008D92"/>
      </a:accent4>
      <a:accent5>
        <a:srgbClr val="FED210"/>
      </a:accent5>
      <a:accent6>
        <a:srgbClr val="1386DD"/>
      </a:accent6>
      <a:hlink>
        <a:srgbClr val="0070C0"/>
      </a:hlink>
      <a:folHlink>
        <a:srgbClr val="7030A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9E9E9"/>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marL="0" indent="0" algn="l">
          <a:spcBef>
            <a:spcPts val="600"/>
          </a:spcBef>
          <a:buClr>
            <a:schemeClr val="accent1"/>
          </a:buClr>
          <a:buFontTx/>
          <a:buNone/>
          <a:defRPr sz="14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88888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nchor="t">
        <a:spAutoFit/>
      </a:bodyPr>
      <a:lstStyle>
        <a:defPPr marL="0" indent="0">
          <a:spcBef>
            <a:spcPts val="600"/>
          </a:spcBef>
          <a:buClr>
            <a:schemeClr val="accent1"/>
          </a:buClr>
          <a:buFontTx/>
          <a:buNone/>
          <a:defRPr sz="1400" dirty="0" err="1"/>
        </a:defPPr>
      </a:lstStyle>
    </a:txDef>
  </a:objectDefaults>
  <a:extraClrSchemeLst/>
  <a:custClrLst>
    <a:custClr>
      <a:srgbClr val="873FD5"/>
    </a:custClr>
    <a:custClr>
      <a:srgbClr val="BAD71C"/>
    </a:custClr>
    <a:custClr>
      <a:srgbClr val="466DAF"/>
    </a:custClr>
    <a:custClr>
      <a:srgbClr val="8ED082"/>
    </a:custClr>
    <a:custClr>
      <a:srgbClr val="888888"/>
    </a:custClr>
    <a:custClr>
      <a:srgbClr val="72B8BC"/>
    </a:custClr>
    <a:custClr>
      <a:srgbClr val="FFFFFF"/>
    </a:custClr>
    <a:custClr>
      <a:srgbClr val="43B02A"/>
    </a:custClr>
    <a:custClr>
      <a:srgbClr val="FED210"/>
    </a:custClr>
    <a:custClr>
      <a:srgbClr val="E42444"/>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E9E9E9"/>
    </a:custClr>
    <a:custClr>
      <a:srgbClr val="C3C3C3"/>
    </a:custClr>
    <a:custClr>
      <a:srgbClr val="C8D5E7"/>
    </a:custClr>
    <a:custClr>
      <a:srgbClr val="99ABD0"/>
    </a:custClr>
  </a:custClrLst>
  <a:extLst>
    <a:ext uri="{05A4C25C-085E-4340-85A3-A5531E510DB2}">
      <thm15:themeFamily xmlns:thm15="http://schemas.microsoft.com/office/thememl/2012/main" name="Präsentation3" id="{95061FA9-8F1A-4CC6-92F4-6AC9C5EF9FD0}" vid="{1CDD5E84-437A-49FA-BCA8-669D86875655}"/>
    </a:ext>
  </a:extLst>
</a:theme>
</file>

<file path=ppt/theme/theme3.xml><?xml version="1.0" encoding="utf-8"?>
<a:theme xmlns:a="http://schemas.openxmlformats.org/drawingml/2006/main" name="1_Union Investment UI-Blau">
  <a:themeElements>
    <a:clrScheme name="UI 2019">
      <a:dk1>
        <a:sysClr val="windowText" lastClr="000000"/>
      </a:dk1>
      <a:lt1>
        <a:sysClr val="window" lastClr="FFFFFF"/>
      </a:lt1>
      <a:dk2>
        <a:srgbClr val="00358E"/>
      </a:dk2>
      <a:lt2>
        <a:srgbClr val="FFFFFF"/>
      </a:lt2>
      <a:accent1>
        <a:srgbClr val="00358E"/>
      </a:accent1>
      <a:accent2>
        <a:srgbClr val="43B02A"/>
      </a:accent2>
      <a:accent3>
        <a:srgbClr val="C3C3C3"/>
      </a:accent3>
      <a:accent4>
        <a:srgbClr val="008D92"/>
      </a:accent4>
      <a:accent5>
        <a:srgbClr val="FED210"/>
      </a:accent5>
      <a:accent6>
        <a:srgbClr val="1386DD"/>
      </a:accent6>
      <a:hlink>
        <a:srgbClr val="0070C0"/>
      </a:hlink>
      <a:folHlink>
        <a:srgbClr val="7030A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9E9E9"/>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marL="0" indent="0" algn="l">
          <a:spcBef>
            <a:spcPts val="600"/>
          </a:spcBef>
          <a:buClr>
            <a:schemeClr val="accent1"/>
          </a:buClr>
          <a:buFontTx/>
          <a:buNone/>
          <a:defRPr sz="14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88888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nchor="t">
        <a:spAutoFit/>
      </a:bodyPr>
      <a:lstStyle>
        <a:defPPr marL="0" indent="0">
          <a:spcBef>
            <a:spcPts val="600"/>
          </a:spcBef>
          <a:buClr>
            <a:schemeClr val="accent1"/>
          </a:buClr>
          <a:buFontTx/>
          <a:buNone/>
          <a:defRPr sz="1400" dirty="0" err="1"/>
        </a:defPPr>
      </a:lstStyle>
    </a:txDef>
  </a:objectDefaults>
  <a:extraClrSchemeLst/>
  <a:custClrLst>
    <a:custClr>
      <a:srgbClr val="873FD5"/>
    </a:custClr>
    <a:custClr>
      <a:srgbClr val="BAD71C"/>
    </a:custClr>
    <a:custClr>
      <a:srgbClr val="466DAF"/>
    </a:custClr>
    <a:custClr>
      <a:srgbClr val="8ED082"/>
    </a:custClr>
    <a:custClr>
      <a:srgbClr val="888888"/>
    </a:custClr>
    <a:custClr>
      <a:srgbClr val="72B8BC"/>
    </a:custClr>
    <a:custClr>
      <a:srgbClr val="FFFFFF"/>
    </a:custClr>
    <a:custClr>
      <a:srgbClr val="43B02A"/>
    </a:custClr>
    <a:custClr>
      <a:srgbClr val="FED210"/>
    </a:custClr>
    <a:custClr>
      <a:srgbClr val="E42444"/>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E9E9E9"/>
    </a:custClr>
    <a:custClr>
      <a:srgbClr val="C3C3C3"/>
    </a:custClr>
    <a:custClr>
      <a:srgbClr val="C8D5E7"/>
    </a:custClr>
    <a:custClr>
      <a:srgbClr val="99ABD0"/>
    </a:custClr>
  </a:custClrLst>
  <a:extLst>
    <a:ext uri="{05A4C25C-085E-4340-85A3-A5531E510DB2}">
      <thm15:themeFamily xmlns:thm15="http://schemas.microsoft.com/office/thememl/2012/main" name="blank..potx" id="{859E9171-80D8-4CAF-9B3C-4EC19CD57143}" vid="{5E0A3ED2-26D1-4820-96BB-DF625F7415DD}"/>
    </a:ext>
  </a:extLst>
</a:theme>
</file>

<file path=ppt/theme/theme4.xml><?xml version="1.0" encoding="utf-8"?>
<a:theme xmlns:a="http://schemas.openxmlformats.org/drawingml/2006/main" name="Office">
  <a:themeElements>
    <a:clrScheme name="UI 2019">
      <a:dk1>
        <a:sysClr val="windowText" lastClr="000000"/>
      </a:dk1>
      <a:lt1>
        <a:sysClr val="window" lastClr="FFFFFF"/>
      </a:lt1>
      <a:dk2>
        <a:srgbClr val="00358E"/>
      </a:dk2>
      <a:lt2>
        <a:srgbClr val="FFFFFF"/>
      </a:lt2>
      <a:accent1>
        <a:srgbClr val="00358E"/>
      </a:accent1>
      <a:accent2>
        <a:srgbClr val="43B02A"/>
      </a:accent2>
      <a:accent3>
        <a:srgbClr val="C3C3C3"/>
      </a:accent3>
      <a:accent4>
        <a:srgbClr val="008D92"/>
      </a:accent4>
      <a:accent5>
        <a:srgbClr val="FED210"/>
      </a:accent5>
      <a:accent6>
        <a:srgbClr val="1386DD"/>
      </a:accent6>
      <a:hlink>
        <a:srgbClr val="0070C0"/>
      </a:hlink>
      <a:folHlink>
        <a:srgbClr val="7030A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Larissa">
  <a:themeElements>
    <a:clrScheme name="UI 2019">
      <a:dk1>
        <a:sysClr val="windowText" lastClr="000000"/>
      </a:dk1>
      <a:lt1>
        <a:sysClr val="window" lastClr="FFFFFF"/>
      </a:lt1>
      <a:dk2>
        <a:srgbClr val="00358E"/>
      </a:dk2>
      <a:lt2>
        <a:srgbClr val="FFFFFF"/>
      </a:lt2>
      <a:accent1>
        <a:srgbClr val="00358E"/>
      </a:accent1>
      <a:accent2>
        <a:srgbClr val="43B02A"/>
      </a:accent2>
      <a:accent3>
        <a:srgbClr val="C3C3C3"/>
      </a:accent3>
      <a:accent4>
        <a:srgbClr val="008D92"/>
      </a:accent4>
      <a:accent5>
        <a:srgbClr val="FED210"/>
      </a:accent5>
      <a:accent6>
        <a:srgbClr val="1386DD"/>
      </a:accent6>
      <a:hlink>
        <a:srgbClr val="0070C0"/>
      </a:hlink>
      <a:folHlink>
        <a:srgbClr val="7030A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UnionInvestment">
    <a:dk1>
      <a:srgbClr val="000000"/>
    </a:dk1>
    <a:lt1>
      <a:srgbClr val="FFFFFF"/>
    </a:lt1>
    <a:dk2>
      <a:srgbClr val="003F74"/>
    </a:dk2>
    <a:lt2>
      <a:srgbClr val="FFFFFF"/>
    </a:lt2>
    <a:accent1>
      <a:srgbClr val="003F74"/>
    </a:accent1>
    <a:accent2>
      <a:srgbClr val="AEC6A1"/>
    </a:accent2>
    <a:accent3>
      <a:srgbClr val="83898E"/>
    </a:accent3>
    <a:accent4>
      <a:srgbClr val="FBD69B"/>
    </a:accent4>
    <a:accent5>
      <a:srgbClr val="A7BCD5"/>
    </a:accent5>
    <a:accent6>
      <a:srgbClr val="D1D3D2"/>
    </a:accent6>
    <a:hlink>
      <a:srgbClr val="0070C0"/>
    </a:hlink>
    <a:folHlink>
      <a:srgbClr val="7030A0"/>
    </a:folHlink>
  </a:clrScheme>
  <a:fontScheme name="UnionInvestme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7ac70fca-539b-4ff2-86c0-c4105e6ffff5" xsi:nil="true"/>
    <lcf76f155ced4ddcb4097134ff3c332f xmlns="4a0dfec2-7126-4d8c-8026-843911d2b083">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2A2F68E2ABBAF947A55FEF78883916D5" ma:contentTypeVersion="17" ma:contentTypeDescription="Ein neues Dokument erstellen." ma:contentTypeScope="" ma:versionID="5c702ba32ff1e7c0b97a35499b9a1043">
  <xsd:schema xmlns:xsd="http://www.w3.org/2001/XMLSchema" xmlns:xs="http://www.w3.org/2001/XMLSchema" xmlns:p="http://schemas.microsoft.com/office/2006/metadata/properties" xmlns:ns2="4a0dfec2-7126-4d8c-8026-843911d2b083" xmlns:ns3="7ac70fca-539b-4ff2-86c0-c4105e6ffff5" targetNamespace="http://schemas.microsoft.com/office/2006/metadata/properties" ma:root="true" ma:fieldsID="8dfa85d0a48cfaed585332ff1749886d" ns2:_="" ns3:_="">
    <xsd:import namespace="4a0dfec2-7126-4d8c-8026-843911d2b083"/>
    <xsd:import namespace="7ac70fca-539b-4ff2-86c0-c4105e6ffff5"/>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Location" minOccurs="0"/>
                <xsd:element ref="ns2:MediaServiceObjectDetectorVersions"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a0dfec2-7126-4d8c-8026-843911d2b08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Bildmarkierungen" ma:readOnly="false" ma:fieldId="{5cf76f15-5ced-4ddc-b409-7134ff3c332f}" ma:taxonomyMulti="true" ma:sspId="01662297-3e06-4e34-9b10-5163e914517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Location" ma:index="20" nillable="true" ma:displayName="Location" ma:indexed="true" ma:internalName="MediaServiceLocation" ma:readOnly="true">
      <xsd:simpleType>
        <xsd:restriction base="dms:Text"/>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ac70fca-539b-4ff2-86c0-c4105e6ffff5"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d99fc54e-cb14-4a3e-9aa1-225af684a50d}" ma:internalName="TaxCatchAll" ma:showField="CatchAllData" ma:web="7ac70fca-539b-4ff2-86c0-c4105e6ffff5">
      <xsd:complexType>
        <xsd:complexContent>
          <xsd:extension base="dms:MultiChoiceLookup">
            <xsd:sequence>
              <xsd:element name="Value" type="dms:Lookup" maxOccurs="unbounded" minOccurs="0" nillable="true"/>
            </xsd:sequence>
          </xsd:extension>
        </xsd:complexContent>
      </xsd:complexType>
    </xsd:element>
    <xsd:element name="SharedWithUsers" ma:index="22"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958BAC3-57CC-45FB-B0A0-25A4B2E94811}">
  <ds:schemaRefs>
    <ds:schemaRef ds:uri="http://purl.org/dc/terms/"/>
    <ds:schemaRef ds:uri="4a0dfec2-7126-4d8c-8026-843911d2b083"/>
    <ds:schemaRef ds:uri="http://schemas.microsoft.com/office/2006/documentManagement/types"/>
    <ds:schemaRef ds:uri="http://www.w3.org/XML/1998/namespace"/>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7ac70fca-539b-4ff2-86c0-c4105e6ffff5"/>
    <ds:schemaRef ds:uri="http://purl.org/dc/dcmitype/"/>
  </ds:schemaRefs>
</ds:datastoreItem>
</file>

<file path=customXml/itemProps2.xml><?xml version="1.0" encoding="utf-8"?>
<ds:datastoreItem xmlns:ds="http://schemas.openxmlformats.org/officeDocument/2006/customXml" ds:itemID="{A6F549A0-7992-4F17-A756-00DC24F894E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a0dfec2-7126-4d8c-8026-843911d2b083"/>
    <ds:schemaRef ds:uri="7ac70fca-539b-4ff2-86c0-c4105e6ffff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A407F4F-C87B-4E7F-850D-F61D5C3B5FE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2785</Words>
  <Application>Microsoft Office PowerPoint</Application>
  <PresentationFormat>Benutzerdefiniert</PresentationFormat>
  <Paragraphs>298</Paragraphs>
  <Slides>23</Slides>
  <Notes>18</Notes>
  <HiddenSlides>0</HiddenSlides>
  <MMClips>0</MMClips>
  <ScaleCrop>false</ScaleCrop>
  <HeadingPairs>
    <vt:vector size="8" baseType="variant">
      <vt:variant>
        <vt:lpstr>Verwendete Schriftarten</vt:lpstr>
      </vt:variant>
      <vt:variant>
        <vt:i4>7</vt:i4>
      </vt:variant>
      <vt:variant>
        <vt:lpstr>Design</vt:lpstr>
      </vt:variant>
      <vt:variant>
        <vt:i4>3</vt:i4>
      </vt:variant>
      <vt:variant>
        <vt:lpstr>Eingebettete OLE-Server</vt:lpstr>
      </vt:variant>
      <vt:variant>
        <vt:i4>1</vt:i4>
      </vt:variant>
      <vt:variant>
        <vt:lpstr>Folientitel</vt:lpstr>
      </vt:variant>
      <vt:variant>
        <vt:i4>23</vt:i4>
      </vt:variant>
    </vt:vector>
  </HeadingPairs>
  <TitlesOfParts>
    <vt:vector size="34" baseType="lpstr">
      <vt:lpstr>Arial</vt:lpstr>
      <vt:lpstr>Calibri</vt:lpstr>
      <vt:lpstr>Frutiger Neue</vt:lpstr>
      <vt:lpstr>Open Sans Semibold</vt:lpstr>
      <vt:lpstr>Symbol</vt:lpstr>
      <vt:lpstr>Times New Roman</vt:lpstr>
      <vt:lpstr>Wingdings</vt:lpstr>
      <vt:lpstr>Union Investment UI-Blau</vt:lpstr>
      <vt:lpstr>Union Investment Grau</vt:lpstr>
      <vt:lpstr>1_Union Investment UI-Blau</vt:lpstr>
      <vt:lpstr>Macrobond document</vt:lpstr>
      <vt:lpstr>PowerPoint-Präsentation</vt:lpstr>
      <vt:lpstr>Union Investment –  der starke Kooperationspartner der Volksbank Wien </vt:lpstr>
      <vt:lpstr>PowerPoint-Präsentation</vt:lpstr>
      <vt:lpstr>PowerPoint-Präsentation</vt:lpstr>
      <vt:lpstr>PowerPoint-Präsentation</vt:lpstr>
      <vt:lpstr>2024: Grüne Vorzeichen in allen Anlageklassen</vt:lpstr>
      <vt:lpstr>Die Fed wird der EZB im 2. Halbjahr in den Zinssenkungszyklus folgen </vt:lpstr>
      <vt:lpstr>Investment Grade-Corporates mit attraktivem Chance-Risiko-Profil</vt:lpstr>
      <vt:lpstr>US-Wirtschaft mit solider, aber leicht nachlassender Wachstumsdynamik</vt:lpstr>
      <vt:lpstr>Euroraum: Konjunkturelle Dynamik stabilisiert sich auf niedrigem Niveau</vt:lpstr>
      <vt:lpstr>Wachstum unterstützt Unternehmensgewinne – Bewertung erhöht</vt:lpstr>
      <vt:lpstr>KI ist auch 2024 ein wichtiger Treiber der Aktienmärkte …</vt:lpstr>
      <vt:lpstr>Künstliche Intelligenz - Hype oder technologische Zeitenwende?</vt:lpstr>
      <vt:lpstr>Mit Harris sind die Demokraten zurück im Rennen</vt:lpstr>
      <vt:lpstr>What if? – Donald Trump 2.0: Weitreichende Kapitalmarktauswirkungen</vt:lpstr>
      <vt:lpstr>PowerPoint-Präsentation</vt:lpstr>
      <vt:lpstr>PowerPoint-Präsentation</vt:lpstr>
      <vt:lpstr>Mit Weitsicht das aktuelle Marktzinsniveau sichern</vt:lpstr>
      <vt:lpstr>Schematischer Verlauf des UniEuroRenta Unternehmensanleihen 2030 II</vt:lpstr>
      <vt:lpstr>31 Gründe gegen Aktien – und ein Grund für UniGlobal*</vt:lpstr>
      <vt:lpstr>UniInstitutional SDG Equities, UniRak Nachhaltig, UniRak Nachhaltig Konservativ – nachhaltig in Zukunftsthemen investieren</vt:lpstr>
      <vt:lpstr>PowerPoint-Präsentation</vt:lpstr>
      <vt:lpstr>Rechtliche Hinweis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ommerz-Impulse 2022</dc:title>
  <dc:creator>Schweitzer, Nina (UIN)</dc:creator>
  <cp:lastModifiedBy>Laure, Valentin (UIA)</cp:lastModifiedBy>
  <cp:revision>8</cp:revision>
  <cp:lastPrinted>2023-11-07T15:27:42Z</cp:lastPrinted>
  <dcterms:created xsi:type="dcterms:W3CDTF">2021-08-23T07:06:30Z</dcterms:created>
  <dcterms:modified xsi:type="dcterms:W3CDTF">2024-08-23T07:26: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A2F68E2ABBAF947A55FEF78883916D5</vt:lpwstr>
  </property>
  <property fmtid="{D5CDD505-2E9C-101B-9397-08002B2CF9AE}" pid="3" name="UIT_DocumentType">
    <vt:lpwstr/>
  </property>
  <property fmtid="{D5CDD505-2E9C-101B-9397-08002B2CF9AE}" pid="4" name="UIT_Keywords">
    <vt:lpwstr/>
  </property>
  <property fmtid="{D5CDD505-2E9C-101B-9397-08002B2CF9AE}" pid="5" name="UIT_Confidentiality">
    <vt:lpwstr>1;#C1|21a0c8e3-ddb0-46ee-ba05-3f67ebc4c672</vt:lpwstr>
  </property>
  <property fmtid="{D5CDD505-2E9C-101B-9397-08002B2CF9AE}" pid="6" name="UIT_Context">
    <vt:lpwstr/>
  </property>
  <property fmtid="{D5CDD505-2E9C-101B-9397-08002B2CF9AE}" pid="7" name="MediaServiceImageTags">
    <vt:lpwstr/>
  </property>
</Properties>
</file>